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 id="2147483677" r:id="rId2"/>
    <p:sldMasterId id="2147483678" r:id="rId3"/>
  </p:sldMasterIdLst>
  <p:notesMasterIdLst>
    <p:notesMasterId r:id="rId58"/>
  </p:notesMasterIdLst>
  <p:sldIdLst>
    <p:sldId id="310" r:id="rId4"/>
    <p:sldId id="316" r:id="rId5"/>
    <p:sldId id="305" r:id="rId6"/>
    <p:sldId id="304" r:id="rId7"/>
    <p:sldId id="311" r:id="rId8"/>
    <p:sldId id="312" r:id="rId9"/>
    <p:sldId id="313" r:id="rId10"/>
    <p:sldId id="317" r:id="rId11"/>
    <p:sldId id="314" r:id="rId12"/>
    <p:sldId id="315"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274" r:id="rId30"/>
    <p:sldId id="275" r:id="rId31"/>
    <p:sldId id="276" r:id="rId32"/>
    <p:sldId id="277" r:id="rId33"/>
    <p:sldId id="278" r:id="rId34"/>
    <p:sldId id="279" r:id="rId35"/>
    <p:sldId id="280" r:id="rId36"/>
    <p:sldId id="281" r:id="rId37"/>
    <p:sldId id="282" r:id="rId38"/>
    <p:sldId id="283" r:id="rId39"/>
    <p:sldId id="284" r:id="rId40"/>
    <p:sldId id="285" r:id="rId41"/>
    <p:sldId id="286" r:id="rId42"/>
    <p:sldId id="287"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 id="301" r:id="rId57"/>
  </p:sldIdLst>
  <p:sldSz cx="9144000" cy="5143500" type="screen16x9"/>
  <p:notesSz cx="6858000" cy="9144000"/>
  <p:embeddedFontLst>
    <p:embeddedFont>
      <p:font typeface="Amatic SC" panose="00000500000000000000" pitchFamily="2" charset="-79"/>
      <p:regular r:id="rId59"/>
      <p:bold r:id="rId60"/>
    </p:embeddedFont>
    <p:embeddedFont>
      <p:font typeface="Jost" panose="020B0604020202020204" charset="0"/>
      <p:regular r:id="rId61"/>
      <p:bold r:id="rId62"/>
      <p:italic r:id="rId63"/>
      <p:boldItalic r:id="rId64"/>
    </p:embeddedFont>
    <p:embeddedFont>
      <p:font typeface="Jost Medium" panose="020B0604020202020204" charset="0"/>
      <p:regular r:id="rId65"/>
      <p:bold r:id="rId66"/>
      <p:italic r:id="rId67"/>
      <p:boldItalic r:id="rId68"/>
    </p:embeddedFont>
    <p:embeddedFont>
      <p:font typeface="Krona One" panose="020B0604020202020204" charset="0"/>
      <p:regular r:id="rId69"/>
    </p:embeddedFont>
    <p:embeddedFont>
      <p:font typeface="Lato" panose="020F0502020204030203" pitchFamily="34" charset="0"/>
      <p:regular r:id="rId70"/>
      <p:bold r:id="rId71"/>
      <p:italic r:id="rId72"/>
      <p:boldItalic r:id="rId73"/>
    </p:embeddedFont>
    <p:embeddedFont>
      <p:font typeface="Proxima Nova" panose="020B0604020202020204" charset="0"/>
      <p:regular r:id="rId74"/>
      <p:bold r:id="rId75"/>
      <p:italic r:id="rId76"/>
      <p:boldItalic r:id="rId77"/>
    </p:embeddedFont>
    <p:embeddedFont>
      <p:font typeface="Proxima Nova Semibold" panose="020B0604020202020204" charset="0"/>
      <p:regular r:id="rId78"/>
      <p:bold r:id="rId79"/>
      <p:boldItalic r:id="rId80"/>
    </p:embeddedFont>
    <p:embeddedFont>
      <p:font typeface="Roboto Medium" panose="02000000000000000000" pitchFamily="2" charset="0"/>
      <p:regular r:id="rId81"/>
      <p:bold r:id="rId82"/>
      <p:italic r:id="rId83"/>
      <p:boldItalic r:id="rId84"/>
    </p:embeddedFont>
  </p:embeddedFontLst>
  <p:custDataLst>
    <p:tags r:id="rId8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97B4F8A2-CAFC-4064-BA28-605CA53A4BD2}">
          <p14:sldIdLst>
            <p14:sldId id="310"/>
            <p14:sldId id="316"/>
            <p14:sldId id="305"/>
            <p14:sldId id="304"/>
            <p14:sldId id="311"/>
            <p14:sldId id="312"/>
            <p14:sldId id="313"/>
            <p14:sldId id="317"/>
            <p14:sldId id="314"/>
            <p14:sldId id="315"/>
          </p14:sldIdLst>
        </p14:section>
        <p14:section name="Slide Designs" id="{2711CC73-D6FA-4525-A610-26C4DE2FFC1C}">
          <p14:sldIdLst>
            <p14:sldId id="257"/>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F1F1F"/>
    <a:srgbClr val="DC25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F36CA8-D1C8-4C56-8110-3A0F5029C282}" v="269" dt="2024-04-22T10:13:49.299"/>
    <p1510:client id="{F5AB99BC-E248-46DD-B116-AF8939C66754}" v="14" dt="2024-04-21T18:12:05.703"/>
  </p1510:revLst>
</p1510:revInfo>
</file>

<file path=ppt/tableStyles.xml><?xml version="1.0" encoding="utf-8"?>
<a:tblStyleLst xmlns:a="http://schemas.openxmlformats.org/drawingml/2006/main" def="{36388064-F937-4609-BF7D-212556715704}">
  <a:tblStyle styleId="{36388064-F937-4609-BF7D-21255671570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06" autoAdjust="0"/>
    <p:restoredTop sz="94660"/>
  </p:normalViewPr>
  <p:slideViewPr>
    <p:cSldViewPr snapToGrid="0">
      <p:cViewPr varScale="1">
        <p:scale>
          <a:sx n="151" d="100"/>
          <a:sy n="151" d="100"/>
        </p:scale>
        <p:origin x="138" y="8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font" Target="fonts/font5.fntdata"/><Relationship Id="rId68" Type="http://schemas.openxmlformats.org/officeDocument/2006/relationships/font" Target="fonts/font10.fntdata"/><Relationship Id="rId76" Type="http://schemas.openxmlformats.org/officeDocument/2006/relationships/font" Target="fonts/font18.fntdata"/><Relationship Id="rId84" Type="http://schemas.openxmlformats.org/officeDocument/2006/relationships/font" Target="fonts/font26.fntdata"/><Relationship Id="rId89"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font" Target="fonts/font13.fntdata"/><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66" Type="http://schemas.openxmlformats.org/officeDocument/2006/relationships/font" Target="fonts/font8.fntdata"/><Relationship Id="rId74" Type="http://schemas.openxmlformats.org/officeDocument/2006/relationships/font" Target="fonts/font16.fntdata"/><Relationship Id="rId79" Type="http://schemas.openxmlformats.org/officeDocument/2006/relationships/font" Target="fonts/font21.fntdata"/><Relationship Id="rId87"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font" Target="fonts/font3.fntdata"/><Relationship Id="rId82" Type="http://schemas.openxmlformats.org/officeDocument/2006/relationships/font" Target="fonts/font24.fntdata"/><Relationship Id="rId90" Type="http://schemas.microsoft.com/office/2016/11/relationships/changesInfo" Target="changesInfos/changesInfo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font" Target="fonts/font19.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4.fntdata"/><Relationship Id="rId80" Type="http://schemas.openxmlformats.org/officeDocument/2006/relationships/font" Target="fonts/font22.fntdata"/><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font" Target="fonts/font17.fntdata"/><Relationship Id="rId83" Type="http://schemas.openxmlformats.org/officeDocument/2006/relationships/font" Target="fonts/font25.fntdata"/><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font" Target="fonts/font15.fntdata"/><Relationship Id="rId78" Type="http://schemas.openxmlformats.org/officeDocument/2006/relationships/font" Target="fonts/font20.fntdata"/><Relationship Id="rId81" Type="http://schemas.openxmlformats.org/officeDocument/2006/relationships/font" Target="fonts/font23.fntdata"/><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itz Baldauf" userId="d2a8e088faa3b6be" providerId="LiveId" clId="{F5AB99BC-E248-46DD-B116-AF8939C66754}"/>
    <pc:docChg chg="undo custSel modSld replTag">
      <pc:chgData name="Moritz Baldauf" userId="d2a8e088faa3b6be" providerId="LiveId" clId="{F5AB99BC-E248-46DD-B116-AF8939C66754}" dt="2024-04-21T18:12:13.125" v="111" actId="2711"/>
      <pc:docMkLst>
        <pc:docMk/>
      </pc:docMkLst>
      <pc:sldChg chg="modSp mod">
        <pc:chgData name="Moritz Baldauf" userId="d2a8e088faa3b6be" providerId="LiveId" clId="{F5AB99BC-E248-46DD-B116-AF8939C66754}" dt="2024-04-21T18:12:13.125" v="111" actId="2711"/>
        <pc:sldMkLst>
          <pc:docMk/>
          <pc:sldMk cId="0" sldId="256"/>
        </pc:sldMkLst>
        <pc:spChg chg="mod">
          <ac:chgData name="Moritz Baldauf" userId="d2a8e088faa3b6be" providerId="LiveId" clId="{F5AB99BC-E248-46DD-B116-AF8939C66754}" dt="2024-04-21T18:12:13.125" v="111" actId="2711"/>
          <ac:spMkLst>
            <pc:docMk/>
            <pc:sldMk cId="0" sldId="256"/>
            <ac:spMk id="1414" creationId="{00000000-0000-0000-0000-000000000000}"/>
          </ac:spMkLst>
        </pc:spChg>
        <pc:graphicFrameChg chg="mod">
          <ac:chgData name="Moritz Baldauf" userId="d2a8e088faa3b6be" providerId="LiveId" clId="{F5AB99BC-E248-46DD-B116-AF8939C66754}" dt="2024-04-21T18:12:05.703" v="110"/>
          <ac:graphicFrameMkLst>
            <pc:docMk/>
            <pc:sldMk cId="0" sldId="256"/>
            <ac:graphicFrameMk id="2" creationId="{F8F6E995-3FF9-F29F-2521-EA9DA1E36C77}"/>
          </ac:graphicFrameMkLst>
        </pc:graphicFrameChg>
      </pc:sldChg>
      <pc:sldChg chg="addSp delSp modSp mod">
        <pc:chgData name="Moritz Baldauf" userId="d2a8e088faa3b6be" providerId="LiveId" clId="{F5AB99BC-E248-46DD-B116-AF8939C66754}" dt="2024-04-21T18:11:56.407" v="105"/>
        <pc:sldMkLst>
          <pc:docMk/>
          <pc:sldMk cId="817516300" sldId="305"/>
        </pc:sldMkLst>
        <pc:spChg chg="mod">
          <ac:chgData name="Moritz Baldauf" userId="d2a8e088faa3b6be" providerId="LiveId" clId="{F5AB99BC-E248-46DD-B116-AF8939C66754}" dt="2024-04-21T18:11:56.374" v="80" actId="948"/>
          <ac:spMkLst>
            <pc:docMk/>
            <pc:sldMk cId="817516300" sldId="305"/>
            <ac:spMk id="15" creationId="{1A4CA57F-B7AD-4757-3641-3895645126AE}"/>
          </ac:spMkLst>
        </pc:spChg>
        <pc:spChg chg="add del mod modVis">
          <ac:chgData name="Moritz Baldauf" userId="d2a8e088faa3b6be" providerId="LiveId" clId="{F5AB99BC-E248-46DD-B116-AF8939C66754}" dt="2024-04-21T18:11:22.399" v="24"/>
          <ac:spMkLst>
            <pc:docMk/>
            <pc:sldMk cId="817516300" sldId="305"/>
            <ac:spMk id="24" creationId="{93FE06D7-69DA-EA4F-207A-19F3DB641A4E}"/>
          </ac:spMkLst>
        </pc:spChg>
        <pc:spChg chg="add del mod modVis">
          <ac:chgData name="Moritz Baldauf" userId="d2a8e088faa3b6be" providerId="LiveId" clId="{F5AB99BC-E248-46DD-B116-AF8939C66754}" dt="2024-04-21T18:11:41.228" v="74" actId="962"/>
          <ac:spMkLst>
            <pc:docMk/>
            <pc:sldMk cId="817516300" sldId="305"/>
            <ac:spMk id="25" creationId="{42F6DC57-DBBE-1ADE-60E6-D0FA543F5723}"/>
          </ac:spMkLst>
        </pc:spChg>
        <pc:spChg chg="add del mod modVis">
          <ac:chgData name="Moritz Baldauf" userId="d2a8e088faa3b6be" providerId="LiveId" clId="{F5AB99BC-E248-46DD-B116-AF8939C66754}" dt="2024-04-21T18:11:56.405" v="103"/>
          <ac:spMkLst>
            <pc:docMk/>
            <pc:sldMk cId="817516300" sldId="305"/>
            <ac:spMk id="26" creationId="{D46DBF3B-852B-AE2A-8B11-DA69BCE3E81A}"/>
          </ac:spMkLst>
        </pc:spChg>
        <pc:graphicFrameChg chg="mod">
          <ac:chgData name="Moritz Baldauf" userId="d2a8e088faa3b6be" providerId="LiveId" clId="{F5AB99BC-E248-46DD-B116-AF8939C66754}" dt="2024-04-21T18:11:56.407" v="105"/>
          <ac:graphicFrameMkLst>
            <pc:docMk/>
            <pc:sldMk cId="817516300" sldId="305"/>
            <ac:graphicFrameMk id="16" creationId="{B717AB91-800D-E5AF-7DCF-9B23FFA10095}"/>
          </ac:graphicFrameMkLst>
        </pc:graphicFrameChg>
      </pc:sldChg>
    </pc:docChg>
  </pc:docChgLst>
  <pc:docChgLst>
    <pc:chgData name="Moritz Baldauf" userId="d2a8e088faa3b6be" providerId="LiveId" clId="{6AF36CA8-D1C8-4C56-8110-3A0F5029C282}"/>
    <pc:docChg chg="undo custSel addSld delSld modSld modMainMaster addSection modSection replTag">
      <pc:chgData name="Moritz Baldauf" userId="d2a8e088faa3b6be" providerId="LiveId" clId="{6AF36CA8-D1C8-4C56-8110-3A0F5029C282}" dt="2024-04-22T10:13:49.299" v="4202"/>
      <pc:docMkLst>
        <pc:docMk/>
      </pc:docMkLst>
      <pc:sldChg chg="del">
        <pc:chgData name="Moritz Baldauf" userId="d2a8e088faa3b6be" providerId="LiveId" clId="{6AF36CA8-D1C8-4C56-8110-3A0F5029C282}" dt="2024-04-22T07:50:30.260" v="1" actId="47"/>
        <pc:sldMkLst>
          <pc:docMk/>
          <pc:sldMk cId="0" sldId="256"/>
        </pc:sldMkLst>
      </pc:sldChg>
      <pc:sldChg chg="addSp delSp modSp del mod modShow">
        <pc:chgData name="Moritz Baldauf" userId="d2a8e088faa3b6be" providerId="LiveId" clId="{6AF36CA8-D1C8-4C56-8110-3A0F5029C282}" dt="2024-04-22T10:13:02.162" v="4201" actId="2696"/>
        <pc:sldMkLst>
          <pc:docMk/>
          <pc:sldMk cId="0" sldId="258"/>
        </pc:sldMkLst>
        <pc:spChg chg="del">
          <ac:chgData name="Moritz Baldauf" userId="d2a8e088faa3b6be" providerId="LiveId" clId="{6AF36CA8-D1C8-4C56-8110-3A0F5029C282}" dt="2024-04-22T08:54:30.201" v="999" actId="21"/>
          <ac:spMkLst>
            <pc:docMk/>
            <pc:sldMk cId="0" sldId="258"/>
            <ac:spMk id="3" creationId="{9A112403-561B-D4F2-20AF-B62AD7E4ECC6}"/>
          </ac:spMkLst>
        </pc:spChg>
        <pc:spChg chg="add mod">
          <ac:chgData name="Moritz Baldauf" userId="d2a8e088faa3b6be" providerId="LiveId" clId="{6AF36CA8-D1C8-4C56-8110-3A0F5029C282}" dt="2024-04-22T10:01:16.418" v="3528" actId="571"/>
          <ac:spMkLst>
            <pc:docMk/>
            <pc:sldMk cId="0" sldId="258"/>
            <ac:spMk id="3" creationId="{9AB89D08-604F-471A-71C2-E0FC2F80CCAE}"/>
          </ac:spMkLst>
        </pc:spChg>
        <pc:spChg chg="add mod">
          <ac:chgData name="Moritz Baldauf" userId="d2a8e088faa3b6be" providerId="LiveId" clId="{6AF36CA8-D1C8-4C56-8110-3A0F5029C282}" dt="2024-04-22T10:01:16.418" v="3528" actId="571"/>
          <ac:spMkLst>
            <pc:docMk/>
            <pc:sldMk cId="0" sldId="258"/>
            <ac:spMk id="4" creationId="{89F46478-63D5-F202-1A88-73D221CCC74C}"/>
          </ac:spMkLst>
        </pc:spChg>
        <pc:spChg chg="add mod">
          <ac:chgData name="Moritz Baldauf" userId="d2a8e088faa3b6be" providerId="LiveId" clId="{6AF36CA8-D1C8-4C56-8110-3A0F5029C282}" dt="2024-04-22T10:01:16.418" v="3528" actId="571"/>
          <ac:spMkLst>
            <pc:docMk/>
            <pc:sldMk cId="0" sldId="258"/>
            <ac:spMk id="5" creationId="{35A42A62-AB82-3F47-95C3-6FC2F8281B19}"/>
          </ac:spMkLst>
        </pc:spChg>
        <pc:spChg chg="add mod">
          <ac:chgData name="Moritz Baldauf" userId="d2a8e088faa3b6be" providerId="LiveId" clId="{6AF36CA8-D1C8-4C56-8110-3A0F5029C282}" dt="2024-04-22T10:01:16.418" v="3528" actId="571"/>
          <ac:spMkLst>
            <pc:docMk/>
            <pc:sldMk cId="0" sldId="258"/>
            <ac:spMk id="6" creationId="{73C33174-0B6C-F3AA-D671-6F0A91777FCA}"/>
          </ac:spMkLst>
        </pc:spChg>
        <pc:spChg chg="add mod">
          <ac:chgData name="Moritz Baldauf" userId="d2a8e088faa3b6be" providerId="LiveId" clId="{6AF36CA8-D1C8-4C56-8110-3A0F5029C282}" dt="2024-04-22T10:01:16.418" v="3528" actId="571"/>
          <ac:spMkLst>
            <pc:docMk/>
            <pc:sldMk cId="0" sldId="258"/>
            <ac:spMk id="7" creationId="{D07D6792-DD9F-977F-E52C-F4F0F2A9704C}"/>
          </ac:spMkLst>
        </pc:spChg>
      </pc:sldChg>
      <pc:sldChg chg="setBg">
        <pc:chgData name="Moritz Baldauf" userId="d2a8e088faa3b6be" providerId="LiveId" clId="{6AF36CA8-D1C8-4C56-8110-3A0F5029C282}" dt="2024-04-22T08:22:23.936" v="9"/>
        <pc:sldMkLst>
          <pc:docMk/>
          <pc:sldMk cId="0" sldId="272"/>
        </pc:sldMkLst>
      </pc:sldChg>
      <pc:sldChg chg="setBg">
        <pc:chgData name="Moritz Baldauf" userId="d2a8e088faa3b6be" providerId="LiveId" clId="{6AF36CA8-D1C8-4C56-8110-3A0F5029C282}" dt="2024-04-22T08:22:23.936" v="9"/>
        <pc:sldMkLst>
          <pc:docMk/>
          <pc:sldMk cId="0" sldId="284"/>
        </pc:sldMkLst>
      </pc:sldChg>
      <pc:sldChg chg="setBg">
        <pc:chgData name="Moritz Baldauf" userId="d2a8e088faa3b6be" providerId="LiveId" clId="{6AF36CA8-D1C8-4C56-8110-3A0F5029C282}" dt="2024-04-22T08:22:23.936" v="9"/>
        <pc:sldMkLst>
          <pc:docMk/>
          <pc:sldMk cId="0" sldId="285"/>
        </pc:sldMkLst>
      </pc:sldChg>
      <pc:sldChg chg="setBg">
        <pc:chgData name="Moritz Baldauf" userId="d2a8e088faa3b6be" providerId="LiveId" clId="{6AF36CA8-D1C8-4C56-8110-3A0F5029C282}" dt="2024-04-22T08:22:23.936" v="9"/>
        <pc:sldMkLst>
          <pc:docMk/>
          <pc:sldMk cId="0" sldId="286"/>
        </pc:sldMkLst>
      </pc:sldChg>
      <pc:sldChg chg="setBg">
        <pc:chgData name="Moritz Baldauf" userId="d2a8e088faa3b6be" providerId="LiveId" clId="{6AF36CA8-D1C8-4C56-8110-3A0F5029C282}" dt="2024-04-22T08:22:23.936" v="9"/>
        <pc:sldMkLst>
          <pc:docMk/>
          <pc:sldMk cId="0" sldId="287"/>
        </pc:sldMkLst>
      </pc:sldChg>
      <pc:sldChg chg="setBg">
        <pc:chgData name="Moritz Baldauf" userId="d2a8e088faa3b6be" providerId="LiveId" clId="{6AF36CA8-D1C8-4C56-8110-3A0F5029C282}" dt="2024-04-22T08:22:23.936" v="9"/>
        <pc:sldMkLst>
          <pc:docMk/>
          <pc:sldMk cId="0" sldId="288"/>
        </pc:sldMkLst>
      </pc:sldChg>
      <pc:sldChg chg="setBg">
        <pc:chgData name="Moritz Baldauf" userId="d2a8e088faa3b6be" providerId="LiveId" clId="{6AF36CA8-D1C8-4C56-8110-3A0F5029C282}" dt="2024-04-22T08:22:23.936" v="9"/>
        <pc:sldMkLst>
          <pc:docMk/>
          <pc:sldMk cId="0" sldId="294"/>
        </pc:sldMkLst>
      </pc:sldChg>
      <pc:sldChg chg="setBg">
        <pc:chgData name="Moritz Baldauf" userId="d2a8e088faa3b6be" providerId="LiveId" clId="{6AF36CA8-D1C8-4C56-8110-3A0F5029C282}" dt="2024-04-22T08:22:23.936" v="9"/>
        <pc:sldMkLst>
          <pc:docMk/>
          <pc:sldMk cId="0" sldId="295"/>
        </pc:sldMkLst>
      </pc:sldChg>
      <pc:sldChg chg="setBg">
        <pc:chgData name="Moritz Baldauf" userId="d2a8e088faa3b6be" providerId="LiveId" clId="{6AF36CA8-D1C8-4C56-8110-3A0F5029C282}" dt="2024-04-22T08:22:23.936" v="9"/>
        <pc:sldMkLst>
          <pc:docMk/>
          <pc:sldMk cId="0" sldId="296"/>
        </pc:sldMkLst>
      </pc:sldChg>
      <pc:sldChg chg="setBg">
        <pc:chgData name="Moritz Baldauf" userId="d2a8e088faa3b6be" providerId="LiveId" clId="{6AF36CA8-D1C8-4C56-8110-3A0F5029C282}" dt="2024-04-22T08:22:23.936" v="9"/>
        <pc:sldMkLst>
          <pc:docMk/>
          <pc:sldMk cId="0" sldId="297"/>
        </pc:sldMkLst>
      </pc:sldChg>
      <pc:sldChg chg="setBg">
        <pc:chgData name="Moritz Baldauf" userId="d2a8e088faa3b6be" providerId="LiveId" clId="{6AF36CA8-D1C8-4C56-8110-3A0F5029C282}" dt="2024-04-22T08:22:23.936" v="9"/>
        <pc:sldMkLst>
          <pc:docMk/>
          <pc:sldMk cId="0" sldId="298"/>
        </pc:sldMkLst>
      </pc:sldChg>
      <pc:sldChg chg="setBg">
        <pc:chgData name="Moritz Baldauf" userId="d2a8e088faa3b6be" providerId="LiveId" clId="{6AF36CA8-D1C8-4C56-8110-3A0F5029C282}" dt="2024-04-22T08:22:23.936" v="9"/>
        <pc:sldMkLst>
          <pc:docMk/>
          <pc:sldMk cId="0" sldId="299"/>
        </pc:sldMkLst>
      </pc:sldChg>
      <pc:sldChg chg="setBg">
        <pc:chgData name="Moritz Baldauf" userId="d2a8e088faa3b6be" providerId="LiveId" clId="{6AF36CA8-D1C8-4C56-8110-3A0F5029C282}" dt="2024-04-22T08:22:23.936" v="9"/>
        <pc:sldMkLst>
          <pc:docMk/>
          <pc:sldMk cId="0" sldId="300"/>
        </pc:sldMkLst>
      </pc:sldChg>
      <pc:sldChg chg="setBg">
        <pc:chgData name="Moritz Baldauf" userId="d2a8e088faa3b6be" providerId="LiveId" clId="{6AF36CA8-D1C8-4C56-8110-3A0F5029C282}" dt="2024-04-22T08:22:23.936" v="9"/>
        <pc:sldMkLst>
          <pc:docMk/>
          <pc:sldMk cId="0" sldId="301"/>
        </pc:sldMkLst>
      </pc:sldChg>
      <pc:sldChg chg="addSp delSp modSp del mod">
        <pc:chgData name="Moritz Baldauf" userId="d2a8e088faa3b6be" providerId="LiveId" clId="{6AF36CA8-D1C8-4C56-8110-3A0F5029C282}" dt="2024-04-22T08:54:13.970" v="996" actId="47"/>
        <pc:sldMkLst>
          <pc:docMk/>
          <pc:sldMk cId="1217062699" sldId="303"/>
        </pc:sldMkLst>
        <pc:spChg chg="del mod">
          <ac:chgData name="Moritz Baldauf" userId="d2a8e088faa3b6be" providerId="LiveId" clId="{6AF36CA8-D1C8-4C56-8110-3A0F5029C282}" dt="2024-04-22T08:29:24.609" v="337" actId="478"/>
          <ac:spMkLst>
            <pc:docMk/>
            <pc:sldMk cId="1217062699" sldId="303"/>
            <ac:spMk id="2" creationId="{71EC67F3-AEB0-7259-757F-D4FFE1D4C793}"/>
          </ac:spMkLst>
        </pc:spChg>
        <pc:spChg chg="add mod">
          <ac:chgData name="Moritz Baldauf" userId="d2a8e088faa3b6be" providerId="LiveId" clId="{6AF36CA8-D1C8-4C56-8110-3A0F5029C282}" dt="2024-04-22T08:54:11.243" v="994" actId="21"/>
          <ac:spMkLst>
            <pc:docMk/>
            <pc:sldMk cId="1217062699" sldId="303"/>
            <ac:spMk id="3" creationId="{7ECBE2EA-BDA4-070C-D890-FDFAB38E08DB}"/>
          </ac:spMkLst>
        </pc:spChg>
        <pc:spChg chg="add del mod modVis">
          <ac:chgData name="Moritz Baldauf" userId="d2a8e088faa3b6be" providerId="LiveId" clId="{6AF36CA8-D1C8-4C56-8110-3A0F5029C282}" dt="2024-04-22T08:29:20.846" v="328"/>
          <ac:spMkLst>
            <pc:docMk/>
            <pc:sldMk cId="1217062699" sldId="303"/>
            <ac:spMk id="5" creationId="{541AE8D3-623D-EE8B-D0A8-08667C9E07B0}"/>
          </ac:spMkLst>
        </pc:spChg>
        <pc:graphicFrameChg chg="mod">
          <ac:chgData name="Moritz Baldauf" userId="d2a8e088faa3b6be" providerId="LiveId" clId="{6AF36CA8-D1C8-4C56-8110-3A0F5029C282}" dt="2024-04-22T08:29:25.104" v="341"/>
          <ac:graphicFrameMkLst>
            <pc:docMk/>
            <pc:sldMk cId="1217062699" sldId="303"/>
            <ac:graphicFrameMk id="4" creationId="{885DDB21-EE27-1E92-52DD-539E8D2DAA1C}"/>
          </ac:graphicFrameMkLst>
        </pc:graphicFrameChg>
      </pc:sldChg>
      <pc:sldChg chg="addSp delSp modSp mod">
        <pc:chgData name="Moritz Baldauf" userId="d2a8e088faa3b6be" providerId="LiveId" clId="{6AF36CA8-D1C8-4C56-8110-3A0F5029C282}" dt="2024-04-22T10:12:24.008" v="4060" actId="255"/>
        <pc:sldMkLst>
          <pc:docMk/>
          <pc:sldMk cId="3340048631" sldId="304"/>
        </pc:sldMkLst>
        <pc:spChg chg="add del mod modVis">
          <ac:chgData name="Moritz Baldauf" userId="d2a8e088faa3b6be" providerId="LiveId" clId="{6AF36CA8-D1C8-4C56-8110-3A0F5029C282}" dt="2024-04-22T08:27:13.605" v="83"/>
          <ac:spMkLst>
            <pc:docMk/>
            <pc:sldMk cId="3340048631" sldId="304"/>
            <ac:spMk id="2" creationId="{99D611B6-9A89-0669-95B1-1EADD02A4C15}"/>
          </ac:spMkLst>
        </pc:spChg>
        <pc:spChg chg="add mod">
          <ac:chgData name="Moritz Baldauf" userId="d2a8e088faa3b6be" providerId="LiveId" clId="{6AF36CA8-D1C8-4C56-8110-3A0F5029C282}" dt="2024-04-22T10:12:24.008" v="4060" actId="255"/>
          <ac:spMkLst>
            <pc:docMk/>
            <pc:sldMk cId="3340048631" sldId="304"/>
            <ac:spMk id="3" creationId="{3B9FECE5-F9BA-E961-4D17-66D7F855FB69}"/>
          </ac:spMkLst>
        </pc:spChg>
        <pc:spChg chg="mod">
          <ac:chgData name="Moritz Baldauf" userId="d2a8e088faa3b6be" providerId="LiveId" clId="{6AF36CA8-D1C8-4C56-8110-3A0F5029C282}" dt="2024-04-22T09:03:14.437" v="1283"/>
          <ac:spMkLst>
            <pc:docMk/>
            <pc:sldMk cId="3340048631" sldId="304"/>
            <ac:spMk id="5" creationId="{EE700EED-4DC7-8F43-F415-52DF59119C2E}"/>
          </ac:spMkLst>
        </pc:spChg>
        <pc:spChg chg="mod">
          <ac:chgData name="Moritz Baldauf" userId="d2a8e088faa3b6be" providerId="LiveId" clId="{6AF36CA8-D1C8-4C56-8110-3A0F5029C282}" dt="2024-04-22T09:03:14.437" v="1283"/>
          <ac:spMkLst>
            <pc:docMk/>
            <pc:sldMk cId="3340048631" sldId="304"/>
            <ac:spMk id="6" creationId="{69AC0E08-B85A-D332-3134-ADD27690F8AD}"/>
          </ac:spMkLst>
        </pc:spChg>
        <pc:spChg chg="mod">
          <ac:chgData name="Moritz Baldauf" userId="d2a8e088faa3b6be" providerId="LiveId" clId="{6AF36CA8-D1C8-4C56-8110-3A0F5029C282}" dt="2024-04-22T09:03:14.437" v="1283"/>
          <ac:spMkLst>
            <pc:docMk/>
            <pc:sldMk cId="3340048631" sldId="304"/>
            <ac:spMk id="7" creationId="{F0E02CB8-EC69-68BD-7F8F-302E614C81C5}"/>
          </ac:spMkLst>
        </pc:spChg>
        <pc:spChg chg="mod">
          <ac:chgData name="Moritz Baldauf" userId="d2a8e088faa3b6be" providerId="LiveId" clId="{6AF36CA8-D1C8-4C56-8110-3A0F5029C282}" dt="2024-04-22T09:03:14.437" v="1283"/>
          <ac:spMkLst>
            <pc:docMk/>
            <pc:sldMk cId="3340048631" sldId="304"/>
            <ac:spMk id="8" creationId="{BF0CF3B9-FE9A-3B77-F0C6-96DC3EDCD9CB}"/>
          </ac:spMkLst>
        </pc:spChg>
        <pc:spChg chg="del mod">
          <ac:chgData name="Moritz Baldauf" userId="d2a8e088faa3b6be" providerId="LiveId" clId="{6AF36CA8-D1C8-4C56-8110-3A0F5029C282}" dt="2024-04-22T08:28:27.216" v="142" actId="478"/>
          <ac:spMkLst>
            <pc:docMk/>
            <pc:sldMk cId="3340048631" sldId="304"/>
            <ac:spMk id="15" creationId="{29340A1D-4FDB-D1C6-245C-45510D59FBF0}"/>
          </ac:spMkLst>
        </pc:spChg>
        <pc:grpChg chg="add mod">
          <ac:chgData name="Moritz Baldauf" userId="d2a8e088faa3b6be" providerId="LiveId" clId="{6AF36CA8-D1C8-4C56-8110-3A0F5029C282}" dt="2024-04-22T09:03:14.437" v="1283"/>
          <ac:grpSpMkLst>
            <pc:docMk/>
            <pc:sldMk cId="3340048631" sldId="304"/>
            <ac:grpSpMk id="4" creationId="{69F1436A-17F9-0810-59AA-8DF6AB771A0C}"/>
          </ac:grpSpMkLst>
        </pc:grpChg>
        <pc:graphicFrameChg chg="mod">
          <ac:chgData name="Moritz Baldauf" userId="d2a8e088faa3b6be" providerId="LiveId" clId="{6AF36CA8-D1C8-4C56-8110-3A0F5029C282}" dt="2024-04-22T08:28:27.715" v="146"/>
          <ac:graphicFrameMkLst>
            <pc:docMk/>
            <pc:sldMk cId="3340048631" sldId="304"/>
            <ac:graphicFrameMk id="16" creationId="{4203E00B-5D0F-27EA-7896-BE755DFF650D}"/>
          </ac:graphicFrameMkLst>
        </pc:graphicFrameChg>
        <pc:picChg chg="add mod">
          <ac:chgData name="Moritz Baldauf" userId="d2a8e088faa3b6be" providerId="LiveId" clId="{6AF36CA8-D1C8-4C56-8110-3A0F5029C282}" dt="2024-04-22T09:04:52.734" v="1293"/>
          <ac:picMkLst>
            <pc:docMk/>
            <pc:sldMk cId="3340048631" sldId="304"/>
            <ac:picMk id="9" creationId="{44E887ED-8A2E-DFA3-4F25-8C91508C3F11}"/>
          </ac:picMkLst>
        </pc:picChg>
      </pc:sldChg>
      <pc:sldChg chg="addSp delSp modSp mod">
        <pc:chgData name="Moritz Baldauf" userId="d2a8e088faa3b6be" providerId="LiveId" clId="{6AF36CA8-D1C8-4C56-8110-3A0F5029C282}" dt="2024-04-22T09:54:56.948" v="3523" actId="478"/>
        <pc:sldMkLst>
          <pc:docMk/>
          <pc:sldMk cId="817516300" sldId="305"/>
        </pc:sldMkLst>
        <pc:spChg chg="add del mod modVis">
          <ac:chgData name="Moritz Baldauf" userId="d2a8e088faa3b6be" providerId="LiveId" clId="{6AF36CA8-D1C8-4C56-8110-3A0F5029C282}" dt="2024-04-22T08:27:10.828" v="57"/>
          <ac:spMkLst>
            <pc:docMk/>
            <pc:sldMk cId="817516300" sldId="305"/>
            <ac:spMk id="2" creationId="{41A08CE7-234E-CD08-D535-8876796EB343}"/>
          </ac:spMkLst>
        </pc:spChg>
        <pc:spChg chg="add del mod modVis">
          <ac:chgData name="Moritz Baldauf" userId="d2a8e088faa3b6be" providerId="LiveId" clId="{6AF36CA8-D1C8-4C56-8110-3A0F5029C282}" dt="2024-04-22T08:28:07.817" v="113"/>
          <ac:spMkLst>
            <pc:docMk/>
            <pc:sldMk cId="817516300" sldId="305"/>
            <ac:spMk id="3" creationId="{A0BE08C5-3BB7-8A0D-1D91-2F6581EF7DE2}"/>
          </ac:spMkLst>
        </pc:spChg>
        <pc:spChg chg="add mod">
          <ac:chgData name="Moritz Baldauf" userId="d2a8e088faa3b6be" providerId="LiveId" clId="{6AF36CA8-D1C8-4C56-8110-3A0F5029C282}" dt="2024-04-22T08:58:23.371" v="1221"/>
          <ac:spMkLst>
            <pc:docMk/>
            <pc:sldMk cId="817516300" sldId="305"/>
            <ac:spMk id="4" creationId="{8D1F4998-B6E2-45C5-38AC-858275E0813C}"/>
          </ac:spMkLst>
        </pc:spChg>
        <pc:spChg chg="add del mod">
          <ac:chgData name="Moritz Baldauf" userId="d2a8e088faa3b6be" providerId="LiveId" clId="{6AF36CA8-D1C8-4C56-8110-3A0F5029C282}" dt="2024-04-22T09:54:56.948" v="3523" actId="478"/>
          <ac:spMkLst>
            <pc:docMk/>
            <pc:sldMk cId="817516300" sldId="305"/>
            <ac:spMk id="5" creationId="{D4CED141-3FD3-31C1-6956-E75290ACA92D}"/>
          </ac:spMkLst>
        </pc:spChg>
        <pc:spChg chg="mod">
          <ac:chgData name="Moritz Baldauf" userId="d2a8e088faa3b6be" providerId="LiveId" clId="{6AF36CA8-D1C8-4C56-8110-3A0F5029C282}" dt="2024-04-22T09:03:02.229" v="1282" actId="207"/>
          <ac:spMkLst>
            <pc:docMk/>
            <pc:sldMk cId="817516300" sldId="305"/>
            <ac:spMk id="7" creationId="{7F513D93-2CF0-0D3B-B894-FA8781D73762}"/>
          </ac:spMkLst>
        </pc:spChg>
        <pc:spChg chg="mod">
          <ac:chgData name="Moritz Baldauf" userId="d2a8e088faa3b6be" providerId="LiveId" clId="{6AF36CA8-D1C8-4C56-8110-3A0F5029C282}" dt="2024-04-22T09:03:02.229" v="1282" actId="207"/>
          <ac:spMkLst>
            <pc:docMk/>
            <pc:sldMk cId="817516300" sldId="305"/>
            <ac:spMk id="8" creationId="{7C63D60C-20A1-0EBB-E44B-A6BBB9A7ADF5}"/>
          </ac:spMkLst>
        </pc:spChg>
        <pc:spChg chg="mod">
          <ac:chgData name="Moritz Baldauf" userId="d2a8e088faa3b6be" providerId="LiveId" clId="{6AF36CA8-D1C8-4C56-8110-3A0F5029C282}" dt="2024-04-22T09:03:02.229" v="1282" actId="207"/>
          <ac:spMkLst>
            <pc:docMk/>
            <pc:sldMk cId="817516300" sldId="305"/>
            <ac:spMk id="9" creationId="{0EA38B50-3F78-8531-65F0-96902055C20C}"/>
          </ac:spMkLst>
        </pc:spChg>
        <pc:spChg chg="mod">
          <ac:chgData name="Moritz Baldauf" userId="d2a8e088faa3b6be" providerId="LiveId" clId="{6AF36CA8-D1C8-4C56-8110-3A0F5029C282}" dt="2024-04-22T09:03:02.229" v="1282" actId="207"/>
          <ac:spMkLst>
            <pc:docMk/>
            <pc:sldMk cId="817516300" sldId="305"/>
            <ac:spMk id="10" creationId="{6DCE48C0-68CD-62C6-7326-80B61CBD38B3}"/>
          </ac:spMkLst>
        </pc:spChg>
        <pc:spChg chg="mod">
          <ac:chgData name="Moritz Baldauf" userId="d2a8e088faa3b6be" providerId="LiveId" clId="{6AF36CA8-D1C8-4C56-8110-3A0F5029C282}" dt="2024-04-22T08:28:19.554" v="126" actId="1076"/>
          <ac:spMkLst>
            <pc:docMk/>
            <pc:sldMk cId="817516300" sldId="305"/>
            <ac:spMk id="15" creationId="{1A4CA57F-B7AD-4757-3641-3895645126AE}"/>
          </ac:spMkLst>
        </pc:spChg>
        <pc:grpChg chg="add mod">
          <ac:chgData name="Moritz Baldauf" userId="d2a8e088faa3b6be" providerId="LiveId" clId="{6AF36CA8-D1C8-4C56-8110-3A0F5029C282}" dt="2024-04-22T09:03:02.229" v="1282" actId="207"/>
          <ac:grpSpMkLst>
            <pc:docMk/>
            <pc:sldMk cId="817516300" sldId="305"/>
            <ac:grpSpMk id="6" creationId="{FD9787EB-B510-F154-0A38-755112CF5D13}"/>
          </ac:grpSpMkLst>
        </pc:grpChg>
        <pc:graphicFrameChg chg="mod">
          <ac:chgData name="Moritz Baldauf" userId="d2a8e088faa3b6be" providerId="LiveId" clId="{6AF36CA8-D1C8-4C56-8110-3A0F5029C282}" dt="2024-04-22T08:28:19.575" v="128"/>
          <ac:graphicFrameMkLst>
            <pc:docMk/>
            <pc:sldMk cId="817516300" sldId="305"/>
            <ac:graphicFrameMk id="16" creationId="{B717AB91-800D-E5AF-7DCF-9B23FFA10095}"/>
          </ac:graphicFrameMkLst>
        </pc:graphicFrameChg>
        <pc:picChg chg="add mod">
          <ac:chgData name="Moritz Baldauf" userId="d2a8e088faa3b6be" providerId="LiveId" clId="{6AF36CA8-D1C8-4C56-8110-3A0F5029C282}" dt="2024-04-22T09:04:47.448" v="1291" actId="1076"/>
          <ac:picMkLst>
            <pc:docMk/>
            <pc:sldMk cId="817516300" sldId="305"/>
            <ac:picMk id="1026" creationId="{729E3C65-3FC8-A3F0-A8B8-934CF25776BD}"/>
          </ac:picMkLst>
        </pc:picChg>
      </pc:sldChg>
      <pc:sldChg chg="addSp delSp modSp del mod">
        <pc:chgData name="Moritz Baldauf" userId="d2a8e088faa3b6be" providerId="LiveId" clId="{6AF36CA8-D1C8-4C56-8110-3A0F5029C282}" dt="2024-04-22T08:53:33.010" v="977" actId="47"/>
        <pc:sldMkLst>
          <pc:docMk/>
          <pc:sldMk cId="2474176989" sldId="306"/>
        </pc:sldMkLst>
        <pc:spChg chg="del mod">
          <ac:chgData name="Moritz Baldauf" userId="d2a8e088faa3b6be" providerId="LiveId" clId="{6AF36CA8-D1C8-4C56-8110-3A0F5029C282}" dt="2024-04-22T08:28:37.922" v="181" actId="478"/>
          <ac:spMkLst>
            <pc:docMk/>
            <pc:sldMk cId="2474176989" sldId="306"/>
            <ac:spMk id="2" creationId="{B503D8D4-A57D-1A6B-A877-240D15CC80BD}"/>
          </ac:spMkLst>
        </pc:spChg>
        <pc:spChg chg="add del mod modVis">
          <ac:chgData name="Moritz Baldauf" userId="d2a8e088faa3b6be" providerId="LiveId" clId="{6AF36CA8-D1C8-4C56-8110-3A0F5029C282}" dt="2024-04-22T08:28:32.826" v="171"/>
          <ac:spMkLst>
            <pc:docMk/>
            <pc:sldMk cId="2474176989" sldId="306"/>
            <ac:spMk id="4" creationId="{91C06C3F-4CB5-CFD6-3D67-D389BBCA24E4}"/>
          </ac:spMkLst>
        </pc:spChg>
        <pc:spChg chg="add mod">
          <ac:chgData name="Moritz Baldauf" userId="d2a8e088faa3b6be" providerId="LiveId" clId="{6AF36CA8-D1C8-4C56-8110-3A0F5029C282}" dt="2024-04-22T08:53:29.277" v="975" actId="21"/>
          <ac:spMkLst>
            <pc:docMk/>
            <pc:sldMk cId="2474176989" sldId="306"/>
            <ac:spMk id="5" creationId="{FAFA62A7-F39D-6BA2-0DE6-98BBAB2790DF}"/>
          </ac:spMkLst>
        </pc:spChg>
        <pc:graphicFrameChg chg="mod">
          <ac:chgData name="Moritz Baldauf" userId="d2a8e088faa3b6be" providerId="LiveId" clId="{6AF36CA8-D1C8-4C56-8110-3A0F5029C282}" dt="2024-04-22T08:28:38.419" v="185"/>
          <ac:graphicFrameMkLst>
            <pc:docMk/>
            <pc:sldMk cId="2474176989" sldId="306"/>
            <ac:graphicFrameMk id="3" creationId="{73A8F91F-6D55-643F-983C-2E726EA06106}"/>
          </ac:graphicFrameMkLst>
        </pc:graphicFrameChg>
      </pc:sldChg>
      <pc:sldChg chg="addSp delSp modSp del mod">
        <pc:chgData name="Moritz Baldauf" userId="d2a8e088faa3b6be" providerId="LiveId" clId="{6AF36CA8-D1C8-4C56-8110-3A0F5029C282}" dt="2024-04-22T08:53:40.348" v="981" actId="47"/>
        <pc:sldMkLst>
          <pc:docMk/>
          <pc:sldMk cId="3838021037" sldId="307"/>
        </pc:sldMkLst>
        <pc:spChg chg="del mod">
          <ac:chgData name="Moritz Baldauf" userId="d2a8e088faa3b6be" providerId="LiveId" clId="{6AF36CA8-D1C8-4C56-8110-3A0F5029C282}" dt="2024-04-22T08:28:47.906" v="220" actId="478"/>
          <ac:spMkLst>
            <pc:docMk/>
            <pc:sldMk cId="3838021037" sldId="307"/>
            <ac:spMk id="2" creationId="{71EC67F3-AEB0-7259-757F-D4FFE1D4C793}"/>
          </ac:spMkLst>
        </pc:spChg>
        <pc:spChg chg="add mod">
          <ac:chgData name="Moritz Baldauf" userId="d2a8e088faa3b6be" providerId="LiveId" clId="{6AF36CA8-D1C8-4C56-8110-3A0F5029C282}" dt="2024-04-22T08:53:37.467" v="979" actId="21"/>
          <ac:spMkLst>
            <pc:docMk/>
            <pc:sldMk cId="3838021037" sldId="307"/>
            <ac:spMk id="3" creationId="{49075267-CA42-CBE5-2859-5251DCCBC870}"/>
          </ac:spMkLst>
        </pc:spChg>
        <pc:spChg chg="add del mod modVis">
          <ac:chgData name="Moritz Baldauf" userId="d2a8e088faa3b6be" providerId="LiveId" clId="{6AF36CA8-D1C8-4C56-8110-3A0F5029C282}" dt="2024-04-22T08:28:43.229" v="211"/>
          <ac:spMkLst>
            <pc:docMk/>
            <pc:sldMk cId="3838021037" sldId="307"/>
            <ac:spMk id="5" creationId="{25BCB21F-3D42-EA84-16FB-96E3B47A3CFF}"/>
          </ac:spMkLst>
        </pc:spChg>
        <pc:graphicFrameChg chg="mod">
          <ac:chgData name="Moritz Baldauf" userId="d2a8e088faa3b6be" providerId="LiveId" clId="{6AF36CA8-D1C8-4C56-8110-3A0F5029C282}" dt="2024-04-22T08:28:48.401" v="224"/>
          <ac:graphicFrameMkLst>
            <pc:docMk/>
            <pc:sldMk cId="3838021037" sldId="307"/>
            <ac:graphicFrameMk id="4" creationId="{54F5D4B8-54F1-29E1-999F-342F2D76463E}"/>
          </ac:graphicFrameMkLst>
        </pc:graphicFrameChg>
      </pc:sldChg>
      <pc:sldChg chg="addSp delSp modSp del mod">
        <pc:chgData name="Moritz Baldauf" userId="d2a8e088faa3b6be" providerId="LiveId" clId="{6AF36CA8-D1C8-4C56-8110-3A0F5029C282}" dt="2024-04-22T08:53:56.799" v="989" actId="47"/>
        <pc:sldMkLst>
          <pc:docMk/>
          <pc:sldMk cId="2467432408" sldId="308"/>
        </pc:sldMkLst>
        <pc:spChg chg="del mod">
          <ac:chgData name="Moritz Baldauf" userId="d2a8e088faa3b6be" providerId="LiveId" clId="{6AF36CA8-D1C8-4C56-8110-3A0F5029C282}" dt="2024-04-22T08:28:59.251" v="259" actId="478"/>
          <ac:spMkLst>
            <pc:docMk/>
            <pc:sldMk cId="2467432408" sldId="308"/>
            <ac:spMk id="2" creationId="{ECF3210B-DDCC-EC73-D0C4-4BA4CEE76BC4}"/>
          </ac:spMkLst>
        </pc:spChg>
        <pc:spChg chg="add mod ord">
          <ac:chgData name="Moritz Baldauf" userId="d2a8e088faa3b6be" providerId="LiveId" clId="{6AF36CA8-D1C8-4C56-8110-3A0F5029C282}" dt="2024-04-22T08:53:49.541" v="985" actId="21"/>
          <ac:spMkLst>
            <pc:docMk/>
            <pc:sldMk cId="2467432408" sldId="308"/>
            <ac:spMk id="6" creationId="{11ADBBE1-BA49-4799-B675-FDCB00789611}"/>
          </ac:spMkLst>
        </pc:spChg>
        <pc:spChg chg="add del mod modVis">
          <ac:chgData name="Moritz Baldauf" userId="d2a8e088faa3b6be" providerId="LiveId" clId="{6AF36CA8-D1C8-4C56-8110-3A0F5029C282}" dt="2024-04-22T08:28:55.144" v="250"/>
          <ac:spMkLst>
            <pc:docMk/>
            <pc:sldMk cId="2467432408" sldId="308"/>
            <ac:spMk id="7" creationId="{3F913599-1FC4-878F-FC04-E3980D3BF6EC}"/>
          </ac:spMkLst>
        </pc:spChg>
        <pc:spChg chg="add mod">
          <ac:chgData name="Moritz Baldauf" userId="d2a8e088faa3b6be" providerId="LiveId" clId="{6AF36CA8-D1C8-4C56-8110-3A0F5029C282}" dt="2024-04-22T08:39:10.921" v="642" actId="164"/>
          <ac:spMkLst>
            <pc:docMk/>
            <pc:sldMk cId="2467432408" sldId="308"/>
            <ac:spMk id="8" creationId="{93BBD1FA-B270-E790-9A95-CFDA97EA47A2}"/>
          </ac:spMkLst>
        </pc:spChg>
        <pc:spChg chg="add mod">
          <ac:chgData name="Moritz Baldauf" userId="d2a8e088faa3b6be" providerId="LiveId" clId="{6AF36CA8-D1C8-4C56-8110-3A0F5029C282}" dt="2024-04-22T08:39:10.921" v="642" actId="164"/>
          <ac:spMkLst>
            <pc:docMk/>
            <pc:sldMk cId="2467432408" sldId="308"/>
            <ac:spMk id="9" creationId="{7BC7463B-9C72-E5EB-477D-25CDB93366B2}"/>
          </ac:spMkLst>
        </pc:spChg>
        <pc:spChg chg="add mod">
          <ac:chgData name="Moritz Baldauf" userId="d2a8e088faa3b6be" providerId="LiveId" clId="{6AF36CA8-D1C8-4C56-8110-3A0F5029C282}" dt="2024-04-22T08:39:10.921" v="642" actId="164"/>
          <ac:spMkLst>
            <pc:docMk/>
            <pc:sldMk cId="2467432408" sldId="308"/>
            <ac:spMk id="10" creationId="{F0CE823A-864A-1AA1-E4E0-DC8FB6F5EBFC}"/>
          </ac:spMkLst>
        </pc:spChg>
        <pc:spChg chg="add mod">
          <ac:chgData name="Moritz Baldauf" userId="d2a8e088faa3b6be" providerId="LiveId" clId="{6AF36CA8-D1C8-4C56-8110-3A0F5029C282}" dt="2024-04-22T08:39:10.921" v="642" actId="164"/>
          <ac:spMkLst>
            <pc:docMk/>
            <pc:sldMk cId="2467432408" sldId="308"/>
            <ac:spMk id="11" creationId="{DD5CAC0E-D735-7D13-73F8-1A74E8DB3C4D}"/>
          </ac:spMkLst>
        </pc:spChg>
        <pc:grpChg chg="add del mod ord">
          <ac:chgData name="Moritz Baldauf" userId="d2a8e088faa3b6be" providerId="LiveId" clId="{6AF36CA8-D1C8-4C56-8110-3A0F5029C282}" dt="2024-04-22T08:53:46.524" v="983" actId="21"/>
          <ac:grpSpMkLst>
            <pc:docMk/>
            <pc:sldMk cId="2467432408" sldId="308"/>
            <ac:grpSpMk id="12" creationId="{4E0DAD4F-43A9-7005-2A79-B877CE80EDAD}"/>
          </ac:grpSpMkLst>
        </pc:grpChg>
        <pc:graphicFrameChg chg="mod">
          <ac:chgData name="Moritz Baldauf" userId="d2a8e088faa3b6be" providerId="LiveId" clId="{6AF36CA8-D1C8-4C56-8110-3A0F5029C282}" dt="2024-04-22T08:40:03.509" v="668"/>
          <ac:graphicFrameMkLst>
            <pc:docMk/>
            <pc:sldMk cId="2467432408" sldId="308"/>
            <ac:graphicFrameMk id="4" creationId="{12589276-8293-4A0D-2689-694595E60939}"/>
          </ac:graphicFrameMkLst>
        </pc:graphicFrameChg>
        <pc:picChg chg="add mod modCrop">
          <ac:chgData name="Moritz Baldauf" userId="d2a8e088faa3b6be" providerId="LiveId" clId="{6AF36CA8-D1C8-4C56-8110-3A0F5029C282}" dt="2024-04-22T08:39:57.077" v="658" actId="1076"/>
          <ac:picMkLst>
            <pc:docMk/>
            <pc:sldMk cId="2467432408" sldId="308"/>
            <ac:picMk id="5" creationId="{3FECE666-CFAF-9869-C894-8E3E66CB1D1F}"/>
          </ac:picMkLst>
        </pc:picChg>
        <pc:picChg chg="add del mod ord">
          <ac:chgData name="Moritz Baldauf" userId="d2a8e088faa3b6be" providerId="LiveId" clId="{6AF36CA8-D1C8-4C56-8110-3A0F5029C282}" dt="2024-04-22T08:53:46.524" v="983" actId="21"/>
          <ac:picMkLst>
            <pc:docMk/>
            <pc:sldMk cId="2467432408" sldId="308"/>
            <ac:picMk id="14" creationId="{A25F9ABF-0508-099B-FFC1-2398D4F48AC8}"/>
          </ac:picMkLst>
        </pc:picChg>
        <pc:picChg chg="add del mod">
          <ac:chgData name="Moritz Baldauf" userId="d2a8e088faa3b6be" providerId="LiveId" clId="{6AF36CA8-D1C8-4C56-8110-3A0F5029C282}" dt="2024-04-22T08:53:46.524" v="983" actId="21"/>
          <ac:picMkLst>
            <pc:docMk/>
            <pc:sldMk cId="2467432408" sldId="308"/>
            <ac:picMk id="16" creationId="{9B25E45B-7158-9B88-9DEF-51124512406D}"/>
          </ac:picMkLst>
        </pc:picChg>
        <pc:cxnChg chg="add mod">
          <ac:chgData name="Moritz Baldauf" userId="d2a8e088faa3b6be" providerId="LiveId" clId="{6AF36CA8-D1C8-4C56-8110-3A0F5029C282}" dt="2024-04-22T08:51:43.384" v="887" actId="1036"/>
          <ac:cxnSpMkLst>
            <pc:docMk/>
            <pc:sldMk cId="2467432408" sldId="308"/>
            <ac:cxnSpMk id="18" creationId="{E28B8D9E-1342-7868-7F22-05E1EBD3E974}"/>
          </ac:cxnSpMkLst>
        </pc:cxnChg>
      </pc:sldChg>
      <pc:sldChg chg="addSp delSp modSp del mod">
        <pc:chgData name="Moritz Baldauf" userId="d2a8e088faa3b6be" providerId="LiveId" clId="{6AF36CA8-D1C8-4C56-8110-3A0F5029C282}" dt="2024-04-22T08:54:21.879" v="997" actId="47"/>
        <pc:sldMkLst>
          <pc:docMk/>
          <pc:sldMk cId="1954829756" sldId="309"/>
        </pc:sldMkLst>
        <pc:spChg chg="del mod">
          <ac:chgData name="Moritz Baldauf" userId="d2a8e088faa3b6be" providerId="LiveId" clId="{6AF36CA8-D1C8-4C56-8110-3A0F5029C282}" dt="2024-04-22T08:29:13.465" v="298" actId="478"/>
          <ac:spMkLst>
            <pc:docMk/>
            <pc:sldMk cId="1954829756" sldId="309"/>
            <ac:spMk id="2" creationId="{3BC57DA4-3C07-D3EC-D148-564527B3E364}"/>
          </ac:spMkLst>
        </pc:spChg>
        <pc:spChg chg="add mod">
          <ac:chgData name="Moritz Baldauf" userId="d2a8e088faa3b6be" providerId="LiveId" clId="{6AF36CA8-D1C8-4C56-8110-3A0F5029C282}" dt="2024-04-22T08:54:02.636" v="991" actId="21"/>
          <ac:spMkLst>
            <pc:docMk/>
            <pc:sldMk cId="1954829756" sldId="309"/>
            <ac:spMk id="3" creationId="{BDCBB295-F348-96DB-75FC-4B668A2482C0}"/>
          </ac:spMkLst>
        </pc:spChg>
        <pc:spChg chg="add del mod modVis">
          <ac:chgData name="Moritz Baldauf" userId="d2a8e088faa3b6be" providerId="LiveId" clId="{6AF36CA8-D1C8-4C56-8110-3A0F5029C282}" dt="2024-04-22T08:29:08.921" v="289"/>
          <ac:spMkLst>
            <pc:docMk/>
            <pc:sldMk cId="1954829756" sldId="309"/>
            <ac:spMk id="5" creationId="{94398747-AED2-24E0-5394-6C0CE0DF84BE}"/>
          </ac:spMkLst>
        </pc:spChg>
        <pc:graphicFrameChg chg="mod">
          <ac:chgData name="Moritz Baldauf" userId="d2a8e088faa3b6be" providerId="LiveId" clId="{6AF36CA8-D1C8-4C56-8110-3A0F5029C282}" dt="2024-04-22T08:29:13.965" v="302"/>
          <ac:graphicFrameMkLst>
            <pc:docMk/>
            <pc:sldMk cId="1954829756" sldId="309"/>
            <ac:graphicFrameMk id="4" creationId="{59322D95-FBFC-9442-E7AE-26EAD74D5560}"/>
          </ac:graphicFrameMkLst>
        </pc:graphicFrameChg>
      </pc:sldChg>
      <pc:sldChg chg="addSp delSp modSp add mod setBg">
        <pc:chgData name="Moritz Baldauf" userId="d2a8e088faa3b6be" providerId="LiveId" clId="{6AF36CA8-D1C8-4C56-8110-3A0F5029C282}" dt="2024-04-22T08:57:05.730" v="1213" actId="12788"/>
        <pc:sldMkLst>
          <pc:docMk/>
          <pc:sldMk cId="0" sldId="310"/>
        </pc:sldMkLst>
        <pc:spChg chg="mod">
          <ac:chgData name="Moritz Baldauf" userId="d2a8e088faa3b6be" providerId="LiveId" clId="{6AF36CA8-D1C8-4C56-8110-3A0F5029C282}" dt="2024-04-22T08:55:49.833" v="1078"/>
          <ac:spMkLst>
            <pc:docMk/>
            <pc:sldMk cId="0" sldId="310"/>
            <ac:spMk id="4" creationId="{7B34A60F-C14E-96F5-6A35-8FF180149B2B}"/>
          </ac:spMkLst>
        </pc:spChg>
        <pc:spChg chg="mod">
          <ac:chgData name="Moritz Baldauf" userId="d2a8e088faa3b6be" providerId="LiveId" clId="{6AF36CA8-D1C8-4C56-8110-3A0F5029C282}" dt="2024-04-22T08:55:49.833" v="1078"/>
          <ac:spMkLst>
            <pc:docMk/>
            <pc:sldMk cId="0" sldId="310"/>
            <ac:spMk id="6" creationId="{648D7CF8-9357-F308-7083-81BC2181E8C6}"/>
          </ac:spMkLst>
        </pc:spChg>
        <pc:spChg chg="mod">
          <ac:chgData name="Moritz Baldauf" userId="d2a8e088faa3b6be" providerId="LiveId" clId="{6AF36CA8-D1C8-4C56-8110-3A0F5029C282}" dt="2024-04-22T08:55:49.833" v="1078"/>
          <ac:spMkLst>
            <pc:docMk/>
            <pc:sldMk cId="0" sldId="310"/>
            <ac:spMk id="7" creationId="{BD3BAC96-6E69-0E0C-F065-E356702171CF}"/>
          </ac:spMkLst>
        </pc:spChg>
        <pc:spChg chg="mod">
          <ac:chgData name="Moritz Baldauf" userId="d2a8e088faa3b6be" providerId="LiveId" clId="{6AF36CA8-D1C8-4C56-8110-3A0F5029C282}" dt="2024-04-22T08:55:49.833" v="1078"/>
          <ac:spMkLst>
            <pc:docMk/>
            <pc:sldMk cId="0" sldId="310"/>
            <ac:spMk id="8" creationId="{8CB49D3B-5AE0-2F4A-14F0-B753F0F345F0}"/>
          </ac:spMkLst>
        </pc:spChg>
        <pc:spChg chg="mod">
          <ac:chgData name="Moritz Baldauf" userId="d2a8e088faa3b6be" providerId="LiveId" clId="{6AF36CA8-D1C8-4C56-8110-3A0F5029C282}" dt="2024-04-22T08:55:49.833" v="1078"/>
          <ac:spMkLst>
            <pc:docMk/>
            <pc:sldMk cId="0" sldId="310"/>
            <ac:spMk id="9" creationId="{DC556717-E6A1-B526-C929-832A4F7474FF}"/>
          </ac:spMkLst>
        </pc:spChg>
        <pc:spChg chg="mod">
          <ac:chgData name="Moritz Baldauf" userId="d2a8e088faa3b6be" providerId="LiveId" clId="{6AF36CA8-D1C8-4C56-8110-3A0F5029C282}" dt="2024-04-22T08:55:49.833" v="1078"/>
          <ac:spMkLst>
            <pc:docMk/>
            <pc:sldMk cId="0" sldId="310"/>
            <ac:spMk id="10" creationId="{DED0CA8C-578B-FABA-6076-B33A9D7CE4AA}"/>
          </ac:spMkLst>
        </pc:spChg>
        <pc:spChg chg="mod">
          <ac:chgData name="Moritz Baldauf" userId="d2a8e088faa3b6be" providerId="LiveId" clId="{6AF36CA8-D1C8-4C56-8110-3A0F5029C282}" dt="2024-04-22T08:55:49.833" v="1078"/>
          <ac:spMkLst>
            <pc:docMk/>
            <pc:sldMk cId="0" sldId="310"/>
            <ac:spMk id="11" creationId="{E6ED5529-8B1F-883D-25B6-3FCA83EB1B3D}"/>
          </ac:spMkLst>
        </pc:spChg>
        <pc:spChg chg="mod">
          <ac:chgData name="Moritz Baldauf" userId="d2a8e088faa3b6be" providerId="LiveId" clId="{6AF36CA8-D1C8-4C56-8110-3A0F5029C282}" dt="2024-04-22T08:55:49.833" v="1078"/>
          <ac:spMkLst>
            <pc:docMk/>
            <pc:sldMk cId="0" sldId="310"/>
            <ac:spMk id="12" creationId="{DF84B156-30A6-9B78-23E8-2219A9E61FC7}"/>
          </ac:spMkLst>
        </pc:spChg>
        <pc:spChg chg="mod">
          <ac:chgData name="Moritz Baldauf" userId="d2a8e088faa3b6be" providerId="LiveId" clId="{6AF36CA8-D1C8-4C56-8110-3A0F5029C282}" dt="2024-04-22T08:55:49.833" v="1078"/>
          <ac:spMkLst>
            <pc:docMk/>
            <pc:sldMk cId="0" sldId="310"/>
            <ac:spMk id="13" creationId="{3E634902-BDD7-E46F-62AD-A110D10FB66D}"/>
          </ac:spMkLst>
        </pc:spChg>
        <pc:spChg chg="mod">
          <ac:chgData name="Moritz Baldauf" userId="d2a8e088faa3b6be" providerId="LiveId" clId="{6AF36CA8-D1C8-4C56-8110-3A0F5029C282}" dt="2024-04-22T08:55:49.833" v="1078"/>
          <ac:spMkLst>
            <pc:docMk/>
            <pc:sldMk cId="0" sldId="310"/>
            <ac:spMk id="14" creationId="{02704872-450A-ECEB-CA66-114D5BC1B116}"/>
          </ac:spMkLst>
        </pc:spChg>
        <pc:spChg chg="mod">
          <ac:chgData name="Moritz Baldauf" userId="d2a8e088faa3b6be" providerId="LiveId" clId="{6AF36CA8-D1C8-4C56-8110-3A0F5029C282}" dt="2024-04-22T08:55:49.833" v="1078"/>
          <ac:spMkLst>
            <pc:docMk/>
            <pc:sldMk cId="0" sldId="310"/>
            <ac:spMk id="15" creationId="{C175C053-5DAD-3E1F-F426-A280880BF3C6}"/>
          </ac:spMkLst>
        </pc:spChg>
        <pc:spChg chg="mod">
          <ac:chgData name="Moritz Baldauf" userId="d2a8e088faa3b6be" providerId="LiveId" clId="{6AF36CA8-D1C8-4C56-8110-3A0F5029C282}" dt="2024-04-22T08:55:49.833" v="1078"/>
          <ac:spMkLst>
            <pc:docMk/>
            <pc:sldMk cId="0" sldId="310"/>
            <ac:spMk id="16" creationId="{A3B9C595-3B15-728E-7E4D-187D7B645F53}"/>
          </ac:spMkLst>
        </pc:spChg>
        <pc:spChg chg="mod">
          <ac:chgData name="Moritz Baldauf" userId="d2a8e088faa3b6be" providerId="LiveId" clId="{6AF36CA8-D1C8-4C56-8110-3A0F5029C282}" dt="2024-04-22T08:55:49.833" v="1078"/>
          <ac:spMkLst>
            <pc:docMk/>
            <pc:sldMk cId="0" sldId="310"/>
            <ac:spMk id="17" creationId="{81EFF430-7999-3151-7734-C14C992E4CC9}"/>
          </ac:spMkLst>
        </pc:spChg>
        <pc:spChg chg="mod">
          <ac:chgData name="Moritz Baldauf" userId="d2a8e088faa3b6be" providerId="LiveId" clId="{6AF36CA8-D1C8-4C56-8110-3A0F5029C282}" dt="2024-04-22T08:55:49.833" v="1078"/>
          <ac:spMkLst>
            <pc:docMk/>
            <pc:sldMk cId="0" sldId="310"/>
            <ac:spMk id="18" creationId="{7B349AD6-133B-E11E-7B56-30EB971B0139}"/>
          </ac:spMkLst>
        </pc:spChg>
        <pc:spChg chg="mod">
          <ac:chgData name="Moritz Baldauf" userId="d2a8e088faa3b6be" providerId="LiveId" clId="{6AF36CA8-D1C8-4C56-8110-3A0F5029C282}" dt="2024-04-22T08:55:49.833" v="1078"/>
          <ac:spMkLst>
            <pc:docMk/>
            <pc:sldMk cId="0" sldId="310"/>
            <ac:spMk id="19" creationId="{6F61BCF1-A4A6-4D21-72BE-05F481B24328}"/>
          </ac:spMkLst>
        </pc:spChg>
        <pc:spChg chg="mod">
          <ac:chgData name="Moritz Baldauf" userId="d2a8e088faa3b6be" providerId="LiveId" clId="{6AF36CA8-D1C8-4C56-8110-3A0F5029C282}" dt="2024-04-22T08:55:49.833" v="1078"/>
          <ac:spMkLst>
            <pc:docMk/>
            <pc:sldMk cId="0" sldId="310"/>
            <ac:spMk id="20" creationId="{D5D3C467-35E2-C8F9-58F3-27426A2FC6BC}"/>
          </ac:spMkLst>
        </pc:spChg>
        <pc:spChg chg="mod">
          <ac:chgData name="Moritz Baldauf" userId="d2a8e088faa3b6be" providerId="LiveId" clId="{6AF36CA8-D1C8-4C56-8110-3A0F5029C282}" dt="2024-04-22T08:55:49.833" v="1078"/>
          <ac:spMkLst>
            <pc:docMk/>
            <pc:sldMk cId="0" sldId="310"/>
            <ac:spMk id="21" creationId="{354D5C9E-FE8A-C199-9DA1-F2428D3F66D6}"/>
          </ac:spMkLst>
        </pc:spChg>
        <pc:spChg chg="mod">
          <ac:chgData name="Moritz Baldauf" userId="d2a8e088faa3b6be" providerId="LiveId" clId="{6AF36CA8-D1C8-4C56-8110-3A0F5029C282}" dt="2024-04-22T08:55:49.833" v="1078"/>
          <ac:spMkLst>
            <pc:docMk/>
            <pc:sldMk cId="0" sldId="310"/>
            <ac:spMk id="22" creationId="{9A2E0E3E-DE76-DC4B-8BC8-6D1699E0275E}"/>
          </ac:spMkLst>
        </pc:spChg>
        <pc:spChg chg="mod">
          <ac:chgData name="Moritz Baldauf" userId="d2a8e088faa3b6be" providerId="LiveId" clId="{6AF36CA8-D1C8-4C56-8110-3A0F5029C282}" dt="2024-04-22T08:55:49.833" v="1078"/>
          <ac:spMkLst>
            <pc:docMk/>
            <pc:sldMk cId="0" sldId="310"/>
            <ac:spMk id="23" creationId="{7E02943C-917A-1EB4-AE82-5E243A9B12CC}"/>
          </ac:spMkLst>
        </pc:spChg>
        <pc:spChg chg="mod">
          <ac:chgData name="Moritz Baldauf" userId="d2a8e088faa3b6be" providerId="LiveId" clId="{6AF36CA8-D1C8-4C56-8110-3A0F5029C282}" dt="2024-04-22T08:55:49.833" v="1078"/>
          <ac:spMkLst>
            <pc:docMk/>
            <pc:sldMk cId="0" sldId="310"/>
            <ac:spMk id="24" creationId="{36167455-5152-DC14-C21D-C25BEAAE98DD}"/>
          </ac:spMkLst>
        </pc:spChg>
        <pc:spChg chg="mod">
          <ac:chgData name="Moritz Baldauf" userId="d2a8e088faa3b6be" providerId="LiveId" clId="{6AF36CA8-D1C8-4C56-8110-3A0F5029C282}" dt="2024-04-22T08:55:49.833" v="1078"/>
          <ac:spMkLst>
            <pc:docMk/>
            <pc:sldMk cId="0" sldId="310"/>
            <ac:spMk id="25" creationId="{CF0DD246-EBF2-8EFF-2C6C-BFB93511E574}"/>
          </ac:spMkLst>
        </pc:spChg>
        <pc:spChg chg="mod">
          <ac:chgData name="Moritz Baldauf" userId="d2a8e088faa3b6be" providerId="LiveId" clId="{6AF36CA8-D1C8-4C56-8110-3A0F5029C282}" dt="2024-04-22T08:55:49.833" v="1078"/>
          <ac:spMkLst>
            <pc:docMk/>
            <pc:sldMk cId="0" sldId="310"/>
            <ac:spMk id="26" creationId="{1574DA70-16B2-D4E8-3982-7B2C6646B85F}"/>
          </ac:spMkLst>
        </pc:spChg>
        <pc:spChg chg="mod">
          <ac:chgData name="Moritz Baldauf" userId="d2a8e088faa3b6be" providerId="LiveId" clId="{6AF36CA8-D1C8-4C56-8110-3A0F5029C282}" dt="2024-04-22T08:55:49.833" v="1078"/>
          <ac:spMkLst>
            <pc:docMk/>
            <pc:sldMk cId="0" sldId="310"/>
            <ac:spMk id="27" creationId="{A20C0BA0-2D3A-6DF5-35A6-F3667202A970}"/>
          </ac:spMkLst>
        </pc:spChg>
        <pc:spChg chg="mod">
          <ac:chgData name="Moritz Baldauf" userId="d2a8e088faa3b6be" providerId="LiveId" clId="{6AF36CA8-D1C8-4C56-8110-3A0F5029C282}" dt="2024-04-22T08:55:49.833" v="1078"/>
          <ac:spMkLst>
            <pc:docMk/>
            <pc:sldMk cId="0" sldId="310"/>
            <ac:spMk id="28" creationId="{2C666D76-FD03-7CA4-3E75-43831C8803EF}"/>
          </ac:spMkLst>
        </pc:spChg>
        <pc:spChg chg="mod">
          <ac:chgData name="Moritz Baldauf" userId="d2a8e088faa3b6be" providerId="LiveId" clId="{6AF36CA8-D1C8-4C56-8110-3A0F5029C282}" dt="2024-04-22T08:55:49.833" v="1078"/>
          <ac:spMkLst>
            <pc:docMk/>
            <pc:sldMk cId="0" sldId="310"/>
            <ac:spMk id="29" creationId="{DCFADFE6-4EDC-DC6F-B6BD-19C56AD2234E}"/>
          </ac:spMkLst>
        </pc:spChg>
        <pc:spChg chg="mod">
          <ac:chgData name="Moritz Baldauf" userId="d2a8e088faa3b6be" providerId="LiveId" clId="{6AF36CA8-D1C8-4C56-8110-3A0F5029C282}" dt="2024-04-22T08:55:49.833" v="1078"/>
          <ac:spMkLst>
            <pc:docMk/>
            <pc:sldMk cId="0" sldId="310"/>
            <ac:spMk id="30" creationId="{6379CDBD-96E1-5B68-BA97-DB859E9455BE}"/>
          </ac:spMkLst>
        </pc:spChg>
        <pc:spChg chg="mod">
          <ac:chgData name="Moritz Baldauf" userId="d2a8e088faa3b6be" providerId="LiveId" clId="{6AF36CA8-D1C8-4C56-8110-3A0F5029C282}" dt="2024-04-22T08:55:49.833" v="1078"/>
          <ac:spMkLst>
            <pc:docMk/>
            <pc:sldMk cId="0" sldId="310"/>
            <ac:spMk id="31" creationId="{088FBE5E-6D01-7531-D280-52EDBF3C157E}"/>
          </ac:spMkLst>
        </pc:spChg>
        <pc:spChg chg="mod">
          <ac:chgData name="Moritz Baldauf" userId="d2a8e088faa3b6be" providerId="LiveId" clId="{6AF36CA8-D1C8-4C56-8110-3A0F5029C282}" dt="2024-04-22T08:56:49.869" v="1205" actId="12788"/>
          <ac:spMkLst>
            <pc:docMk/>
            <pc:sldMk cId="0" sldId="310"/>
            <ac:spMk id="1414" creationId="{00000000-0000-0000-0000-000000000000}"/>
          </ac:spMkLst>
        </pc:spChg>
        <pc:spChg chg="mod">
          <ac:chgData name="Moritz Baldauf" userId="d2a8e088faa3b6be" providerId="LiveId" clId="{6AF36CA8-D1C8-4C56-8110-3A0F5029C282}" dt="2024-04-22T08:56:55.703" v="1210" actId="12788"/>
          <ac:spMkLst>
            <pc:docMk/>
            <pc:sldMk cId="0" sldId="310"/>
            <ac:spMk id="1415" creationId="{00000000-0000-0000-0000-000000000000}"/>
          </ac:spMkLst>
        </pc:spChg>
        <pc:spChg chg="mod">
          <ac:chgData name="Moritz Baldauf" userId="d2a8e088faa3b6be" providerId="LiveId" clId="{6AF36CA8-D1C8-4C56-8110-3A0F5029C282}" dt="2024-04-22T08:55:49.833" v="1078"/>
          <ac:spMkLst>
            <pc:docMk/>
            <pc:sldMk cId="0" sldId="310"/>
            <ac:spMk id="1417" creationId="{88B1900C-47FB-A54D-D489-673E2E6E8EA2}"/>
          </ac:spMkLst>
        </pc:spChg>
        <pc:spChg chg="mod">
          <ac:chgData name="Moritz Baldauf" userId="d2a8e088faa3b6be" providerId="LiveId" clId="{6AF36CA8-D1C8-4C56-8110-3A0F5029C282}" dt="2024-04-22T08:55:49.833" v="1078"/>
          <ac:spMkLst>
            <pc:docMk/>
            <pc:sldMk cId="0" sldId="310"/>
            <ac:spMk id="1418" creationId="{6BED9908-1A58-2859-992D-692081B37A75}"/>
          </ac:spMkLst>
        </pc:spChg>
        <pc:spChg chg="mod">
          <ac:chgData name="Moritz Baldauf" userId="d2a8e088faa3b6be" providerId="LiveId" clId="{6AF36CA8-D1C8-4C56-8110-3A0F5029C282}" dt="2024-04-22T08:55:49.833" v="1078"/>
          <ac:spMkLst>
            <pc:docMk/>
            <pc:sldMk cId="0" sldId="310"/>
            <ac:spMk id="1419" creationId="{40FC2ABB-C1D3-9EB1-9C32-63AADA6A9E68}"/>
          </ac:spMkLst>
        </pc:spChg>
        <pc:spChg chg="mod">
          <ac:chgData name="Moritz Baldauf" userId="d2a8e088faa3b6be" providerId="LiveId" clId="{6AF36CA8-D1C8-4C56-8110-3A0F5029C282}" dt="2024-04-22T08:55:49.833" v="1078"/>
          <ac:spMkLst>
            <pc:docMk/>
            <pc:sldMk cId="0" sldId="310"/>
            <ac:spMk id="1420" creationId="{9E69B5FA-ADE4-EA19-C546-2D0C8D78BFC0}"/>
          </ac:spMkLst>
        </pc:spChg>
        <pc:spChg chg="mod">
          <ac:chgData name="Moritz Baldauf" userId="d2a8e088faa3b6be" providerId="LiveId" clId="{6AF36CA8-D1C8-4C56-8110-3A0F5029C282}" dt="2024-04-22T08:55:49.833" v="1078"/>
          <ac:spMkLst>
            <pc:docMk/>
            <pc:sldMk cId="0" sldId="310"/>
            <ac:spMk id="1421" creationId="{97EB3E99-C9EB-1A9B-6D8E-517A2CBCE162}"/>
          </ac:spMkLst>
        </pc:spChg>
        <pc:spChg chg="mod">
          <ac:chgData name="Moritz Baldauf" userId="d2a8e088faa3b6be" providerId="LiveId" clId="{6AF36CA8-D1C8-4C56-8110-3A0F5029C282}" dt="2024-04-22T08:55:49.833" v="1078"/>
          <ac:spMkLst>
            <pc:docMk/>
            <pc:sldMk cId="0" sldId="310"/>
            <ac:spMk id="1422" creationId="{FD025A2D-0A11-14F0-4625-2235F0465073}"/>
          </ac:spMkLst>
        </pc:spChg>
        <pc:spChg chg="mod">
          <ac:chgData name="Moritz Baldauf" userId="d2a8e088faa3b6be" providerId="LiveId" clId="{6AF36CA8-D1C8-4C56-8110-3A0F5029C282}" dt="2024-04-22T08:55:49.833" v="1078"/>
          <ac:spMkLst>
            <pc:docMk/>
            <pc:sldMk cId="0" sldId="310"/>
            <ac:spMk id="1423" creationId="{99AFAA28-8215-8296-79FB-7A399946D12F}"/>
          </ac:spMkLst>
        </pc:spChg>
        <pc:spChg chg="mod">
          <ac:chgData name="Moritz Baldauf" userId="d2a8e088faa3b6be" providerId="LiveId" clId="{6AF36CA8-D1C8-4C56-8110-3A0F5029C282}" dt="2024-04-22T08:55:49.833" v="1078"/>
          <ac:spMkLst>
            <pc:docMk/>
            <pc:sldMk cId="0" sldId="310"/>
            <ac:spMk id="1424" creationId="{802B4FCC-E39E-AA70-12B8-D7ECFA0D0355}"/>
          </ac:spMkLst>
        </pc:spChg>
        <pc:spChg chg="mod">
          <ac:chgData name="Moritz Baldauf" userId="d2a8e088faa3b6be" providerId="LiveId" clId="{6AF36CA8-D1C8-4C56-8110-3A0F5029C282}" dt="2024-04-22T08:55:49.833" v="1078"/>
          <ac:spMkLst>
            <pc:docMk/>
            <pc:sldMk cId="0" sldId="310"/>
            <ac:spMk id="1425" creationId="{D8FDDA0F-A08D-EC63-9773-3434E4FB6741}"/>
          </ac:spMkLst>
        </pc:spChg>
        <pc:spChg chg="mod">
          <ac:chgData name="Moritz Baldauf" userId="d2a8e088faa3b6be" providerId="LiveId" clId="{6AF36CA8-D1C8-4C56-8110-3A0F5029C282}" dt="2024-04-22T08:55:49.833" v="1078"/>
          <ac:spMkLst>
            <pc:docMk/>
            <pc:sldMk cId="0" sldId="310"/>
            <ac:spMk id="1426" creationId="{5B02E09C-352E-0F4D-B606-40DE1FBA590C}"/>
          </ac:spMkLst>
        </pc:spChg>
        <pc:spChg chg="mod">
          <ac:chgData name="Moritz Baldauf" userId="d2a8e088faa3b6be" providerId="LiveId" clId="{6AF36CA8-D1C8-4C56-8110-3A0F5029C282}" dt="2024-04-22T08:55:49.833" v="1078"/>
          <ac:spMkLst>
            <pc:docMk/>
            <pc:sldMk cId="0" sldId="310"/>
            <ac:spMk id="1427" creationId="{4C2AC634-112D-E442-C07C-623CD7B0D02F}"/>
          </ac:spMkLst>
        </pc:spChg>
        <pc:spChg chg="mod">
          <ac:chgData name="Moritz Baldauf" userId="d2a8e088faa3b6be" providerId="LiveId" clId="{6AF36CA8-D1C8-4C56-8110-3A0F5029C282}" dt="2024-04-22T08:55:49.833" v="1078"/>
          <ac:spMkLst>
            <pc:docMk/>
            <pc:sldMk cId="0" sldId="310"/>
            <ac:spMk id="1428" creationId="{AC83E5F4-4D87-1125-6252-FB68D5D9A840}"/>
          </ac:spMkLst>
        </pc:spChg>
        <pc:spChg chg="mod">
          <ac:chgData name="Moritz Baldauf" userId="d2a8e088faa3b6be" providerId="LiveId" clId="{6AF36CA8-D1C8-4C56-8110-3A0F5029C282}" dt="2024-04-22T08:55:49.833" v="1078"/>
          <ac:spMkLst>
            <pc:docMk/>
            <pc:sldMk cId="0" sldId="310"/>
            <ac:spMk id="1429" creationId="{C288A41A-0F66-64D3-1F90-64C290B2EA0D}"/>
          </ac:spMkLst>
        </pc:spChg>
        <pc:spChg chg="mod">
          <ac:chgData name="Moritz Baldauf" userId="d2a8e088faa3b6be" providerId="LiveId" clId="{6AF36CA8-D1C8-4C56-8110-3A0F5029C282}" dt="2024-04-22T08:55:49.833" v="1078"/>
          <ac:spMkLst>
            <pc:docMk/>
            <pc:sldMk cId="0" sldId="310"/>
            <ac:spMk id="1430" creationId="{45C15DEA-510F-9EF0-07CF-6FB5713E6D4E}"/>
          </ac:spMkLst>
        </pc:spChg>
        <pc:spChg chg="mod">
          <ac:chgData name="Moritz Baldauf" userId="d2a8e088faa3b6be" providerId="LiveId" clId="{6AF36CA8-D1C8-4C56-8110-3A0F5029C282}" dt="2024-04-22T08:55:49.833" v="1078"/>
          <ac:spMkLst>
            <pc:docMk/>
            <pc:sldMk cId="0" sldId="310"/>
            <ac:spMk id="1431" creationId="{30BF5F7F-DB7E-7637-30CF-74D523E1E285}"/>
          </ac:spMkLst>
        </pc:spChg>
        <pc:spChg chg="mod">
          <ac:chgData name="Moritz Baldauf" userId="d2a8e088faa3b6be" providerId="LiveId" clId="{6AF36CA8-D1C8-4C56-8110-3A0F5029C282}" dt="2024-04-22T08:55:49.833" v="1078"/>
          <ac:spMkLst>
            <pc:docMk/>
            <pc:sldMk cId="0" sldId="310"/>
            <ac:spMk id="1432" creationId="{D07AFAAF-9F0B-3BDB-D12B-B8B0FA179807}"/>
          </ac:spMkLst>
        </pc:spChg>
        <pc:spChg chg="mod">
          <ac:chgData name="Moritz Baldauf" userId="d2a8e088faa3b6be" providerId="LiveId" clId="{6AF36CA8-D1C8-4C56-8110-3A0F5029C282}" dt="2024-04-22T08:55:49.833" v="1078"/>
          <ac:spMkLst>
            <pc:docMk/>
            <pc:sldMk cId="0" sldId="310"/>
            <ac:spMk id="1433" creationId="{F6221EA5-4B3C-4D0D-D845-ACDE94D239E3}"/>
          </ac:spMkLst>
        </pc:spChg>
        <pc:spChg chg="mod">
          <ac:chgData name="Moritz Baldauf" userId="d2a8e088faa3b6be" providerId="LiveId" clId="{6AF36CA8-D1C8-4C56-8110-3A0F5029C282}" dt="2024-04-22T08:55:49.833" v="1078"/>
          <ac:spMkLst>
            <pc:docMk/>
            <pc:sldMk cId="0" sldId="310"/>
            <ac:spMk id="1434" creationId="{F2C3AEF3-1C94-6597-09CB-4C5D587FE19B}"/>
          </ac:spMkLst>
        </pc:spChg>
        <pc:spChg chg="mod">
          <ac:chgData name="Moritz Baldauf" userId="d2a8e088faa3b6be" providerId="LiveId" clId="{6AF36CA8-D1C8-4C56-8110-3A0F5029C282}" dt="2024-04-22T08:55:49.833" v="1078"/>
          <ac:spMkLst>
            <pc:docMk/>
            <pc:sldMk cId="0" sldId="310"/>
            <ac:spMk id="1435" creationId="{528C1D0E-FD33-7764-3338-5DD04C0021D4}"/>
          </ac:spMkLst>
        </pc:spChg>
        <pc:spChg chg="mod">
          <ac:chgData name="Moritz Baldauf" userId="d2a8e088faa3b6be" providerId="LiveId" clId="{6AF36CA8-D1C8-4C56-8110-3A0F5029C282}" dt="2024-04-22T08:55:49.833" v="1078"/>
          <ac:spMkLst>
            <pc:docMk/>
            <pc:sldMk cId="0" sldId="310"/>
            <ac:spMk id="1436" creationId="{A6ABFABB-EE8A-7733-FCCB-4781D10771F2}"/>
          </ac:spMkLst>
        </pc:spChg>
        <pc:spChg chg="mod">
          <ac:chgData name="Moritz Baldauf" userId="d2a8e088faa3b6be" providerId="LiveId" clId="{6AF36CA8-D1C8-4C56-8110-3A0F5029C282}" dt="2024-04-22T08:55:49.833" v="1078"/>
          <ac:spMkLst>
            <pc:docMk/>
            <pc:sldMk cId="0" sldId="310"/>
            <ac:spMk id="1437" creationId="{0805045B-3FB2-7083-3892-A8CA15C93B36}"/>
          </ac:spMkLst>
        </pc:spChg>
        <pc:spChg chg="mod">
          <ac:chgData name="Moritz Baldauf" userId="d2a8e088faa3b6be" providerId="LiveId" clId="{6AF36CA8-D1C8-4C56-8110-3A0F5029C282}" dt="2024-04-22T08:55:49.833" v="1078"/>
          <ac:spMkLst>
            <pc:docMk/>
            <pc:sldMk cId="0" sldId="310"/>
            <ac:spMk id="1438" creationId="{F6D1742B-D70B-BA42-FFEB-8A4F5587AC0F}"/>
          </ac:spMkLst>
        </pc:spChg>
        <pc:spChg chg="mod">
          <ac:chgData name="Moritz Baldauf" userId="d2a8e088faa3b6be" providerId="LiveId" clId="{6AF36CA8-D1C8-4C56-8110-3A0F5029C282}" dt="2024-04-22T08:55:49.833" v="1078"/>
          <ac:spMkLst>
            <pc:docMk/>
            <pc:sldMk cId="0" sldId="310"/>
            <ac:spMk id="1439" creationId="{D2C83FB1-F1F0-FE4B-2223-9DE67FE103F9}"/>
          </ac:spMkLst>
        </pc:spChg>
        <pc:spChg chg="mod">
          <ac:chgData name="Moritz Baldauf" userId="d2a8e088faa3b6be" providerId="LiveId" clId="{6AF36CA8-D1C8-4C56-8110-3A0F5029C282}" dt="2024-04-22T08:55:49.833" v="1078"/>
          <ac:spMkLst>
            <pc:docMk/>
            <pc:sldMk cId="0" sldId="310"/>
            <ac:spMk id="1440" creationId="{7E039E25-BA69-96B4-8FA3-0D90F589F396}"/>
          </ac:spMkLst>
        </pc:spChg>
        <pc:spChg chg="mod">
          <ac:chgData name="Moritz Baldauf" userId="d2a8e088faa3b6be" providerId="LiveId" clId="{6AF36CA8-D1C8-4C56-8110-3A0F5029C282}" dt="2024-04-22T08:55:49.833" v="1078"/>
          <ac:spMkLst>
            <pc:docMk/>
            <pc:sldMk cId="0" sldId="310"/>
            <ac:spMk id="1441" creationId="{261BFEBC-BDCB-BFDC-CC58-078DFA7EE3F5}"/>
          </ac:spMkLst>
        </pc:spChg>
        <pc:spChg chg="mod">
          <ac:chgData name="Moritz Baldauf" userId="d2a8e088faa3b6be" providerId="LiveId" clId="{6AF36CA8-D1C8-4C56-8110-3A0F5029C282}" dt="2024-04-22T08:55:49.833" v="1078"/>
          <ac:spMkLst>
            <pc:docMk/>
            <pc:sldMk cId="0" sldId="310"/>
            <ac:spMk id="1442" creationId="{3B74FAB4-DB05-CD62-171E-C1D7C6C6DF71}"/>
          </ac:spMkLst>
        </pc:spChg>
        <pc:spChg chg="mod">
          <ac:chgData name="Moritz Baldauf" userId="d2a8e088faa3b6be" providerId="LiveId" clId="{6AF36CA8-D1C8-4C56-8110-3A0F5029C282}" dt="2024-04-22T08:55:49.833" v="1078"/>
          <ac:spMkLst>
            <pc:docMk/>
            <pc:sldMk cId="0" sldId="310"/>
            <ac:spMk id="1443" creationId="{F6619DC8-3223-EE2E-0A9A-EC19EB7D4E25}"/>
          </ac:spMkLst>
        </pc:spChg>
        <pc:spChg chg="mod">
          <ac:chgData name="Moritz Baldauf" userId="d2a8e088faa3b6be" providerId="LiveId" clId="{6AF36CA8-D1C8-4C56-8110-3A0F5029C282}" dt="2024-04-22T08:55:49.833" v="1078"/>
          <ac:spMkLst>
            <pc:docMk/>
            <pc:sldMk cId="0" sldId="310"/>
            <ac:spMk id="1444" creationId="{1DFC59D7-EEC1-A07C-72BE-12CCACB7E87E}"/>
          </ac:spMkLst>
        </pc:spChg>
        <pc:spChg chg="mod">
          <ac:chgData name="Moritz Baldauf" userId="d2a8e088faa3b6be" providerId="LiveId" clId="{6AF36CA8-D1C8-4C56-8110-3A0F5029C282}" dt="2024-04-22T08:55:49.833" v="1078"/>
          <ac:spMkLst>
            <pc:docMk/>
            <pc:sldMk cId="0" sldId="310"/>
            <ac:spMk id="1445" creationId="{8E92E262-7018-95DF-F54C-EA7340731467}"/>
          </ac:spMkLst>
        </pc:spChg>
        <pc:spChg chg="mod">
          <ac:chgData name="Moritz Baldauf" userId="d2a8e088faa3b6be" providerId="LiveId" clId="{6AF36CA8-D1C8-4C56-8110-3A0F5029C282}" dt="2024-04-22T08:55:49.833" v="1078"/>
          <ac:spMkLst>
            <pc:docMk/>
            <pc:sldMk cId="0" sldId="310"/>
            <ac:spMk id="1446" creationId="{6B070558-BB87-61E5-2AEE-89625D703ED4}"/>
          </ac:spMkLst>
        </pc:spChg>
        <pc:spChg chg="mod">
          <ac:chgData name="Moritz Baldauf" userId="d2a8e088faa3b6be" providerId="LiveId" clId="{6AF36CA8-D1C8-4C56-8110-3A0F5029C282}" dt="2024-04-22T08:55:49.833" v="1078"/>
          <ac:spMkLst>
            <pc:docMk/>
            <pc:sldMk cId="0" sldId="310"/>
            <ac:spMk id="1447" creationId="{7F304EA4-FAC3-D4F7-8CA3-5BE9FB1DC403}"/>
          </ac:spMkLst>
        </pc:spChg>
        <pc:spChg chg="mod">
          <ac:chgData name="Moritz Baldauf" userId="d2a8e088faa3b6be" providerId="LiveId" clId="{6AF36CA8-D1C8-4C56-8110-3A0F5029C282}" dt="2024-04-22T08:55:49.833" v="1078"/>
          <ac:spMkLst>
            <pc:docMk/>
            <pc:sldMk cId="0" sldId="310"/>
            <ac:spMk id="1448" creationId="{5B1A885E-9D94-31D6-2BC9-025AE66583CA}"/>
          </ac:spMkLst>
        </pc:spChg>
        <pc:spChg chg="mod">
          <ac:chgData name="Moritz Baldauf" userId="d2a8e088faa3b6be" providerId="LiveId" clId="{6AF36CA8-D1C8-4C56-8110-3A0F5029C282}" dt="2024-04-22T08:55:49.833" v="1078"/>
          <ac:spMkLst>
            <pc:docMk/>
            <pc:sldMk cId="0" sldId="310"/>
            <ac:spMk id="1449" creationId="{6DB9F31E-4FA3-9D0C-6209-C67357EF76F1}"/>
          </ac:spMkLst>
        </pc:spChg>
        <pc:spChg chg="mod">
          <ac:chgData name="Moritz Baldauf" userId="d2a8e088faa3b6be" providerId="LiveId" clId="{6AF36CA8-D1C8-4C56-8110-3A0F5029C282}" dt="2024-04-22T08:55:49.833" v="1078"/>
          <ac:spMkLst>
            <pc:docMk/>
            <pc:sldMk cId="0" sldId="310"/>
            <ac:spMk id="1450" creationId="{F2984694-F95F-0335-C4AE-82A4A3A4D90D}"/>
          </ac:spMkLst>
        </pc:spChg>
        <pc:spChg chg="mod">
          <ac:chgData name="Moritz Baldauf" userId="d2a8e088faa3b6be" providerId="LiveId" clId="{6AF36CA8-D1C8-4C56-8110-3A0F5029C282}" dt="2024-04-22T08:55:49.833" v="1078"/>
          <ac:spMkLst>
            <pc:docMk/>
            <pc:sldMk cId="0" sldId="310"/>
            <ac:spMk id="1451" creationId="{14C627DD-F7C9-7B22-46A9-F092D049967C}"/>
          </ac:spMkLst>
        </pc:spChg>
        <pc:spChg chg="mod">
          <ac:chgData name="Moritz Baldauf" userId="d2a8e088faa3b6be" providerId="LiveId" clId="{6AF36CA8-D1C8-4C56-8110-3A0F5029C282}" dt="2024-04-22T08:55:49.833" v="1078"/>
          <ac:spMkLst>
            <pc:docMk/>
            <pc:sldMk cId="0" sldId="310"/>
            <ac:spMk id="1452" creationId="{80714B7B-A85B-468A-A07A-47D1EB92214B}"/>
          </ac:spMkLst>
        </pc:spChg>
        <pc:spChg chg="mod">
          <ac:chgData name="Moritz Baldauf" userId="d2a8e088faa3b6be" providerId="LiveId" clId="{6AF36CA8-D1C8-4C56-8110-3A0F5029C282}" dt="2024-04-22T08:55:49.833" v="1078"/>
          <ac:spMkLst>
            <pc:docMk/>
            <pc:sldMk cId="0" sldId="310"/>
            <ac:spMk id="1453" creationId="{EB963AC8-876A-55EE-330B-3B3F3F836120}"/>
          </ac:spMkLst>
        </pc:spChg>
        <pc:spChg chg="mod">
          <ac:chgData name="Moritz Baldauf" userId="d2a8e088faa3b6be" providerId="LiveId" clId="{6AF36CA8-D1C8-4C56-8110-3A0F5029C282}" dt="2024-04-22T08:55:49.833" v="1078"/>
          <ac:spMkLst>
            <pc:docMk/>
            <pc:sldMk cId="0" sldId="310"/>
            <ac:spMk id="1454" creationId="{39F9824F-AFE6-5775-86AB-7D9058F7103A}"/>
          </ac:spMkLst>
        </pc:spChg>
        <pc:grpChg chg="add mod">
          <ac:chgData name="Moritz Baldauf" userId="d2a8e088faa3b6be" providerId="LiveId" clId="{6AF36CA8-D1C8-4C56-8110-3A0F5029C282}" dt="2024-04-22T08:57:05.730" v="1213" actId="12788"/>
          <ac:grpSpMkLst>
            <pc:docMk/>
            <pc:sldMk cId="0" sldId="310"/>
            <ac:grpSpMk id="3" creationId="{E2897E63-D48E-B241-9989-1439CD254549}"/>
          </ac:grpSpMkLst>
        </pc:grpChg>
        <pc:grpChg chg="mod">
          <ac:chgData name="Moritz Baldauf" userId="d2a8e088faa3b6be" providerId="LiveId" clId="{6AF36CA8-D1C8-4C56-8110-3A0F5029C282}" dt="2024-04-22T08:55:49.833" v="1078"/>
          <ac:grpSpMkLst>
            <pc:docMk/>
            <pc:sldMk cId="0" sldId="310"/>
            <ac:grpSpMk id="5" creationId="{D57B49E3-1281-B83C-6994-F10A8F073568}"/>
          </ac:grpSpMkLst>
        </pc:grpChg>
        <pc:grpChg chg="mod topLvl">
          <ac:chgData name="Moritz Baldauf" userId="d2a8e088faa3b6be" providerId="LiveId" clId="{6AF36CA8-D1C8-4C56-8110-3A0F5029C282}" dt="2024-04-22T08:56:57.860" v="1211" actId="165"/>
          <ac:grpSpMkLst>
            <pc:docMk/>
            <pc:sldMk cId="0" sldId="310"/>
            <ac:grpSpMk id="1408" creationId="{00000000-0000-0000-0000-000000000000}"/>
          </ac:grpSpMkLst>
        </pc:grpChg>
        <pc:grpChg chg="add del mod">
          <ac:chgData name="Moritz Baldauf" userId="d2a8e088faa3b6be" providerId="LiveId" clId="{6AF36CA8-D1C8-4C56-8110-3A0F5029C282}" dt="2024-04-22T08:56:57.860" v="1211" actId="165"/>
          <ac:grpSpMkLst>
            <pc:docMk/>
            <pc:sldMk cId="0" sldId="310"/>
            <ac:grpSpMk id="1455" creationId="{4ED7981C-66D0-BBC1-248D-DE061DBBFBE0}"/>
          </ac:grpSpMkLst>
        </pc:grpChg>
        <pc:graphicFrameChg chg="mod">
          <ac:chgData name="Moritz Baldauf" userId="d2a8e088faa3b6be" providerId="LiveId" clId="{6AF36CA8-D1C8-4C56-8110-3A0F5029C282}" dt="2024-04-22T08:56:50.373" v="1209"/>
          <ac:graphicFrameMkLst>
            <pc:docMk/>
            <pc:sldMk cId="0" sldId="310"/>
            <ac:graphicFrameMk id="2" creationId="{57CAC3A5-1CE5-7CB5-5909-599762BDC66F}"/>
          </ac:graphicFrameMkLst>
        </pc:graphicFrameChg>
        <pc:picChg chg="mod topLvl">
          <ac:chgData name="Moritz Baldauf" userId="d2a8e088faa3b6be" providerId="LiveId" clId="{6AF36CA8-D1C8-4C56-8110-3A0F5029C282}" dt="2024-04-22T08:57:02.233" v="1212" actId="12788"/>
          <ac:picMkLst>
            <pc:docMk/>
            <pc:sldMk cId="0" sldId="310"/>
            <ac:picMk id="1413" creationId="{00000000-0000-0000-0000-000000000000}"/>
          </ac:picMkLst>
        </pc:picChg>
        <pc:cxnChg chg="mod">
          <ac:chgData name="Moritz Baldauf" userId="d2a8e088faa3b6be" providerId="LiveId" clId="{6AF36CA8-D1C8-4C56-8110-3A0F5029C282}" dt="2024-04-22T08:56:57.860" v="1211" actId="165"/>
          <ac:cxnSpMkLst>
            <pc:docMk/>
            <pc:sldMk cId="0" sldId="310"/>
            <ac:cxnSpMk id="1409"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0"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1"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2" creationId="{00000000-0000-0000-0000-000000000000}"/>
          </ac:cxnSpMkLst>
        </pc:cxnChg>
      </pc:sldChg>
      <pc:sldChg chg="addSp delSp modSp add mod">
        <pc:chgData name="Moritz Baldauf" userId="d2a8e088faa3b6be" providerId="LiveId" clId="{6AF36CA8-D1C8-4C56-8110-3A0F5029C282}" dt="2024-04-22T10:12:19.808" v="4059" actId="255"/>
        <pc:sldMkLst>
          <pc:docMk/>
          <pc:sldMk cId="775193827" sldId="311"/>
        </pc:sldMkLst>
        <pc:spChg chg="mod">
          <ac:chgData name="Moritz Baldauf" userId="d2a8e088faa3b6be" providerId="LiveId" clId="{6AF36CA8-D1C8-4C56-8110-3A0F5029C282}" dt="2024-04-22T10:12:19.808" v="4059" actId="255"/>
          <ac:spMkLst>
            <pc:docMk/>
            <pc:sldMk cId="775193827" sldId="311"/>
            <ac:spMk id="3" creationId="{3B9FECE5-F9BA-E961-4D17-66D7F855FB69}"/>
          </ac:spMkLst>
        </pc:spChg>
        <pc:spChg chg="mod">
          <ac:chgData name="Moritz Baldauf" userId="d2a8e088faa3b6be" providerId="LiveId" clId="{6AF36CA8-D1C8-4C56-8110-3A0F5029C282}" dt="2024-04-22T09:03:15.372" v="1284"/>
          <ac:spMkLst>
            <pc:docMk/>
            <pc:sldMk cId="775193827" sldId="311"/>
            <ac:spMk id="4" creationId="{A855D889-3C1C-DFD5-FB8F-E0EDC57FBFF5}"/>
          </ac:spMkLst>
        </pc:spChg>
        <pc:spChg chg="mod">
          <ac:chgData name="Moritz Baldauf" userId="d2a8e088faa3b6be" providerId="LiveId" clId="{6AF36CA8-D1C8-4C56-8110-3A0F5029C282}" dt="2024-04-22T09:03:15.372" v="1284"/>
          <ac:spMkLst>
            <pc:docMk/>
            <pc:sldMk cId="775193827" sldId="311"/>
            <ac:spMk id="5" creationId="{1BBFE062-DEBF-4549-7FCC-1DF265ACD000}"/>
          </ac:spMkLst>
        </pc:spChg>
        <pc:spChg chg="mod">
          <ac:chgData name="Moritz Baldauf" userId="d2a8e088faa3b6be" providerId="LiveId" clId="{6AF36CA8-D1C8-4C56-8110-3A0F5029C282}" dt="2024-04-22T09:03:15.372" v="1284"/>
          <ac:spMkLst>
            <pc:docMk/>
            <pc:sldMk cId="775193827" sldId="311"/>
            <ac:spMk id="6" creationId="{AA38E455-B12E-CD9D-4C1E-CB627FC21F24}"/>
          </ac:spMkLst>
        </pc:spChg>
        <pc:spChg chg="mod">
          <ac:chgData name="Moritz Baldauf" userId="d2a8e088faa3b6be" providerId="LiveId" clId="{6AF36CA8-D1C8-4C56-8110-3A0F5029C282}" dt="2024-04-22T09:03:15.372" v="1284"/>
          <ac:spMkLst>
            <pc:docMk/>
            <pc:sldMk cId="775193827" sldId="311"/>
            <ac:spMk id="7" creationId="{9E11954C-13E4-6826-A074-EAF6CBB503E6}"/>
          </ac:spMkLst>
        </pc:spChg>
        <pc:spChg chg="del">
          <ac:chgData name="Moritz Baldauf" userId="d2a8e088faa3b6be" providerId="LiveId" clId="{6AF36CA8-D1C8-4C56-8110-3A0F5029C282}" dt="2024-04-22T08:53:27.128" v="974" actId="478"/>
          <ac:spMkLst>
            <pc:docMk/>
            <pc:sldMk cId="775193827" sldId="311"/>
            <ac:spMk id="19" creationId="{912B4063-BB3E-007C-3407-DC5D98EB0962}"/>
          </ac:spMkLst>
        </pc:spChg>
        <pc:grpChg chg="add mod">
          <ac:chgData name="Moritz Baldauf" userId="d2a8e088faa3b6be" providerId="LiveId" clId="{6AF36CA8-D1C8-4C56-8110-3A0F5029C282}" dt="2024-04-22T09:03:15.372" v="1284"/>
          <ac:grpSpMkLst>
            <pc:docMk/>
            <pc:sldMk cId="775193827" sldId="311"/>
            <ac:grpSpMk id="2" creationId="{02DAE598-3B23-A1B7-065D-BBC1EFE524A2}"/>
          </ac:grpSpMkLst>
        </pc:grpChg>
        <pc:picChg chg="add mod">
          <ac:chgData name="Moritz Baldauf" userId="d2a8e088faa3b6be" providerId="LiveId" clId="{6AF36CA8-D1C8-4C56-8110-3A0F5029C282}" dt="2024-04-22T09:04:54.040" v="1294"/>
          <ac:picMkLst>
            <pc:docMk/>
            <pc:sldMk cId="775193827" sldId="311"/>
            <ac:picMk id="8" creationId="{F888A9A7-3428-88EC-597C-489369A57467}"/>
          </ac:picMkLst>
        </pc:picChg>
      </pc:sldChg>
      <pc:sldChg chg="addSp delSp modSp add mod">
        <pc:chgData name="Moritz Baldauf" userId="d2a8e088faa3b6be" providerId="LiveId" clId="{6AF36CA8-D1C8-4C56-8110-3A0F5029C282}" dt="2024-04-22T10:12:16.585" v="4058" actId="255"/>
        <pc:sldMkLst>
          <pc:docMk/>
          <pc:sldMk cId="1876044456" sldId="312"/>
        </pc:sldMkLst>
        <pc:spChg chg="mod">
          <ac:chgData name="Moritz Baldauf" userId="d2a8e088faa3b6be" providerId="LiveId" clId="{6AF36CA8-D1C8-4C56-8110-3A0F5029C282}" dt="2024-04-22T10:12:16.585" v="4058" actId="255"/>
          <ac:spMkLst>
            <pc:docMk/>
            <pc:sldMk cId="1876044456" sldId="312"/>
            <ac:spMk id="3" creationId="{3B9FECE5-F9BA-E961-4D17-66D7F855FB69}"/>
          </ac:spMkLst>
        </pc:spChg>
        <pc:spChg chg="add del">
          <ac:chgData name="Moritz Baldauf" userId="d2a8e088faa3b6be" providerId="LiveId" clId="{6AF36CA8-D1C8-4C56-8110-3A0F5029C282}" dt="2024-04-22T08:57:47.040" v="1217" actId="478"/>
          <ac:spMkLst>
            <pc:docMk/>
            <pc:sldMk cId="1876044456" sldId="312"/>
            <ac:spMk id="4" creationId="{34AD3CB5-EBAE-0FE7-4A6E-5B91E2141C42}"/>
          </ac:spMkLst>
        </pc:spChg>
        <pc:spChg chg="mod">
          <ac:chgData name="Moritz Baldauf" userId="d2a8e088faa3b6be" providerId="LiveId" clId="{6AF36CA8-D1C8-4C56-8110-3A0F5029C282}" dt="2024-04-22T09:03:16.343" v="1285"/>
          <ac:spMkLst>
            <pc:docMk/>
            <pc:sldMk cId="1876044456" sldId="312"/>
            <ac:spMk id="6" creationId="{8B500FDD-966E-04CB-D237-E4FE36264E05}"/>
          </ac:spMkLst>
        </pc:spChg>
        <pc:spChg chg="mod">
          <ac:chgData name="Moritz Baldauf" userId="d2a8e088faa3b6be" providerId="LiveId" clId="{6AF36CA8-D1C8-4C56-8110-3A0F5029C282}" dt="2024-04-22T09:03:16.343" v="1285"/>
          <ac:spMkLst>
            <pc:docMk/>
            <pc:sldMk cId="1876044456" sldId="312"/>
            <ac:spMk id="7" creationId="{9F5E5B23-6F3C-9A84-4F48-9B87AFFC0C93}"/>
          </ac:spMkLst>
        </pc:spChg>
        <pc:spChg chg="mod">
          <ac:chgData name="Moritz Baldauf" userId="d2a8e088faa3b6be" providerId="LiveId" clId="{6AF36CA8-D1C8-4C56-8110-3A0F5029C282}" dt="2024-04-22T09:03:16.343" v="1285"/>
          <ac:spMkLst>
            <pc:docMk/>
            <pc:sldMk cId="1876044456" sldId="312"/>
            <ac:spMk id="8" creationId="{21E0D017-9022-E3AC-2812-78C75AF98FEA}"/>
          </ac:spMkLst>
        </pc:spChg>
        <pc:spChg chg="mod">
          <ac:chgData name="Moritz Baldauf" userId="d2a8e088faa3b6be" providerId="LiveId" clId="{6AF36CA8-D1C8-4C56-8110-3A0F5029C282}" dt="2024-04-22T09:03:16.343" v="1285"/>
          <ac:spMkLst>
            <pc:docMk/>
            <pc:sldMk cId="1876044456" sldId="312"/>
            <ac:spMk id="9" creationId="{5B11BE4B-0245-CA27-2E44-EE605B8DCB3B}"/>
          </ac:spMkLst>
        </pc:spChg>
        <pc:grpChg chg="add mod">
          <ac:chgData name="Moritz Baldauf" userId="d2a8e088faa3b6be" providerId="LiveId" clId="{6AF36CA8-D1C8-4C56-8110-3A0F5029C282}" dt="2024-04-22T09:03:16.343" v="1285"/>
          <ac:grpSpMkLst>
            <pc:docMk/>
            <pc:sldMk cId="1876044456" sldId="312"/>
            <ac:grpSpMk id="5" creationId="{6D30CC6D-B19A-759E-F901-E588F6A5A205}"/>
          </ac:grpSpMkLst>
        </pc:grpChg>
        <pc:picChg chg="add mod">
          <ac:chgData name="Moritz Baldauf" userId="d2a8e088faa3b6be" providerId="LiveId" clId="{6AF36CA8-D1C8-4C56-8110-3A0F5029C282}" dt="2024-04-22T09:04:55.335" v="1295"/>
          <ac:picMkLst>
            <pc:docMk/>
            <pc:sldMk cId="1876044456" sldId="312"/>
            <ac:picMk id="10" creationId="{9FC61571-B2EA-F736-FB12-41A0CF0765BE}"/>
          </ac:picMkLst>
        </pc:picChg>
      </pc:sldChg>
      <pc:sldChg chg="addSp delSp modSp add mod">
        <pc:chgData name="Moritz Baldauf" userId="d2a8e088faa3b6be" providerId="LiveId" clId="{6AF36CA8-D1C8-4C56-8110-3A0F5029C282}" dt="2024-04-22T09:19:05.891" v="1850" actId="20577"/>
        <pc:sldMkLst>
          <pc:docMk/>
          <pc:sldMk cId="63469002" sldId="313"/>
        </pc:sldMkLst>
        <pc:spChg chg="mod">
          <ac:chgData name="Moritz Baldauf" userId="d2a8e088faa3b6be" providerId="LiveId" clId="{6AF36CA8-D1C8-4C56-8110-3A0F5029C282}" dt="2024-04-22T09:16:07.332" v="1782" actId="207"/>
          <ac:spMkLst>
            <pc:docMk/>
            <pc:sldMk cId="63469002" sldId="313"/>
            <ac:spMk id="3" creationId="{3B9FECE5-F9BA-E961-4D17-66D7F855FB69}"/>
          </ac:spMkLst>
        </pc:spChg>
        <pc:spChg chg="mod">
          <ac:chgData name="Moritz Baldauf" userId="d2a8e088faa3b6be" providerId="LiveId" clId="{6AF36CA8-D1C8-4C56-8110-3A0F5029C282}" dt="2024-04-22T09:19:05.891" v="1850" actId="20577"/>
          <ac:spMkLst>
            <pc:docMk/>
            <pc:sldMk cId="63469002" sldId="313"/>
            <ac:spMk id="6" creationId="{5FBB157F-48D1-1AC4-DEF4-7BE66E84DC87}"/>
          </ac:spMkLst>
        </pc:spChg>
        <pc:spChg chg="mod">
          <ac:chgData name="Moritz Baldauf" userId="d2a8e088faa3b6be" providerId="LiveId" clId="{6AF36CA8-D1C8-4C56-8110-3A0F5029C282}" dt="2024-04-22T09:03:17.686" v="1286"/>
          <ac:spMkLst>
            <pc:docMk/>
            <pc:sldMk cId="63469002" sldId="313"/>
            <ac:spMk id="7" creationId="{83B48E02-F7F8-1469-5BF7-DE652673D3A7}"/>
          </ac:spMkLst>
        </pc:spChg>
        <pc:spChg chg="mod">
          <ac:chgData name="Moritz Baldauf" userId="d2a8e088faa3b6be" providerId="LiveId" clId="{6AF36CA8-D1C8-4C56-8110-3A0F5029C282}" dt="2024-04-22T09:16:48.503" v="1792" actId="207"/>
          <ac:spMkLst>
            <pc:docMk/>
            <pc:sldMk cId="63469002" sldId="313"/>
            <ac:spMk id="8" creationId="{93BBD1FA-B270-E790-9A95-CFDA97EA47A2}"/>
          </ac:spMkLst>
        </pc:spChg>
        <pc:spChg chg="mod">
          <ac:chgData name="Moritz Baldauf" userId="d2a8e088faa3b6be" providerId="LiveId" clId="{6AF36CA8-D1C8-4C56-8110-3A0F5029C282}" dt="2024-04-22T09:16:53.403" v="1796" actId="1035"/>
          <ac:spMkLst>
            <pc:docMk/>
            <pc:sldMk cId="63469002" sldId="313"/>
            <ac:spMk id="9" creationId="{7BC7463B-9C72-E5EB-477D-25CDB93366B2}"/>
          </ac:spMkLst>
        </pc:spChg>
        <pc:spChg chg="mod">
          <ac:chgData name="Moritz Baldauf" userId="d2a8e088faa3b6be" providerId="LiveId" clId="{6AF36CA8-D1C8-4C56-8110-3A0F5029C282}" dt="2024-04-22T09:16:48.503" v="1792" actId="207"/>
          <ac:spMkLst>
            <pc:docMk/>
            <pc:sldMk cId="63469002" sldId="313"/>
            <ac:spMk id="10" creationId="{F0CE823A-864A-1AA1-E4E0-DC8FB6F5EBFC}"/>
          </ac:spMkLst>
        </pc:spChg>
        <pc:spChg chg="mod">
          <ac:chgData name="Moritz Baldauf" userId="d2a8e088faa3b6be" providerId="LiveId" clId="{6AF36CA8-D1C8-4C56-8110-3A0F5029C282}" dt="2024-04-22T09:16:48.503" v="1792" actId="207"/>
          <ac:spMkLst>
            <pc:docMk/>
            <pc:sldMk cId="63469002" sldId="313"/>
            <ac:spMk id="11" creationId="{DD5CAC0E-D735-7D13-73F8-1A74E8DB3C4D}"/>
          </ac:spMkLst>
        </pc:spChg>
        <pc:spChg chg="mod">
          <ac:chgData name="Moritz Baldauf" userId="d2a8e088faa3b6be" providerId="LiveId" clId="{6AF36CA8-D1C8-4C56-8110-3A0F5029C282}" dt="2024-04-22T09:03:17.686" v="1286"/>
          <ac:spMkLst>
            <pc:docMk/>
            <pc:sldMk cId="63469002" sldId="313"/>
            <ac:spMk id="13" creationId="{0E59BABB-673D-1FE1-2DC7-C4AEFDD667FA}"/>
          </ac:spMkLst>
        </pc:spChg>
        <pc:spChg chg="mod">
          <ac:chgData name="Moritz Baldauf" userId="d2a8e088faa3b6be" providerId="LiveId" clId="{6AF36CA8-D1C8-4C56-8110-3A0F5029C282}" dt="2024-04-22T09:03:17.686" v="1286"/>
          <ac:spMkLst>
            <pc:docMk/>
            <pc:sldMk cId="63469002" sldId="313"/>
            <ac:spMk id="15" creationId="{11902D99-523D-544B-821B-90D57D64D03C}"/>
          </ac:spMkLst>
        </pc:spChg>
        <pc:spChg chg="add mod">
          <ac:chgData name="Moritz Baldauf" userId="d2a8e088faa3b6be" providerId="LiveId" clId="{6AF36CA8-D1C8-4C56-8110-3A0F5029C282}" dt="2024-04-22T09:16:14.367" v="1783" actId="113"/>
          <ac:spMkLst>
            <pc:docMk/>
            <pc:sldMk cId="63469002" sldId="313"/>
            <ac:spMk id="18" creationId="{7A511B77-F55A-11BF-36EF-5D7A7CE7D8FD}"/>
          </ac:spMkLst>
        </pc:spChg>
        <pc:spChg chg="add mod">
          <ac:chgData name="Moritz Baldauf" userId="d2a8e088faa3b6be" providerId="LiveId" clId="{6AF36CA8-D1C8-4C56-8110-3A0F5029C282}" dt="2024-04-22T09:16:15.340" v="1784" actId="113"/>
          <ac:spMkLst>
            <pc:docMk/>
            <pc:sldMk cId="63469002" sldId="313"/>
            <ac:spMk id="19" creationId="{63FB0236-B4ED-FF6F-9320-6ED95093B065}"/>
          </ac:spMkLst>
        </pc:spChg>
        <pc:spChg chg="add mod topLvl">
          <ac:chgData name="Moritz Baldauf" userId="d2a8e088faa3b6be" providerId="LiveId" clId="{6AF36CA8-D1C8-4C56-8110-3A0F5029C282}" dt="2024-04-22T09:16:34.344" v="1791" actId="113"/>
          <ac:spMkLst>
            <pc:docMk/>
            <pc:sldMk cId="63469002" sldId="313"/>
            <ac:spMk id="24" creationId="{8C6A0061-5759-8031-7327-7EF918D5F88D}"/>
          </ac:spMkLst>
        </pc:spChg>
        <pc:spChg chg="add mod topLvl">
          <ac:chgData name="Moritz Baldauf" userId="d2a8e088faa3b6be" providerId="LiveId" clId="{6AF36CA8-D1C8-4C56-8110-3A0F5029C282}" dt="2024-04-22T09:16:26.138" v="1788" actId="113"/>
          <ac:spMkLst>
            <pc:docMk/>
            <pc:sldMk cId="63469002" sldId="313"/>
            <ac:spMk id="27" creationId="{FE670E52-1C94-88BB-80B2-AC021565F635}"/>
          </ac:spMkLst>
        </pc:spChg>
        <pc:spChg chg="add mod">
          <ac:chgData name="Moritz Baldauf" userId="d2a8e088faa3b6be" providerId="LiveId" clId="{6AF36CA8-D1C8-4C56-8110-3A0F5029C282}" dt="2024-04-22T09:17:50.090" v="1805" actId="208"/>
          <ac:spMkLst>
            <pc:docMk/>
            <pc:sldMk cId="63469002" sldId="313"/>
            <ac:spMk id="33" creationId="{C0D197BB-0FAB-8C2E-C4C6-B794B1EB78AD}"/>
          </ac:spMkLst>
        </pc:spChg>
        <pc:spChg chg="add mod">
          <ac:chgData name="Moritz Baldauf" userId="d2a8e088faa3b6be" providerId="LiveId" clId="{6AF36CA8-D1C8-4C56-8110-3A0F5029C282}" dt="2024-04-22T09:18:22.996" v="1816" actId="1076"/>
          <ac:spMkLst>
            <pc:docMk/>
            <pc:sldMk cId="63469002" sldId="313"/>
            <ac:spMk id="34" creationId="{BA9C1666-72DE-12C0-5A72-B54F437E0CEA}"/>
          </ac:spMkLst>
        </pc:spChg>
        <pc:spChg chg="add mod">
          <ac:chgData name="Moritz Baldauf" userId="d2a8e088faa3b6be" providerId="LiveId" clId="{6AF36CA8-D1C8-4C56-8110-3A0F5029C282}" dt="2024-04-22T09:18:21.085" v="1815" actId="1076"/>
          <ac:spMkLst>
            <pc:docMk/>
            <pc:sldMk cId="63469002" sldId="313"/>
            <ac:spMk id="35" creationId="{085B580A-99BC-2DCE-9076-1B3886E23477}"/>
          </ac:spMkLst>
        </pc:spChg>
        <pc:grpChg chg="add mod">
          <ac:chgData name="Moritz Baldauf" userId="d2a8e088faa3b6be" providerId="LiveId" clId="{6AF36CA8-D1C8-4C56-8110-3A0F5029C282}" dt="2024-04-22T09:03:17.686" v="1286"/>
          <ac:grpSpMkLst>
            <pc:docMk/>
            <pc:sldMk cId="63469002" sldId="313"/>
            <ac:grpSpMk id="4" creationId="{F4635B62-FD8E-D836-36D5-92624B5A1CE3}"/>
          </ac:grpSpMkLst>
        </pc:grpChg>
        <pc:grpChg chg="add mod">
          <ac:chgData name="Moritz Baldauf" userId="d2a8e088faa3b6be" providerId="LiveId" clId="{6AF36CA8-D1C8-4C56-8110-3A0F5029C282}" dt="2024-04-22T09:10:14.650" v="1401" actId="1076"/>
          <ac:grpSpMkLst>
            <pc:docMk/>
            <pc:sldMk cId="63469002" sldId="313"/>
            <ac:grpSpMk id="12" creationId="{4E0DAD4F-43A9-7005-2A79-B877CE80EDAD}"/>
          </ac:grpSpMkLst>
        </pc:grpChg>
        <pc:grpChg chg="add del mod">
          <ac:chgData name="Moritz Baldauf" userId="d2a8e088faa3b6be" providerId="LiveId" clId="{6AF36CA8-D1C8-4C56-8110-3A0F5029C282}" dt="2024-04-22T09:14:47.793" v="1764" actId="165"/>
          <ac:grpSpMkLst>
            <pc:docMk/>
            <pc:sldMk cId="63469002" sldId="313"/>
            <ac:grpSpMk id="29" creationId="{FB1C9B94-37E7-7B41-97FA-DDCB4D24597B}"/>
          </ac:grpSpMkLst>
        </pc:grpChg>
        <pc:grpChg chg="add del mod">
          <ac:chgData name="Moritz Baldauf" userId="d2a8e088faa3b6be" providerId="LiveId" clId="{6AF36CA8-D1C8-4C56-8110-3A0F5029C282}" dt="2024-04-22T09:14:45.475" v="1763" actId="165"/>
          <ac:grpSpMkLst>
            <pc:docMk/>
            <pc:sldMk cId="63469002" sldId="313"/>
            <ac:grpSpMk id="30" creationId="{EF48574C-24FB-7CA9-A3B5-A49E6E9A9F2C}"/>
          </ac:grpSpMkLst>
        </pc:grpChg>
        <pc:grpChg chg="add mod">
          <ac:chgData name="Moritz Baldauf" userId="d2a8e088faa3b6be" providerId="LiveId" clId="{6AF36CA8-D1C8-4C56-8110-3A0F5029C282}" dt="2024-04-22T09:15:14.824" v="1775" actId="1035"/>
          <ac:grpSpMkLst>
            <pc:docMk/>
            <pc:sldMk cId="63469002" sldId="313"/>
            <ac:grpSpMk id="31" creationId="{D80E55B9-7DAF-B5AE-6160-5C986650D29A}"/>
          </ac:grpSpMkLst>
        </pc:grpChg>
        <pc:grpChg chg="add mod">
          <ac:chgData name="Moritz Baldauf" userId="d2a8e088faa3b6be" providerId="LiveId" clId="{6AF36CA8-D1C8-4C56-8110-3A0F5029C282}" dt="2024-04-22T09:15:14.824" v="1775" actId="1035"/>
          <ac:grpSpMkLst>
            <pc:docMk/>
            <pc:sldMk cId="63469002" sldId="313"/>
            <ac:grpSpMk id="32" creationId="{272C03CA-2EB5-1733-EAB6-A29A9D399584}"/>
          </ac:grpSpMkLst>
        </pc:grpChg>
        <pc:picChg chg="add mod">
          <ac:chgData name="Moritz Baldauf" userId="d2a8e088faa3b6be" providerId="LiveId" clId="{6AF36CA8-D1C8-4C56-8110-3A0F5029C282}" dt="2024-04-22T09:12:49.260" v="1630" actId="1076"/>
          <ac:picMkLst>
            <pc:docMk/>
            <pc:sldMk cId="63469002" sldId="313"/>
            <ac:picMk id="2" creationId="{9B25E45B-7158-9B88-9DEF-51124512406D}"/>
          </ac:picMkLst>
        </pc:picChg>
        <pc:picChg chg="mod">
          <ac:chgData name="Moritz Baldauf" userId="d2a8e088faa3b6be" providerId="LiveId" clId="{6AF36CA8-D1C8-4C56-8110-3A0F5029C282}" dt="2024-04-22T09:07:30.407" v="1311" actId="1076"/>
          <ac:picMkLst>
            <pc:docMk/>
            <pc:sldMk cId="63469002" sldId="313"/>
            <ac:picMk id="5" creationId="{3FECE666-CFAF-9869-C894-8E3E66CB1D1F}"/>
          </ac:picMkLst>
        </pc:picChg>
        <pc:picChg chg="add del mod">
          <ac:chgData name="Moritz Baldauf" userId="d2a8e088faa3b6be" providerId="LiveId" clId="{6AF36CA8-D1C8-4C56-8110-3A0F5029C282}" dt="2024-04-22T09:07:15.352" v="1304" actId="478"/>
          <ac:picMkLst>
            <pc:docMk/>
            <pc:sldMk cId="63469002" sldId="313"/>
            <ac:picMk id="14" creationId="{A25F9ABF-0508-099B-FFC1-2398D4F48AC8}"/>
          </ac:picMkLst>
        </pc:picChg>
        <pc:picChg chg="add mod">
          <ac:chgData name="Moritz Baldauf" userId="d2a8e088faa3b6be" providerId="LiveId" clId="{6AF36CA8-D1C8-4C56-8110-3A0F5029C282}" dt="2024-04-22T09:04:56.277" v="1296"/>
          <ac:picMkLst>
            <pc:docMk/>
            <pc:sldMk cId="63469002" sldId="313"/>
            <ac:picMk id="17" creationId="{AB250E55-9C7A-637B-63D7-5D82BB2F7CC9}"/>
          </ac:picMkLst>
        </pc:picChg>
        <pc:picChg chg="add mod topLvl">
          <ac:chgData name="Moritz Baldauf" userId="d2a8e088faa3b6be" providerId="LiveId" clId="{6AF36CA8-D1C8-4C56-8110-3A0F5029C282}" dt="2024-04-22T09:15:07.895" v="1769" actId="164"/>
          <ac:picMkLst>
            <pc:docMk/>
            <pc:sldMk cId="63469002" sldId="313"/>
            <ac:picMk id="26" creationId="{9C4E7F12-A414-3747-86A1-5CA2008BFF0D}"/>
          </ac:picMkLst>
        </pc:picChg>
        <pc:picChg chg="add mod topLvl">
          <ac:chgData name="Moritz Baldauf" userId="d2a8e088faa3b6be" providerId="LiveId" clId="{6AF36CA8-D1C8-4C56-8110-3A0F5029C282}" dt="2024-04-22T09:15:09.277" v="1770" actId="164"/>
          <ac:picMkLst>
            <pc:docMk/>
            <pc:sldMk cId="63469002" sldId="313"/>
            <ac:picMk id="28" creationId="{2410557B-06E5-2A92-5541-7A3657A16255}"/>
          </ac:picMkLst>
        </pc:picChg>
        <pc:cxnChg chg="add mod">
          <ac:chgData name="Moritz Baldauf" userId="d2a8e088faa3b6be" providerId="LiveId" clId="{6AF36CA8-D1C8-4C56-8110-3A0F5029C282}" dt="2024-04-22T09:15:34.985" v="1778" actId="12788"/>
          <ac:cxnSpMkLst>
            <pc:docMk/>
            <pc:sldMk cId="63469002" sldId="313"/>
            <ac:cxnSpMk id="21" creationId="{986B6B5F-0E0D-18F4-6D69-6F9E097215F6}"/>
          </ac:cxnSpMkLst>
        </pc:cxnChg>
      </pc:sldChg>
      <pc:sldChg chg="addSp modSp add mod">
        <pc:chgData name="Moritz Baldauf" userId="d2a8e088faa3b6be" providerId="LiveId" clId="{6AF36CA8-D1C8-4C56-8110-3A0F5029C282}" dt="2024-04-22T10:00:59.991" v="3527" actId="6549"/>
        <pc:sldMkLst>
          <pc:docMk/>
          <pc:sldMk cId="128028646" sldId="314"/>
        </pc:sldMkLst>
        <pc:spChg chg="mod">
          <ac:chgData name="Moritz Baldauf" userId="d2a8e088faa3b6be" providerId="LiveId" clId="{6AF36CA8-D1C8-4C56-8110-3A0F5029C282}" dt="2024-04-22T10:00:59.991" v="3527" actId="6549"/>
          <ac:spMkLst>
            <pc:docMk/>
            <pc:sldMk cId="128028646" sldId="314"/>
            <ac:spMk id="3" creationId="{3B9FECE5-F9BA-E961-4D17-66D7F855FB69}"/>
          </ac:spMkLst>
        </pc:spChg>
        <pc:spChg chg="mod">
          <ac:chgData name="Moritz Baldauf" userId="d2a8e088faa3b6be" providerId="LiveId" clId="{6AF36CA8-D1C8-4C56-8110-3A0F5029C282}" dt="2024-04-22T09:03:19.565" v="1287"/>
          <ac:spMkLst>
            <pc:docMk/>
            <pc:sldMk cId="128028646" sldId="314"/>
            <ac:spMk id="4" creationId="{7871AED8-EEC7-FAA1-DEB6-AB2E5D618DBE}"/>
          </ac:spMkLst>
        </pc:spChg>
        <pc:spChg chg="mod">
          <ac:chgData name="Moritz Baldauf" userId="d2a8e088faa3b6be" providerId="LiveId" clId="{6AF36CA8-D1C8-4C56-8110-3A0F5029C282}" dt="2024-04-22T09:03:19.565" v="1287"/>
          <ac:spMkLst>
            <pc:docMk/>
            <pc:sldMk cId="128028646" sldId="314"/>
            <ac:spMk id="5" creationId="{D9559D0F-C6BC-E603-7B86-2E4B94A23887}"/>
          </ac:spMkLst>
        </pc:spChg>
        <pc:spChg chg="mod">
          <ac:chgData name="Moritz Baldauf" userId="d2a8e088faa3b6be" providerId="LiveId" clId="{6AF36CA8-D1C8-4C56-8110-3A0F5029C282}" dt="2024-04-22T09:03:19.565" v="1287"/>
          <ac:spMkLst>
            <pc:docMk/>
            <pc:sldMk cId="128028646" sldId="314"/>
            <ac:spMk id="6" creationId="{DFD359E3-EE70-DB20-E9D3-3D5485890A75}"/>
          </ac:spMkLst>
        </pc:spChg>
        <pc:spChg chg="mod">
          <ac:chgData name="Moritz Baldauf" userId="d2a8e088faa3b6be" providerId="LiveId" clId="{6AF36CA8-D1C8-4C56-8110-3A0F5029C282}" dt="2024-04-22T09:03:19.565" v="1287"/>
          <ac:spMkLst>
            <pc:docMk/>
            <pc:sldMk cId="128028646" sldId="314"/>
            <ac:spMk id="7" creationId="{9224C635-05F7-B5F2-AC23-DAF318EA59A3}"/>
          </ac:spMkLst>
        </pc:spChg>
        <pc:grpChg chg="add mod">
          <ac:chgData name="Moritz Baldauf" userId="d2a8e088faa3b6be" providerId="LiveId" clId="{6AF36CA8-D1C8-4C56-8110-3A0F5029C282}" dt="2024-04-22T09:03:19.565" v="1287"/>
          <ac:grpSpMkLst>
            <pc:docMk/>
            <pc:sldMk cId="128028646" sldId="314"/>
            <ac:grpSpMk id="2" creationId="{DAB50C87-FBE5-B63C-F127-6770BB87E875}"/>
          </ac:grpSpMkLst>
        </pc:grpChg>
        <pc:picChg chg="add mod">
          <ac:chgData name="Moritz Baldauf" userId="d2a8e088faa3b6be" providerId="LiveId" clId="{6AF36CA8-D1C8-4C56-8110-3A0F5029C282}" dt="2024-04-22T09:04:57.268" v="1297"/>
          <ac:picMkLst>
            <pc:docMk/>
            <pc:sldMk cId="128028646" sldId="314"/>
            <ac:picMk id="8" creationId="{81BC7F94-42DD-B7B2-915D-0482C54E15D9}"/>
          </ac:picMkLst>
        </pc:picChg>
      </pc:sldChg>
      <pc:sldChg chg="addSp modSp add mod">
        <pc:chgData name="Moritz Baldauf" userId="d2a8e088faa3b6be" providerId="LiveId" clId="{6AF36CA8-D1C8-4C56-8110-3A0F5029C282}" dt="2024-04-22T09:04:58.739" v="1298"/>
        <pc:sldMkLst>
          <pc:docMk/>
          <pc:sldMk cId="810315648" sldId="315"/>
        </pc:sldMkLst>
        <pc:spChg chg="mod">
          <ac:chgData name="Moritz Baldauf" userId="d2a8e088faa3b6be" providerId="LiveId" clId="{6AF36CA8-D1C8-4C56-8110-3A0F5029C282}" dt="2024-04-22T08:54:12.698" v="995"/>
          <ac:spMkLst>
            <pc:docMk/>
            <pc:sldMk cId="810315648" sldId="315"/>
            <ac:spMk id="3" creationId="{3B9FECE5-F9BA-E961-4D17-66D7F855FB69}"/>
          </ac:spMkLst>
        </pc:spChg>
        <pc:spChg chg="mod">
          <ac:chgData name="Moritz Baldauf" userId="d2a8e088faa3b6be" providerId="LiveId" clId="{6AF36CA8-D1C8-4C56-8110-3A0F5029C282}" dt="2024-04-22T09:03:21.087" v="1288"/>
          <ac:spMkLst>
            <pc:docMk/>
            <pc:sldMk cId="810315648" sldId="315"/>
            <ac:spMk id="4" creationId="{C4F7AF9C-0C56-9C95-0007-6A544B6D8325}"/>
          </ac:spMkLst>
        </pc:spChg>
        <pc:spChg chg="mod">
          <ac:chgData name="Moritz Baldauf" userId="d2a8e088faa3b6be" providerId="LiveId" clId="{6AF36CA8-D1C8-4C56-8110-3A0F5029C282}" dt="2024-04-22T09:03:21.087" v="1288"/>
          <ac:spMkLst>
            <pc:docMk/>
            <pc:sldMk cId="810315648" sldId="315"/>
            <ac:spMk id="5" creationId="{3CB36002-25EA-ADE5-587A-309096C7C2B0}"/>
          </ac:spMkLst>
        </pc:spChg>
        <pc:spChg chg="mod">
          <ac:chgData name="Moritz Baldauf" userId="d2a8e088faa3b6be" providerId="LiveId" clId="{6AF36CA8-D1C8-4C56-8110-3A0F5029C282}" dt="2024-04-22T09:03:21.087" v="1288"/>
          <ac:spMkLst>
            <pc:docMk/>
            <pc:sldMk cId="810315648" sldId="315"/>
            <ac:spMk id="6" creationId="{AB96BCF0-13EB-CBD5-8559-90746D7997AF}"/>
          </ac:spMkLst>
        </pc:spChg>
        <pc:spChg chg="mod">
          <ac:chgData name="Moritz Baldauf" userId="d2a8e088faa3b6be" providerId="LiveId" clId="{6AF36CA8-D1C8-4C56-8110-3A0F5029C282}" dt="2024-04-22T09:03:21.087" v="1288"/>
          <ac:spMkLst>
            <pc:docMk/>
            <pc:sldMk cId="810315648" sldId="315"/>
            <ac:spMk id="7" creationId="{C39E36D3-768E-B1FA-DD5E-A3622328C6CF}"/>
          </ac:spMkLst>
        </pc:spChg>
        <pc:grpChg chg="add mod">
          <ac:chgData name="Moritz Baldauf" userId="d2a8e088faa3b6be" providerId="LiveId" clId="{6AF36CA8-D1C8-4C56-8110-3A0F5029C282}" dt="2024-04-22T09:03:21.087" v="1288"/>
          <ac:grpSpMkLst>
            <pc:docMk/>
            <pc:sldMk cId="810315648" sldId="315"/>
            <ac:grpSpMk id="2" creationId="{6BF6ADB7-0D94-CDF1-03F1-6142413860E0}"/>
          </ac:grpSpMkLst>
        </pc:grpChg>
        <pc:picChg chg="add mod">
          <ac:chgData name="Moritz Baldauf" userId="d2a8e088faa3b6be" providerId="LiveId" clId="{6AF36CA8-D1C8-4C56-8110-3A0F5029C282}" dt="2024-04-22T09:04:58.739" v="1298"/>
          <ac:picMkLst>
            <pc:docMk/>
            <pc:sldMk cId="810315648" sldId="315"/>
            <ac:picMk id="8" creationId="{226EEC2D-BC28-30A5-7C60-27C7C0F72EF1}"/>
          </ac:picMkLst>
        </pc:picChg>
      </pc:sldChg>
      <pc:sldChg chg="addSp delSp modSp add mod">
        <pc:chgData name="Moritz Baldauf" userId="d2a8e088faa3b6be" providerId="LiveId" clId="{6AF36CA8-D1C8-4C56-8110-3A0F5029C282}" dt="2024-04-22T10:12:54.851" v="4200" actId="1037"/>
        <pc:sldMkLst>
          <pc:docMk/>
          <pc:sldMk cId="1338912262" sldId="316"/>
        </pc:sldMkLst>
        <pc:spChg chg="add mod">
          <ac:chgData name="Moritz Baldauf" userId="d2a8e088faa3b6be" providerId="LiveId" clId="{6AF36CA8-D1C8-4C56-8110-3A0F5029C282}" dt="2024-04-22T10:05:44.212" v="3805" actId="1076"/>
          <ac:spMkLst>
            <pc:docMk/>
            <pc:sldMk cId="1338912262" sldId="316"/>
            <ac:spMk id="3" creationId="{9A112403-561B-D4F2-20AF-B62AD7E4ECC6}"/>
          </ac:spMkLst>
        </pc:spChg>
        <pc:spChg chg="add del mod">
          <ac:chgData name="Moritz Baldauf" userId="d2a8e088faa3b6be" providerId="LiveId" clId="{6AF36CA8-D1C8-4C56-8110-3A0F5029C282}" dt="2024-04-22T10:02:18.008" v="3574" actId="478"/>
          <ac:spMkLst>
            <pc:docMk/>
            <pc:sldMk cId="1338912262" sldId="316"/>
            <ac:spMk id="4" creationId="{664B91EA-D750-68D7-CABE-98C4677E1CBA}"/>
          </ac:spMkLst>
        </pc:spChg>
        <pc:spChg chg="add del mod">
          <ac:chgData name="Moritz Baldauf" userId="d2a8e088faa3b6be" providerId="LiveId" clId="{6AF36CA8-D1C8-4C56-8110-3A0F5029C282}" dt="2024-04-22T10:02:18.008" v="3574" actId="478"/>
          <ac:spMkLst>
            <pc:docMk/>
            <pc:sldMk cId="1338912262" sldId="316"/>
            <ac:spMk id="5" creationId="{05CC6309-24EA-C270-AFB4-12ABD25F4408}"/>
          </ac:spMkLst>
        </pc:spChg>
        <pc:spChg chg="add del mod">
          <ac:chgData name="Moritz Baldauf" userId="d2a8e088faa3b6be" providerId="LiveId" clId="{6AF36CA8-D1C8-4C56-8110-3A0F5029C282}" dt="2024-04-22T10:02:18.008" v="3574" actId="478"/>
          <ac:spMkLst>
            <pc:docMk/>
            <pc:sldMk cId="1338912262" sldId="316"/>
            <ac:spMk id="6" creationId="{E1BD2772-227D-7F64-8551-F6D980C61DC6}"/>
          </ac:spMkLst>
        </pc:spChg>
        <pc:spChg chg="add del mod">
          <ac:chgData name="Moritz Baldauf" userId="d2a8e088faa3b6be" providerId="LiveId" clId="{6AF36CA8-D1C8-4C56-8110-3A0F5029C282}" dt="2024-04-22T10:02:18.008" v="3574" actId="478"/>
          <ac:spMkLst>
            <pc:docMk/>
            <pc:sldMk cId="1338912262" sldId="316"/>
            <ac:spMk id="7" creationId="{52EEAB90-B9E9-2779-A324-09FAD36CC6B6}"/>
          </ac:spMkLst>
        </pc:spChg>
        <pc:spChg chg="add del mod">
          <ac:chgData name="Moritz Baldauf" userId="d2a8e088faa3b6be" providerId="LiveId" clId="{6AF36CA8-D1C8-4C56-8110-3A0F5029C282}" dt="2024-04-22T10:02:18.008" v="3574" actId="478"/>
          <ac:spMkLst>
            <pc:docMk/>
            <pc:sldMk cId="1338912262" sldId="316"/>
            <ac:spMk id="8" creationId="{7F1792C8-F751-5581-5B29-5228FC9433F3}"/>
          </ac:spMkLst>
        </pc:spChg>
        <pc:spChg chg="add del mod">
          <ac:chgData name="Moritz Baldauf" userId="d2a8e088faa3b6be" providerId="LiveId" clId="{6AF36CA8-D1C8-4C56-8110-3A0F5029C282}" dt="2024-04-22T10:02:18.008" v="3574" actId="478"/>
          <ac:spMkLst>
            <pc:docMk/>
            <pc:sldMk cId="1338912262" sldId="316"/>
            <ac:spMk id="9" creationId="{1506C1AF-0DF0-A1A4-0EEC-AC9555DA57D8}"/>
          </ac:spMkLst>
        </pc:spChg>
        <pc:spChg chg="add del mod">
          <ac:chgData name="Moritz Baldauf" userId="d2a8e088faa3b6be" providerId="LiveId" clId="{6AF36CA8-D1C8-4C56-8110-3A0F5029C282}" dt="2024-04-22T10:02:00.142" v="3573" actId="478"/>
          <ac:spMkLst>
            <pc:docMk/>
            <pc:sldMk cId="1338912262" sldId="316"/>
            <ac:spMk id="10" creationId="{9F7B9291-4D3E-9BD2-DFE9-75D51D4BD4AB}"/>
          </ac:spMkLst>
        </pc:spChg>
        <pc:spChg chg="add del mod">
          <ac:chgData name="Moritz Baldauf" userId="d2a8e088faa3b6be" providerId="LiveId" clId="{6AF36CA8-D1C8-4C56-8110-3A0F5029C282}" dt="2024-04-22T10:02:18.008" v="3574" actId="478"/>
          <ac:spMkLst>
            <pc:docMk/>
            <pc:sldMk cId="1338912262" sldId="316"/>
            <ac:spMk id="11" creationId="{4ED0BBDA-BED4-549B-0D57-0C65C841B206}"/>
          </ac:spMkLst>
        </pc:spChg>
        <pc:spChg chg="add del mod modVis">
          <ac:chgData name="Moritz Baldauf" userId="d2a8e088faa3b6be" providerId="LiveId" clId="{6AF36CA8-D1C8-4C56-8110-3A0F5029C282}" dt="2024-04-22T10:01:30.026" v="3557"/>
          <ac:spMkLst>
            <pc:docMk/>
            <pc:sldMk cId="1338912262" sldId="316"/>
            <ac:spMk id="12" creationId="{A79927C6-AF8D-38B6-BB75-42C9267611F0}"/>
          </ac:spMkLst>
        </pc:spChg>
        <pc:spChg chg="add mod">
          <ac:chgData name="Moritz Baldauf" userId="d2a8e088faa3b6be" providerId="LiveId" clId="{6AF36CA8-D1C8-4C56-8110-3A0F5029C282}" dt="2024-04-22T10:02:21.958" v="3577" actId="14100"/>
          <ac:spMkLst>
            <pc:docMk/>
            <pc:sldMk cId="1338912262" sldId="316"/>
            <ac:spMk id="13" creationId="{95ECA636-E4D0-D28B-E228-53B9C0465133}"/>
          </ac:spMkLst>
        </pc:spChg>
        <pc:spChg chg="add mod">
          <ac:chgData name="Moritz Baldauf" userId="d2a8e088faa3b6be" providerId="LiveId" clId="{6AF36CA8-D1C8-4C56-8110-3A0F5029C282}" dt="2024-04-22T10:02:21.958" v="3577" actId="14100"/>
          <ac:spMkLst>
            <pc:docMk/>
            <pc:sldMk cId="1338912262" sldId="316"/>
            <ac:spMk id="14" creationId="{7D363585-CCF1-2626-95F0-CB0C35D1017B}"/>
          </ac:spMkLst>
        </pc:spChg>
        <pc:spChg chg="mod">
          <ac:chgData name="Moritz Baldauf" userId="d2a8e088faa3b6be" providerId="LiveId" clId="{6AF36CA8-D1C8-4C56-8110-3A0F5029C282}" dt="2024-04-22T10:12:39.526" v="4161" actId="948"/>
          <ac:spMkLst>
            <pc:docMk/>
            <pc:sldMk cId="1338912262" sldId="316"/>
            <ac:spMk id="15" creationId="{1A4CA57F-B7AD-4757-3641-3895645126AE}"/>
          </ac:spMkLst>
        </pc:spChg>
        <pc:spChg chg="add mod">
          <ac:chgData name="Moritz Baldauf" userId="d2a8e088faa3b6be" providerId="LiveId" clId="{6AF36CA8-D1C8-4C56-8110-3A0F5029C282}" dt="2024-04-22T10:02:21.958" v="3577" actId="14100"/>
          <ac:spMkLst>
            <pc:docMk/>
            <pc:sldMk cId="1338912262" sldId="316"/>
            <ac:spMk id="17" creationId="{1E40B148-F71F-F246-F425-EEF76248B364}"/>
          </ac:spMkLst>
        </pc:spChg>
        <pc:spChg chg="add mod">
          <ac:chgData name="Moritz Baldauf" userId="d2a8e088faa3b6be" providerId="LiveId" clId="{6AF36CA8-D1C8-4C56-8110-3A0F5029C282}" dt="2024-04-22T10:02:21.958" v="3577" actId="14100"/>
          <ac:spMkLst>
            <pc:docMk/>
            <pc:sldMk cId="1338912262" sldId="316"/>
            <ac:spMk id="18" creationId="{4DEE91CE-6596-DCAE-FFD7-FC1A737D44CE}"/>
          </ac:spMkLst>
        </pc:spChg>
        <pc:spChg chg="add mod">
          <ac:chgData name="Moritz Baldauf" userId="d2a8e088faa3b6be" providerId="LiveId" clId="{6AF36CA8-D1C8-4C56-8110-3A0F5029C282}" dt="2024-04-22T10:02:21.958" v="3577" actId="14100"/>
          <ac:spMkLst>
            <pc:docMk/>
            <pc:sldMk cId="1338912262" sldId="316"/>
            <ac:spMk id="19" creationId="{46C80094-86FE-AF32-B962-9C0D55AB9DFF}"/>
          </ac:spMkLst>
        </pc:spChg>
        <pc:spChg chg="add mod">
          <ac:chgData name="Moritz Baldauf" userId="d2a8e088faa3b6be" providerId="LiveId" clId="{6AF36CA8-D1C8-4C56-8110-3A0F5029C282}" dt="2024-04-22T10:02:21.958" v="3577" actId="14100"/>
          <ac:spMkLst>
            <pc:docMk/>
            <pc:sldMk cId="1338912262" sldId="316"/>
            <ac:spMk id="20" creationId="{BEB7A077-0F68-141D-902C-C843161826FA}"/>
          </ac:spMkLst>
        </pc:spChg>
        <pc:spChg chg="add mod">
          <ac:chgData name="Moritz Baldauf" userId="d2a8e088faa3b6be" providerId="LiveId" clId="{6AF36CA8-D1C8-4C56-8110-3A0F5029C282}" dt="2024-04-22T10:02:21.958" v="3577" actId="14100"/>
          <ac:spMkLst>
            <pc:docMk/>
            <pc:sldMk cId="1338912262" sldId="316"/>
            <ac:spMk id="21" creationId="{6743AAB2-DF36-6A85-3E98-57B6C0E99A54}"/>
          </ac:spMkLst>
        </pc:spChg>
        <pc:spChg chg="add mod">
          <ac:chgData name="Moritz Baldauf" userId="d2a8e088faa3b6be" providerId="LiveId" clId="{6AF36CA8-D1C8-4C56-8110-3A0F5029C282}" dt="2024-04-22T10:02:21.958" v="3577" actId="14100"/>
          <ac:spMkLst>
            <pc:docMk/>
            <pc:sldMk cId="1338912262" sldId="316"/>
            <ac:spMk id="22" creationId="{0F97E89C-6172-058A-66D6-4B896F949D67}"/>
          </ac:spMkLst>
        </pc:spChg>
        <pc:spChg chg="add mod">
          <ac:chgData name="Moritz Baldauf" userId="d2a8e088faa3b6be" providerId="LiveId" clId="{6AF36CA8-D1C8-4C56-8110-3A0F5029C282}" dt="2024-04-22T10:02:21.958" v="3577" actId="14100"/>
          <ac:spMkLst>
            <pc:docMk/>
            <pc:sldMk cId="1338912262" sldId="316"/>
            <ac:spMk id="23" creationId="{0EC7EF62-253B-D138-DC06-A0DE9F3D3B43}"/>
          </ac:spMkLst>
        </pc:spChg>
        <pc:spChg chg="add mod">
          <ac:chgData name="Moritz Baldauf" userId="d2a8e088faa3b6be" providerId="LiveId" clId="{6AF36CA8-D1C8-4C56-8110-3A0F5029C282}" dt="2024-04-22T10:02:21.958" v="3577" actId="14100"/>
          <ac:spMkLst>
            <pc:docMk/>
            <pc:sldMk cId="1338912262" sldId="316"/>
            <ac:spMk id="24" creationId="{44F9EC85-34B9-A53D-732D-42FDC13D9BD2}"/>
          </ac:spMkLst>
        </pc:spChg>
        <pc:spChg chg="add mod">
          <ac:chgData name="Moritz Baldauf" userId="d2a8e088faa3b6be" providerId="LiveId" clId="{6AF36CA8-D1C8-4C56-8110-3A0F5029C282}" dt="2024-04-22T10:02:21.958" v="3577" actId="14100"/>
          <ac:spMkLst>
            <pc:docMk/>
            <pc:sldMk cId="1338912262" sldId="316"/>
            <ac:spMk id="25" creationId="{FD7680C4-FE51-7EB6-6FEC-DC51FB4ECACC}"/>
          </ac:spMkLst>
        </pc:spChg>
        <pc:spChg chg="add mod">
          <ac:chgData name="Moritz Baldauf" userId="d2a8e088faa3b6be" providerId="LiveId" clId="{6AF36CA8-D1C8-4C56-8110-3A0F5029C282}" dt="2024-04-22T10:02:21.958" v="3577" actId="14100"/>
          <ac:spMkLst>
            <pc:docMk/>
            <pc:sldMk cId="1338912262" sldId="316"/>
            <ac:spMk id="26" creationId="{4B594F7A-3532-1DBE-0F0E-2A76BBB6DFE3}"/>
          </ac:spMkLst>
        </pc:spChg>
        <pc:spChg chg="add mod">
          <ac:chgData name="Moritz Baldauf" userId="d2a8e088faa3b6be" providerId="LiveId" clId="{6AF36CA8-D1C8-4C56-8110-3A0F5029C282}" dt="2024-04-22T10:02:21.958" v="3577" actId="14100"/>
          <ac:spMkLst>
            <pc:docMk/>
            <pc:sldMk cId="1338912262" sldId="316"/>
            <ac:spMk id="27" creationId="{76EF2D1C-3D24-63F1-58FC-D14FFB025D1F}"/>
          </ac:spMkLst>
        </pc:spChg>
        <pc:spChg chg="add mod">
          <ac:chgData name="Moritz Baldauf" userId="d2a8e088faa3b6be" providerId="LiveId" clId="{6AF36CA8-D1C8-4C56-8110-3A0F5029C282}" dt="2024-04-22T10:02:21.958" v="3577" actId="14100"/>
          <ac:spMkLst>
            <pc:docMk/>
            <pc:sldMk cId="1338912262" sldId="316"/>
            <ac:spMk id="28" creationId="{BFBDFEFE-BC49-3D4D-34DD-C6D98616BDBC}"/>
          </ac:spMkLst>
        </pc:spChg>
        <pc:spChg chg="add mod">
          <ac:chgData name="Moritz Baldauf" userId="d2a8e088faa3b6be" providerId="LiveId" clId="{6AF36CA8-D1C8-4C56-8110-3A0F5029C282}" dt="2024-04-22T10:02:21.958" v="3577" actId="14100"/>
          <ac:spMkLst>
            <pc:docMk/>
            <pc:sldMk cId="1338912262" sldId="316"/>
            <ac:spMk id="29" creationId="{600BACE9-1A1A-8350-62B6-8D35ECCC52C0}"/>
          </ac:spMkLst>
        </pc:spChg>
        <pc:spChg chg="add mod">
          <ac:chgData name="Moritz Baldauf" userId="d2a8e088faa3b6be" providerId="LiveId" clId="{6AF36CA8-D1C8-4C56-8110-3A0F5029C282}" dt="2024-04-22T10:02:21.958" v="3577" actId="14100"/>
          <ac:spMkLst>
            <pc:docMk/>
            <pc:sldMk cId="1338912262" sldId="316"/>
            <ac:spMk id="30" creationId="{032DF9E7-86B1-0509-4D6E-DC1AD8E31DDC}"/>
          </ac:spMkLst>
        </pc:spChg>
        <pc:spChg chg="add mod">
          <ac:chgData name="Moritz Baldauf" userId="d2a8e088faa3b6be" providerId="LiveId" clId="{6AF36CA8-D1C8-4C56-8110-3A0F5029C282}" dt="2024-04-22T10:02:21.958" v="3577" actId="14100"/>
          <ac:spMkLst>
            <pc:docMk/>
            <pc:sldMk cId="1338912262" sldId="316"/>
            <ac:spMk id="31" creationId="{7367DC37-1CC8-41B9-788F-A5A5E0509812}"/>
          </ac:spMkLst>
        </pc:spChg>
        <pc:spChg chg="mod">
          <ac:chgData name="Moritz Baldauf" userId="d2a8e088faa3b6be" providerId="LiveId" clId="{6AF36CA8-D1C8-4C56-8110-3A0F5029C282}" dt="2024-04-22T10:02:18.371" v="3575"/>
          <ac:spMkLst>
            <pc:docMk/>
            <pc:sldMk cId="1338912262" sldId="316"/>
            <ac:spMk id="33" creationId="{38523215-BBEC-3071-4045-4C60A3AA89D0}"/>
          </ac:spMkLst>
        </pc:spChg>
        <pc:spChg chg="mod">
          <ac:chgData name="Moritz Baldauf" userId="d2a8e088faa3b6be" providerId="LiveId" clId="{6AF36CA8-D1C8-4C56-8110-3A0F5029C282}" dt="2024-04-22T10:02:18.371" v="3575"/>
          <ac:spMkLst>
            <pc:docMk/>
            <pc:sldMk cId="1338912262" sldId="316"/>
            <ac:spMk id="34" creationId="{AE34DB5E-CD6A-40DE-711A-AF2524A83350}"/>
          </ac:spMkLst>
        </pc:spChg>
        <pc:spChg chg="add mod topLvl">
          <ac:chgData name="Moritz Baldauf" userId="d2a8e088faa3b6be" providerId="LiveId" clId="{6AF36CA8-D1C8-4C56-8110-3A0F5029C282}" dt="2024-04-22T10:12:54.851" v="4200" actId="1037"/>
          <ac:spMkLst>
            <pc:docMk/>
            <pc:sldMk cId="1338912262" sldId="316"/>
            <ac:spMk id="35" creationId="{BBDE4C0A-4484-9D1B-FB59-E66D3D301801}"/>
          </ac:spMkLst>
        </pc:spChg>
        <pc:spChg chg="add mod topLvl">
          <ac:chgData name="Moritz Baldauf" userId="d2a8e088faa3b6be" providerId="LiveId" clId="{6AF36CA8-D1C8-4C56-8110-3A0F5029C282}" dt="2024-04-22T10:12:54.851" v="4200" actId="1037"/>
          <ac:spMkLst>
            <pc:docMk/>
            <pc:sldMk cId="1338912262" sldId="316"/>
            <ac:spMk id="36" creationId="{41CB1FBE-2DD6-D4AD-D1A1-9D110ACDCCD1}"/>
          </ac:spMkLst>
        </pc:spChg>
        <pc:spChg chg="add mod topLvl">
          <ac:chgData name="Moritz Baldauf" userId="d2a8e088faa3b6be" providerId="LiveId" clId="{6AF36CA8-D1C8-4C56-8110-3A0F5029C282}" dt="2024-04-22T10:12:54.851" v="4200" actId="1037"/>
          <ac:spMkLst>
            <pc:docMk/>
            <pc:sldMk cId="1338912262" sldId="316"/>
            <ac:spMk id="37" creationId="{62A30B49-717A-3EE9-4178-CEFDE9F1F6D5}"/>
          </ac:spMkLst>
        </pc:spChg>
        <pc:spChg chg="add mod topLvl">
          <ac:chgData name="Moritz Baldauf" userId="d2a8e088faa3b6be" providerId="LiveId" clId="{6AF36CA8-D1C8-4C56-8110-3A0F5029C282}" dt="2024-04-22T10:12:54.851" v="4200" actId="1037"/>
          <ac:spMkLst>
            <pc:docMk/>
            <pc:sldMk cId="1338912262" sldId="316"/>
            <ac:spMk id="38" creationId="{C448C499-FAA0-E45B-E2C5-3B7FA9DE84BA}"/>
          </ac:spMkLst>
        </pc:spChg>
        <pc:spChg chg="add mod topLvl">
          <ac:chgData name="Moritz Baldauf" userId="d2a8e088faa3b6be" providerId="LiveId" clId="{6AF36CA8-D1C8-4C56-8110-3A0F5029C282}" dt="2024-04-22T10:12:54.851" v="4200" actId="1037"/>
          <ac:spMkLst>
            <pc:docMk/>
            <pc:sldMk cId="1338912262" sldId="316"/>
            <ac:spMk id="39" creationId="{D2667A9B-FD4C-A5F1-7B18-41FED794FA9F}"/>
          </ac:spMkLst>
        </pc:spChg>
        <pc:spChg chg="add mod topLvl">
          <ac:chgData name="Moritz Baldauf" userId="d2a8e088faa3b6be" providerId="LiveId" clId="{6AF36CA8-D1C8-4C56-8110-3A0F5029C282}" dt="2024-04-22T10:12:54.851" v="4200" actId="1037"/>
          <ac:spMkLst>
            <pc:docMk/>
            <pc:sldMk cId="1338912262" sldId="316"/>
            <ac:spMk id="40" creationId="{60D91CFF-9CBA-2F24-99D8-0FAF64377F3B}"/>
          </ac:spMkLst>
        </pc:spChg>
        <pc:spChg chg="add mod topLvl">
          <ac:chgData name="Moritz Baldauf" userId="d2a8e088faa3b6be" providerId="LiveId" clId="{6AF36CA8-D1C8-4C56-8110-3A0F5029C282}" dt="2024-04-22T10:12:54.851" v="4200" actId="1037"/>
          <ac:spMkLst>
            <pc:docMk/>
            <pc:sldMk cId="1338912262" sldId="316"/>
            <ac:spMk id="41" creationId="{A77CCAA3-D150-B7DC-8129-18AEEA89D7C5}"/>
          </ac:spMkLst>
        </pc:spChg>
        <pc:spChg chg="add mod topLvl">
          <ac:chgData name="Moritz Baldauf" userId="d2a8e088faa3b6be" providerId="LiveId" clId="{6AF36CA8-D1C8-4C56-8110-3A0F5029C282}" dt="2024-04-22T10:12:54.851" v="4200" actId="1037"/>
          <ac:spMkLst>
            <pc:docMk/>
            <pc:sldMk cId="1338912262" sldId="316"/>
            <ac:spMk id="42" creationId="{06E9EA41-952E-F88A-B975-ABDC3D08DCAA}"/>
          </ac:spMkLst>
        </pc:spChg>
        <pc:spChg chg="add mod topLvl">
          <ac:chgData name="Moritz Baldauf" userId="d2a8e088faa3b6be" providerId="LiveId" clId="{6AF36CA8-D1C8-4C56-8110-3A0F5029C282}" dt="2024-04-22T10:12:54.851" v="4200" actId="1037"/>
          <ac:spMkLst>
            <pc:docMk/>
            <pc:sldMk cId="1338912262" sldId="316"/>
            <ac:spMk id="43" creationId="{DA1A4FA0-CEB7-B041-E9E5-2C4371BAC160}"/>
          </ac:spMkLst>
        </pc:spChg>
        <pc:spChg chg="add mod topLvl">
          <ac:chgData name="Moritz Baldauf" userId="d2a8e088faa3b6be" providerId="LiveId" clId="{6AF36CA8-D1C8-4C56-8110-3A0F5029C282}" dt="2024-04-22T10:12:54.851" v="4200" actId="1037"/>
          <ac:spMkLst>
            <pc:docMk/>
            <pc:sldMk cId="1338912262" sldId="316"/>
            <ac:spMk id="44" creationId="{6A6BC5EA-E384-1EA9-DBB2-5660685D9705}"/>
          </ac:spMkLst>
        </pc:spChg>
        <pc:spChg chg="add del mod topLvl">
          <ac:chgData name="Moritz Baldauf" userId="d2a8e088faa3b6be" providerId="LiveId" clId="{6AF36CA8-D1C8-4C56-8110-3A0F5029C282}" dt="2024-04-22T10:06:31.435" v="3835" actId="478"/>
          <ac:spMkLst>
            <pc:docMk/>
            <pc:sldMk cId="1338912262" sldId="316"/>
            <ac:spMk id="45" creationId="{CFC36080-C26C-A61E-B759-3E4DD6F47D28}"/>
          </ac:spMkLst>
        </pc:spChg>
        <pc:spChg chg="add mod topLvl">
          <ac:chgData name="Moritz Baldauf" userId="d2a8e088faa3b6be" providerId="LiveId" clId="{6AF36CA8-D1C8-4C56-8110-3A0F5029C282}" dt="2024-04-22T10:12:54.851" v="4200" actId="1037"/>
          <ac:spMkLst>
            <pc:docMk/>
            <pc:sldMk cId="1338912262" sldId="316"/>
            <ac:spMk id="46" creationId="{F7DD4A1C-5556-7D55-0CC2-4B326A20455C}"/>
          </ac:spMkLst>
        </pc:spChg>
        <pc:spChg chg="add del mod topLvl">
          <ac:chgData name="Moritz Baldauf" userId="d2a8e088faa3b6be" providerId="LiveId" clId="{6AF36CA8-D1C8-4C56-8110-3A0F5029C282}" dt="2024-04-22T10:06:31.435" v="3837"/>
          <ac:spMkLst>
            <pc:docMk/>
            <pc:sldMk cId="1338912262" sldId="316"/>
            <ac:spMk id="47" creationId="{F27B928B-C100-3C87-8079-5048A9787AB0}"/>
          </ac:spMkLst>
        </pc:spChg>
        <pc:spChg chg="add mod topLvl">
          <ac:chgData name="Moritz Baldauf" userId="d2a8e088faa3b6be" providerId="LiveId" clId="{6AF36CA8-D1C8-4C56-8110-3A0F5029C282}" dt="2024-04-22T10:12:54.851" v="4200" actId="1037"/>
          <ac:spMkLst>
            <pc:docMk/>
            <pc:sldMk cId="1338912262" sldId="316"/>
            <ac:spMk id="48" creationId="{B1D82196-909F-3A90-9663-92289A5245E3}"/>
          </ac:spMkLst>
        </pc:spChg>
        <pc:spChg chg="add mod topLvl">
          <ac:chgData name="Moritz Baldauf" userId="d2a8e088faa3b6be" providerId="LiveId" clId="{6AF36CA8-D1C8-4C56-8110-3A0F5029C282}" dt="2024-04-22T10:12:54.851" v="4200" actId="1037"/>
          <ac:spMkLst>
            <pc:docMk/>
            <pc:sldMk cId="1338912262" sldId="316"/>
            <ac:spMk id="49" creationId="{9B8D106A-7373-932D-2C27-53708D456525}"/>
          </ac:spMkLst>
        </pc:spChg>
        <pc:spChg chg="add mod topLvl">
          <ac:chgData name="Moritz Baldauf" userId="d2a8e088faa3b6be" providerId="LiveId" clId="{6AF36CA8-D1C8-4C56-8110-3A0F5029C282}" dt="2024-04-22T10:12:54.851" v="4200" actId="1037"/>
          <ac:spMkLst>
            <pc:docMk/>
            <pc:sldMk cId="1338912262" sldId="316"/>
            <ac:spMk id="50" creationId="{5006890B-AEB5-70F8-8B8F-C1A53534A214}"/>
          </ac:spMkLst>
        </pc:spChg>
        <pc:spChg chg="add mod">
          <ac:chgData name="Moritz Baldauf" userId="d2a8e088faa3b6be" providerId="LiveId" clId="{6AF36CA8-D1C8-4C56-8110-3A0F5029C282}" dt="2024-04-22T10:12:54.851" v="4200" actId="1037"/>
          <ac:spMkLst>
            <pc:docMk/>
            <pc:sldMk cId="1338912262" sldId="316"/>
            <ac:spMk id="54" creationId="{14284F4E-26A9-DAC1-98E6-064B032C052E}"/>
          </ac:spMkLst>
        </pc:spChg>
        <pc:spChg chg="add mod">
          <ac:chgData name="Moritz Baldauf" userId="d2a8e088faa3b6be" providerId="LiveId" clId="{6AF36CA8-D1C8-4C56-8110-3A0F5029C282}" dt="2024-04-22T10:07:19.333" v="3846" actId="571"/>
          <ac:spMkLst>
            <pc:docMk/>
            <pc:sldMk cId="1338912262" sldId="316"/>
            <ac:spMk id="55" creationId="{000EA682-1D01-6A4D-A902-2F5DBCE42233}"/>
          </ac:spMkLst>
        </pc:spChg>
        <pc:spChg chg="add mod">
          <ac:chgData name="Moritz Baldauf" userId="d2a8e088faa3b6be" providerId="LiveId" clId="{6AF36CA8-D1C8-4C56-8110-3A0F5029C282}" dt="2024-04-22T10:07:19.333" v="3846" actId="571"/>
          <ac:spMkLst>
            <pc:docMk/>
            <pc:sldMk cId="1338912262" sldId="316"/>
            <ac:spMk id="56" creationId="{0578C34E-537C-6CB8-A441-448E78B50CB5}"/>
          </ac:spMkLst>
        </pc:spChg>
        <pc:spChg chg="add mod">
          <ac:chgData name="Moritz Baldauf" userId="d2a8e088faa3b6be" providerId="LiveId" clId="{6AF36CA8-D1C8-4C56-8110-3A0F5029C282}" dt="2024-04-22T10:07:19.333" v="3846" actId="571"/>
          <ac:spMkLst>
            <pc:docMk/>
            <pc:sldMk cId="1338912262" sldId="316"/>
            <ac:spMk id="57" creationId="{98F64C2D-92CF-2651-A6A5-E41EF67DDA45}"/>
          </ac:spMkLst>
        </pc:spChg>
        <pc:spChg chg="add mod">
          <ac:chgData name="Moritz Baldauf" userId="d2a8e088faa3b6be" providerId="LiveId" clId="{6AF36CA8-D1C8-4C56-8110-3A0F5029C282}" dt="2024-04-22T10:12:54.851" v="4200" actId="1037"/>
          <ac:spMkLst>
            <pc:docMk/>
            <pc:sldMk cId="1338912262" sldId="316"/>
            <ac:spMk id="58" creationId="{255B9362-31F8-1459-E02F-B9398CA2C26E}"/>
          </ac:spMkLst>
        </pc:spChg>
        <pc:spChg chg="add del mod modVis">
          <ac:chgData name="Moritz Baldauf" userId="d2a8e088faa3b6be" providerId="LiveId" clId="{6AF36CA8-D1C8-4C56-8110-3A0F5029C282}" dt="2024-04-22T10:12:07.571" v="4055"/>
          <ac:spMkLst>
            <pc:docMk/>
            <pc:sldMk cId="1338912262" sldId="316"/>
            <ac:spMk id="59" creationId="{05DD20A2-753E-C16A-01F5-CB1355348E4E}"/>
          </ac:spMkLst>
        </pc:spChg>
        <pc:spChg chg="add del mod modVis">
          <ac:chgData name="Moritz Baldauf" userId="d2a8e088faa3b6be" providerId="LiveId" clId="{6AF36CA8-D1C8-4C56-8110-3A0F5029C282}" dt="2024-04-22T10:12:30.334" v="4085"/>
          <ac:spMkLst>
            <pc:docMk/>
            <pc:sldMk cId="1338912262" sldId="316"/>
            <ac:spMk id="60" creationId="{AD3159E8-0525-3869-FE67-F4E5D80674A9}"/>
          </ac:spMkLst>
        </pc:spChg>
        <pc:spChg chg="add del mod modVis">
          <ac:chgData name="Moritz Baldauf" userId="d2a8e088faa3b6be" providerId="LiveId" clId="{6AF36CA8-D1C8-4C56-8110-3A0F5029C282}" dt="2024-04-22T10:12:35.567" v="4128"/>
          <ac:spMkLst>
            <pc:docMk/>
            <pc:sldMk cId="1338912262" sldId="316"/>
            <ac:spMk id="61" creationId="{F15BA11D-BAF4-48B5-F52A-EEED919D1E08}"/>
          </ac:spMkLst>
        </pc:spChg>
        <pc:spChg chg="add del mod modVis">
          <ac:chgData name="Moritz Baldauf" userId="d2a8e088faa3b6be" providerId="LiveId" clId="{6AF36CA8-D1C8-4C56-8110-3A0F5029C282}" dt="2024-04-22T10:12:36.630" v="4157"/>
          <ac:spMkLst>
            <pc:docMk/>
            <pc:sldMk cId="1338912262" sldId="316"/>
            <ac:spMk id="62" creationId="{6C93A14E-DFB0-688B-38E6-3173E58C7E7E}"/>
          </ac:spMkLst>
        </pc:spChg>
        <pc:spChg chg="add del mod modVis">
          <ac:chgData name="Moritz Baldauf" userId="d2a8e088faa3b6be" providerId="LiveId" clId="{6AF36CA8-D1C8-4C56-8110-3A0F5029C282}" dt="2024-04-22T10:12:39.549" v="4185"/>
          <ac:spMkLst>
            <pc:docMk/>
            <pc:sldMk cId="1338912262" sldId="316"/>
            <ac:spMk id="63" creationId="{6BC37ABD-6359-C82C-9BCD-012D475A5E19}"/>
          </ac:spMkLst>
        </pc:spChg>
        <pc:grpChg chg="add mod">
          <ac:chgData name="Moritz Baldauf" userId="d2a8e088faa3b6be" providerId="LiveId" clId="{6AF36CA8-D1C8-4C56-8110-3A0F5029C282}" dt="2024-04-22T10:02:21.958" v="3577" actId="14100"/>
          <ac:grpSpMkLst>
            <pc:docMk/>
            <pc:sldMk cId="1338912262" sldId="316"/>
            <ac:grpSpMk id="32" creationId="{FD4C38BA-C431-E6B6-70D9-489A6E8A1304}"/>
          </ac:grpSpMkLst>
        </pc:grpChg>
        <pc:grpChg chg="add del mod">
          <ac:chgData name="Moritz Baldauf" userId="d2a8e088faa3b6be" providerId="LiveId" clId="{6AF36CA8-D1C8-4C56-8110-3A0F5029C282}" dt="2024-04-22T10:02:47.145" v="3590" actId="165"/>
          <ac:grpSpMkLst>
            <pc:docMk/>
            <pc:sldMk cId="1338912262" sldId="316"/>
            <ac:grpSpMk id="51" creationId="{1CE9E324-9442-56BC-4FAD-979F9DC05BBF}"/>
          </ac:grpSpMkLst>
        </pc:grpChg>
        <pc:grpChg chg="add del mod">
          <ac:chgData name="Moritz Baldauf" userId="d2a8e088faa3b6be" providerId="LiveId" clId="{6AF36CA8-D1C8-4C56-8110-3A0F5029C282}" dt="2024-04-22T10:07:08.504" v="3843" actId="165"/>
          <ac:grpSpMkLst>
            <pc:docMk/>
            <pc:sldMk cId="1338912262" sldId="316"/>
            <ac:grpSpMk id="52" creationId="{4288314A-66B8-BCDF-C350-C5AF47F8AE47}"/>
          </ac:grpSpMkLst>
        </pc:grpChg>
        <pc:grpChg chg="add del mod">
          <ac:chgData name="Moritz Baldauf" userId="d2a8e088faa3b6be" providerId="LiveId" clId="{6AF36CA8-D1C8-4C56-8110-3A0F5029C282}" dt="2024-04-22T10:04:16.944" v="3655" actId="165"/>
          <ac:grpSpMkLst>
            <pc:docMk/>
            <pc:sldMk cId="1338912262" sldId="316"/>
            <ac:grpSpMk id="53" creationId="{F604FEF0-1880-4DDD-CD5E-0DA41FCEB8C8}"/>
          </ac:grpSpMkLst>
        </pc:grpChg>
        <pc:graphicFrameChg chg="mod">
          <ac:chgData name="Moritz Baldauf" userId="d2a8e088faa3b6be" providerId="LiveId" clId="{6AF36CA8-D1C8-4C56-8110-3A0F5029C282}" dt="2024-04-22T10:12:39.550" v="4187"/>
          <ac:graphicFrameMkLst>
            <pc:docMk/>
            <pc:sldMk cId="1338912262" sldId="316"/>
            <ac:graphicFrameMk id="16" creationId="{B717AB91-800D-E5AF-7DCF-9B23FFA10095}"/>
          </ac:graphicFrameMkLst>
        </pc:graphicFrameChg>
        <pc:picChg chg="add mod">
          <ac:chgData name="Moritz Baldauf" userId="d2a8e088faa3b6be" providerId="LiveId" clId="{6AF36CA8-D1C8-4C56-8110-3A0F5029C282}" dt="2024-04-22T09:04:51.041" v="1292"/>
          <ac:picMkLst>
            <pc:docMk/>
            <pc:sldMk cId="1338912262" sldId="316"/>
            <ac:picMk id="2" creationId="{A0CB0044-F2DE-FF40-AFC9-0D638A24DFBA}"/>
          </ac:picMkLst>
        </pc:picChg>
      </pc:sldChg>
      <pc:sldChg chg="addSp delSp modSp new mod modNotesTx">
        <pc:chgData name="Moritz Baldauf" userId="d2a8e088faa3b6be" providerId="LiveId" clId="{6AF36CA8-D1C8-4C56-8110-3A0F5029C282}" dt="2024-04-22T10:13:49.299" v="4202"/>
        <pc:sldMkLst>
          <pc:docMk/>
          <pc:sldMk cId="1046375524" sldId="317"/>
        </pc:sldMkLst>
        <pc:spChg chg="mod">
          <ac:chgData name="Moritz Baldauf" userId="d2a8e088faa3b6be" providerId="LiveId" clId="{6AF36CA8-D1C8-4C56-8110-3A0F5029C282}" dt="2024-04-22T09:54:03.293" v="3493" actId="948"/>
          <ac:spMkLst>
            <pc:docMk/>
            <pc:sldMk cId="1046375524" sldId="317"/>
            <ac:spMk id="2" creationId="{CD0E3A6C-A6AE-B1CC-0940-7A3C8282B373}"/>
          </ac:spMkLst>
        </pc:spChg>
        <pc:spChg chg="mod">
          <ac:chgData name="Moritz Baldauf" userId="d2a8e088faa3b6be" providerId="LiveId" clId="{6AF36CA8-D1C8-4C56-8110-3A0F5029C282}" dt="2024-04-22T09:19:31.160" v="1851"/>
          <ac:spMkLst>
            <pc:docMk/>
            <pc:sldMk cId="1046375524" sldId="317"/>
            <ac:spMk id="4" creationId="{C23EA9D2-23D9-795C-702A-AB730499B19D}"/>
          </ac:spMkLst>
        </pc:spChg>
        <pc:spChg chg="mod">
          <ac:chgData name="Moritz Baldauf" userId="d2a8e088faa3b6be" providerId="LiveId" clId="{6AF36CA8-D1C8-4C56-8110-3A0F5029C282}" dt="2024-04-22T09:19:31.160" v="1851"/>
          <ac:spMkLst>
            <pc:docMk/>
            <pc:sldMk cId="1046375524" sldId="317"/>
            <ac:spMk id="5" creationId="{581AD698-DC98-E624-BCC4-4605FEB224C9}"/>
          </ac:spMkLst>
        </pc:spChg>
        <pc:spChg chg="mod">
          <ac:chgData name="Moritz Baldauf" userId="d2a8e088faa3b6be" providerId="LiveId" clId="{6AF36CA8-D1C8-4C56-8110-3A0F5029C282}" dt="2024-04-22T09:19:31.160" v="1851"/>
          <ac:spMkLst>
            <pc:docMk/>
            <pc:sldMk cId="1046375524" sldId="317"/>
            <ac:spMk id="6" creationId="{56E46ABC-96A1-AAC8-57DE-91000036BEA0}"/>
          </ac:spMkLst>
        </pc:spChg>
        <pc:spChg chg="mod">
          <ac:chgData name="Moritz Baldauf" userId="d2a8e088faa3b6be" providerId="LiveId" clId="{6AF36CA8-D1C8-4C56-8110-3A0F5029C282}" dt="2024-04-22T09:19:31.160" v="1851"/>
          <ac:spMkLst>
            <pc:docMk/>
            <pc:sldMk cId="1046375524" sldId="317"/>
            <ac:spMk id="7" creationId="{D78B3453-4D79-1483-401E-648091DBA2AA}"/>
          </ac:spMkLst>
        </pc:spChg>
        <pc:spChg chg="add del mod modVis">
          <ac:chgData name="Moritz Baldauf" userId="d2a8e088faa3b6be" providerId="LiveId" clId="{6AF36CA8-D1C8-4C56-8110-3A0F5029C282}" dt="2024-04-22T09:19:39.960" v="1905"/>
          <ac:spMkLst>
            <pc:docMk/>
            <pc:sldMk cId="1046375524" sldId="317"/>
            <ac:spMk id="8" creationId="{D078D1CD-7B58-C634-EFD5-EBDD6B621633}"/>
          </ac:spMkLst>
        </pc:spChg>
        <pc:spChg chg="add del mod modVis">
          <ac:chgData name="Moritz Baldauf" userId="d2a8e088faa3b6be" providerId="LiveId" clId="{6AF36CA8-D1C8-4C56-8110-3A0F5029C282}" dt="2024-04-22T09:19:40.784" v="1945"/>
          <ac:spMkLst>
            <pc:docMk/>
            <pc:sldMk cId="1046375524" sldId="317"/>
            <ac:spMk id="10" creationId="{D16A1F6D-B7CE-8C33-3B88-0EB1E5FC973E}"/>
          </ac:spMkLst>
        </pc:spChg>
        <pc:spChg chg="add del mod modVis">
          <ac:chgData name="Moritz Baldauf" userId="d2a8e088faa3b6be" providerId="LiveId" clId="{6AF36CA8-D1C8-4C56-8110-3A0F5029C282}" dt="2024-04-22T09:19:41.866" v="1973"/>
          <ac:spMkLst>
            <pc:docMk/>
            <pc:sldMk cId="1046375524" sldId="317"/>
            <ac:spMk id="11" creationId="{58BF9112-1F73-63F8-DB11-39E523C725D9}"/>
          </ac:spMkLst>
        </pc:spChg>
        <pc:spChg chg="add del mod modVis">
          <ac:chgData name="Moritz Baldauf" userId="d2a8e088faa3b6be" providerId="LiveId" clId="{6AF36CA8-D1C8-4C56-8110-3A0F5029C282}" dt="2024-04-22T09:19:44.210" v="2008"/>
          <ac:spMkLst>
            <pc:docMk/>
            <pc:sldMk cId="1046375524" sldId="317"/>
            <ac:spMk id="12" creationId="{DD0E59AE-DD00-45C9-14B7-5C3CF8E9568E}"/>
          </ac:spMkLst>
        </pc:spChg>
        <pc:spChg chg="add del mod modVis">
          <ac:chgData name="Moritz Baldauf" userId="d2a8e088faa3b6be" providerId="LiveId" clId="{6AF36CA8-D1C8-4C56-8110-3A0F5029C282}" dt="2024-04-22T09:19:49.789" v="2056"/>
          <ac:spMkLst>
            <pc:docMk/>
            <pc:sldMk cId="1046375524" sldId="317"/>
            <ac:spMk id="13" creationId="{90072725-1A7E-B9B5-0639-FC1977EE8A9D}"/>
          </ac:spMkLst>
        </pc:spChg>
        <pc:spChg chg="add del mod modVis">
          <ac:chgData name="Moritz Baldauf" userId="d2a8e088faa3b6be" providerId="LiveId" clId="{6AF36CA8-D1C8-4C56-8110-3A0F5029C282}" dt="2024-04-22T09:19:52.633" v="2083"/>
          <ac:spMkLst>
            <pc:docMk/>
            <pc:sldMk cId="1046375524" sldId="317"/>
            <ac:spMk id="14" creationId="{A4B3132B-7642-20D9-BF78-5AEF84D8F402}"/>
          </ac:spMkLst>
        </pc:spChg>
        <pc:spChg chg="add del mod modVis">
          <ac:chgData name="Moritz Baldauf" userId="d2a8e088faa3b6be" providerId="LiveId" clId="{6AF36CA8-D1C8-4C56-8110-3A0F5029C282}" dt="2024-04-22T09:19:56.867" v="2135"/>
          <ac:spMkLst>
            <pc:docMk/>
            <pc:sldMk cId="1046375524" sldId="317"/>
            <ac:spMk id="15" creationId="{C0D33C8A-44B3-4360-CB22-BE0D262546BE}"/>
          </ac:spMkLst>
        </pc:spChg>
        <pc:spChg chg="add del mod modVis">
          <ac:chgData name="Moritz Baldauf" userId="d2a8e088faa3b6be" providerId="LiveId" clId="{6AF36CA8-D1C8-4C56-8110-3A0F5029C282}" dt="2024-04-22T09:20:00.284" v="2174"/>
          <ac:spMkLst>
            <pc:docMk/>
            <pc:sldMk cId="1046375524" sldId="317"/>
            <ac:spMk id="16" creationId="{F440A536-65E4-2A65-46F5-A24FEF664175}"/>
          </ac:spMkLst>
        </pc:spChg>
        <pc:spChg chg="add del mod modVis">
          <ac:chgData name="Moritz Baldauf" userId="d2a8e088faa3b6be" providerId="LiveId" clId="{6AF36CA8-D1C8-4C56-8110-3A0F5029C282}" dt="2024-04-22T09:20:03.556" v="2201"/>
          <ac:spMkLst>
            <pc:docMk/>
            <pc:sldMk cId="1046375524" sldId="317"/>
            <ac:spMk id="17" creationId="{A6C77E3E-BED9-2CC7-DE16-11092606D428}"/>
          </ac:spMkLst>
        </pc:spChg>
        <pc:spChg chg="add del mod modVis">
          <ac:chgData name="Moritz Baldauf" userId="d2a8e088faa3b6be" providerId="LiveId" clId="{6AF36CA8-D1C8-4C56-8110-3A0F5029C282}" dt="2024-04-22T09:20:05.414" v="2229"/>
          <ac:spMkLst>
            <pc:docMk/>
            <pc:sldMk cId="1046375524" sldId="317"/>
            <ac:spMk id="18" creationId="{8CE20B75-9D52-BDC7-58D7-E1D97C61C3E0}"/>
          </ac:spMkLst>
        </pc:spChg>
        <pc:spChg chg="add del mod modVis">
          <ac:chgData name="Moritz Baldauf" userId="d2a8e088faa3b6be" providerId="LiveId" clId="{6AF36CA8-D1C8-4C56-8110-3A0F5029C282}" dt="2024-04-22T09:20:08.289" v="2257"/>
          <ac:spMkLst>
            <pc:docMk/>
            <pc:sldMk cId="1046375524" sldId="317"/>
            <ac:spMk id="19" creationId="{92DB5989-D12B-724A-FFFC-399DF9F1F872}"/>
          </ac:spMkLst>
        </pc:spChg>
        <pc:spChg chg="add del mod">
          <ac:chgData name="Moritz Baldauf" userId="d2a8e088faa3b6be" providerId="LiveId" clId="{6AF36CA8-D1C8-4C56-8110-3A0F5029C282}" dt="2024-04-22T09:24:17.363" v="2399" actId="478"/>
          <ac:spMkLst>
            <pc:docMk/>
            <pc:sldMk cId="1046375524" sldId="317"/>
            <ac:spMk id="20" creationId="{8127148B-5147-4015-6CB1-0513F8C2F984}"/>
          </ac:spMkLst>
        </pc:spChg>
        <pc:spChg chg="add del mod">
          <ac:chgData name="Moritz Baldauf" userId="d2a8e088faa3b6be" providerId="LiveId" clId="{6AF36CA8-D1C8-4C56-8110-3A0F5029C282}" dt="2024-04-22T09:36:52.619" v="2704" actId="478"/>
          <ac:spMkLst>
            <pc:docMk/>
            <pc:sldMk cId="1046375524" sldId="317"/>
            <ac:spMk id="21" creationId="{FBA4D5F8-1043-14EB-5659-5CF17B9BA95F}"/>
          </ac:spMkLst>
        </pc:spChg>
        <pc:spChg chg="mod">
          <ac:chgData name="Moritz Baldauf" userId="d2a8e088faa3b6be" providerId="LiveId" clId="{6AF36CA8-D1C8-4C56-8110-3A0F5029C282}" dt="2024-04-22T09:23:36.157" v="2311"/>
          <ac:spMkLst>
            <pc:docMk/>
            <pc:sldMk cId="1046375524" sldId="317"/>
            <ac:spMk id="23" creationId="{CD9584C4-9E3B-C152-B1DE-175013293BC9}"/>
          </ac:spMkLst>
        </pc:spChg>
        <pc:spChg chg="mod">
          <ac:chgData name="Moritz Baldauf" userId="d2a8e088faa3b6be" providerId="LiveId" clId="{6AF36CA8-D1C8-4C56-8110-3A0F5029C282}" dt="2024-04-22T09:23:36.157" v="2311"/>
          <ac:spMkLst>
            <pc:docMk/>
            <pc:sldMk cId="1046375524" sldId="317"/>
            <ac:spMk id="24" creationId="{A3874A80-FFF6-CD02-7B4C-66A457A50C62}"/>
          </ac:spMkLst>
        </pc:spChg>
        <pc:spChg chg="mod">
          <ac:chgData name="Moritz Baldauf" userId="d2a8e088faa3b6be" providerId="LiveId" clId="{6AF36CA8-D1C8-4C56-8110-3A0F5029C282}" dt="2024-04-22T09:23:36.157" v="2311"/>
          <ac:spMkLst>
            <pc:docMk/>
            <pc:sldMk cId="1046375524" sldId="317"/>
            <ac:spMk id="25" creationId="{3D34901E-7303-6C7C-135D-111F415730AA}"/>
          </ac:spMkLst>
        </pc:spChg>
        <pc:spChg chg="mod">
          <ac:chgData name="Moritz Baldauf" userId="d2a8e088faa3b6be" providerId="LiveId" clId="{6AF36CA8-D1C8-4C56-8110-3A0F5029C282}" dt="2024-04-22T09:23:36.157" v="2311"/>
          <ac:spMkLst>
            <pc:docMk/>
            <pc:sldMk cId="1046375524" sldId="317"/>
            <ac:spMk id="26" creationId="{6906673F-D712-3A4A-17FD-5324D41D91AD}"/>
          </ac:spMkLst>
        </pc:spChg>
        <pc:spChg chg="add del mod">
          <ac:chgData name="Moritz Baldauf" userId="d2a8e088faa3b6be" providerId="LiveId" clId="{6AF36CA8-D1C8-4C56-8110-3A0F5029C282}" dt="2024-04-22T09:36:55.064" v="2706" actId="478"/>
          <ac:spMkLst>
            <pc:docMk/>
            <pc:sldMk cId="1046375524" sldId="317"/>
            <ac:spMk id="27" creationId="{26277B41-AD6E-A8DD-C49E-8EE7ECEF1775}"/>
          </ac:spMkLst>
        </pc:spChg>
        <pc:spChg chg="add mod">
          <ac:chgData name="Moritz Baldauf" userId="d2a8e088faa3b6be" providerId="LiveId" clId="{6AF36CA8-D1C8-4C56-8110-3A0F5029C282}" dt="2024-04-22T09:54:05.483" v="3520" actId="113"/>
          <ac:spMkLst>
            <pc:docMk/>
            <pc:sldMk cId="1046375524" sldId="317"/>
            <ac:spMk id="28" creationId="{3FFF897D-EE18-A3D8-7B2F-BF2DC5A0E014}"/>
          </ac:spMkLst>
        </pc:spChg>
        <pc:spChg chg="add del mod">
          <ac:chgData name="Moritz Baldauf" userId="d2a8e088faa3b6be" providerId="LiveId" clId="{6AF36CA8-D1C8-4C56-8110-3A0F5029C282}" dt="2024-04-22T09:29:41.965" v="2677" actId="478"/>
          <ac:spMkLst>
            <pc:docMk/>
            <pc:sldMk cId="1046375524" sldId="317"/>
            <ac:spMk id="29" creationId="{57EE0CC0-15FC-D54A-6B4E-C4DE691F4D46}"/>
          </ac:spMkLst>
        </pc:spChg>
        <pc:spChg chg="add del mod">
          <ac:chgData name="Moritz Baldauf" userId="d2a8e088faa3b6be" providerId="LiveId" clId="{6AF36CA8-D1C8-4C56-8110-3A0F5029C282}" dt="2024-04-22T09:46:57.724" v="2981" actId="478"/>
          <ac:spMkLst>
            <pc:docMk/>
            <pc:sldMk cId="1046375524" sldId="317"/>
            <ac:spMk id="31" creationId="{9E640324-A3FD-9C44-7696-E4E11690DCA6}"/>
          </ac:spMkLst>
        </pc:spChg>
        <pc:spChg chg="add del mod">
          <ac:chgData name="Moritz Baldauf" userId="d2a8e088faa3b6be" providerId="LiveId" clId="{6AF36CA8-D1C8-4C56-8110-3A0F5029C282}" dt="2024-04-22T09:45:14.044" v="2869" actId="478"/>
          <ac:spMkLst>
            <pc:docMk/>
            <pc:sldMk cId="1046375524" sldId="317"/>
            <ac:spMk id="41" creationId="{7882778E-7745-86C4-DDB7-CD9AC59E7B9F}"/>
          </ac:spMkLst>
        </pc:spChg>
        <pc:spChg chg="add del mod">
          <ac:chgData name="Moritz Baldauf" userId="d2a8e088faa3b6be" providerId="LiveId" clId="{6AF36CA8-D1C8-4C56-8110-3A0F5029C282}" dt="2024-04-22T09:47:51.502" v="2992" actId="478"/>
          <ac:spMkLst>
            <pc:docMk/>
            <pc:sldMk cId="1046375524" sldId="317"/>
            <ac:spMk id="42" creationId="{2A3521D9-4C3B-5A80-0AE1-38DF3EF7B05E}"/>
          </ac:spMkLst>
        </pc:spChg>
        <pc:spChg chg="add mod">
          <ac:chgData name="Moritz Baldauf" userId="d2a8e088faa3b6be" providerId="LiveId" clId="{6AF36CA8-D1C8-4C56-8110-3A0F5029C282}" dt="2024-04-22T09:54:22.909" v="3522" actId="1582"/>
          <ac:spMkLst>
            <pc:docMk/>
            <pc:sldMk cId="1046375524" sldId="317"/>
            <ac:spMk id="43" creationId="{B2A91068-C4A3-DB6F-CE6B-DD88D0F87E22}"/>
          </ac:spMkLst>
        </pc:spChg>
        <pc:spChg chg="add mod">
          <ac:chgData name="Moritz Baldauf" userId="d2a8e088faa3b6be" providerId="LiveId" clId="{6AF36CA8-D1C8-4C56-8110-3A0F5029C282}" dt="2024-04-22T09:52:45.500" v="3390" actId="164"/>
          <ac:spMkLst>
            <pc:docMk/>
            <pc:sldMk cId="1046375524" sldId="317"/>
            <ac:spMk id="44" creationId="{C8649BDE-17EE-FD9D-AFAF-F7C8F8354E71}"/>
          </ac:spMkLst>
        </pc:spChg>
        <pc:spChg chg="add mod">
          <ac:chgData name="Moritz Baldauf" userId="d2a8e088faa3b6be" providerId="LiveId" clId="{6AF36CA8-D1C8-4C56-8110-3A0F5029C282}" dt="2024-04-22T09:52:46.953" v="3391" actId="164"/>
          <ac:spMkLst>
            <pc:docMk/>
            <pc:sldMk cId="1046375524" sldId="317"/>
            <ac:spMk id="45" creationId="{D36E0063-D098-E436-2DC0-35C84588AF42}"/>
          </ac:spMkLst>
        </pc:spChg>
        <pc:spChg chg="add mod">
          <ac:chgData name="Moritz Baldauf" userId="d2a8e088faa3b6be" providerId="LiveId" clId="{6AF36CA8-D1C8-4C56-8110-3A0F5029C282}" dt="2024-04-22T09:51:37.083" v="3312" actId="6549"/>
          <ac:spMkLst>
            <pc:docMk/>
            <pc:sldMk cId="1046375524" sldId="317"/>
            <ac:spMk id="46" creationId="{3C8F98B3-CBB0-665E-B2BB-35B25D103502}"/>
          </ac:spMkLst>
        </pc:spChg>
        <pc:spChg chg="add mod">
          <ac:chgData name="Moritz Baldauf" userId="d2a8e088faa3b6be" providerId="LiveId" clId="{6AF36CA8-D1C8-4C56-8110-3A0F5029C282}" dt="2024-04-22T09:54:08.762" v="3521" actId="113"/>
          <ac:spMkLst>
            <pc:docMk/>
            <pc:sldMk cId="1046375524" sldId="317"/>
            <ac:spMk id="47" creationId="{D703D318-31B3-5CC4-3845-7F74026EAF38}"/>
          </ac:spMkLst>
        </pc:spChg>
        <pc:spChg chg="mod">
          <ac:chgData name="Moritz Baldauf" userId="d2a8e088faa3b6be" providerId="LiveId" clId="{6AF36CA8-D1C8-4C56-8110-3A0F5029C282}" dt="2024-04-22T09:52:52.908" v="3405" actId="571"/>
          <ac:spMkLst>
            <pc:docMk/>
            <pc:sldMk cId="1046375524" sldId="317"/>
            <ac:spMk id="52" creationId="{35C11481-B2B0-C772-F328-AE685A8850CC}"/>
          </ac:spMkLst>
        </pc:spChg>
        <pc:spChg chg="mod">
          <ac:chgData name="Moritz Baldauf" userId="d2a8e088faa3b6be" providerId="LiveId" clId="{6AF36CA8-D1C8-4C56-8110-3A0F5029C282}" dt="2024-04-22T09:52:52.908" v="3405" actId="571"/>
          <ac:spMkLst>
            <pc:docMk/>
            <pc:sldMk cId="1046375524" sldId="317"/>
            <ac:spMk id="55" creationId="{6C4CD163-E147-F31B-A39D-20665274352E}"/>
          </ac:spMkLst>
        </pc:spChg>
        <pc:spChg chg="add del mod modVis">
          <ac:chgData name="Moritz Baldauf" userId="d2a8e088faa3b6be" providerId="LiveId" clId="{6AF36CA8-D1C8-4C56-8110-3A0F5029C282}" dt="2024-04-22T09:54:03.332" v="3517"/>
          <ac:spMkLst>
            <pc:docMk/>
            <pc:sldMk cId="1046375524" sldId="317"/>
            <ac:spMk id="56" creationId="{D3FAE94D-20F7-7554-CA3A-0E6E325E8B26}"/>
          </ac:spMkLst>
        </pc:spChg>
        <pc:grpChg chg="add mod">
          <ac:chgData name="Moritz Baldauf" userId="d2a8e088faa3b6be" providerId="LiveId" clId="{6AF36CA8-D1C8-4C56-8110-3A0F5029C282}" dt="2024-04-22T09:19:31.160" v="1851"/>
          <ac:grpSpMkLst>
            <pc:docMk/>
            <pc:sldMk cId="1046375524" sldId="317"/>
            <ac:grpSpMk id="3" creationId="{9B79F974-20A5-4A43-B340-0B7BD2796BD6}"/>
          </ac:grpSpMkLst>
        </pc:grpChg>
        <pc:grpChg chg="add mod">
          <ac:chgData name="Moritz Baldauf" userId="d2a8e088faa3b6be" providerId="LiveId" clId="{6AF36CA8-D1C8-4C56-8110-3A0F5029C282}" dt="2024-04-22T09:23:36.157" v="2311"/>
          <ac:grpSpMkLst>
            <pc:docMk/>
            <pc:sldMk cId="1046375524" sldId="317"/>
            <ac:grpSpMk id="22" creationId="{4457D37B-9011-74A6-D763-079E5F36FDFE}"/>
          </ac:grpSpMkLst>
        </pc:grpChg>
        <pc:grpChg chg="add mod">
          <ac:chgData name="Moritz Baldauf" userId="d2a8e088faa3b6be" providerId="LiveId" clId="{6AF36CA8-D1C8-4C56-8110-3A0F5029C282}" dt="2024-04-22T09:53:20.324" v="3430" actId="1036"/>
          <ac:grpSpMkLst>
            <pc:docMk/>
            <pc:sldMk cId="1046375524" sldId="317"/>
            <ac:grpSpMk id="48" creationId="{ACFF1B91-AA9F-105D-83BD-81C1037B9F1E}"/>
          </ac:grpSpMkLst>
        </pc:grpChg>
        <pc:grpChg chg="add mod">
          <ac:chgData name="Moritz Baldauf" userId="d2a8e088faa3b6be" providerId="LiveId" clId="{6AF36CA8-D1C8-4C56-8110-3A0F5029C282}" dt="2024-04-22T09:53:20.324" v="3430" actId="1036"/>
          <ac:grpSpMkLst>
            <pc:docMk/>
            <pc:sldMk cId="1046375524" sldId="317"/>
            <ac:grpSpMk id="49" creationId="{A5FEFE22-13D1-D6FF-B1EE-8DD4A6806A37}"/>
          </ac:grpSpMkLst>
        </pc:grpChg>
        <pc:grpChg chg="add mod">
          <ac:chgData name="Moritz Baldauf" userId="d2a8e088faa3b6be" providerId="LiveId" clId="{6AF36CA8-D1C8-4C56-8110-3A0F5029C282}" dt="2024-04-22T09:52:52.908" v="3405" actId="571"/>
          <ac:grpSpMkLst>
            <pc:docMk/>
            <pc:sldMk cId="1046375524" sldId="317"/>
            <ac:grpSpMk id="50" creationId="{B8ED0F52-A059-C59B-5AFC-1E6F0313B987}"/>
          </ac:grpSpMkLst>
        </pc:grpChg>
        <pc:grpChg chg="add mod">
          <ac:chgData name="Moritz Baldauf" userId="d2a8e088faa3b6be" providerId="LiveId" clId="{6AF36CA8-D1C8-4C56-8110-3A0F5029C282}" dt="2024-04-22T09:52:52.908" v="3405" actId="571"/>
          <ac:grpSpMkLst>
            <pc:docMk/>
            <pc:sldMk cId="1046375524" sldId="317"/>
            <ac:grpSpMk id="53" creationId="{A7AFD2CB-7BBB-344E-A921-B28648A3EE17}"/>
          </ac:grpSpMkLst>
        </pc:grpChg>
        <pc:graphicFrameChg chg="add mod ord modVis replST">
          <ac:chgData name="Moritz Baldauf" userId="d2a8e088faa3b6be" providerId="LiveId" clId="{6AF36CA8-D1C8-4C56-8110-3A0F5029C282}" dt="2024-04-22T09:54:03.334" v="3519"/>
          <ac:graphicFrameMkLst>
            <pc:docMk/>
            <pc:sldMk cId="1046375524" sldId="317"/>
            <ac:graphicFrameMk id="9" creationId="{7DACE286-0BCB-DB8B-FD8A-28DB4D233232}"/>
          </ac:graphicFrameMkLst>
        </pc:graphicFrameChg>
        <pc:picChg chg="add del mod">
          <ac:chgData name="Moritz Baldauf" userId="d2a8e088faa3b6be" providerId="LiveId" clId="{6AF36CA8-D1C8-4C56-8110-3A0F5029C282}" dt="2024-04-22T09:41:09.745" v="2716" actId="478"/>
          <ac:picMkLst>
            <pc:docMk/>
            <pc:sldMk cId="1046375524" sldId="317"/>
            <ac:picMk id="33" creationId="{E7541468-20AB-E1A4-999C-1C32366743BD}"/>
          </ac:picMkLst>
        </pc:picChg>
        <pc:picChg chg="add mod">
          <ac:chgData name="Moritz Baldauf" userId="d2a8e088faa3b6be" providerId="LiveId" clId="{6AF36CA8-D1C8-4C56-8110-3A0F5029C282}" dt="2024-04-22T09:52:45.500" v="3390" actId="164"/>
          <ac:picMkLst>
            <pc:docMk/>
            <pc:sldMk cId="1046375524" sldId="317"/>
            <ac:picMk id="35" creationId="{E62D8C78-8321-9F1A-D9EE-F345F9C95ABA}"/>
          </ac:picMkLst>
        </pc:picChg>
        <pc:picChg chg="add mod">
          <ac:chgData name="Moritz Baldauf" userId="d2a8e088faa3b6be" providerId="LiveId" clId="{6AF36CA8-D1C8-4C56-8110-3A0F5029C282}" dt="2024-04-22T09:52:46.953" v="3391" actId="164"/>
          <ac:picMkLst>
            <pc:docMk/>
            <pc:sldMk cId="1046375524" sldId="317"/>
            <ac:picMk id="37" creationId="{B615B2A0-4041-11D3-81B0-F4091C58257C}"/>
          </ac:picMkLst>
        </pc:picChg>
        <pc:picChg chg="add mod">
          <ac:chgData name="Moritz Baldauf" userId="d2a8e088faa3b6be" providerId="LiveId" clId="{6AF36CA8-D1C8-4C56-8110-3A0F5029C282}" dt="2024-04-22T09:43:09.937" v="2801" actId="571"/>
          <ac:picMkLst>
            <pc:docMk/>
            <pc:sldMk cId="1046375524" sldId="317"/>
            <ac:picMk id="38" creationId="{38B9D853-ECD0-7DD8-8CBE-631903C292AE}"/>
          </ac:picMkLst>
        </pc:picChg>
        <pc:picChg chg="add mod">
          <ac:chgData name="Moritz Baldauf" userId="d2a8e088faa3b6be" providerId="LiveId" clId="{6AF36CA8-D1C8-4C56-8110-3A0F5029C282}" dt="2024-04-22T09:43:09.937" v="2801" actId="571"/>
          <ac:picMkLst>
            <pc:docMk/>
            <pc:sldMk cId="1046375524" sldId="317"/>
            <ac:picMk id="39" creationId="{F32D8A40-0048-01EC-CF7A-902B5D81BB82}"/>
          </ac:picMkLst>
        </pc:picChg>
        <pc:picChg chg="add del mod">
          <ac:chgData name="Moritz Baldauf" userId="d2a8e088faa3b6be" providerId="LiveId" clId="{6AF36CA8-D1C8-4C56-8110-3A0F5029C282}" dt="2024-04-22T09:45:15.126" v="2870" actId="478"/>
          <ac:picMkLst>
            <pc:docMk/>
            <pc:sldMk cId="1046375524" sldId="317"/>
            <ac:picMk id="40" creationId="{639D7239-9FE5-C46E-9200-C42A7C3BB943}"/>
          </ac:picMkLst>
        </pc:picChg>
        <pc:picChg chg="mod">
          <ac:chgData name="Moritz Baldauf" userId="d2a8e088faa3b6be" providerId="LiveId" clId="{6AF36CA8-D1C8-4C56-8110-3A0F5029C282}" dt="2024-04-22T09:52:52.908" v="3405" actId="571"/>
          <ac:picMkLst>
            <pc:docMk/>
            <pc:sldMk cId="1046375524" sldId="317"/>
            <ac:picMk id="51" creationId="{1DC5444D-DC0D-594A-0858-FB12564263CD}"/>
          </ac:picMkLst>
        </pc:picChg>
        <pc:picChg chg="mod">
          <ac:chgData name="Moritz Baldauf" userId="d2a8e088faa3b6be" providerId="LiveId" clId="{6AF36CA8-D1C8-4C56-8110-3A0F5029C282}" dt="2024-04-22T09:52:52.908" v="3405" actId="571"/>
          <ac:picMkLst>
            <pc:docMk/>
            <pc:sldMk cId="1046375524" sldId="317"/>
            <ac:picMk id="54" creationId="{E0B31AB2-99C8-FDE2-93B7-DE6B06E68F5C}"/>
          </ac:picMkLst>
        </pc:picChg>
        <pc:picChg chg="add mod">
          <ac:chgData name="Moritz Baldauf" userId="d2a8e088faa3b6be" providerId="LiveId" clId="{6AF36CA8-D1C8-4C56-8110-3A0F5029C282}" dt="2024-04-22T10:13:49.299" v="4202"/>
          <ac:picMkLst>
            <pc:docMk/>
            <pc:sldMk cId="1046375524" sldId="317"/>
            <ac:picMk id="57" creationId="{881AD43C-1C29-4332-EEE6-71AF36B418DA}"/>
          </ac:picMkLst>
        </pc:picChg>
        <pc:picChg chg="add del mod">
          <ac:chgData name="Moritz Baldauf" userId="d2a8e088faa3b6be" providerId="LiveId" clId="{6AF36CA8-D1C8-4C56-8110-3A0F5029C282}" dt="2024-04-22T09:44:47.839" v="2839" actId="478"/>
          <ac:picMkLst>
            <pc:docMk/>
            <pc:sldMk cId="1046375524" sldId="317"/>
            <ac:picMk id="1026" creationId="{65180493-7DBC-CDFE-7BC8-CAF291F88C2D}"/>
          </ac:picMkLst>
        </pc:picChg>
      </pc:sldChg>
      <pc:sldMasterChg chg="setBg delSldLayout modSldLayout">
        <pc:chgData name="Moritz Baldauf" userId="d2a8e088faa3b6be" providerId="LiveId" clId="{6AF36CA8-D1C8-4C56-8110-3A0F5029C282}" dt="2024-04-22T10:13:02.162" v="4201" actId="2696"/>
        <pc:sldMasterMkLst>
          <pc:docMk/>
          <pc:sldMasterMk cId="0" sldId="2147483676"/>
        </pc:sldMasterMkLst>
        <pc:sldLayoutChg chg="addSp delSp modSp mod setBg">
          <pc:chgData name="Moritz Baldauf" userId="d2a8e088faa3b6be" providerId="LiveId" clId="{6AF36CA8-D1C8-4C56-8110-3A0F5029C282}" dt="2024-04-22T08:55:48.109" v="1077" actId="478"/>
          <pc:sldLayoutMkLst>
            <pc:docMk/>
            <pc:sldMasterMk cId="0" sldId="2147483676"/>
            <pc:sldLayoutMk cId="0" sldId="2147483648"/>
          </pc:sldLayoutMkLst>
          <pc:spChg chg="mod">
            <ac:chgData name="Moritz Baldauf" userId="d2a8e088faa3b6be" providerId="LiveId" clId="{6AF36CA8-D1C8-4C56-8110-3A0F5029C282}" dt="2024-04-22T08:55:25.677" v="1029" actId="12788"/>
            <ac:spMkLst>
              <pc:docMk/>
              <pc:sldMasterMk cId="0" sldId="2147483676"/>
              <pc:sldLayoutMk cId="0" sldId="2147483648"/>
              <ac:spMk id="10" creationId="{00000000-0000-0000-0000-000000000000}"/>
            </ac:spMkLst>
          </pc:spChg>
          <pc:spChg chg="mod">
            <ac:chgData name="Moritz Baldauf" userId="d2a8e088faa3b6be" providerId="LiveId" clId="{6AF36CA8-D1C8-4C56-8110-3A0F5029C282}" dt="2024-04-22T08:55:25.677" v="1029" actId="12788"/>
            <ac:spMkLst>
              <pc:docMk/>
              <pc:sldMasterMk cId="0" sldId="2147483676"/>
              <pc:sldLayoutMk cId="0" sldId="2147483648"/>
              <ac:spMk id="11" creationId="{00000000-0000-0000-0000-000000000000}"/>
            </ac:spMkLst>
          </pc:spChg>
          <pc:grpChg chg="del mod">
            <ac:chgData name="Moritz Baldauf" userId="d2a8e088faa3b6be" providerId="LiveId" clId="{6AF36CA8-D1C8-4C56-8110-3A0F5029C282}" dt="2024-04-22T08:55:48.109" v="1077" actId="478"/>
            <ac:grpSpMkLst>
              <pc:docMk/>
              <pc:sldMasterMk cId="0" sldId="2147483676"/>
              <pc:sldLayoutMk cId="0" sldId="2147483648"/>
              <ac:grpSpMk id="12" creationId="{00000000-0000-0000-0000-000000000000}"/>
            </ac:grpSpMkLst>
          </pc:grpChg>
          <pc:grpChg chg="del">
            <ac:chgData name="Moritz Baldauf" userId="d2a8e088faa3b6be" providerId="LiveId" clId="{6AF36CA8-D1C8-4C56-8110-3A0F5029C282}" dt="2024-04-22T08:54:48.827" v="1008" actId="478"/>
            <ac:grpSpMkLst>
              <pc:docMk/>
              <pc:sldMasterMk cId="0" sldId="2147483676"/>
              <pc:sldLayoutMk cId="0" sldId="2147483648"/>
              <ac:grpSpMk id="79" creationId="{00000000-0000-0000-0000-000000000000}"/>
            </ac:grpSpMkLst>
          </pc:grpChg>
          <pc:grpChg chg="del">
            <ac:chgData name="Moritz Baldauf" userId="d2a8e088faa3b6be" providerId="LiveId" clId="{6AF36CA8-D1C8-4C56-8110-3A0F5029C282}" dt="2024-04-22T08:54:46.596" v="1007" actId="478"/>
            <ac:grpSpMkLst>
              <pc:docMk/>
              <pc:sldMasterMk cId="0" sldId="2147483676"/>
              <pc:sldLayoutMk cId="0" sldId="2147483648"/>
              <ac:grpSpMk id="89" creationId="{00000000-0000-0000-0000-000000000000}"/>
            </ac:grpSpMkLst>
          </pc:grpChg>
          <pc:graphicFrameChg chg="add mod ord modVis replST">
            <ac:chgData name="Moritz Baldauf" userId="d2a8e088faa3b6be" providerId="LiveId" clId="{6AF36CA8-D1C8-4C56-8110-3A0F5029C282}" dt="2024-04-22T08:55:26.185" v="1033"/>
            <ac:graphicFrameMkLst>
              <pc:docMk/>
              <pc:sldMasterMk cId="0" sldId="2147483676"/>
              <pc:sldLayoutMk cId="0" sldId="2147483648"/>
              <ac:graphicFrameMk id="2" creationId="{1134F580-6649-3049-8C9E-18DAD03076D9}"/>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4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1"/>
          </pc:sldLayoutMkLst>
        </pc:sldLayoutChg>
        <pc:sldLayoutChg chg="addSp delSp modSp mod setBg">
          <pc:chgData name="Moritz Baldauf" userId="d2a8e088faa3b6be" providerId="LiveId" clId="{6AF36CA8-D1C8-4C56-8110-3A0F5029C282}" dt="2024-04-22T08:53:12.843" v="972"/>
          <pc:sldLayoutMkLst>
            <pc:docMk/>
            <pc:sldMasterMk cId="0" sldId="2147483676"/>
            <pc:sldLayoutMk cId="0" sldId="2147483652"/>
          </pc:sldLayoutMkLst>
          <pc:spChg chg="add del mod">
            <ac:chgData name="Moritz Baldauf" userId="d2a8e088faa3b6be" providerId="LiveId" clId="{6AF36CA8-D1C8-4C56-8110-3A0F5029C282}" dt="2024-04-22T08:28:01.542" v="88" actId="478"/>
            <ac:spMkLst>
              <pc:docMk/>
              <pc:sldMasterMk cId="0" sldId="2147483676"/>
              <pc:sldLayoutMk cId="0" sldId="2147483652"/>
              <ac:spMk id="3" creationId="{1510071E-8301-BC35-6A70-A8B1D48EAB7E}"/>
            </ac:spMkLst>
          </pc:spChg>
          <pc:spChg chg="add mod">
            <ac:chgData name="Moritz Baldauf" userId="d2a8e088faa3b6be" providerId="LiveId" clId="{6AF36CA8-D1C8-4C56-8110-3A0F5029C282}" dt="2024-04-22T08:53:02.088" v="964" actId="1038"/>
            <ac:spMkLst>
              <pc:docMk/>
              <pc:sldMasterMk cId="0" sldId="2147483676"/>
              <pc:sldLayoutMk cId="0" sldId="2147483652"/>
              <ac:spMk id="4" creationId="{8A0E0A33-F9C8-7B33-CA92-77AB03200BD2}"/>
            </ac:spMkLst>
          </pc:spChg>
          <pc:spChg chg="add mod">
            <ac:chgData name="Moritz Baldauf" userId="d2a8e088faa3b6be" providerId="LiveId" clId="{6AF36CA8-D1C8-4C56-8110-3A0F5029C282}" dt="2024-04-22T08:53:02.088" v="964" actId="1038"/>
            <ac:spMkLst>
              <pc:docMk/>
              <pc:sldMasterMk cId="0" sldId="2147483676"/>
              <pc:sldLayoutMk cId="0" sldId="2147483652"/>
              <ac:spMk id="5" creationId="{28A33E81-5FB9-E93C-A2A2-A367AD05ACB7}"/>
            </ac:spMkLst>
          </pc:spChg>
          <pc:spChg chg="add mod">
            <ac:chgData name="Moritz Baldauf" userId="d2a8e088faa3b6be" providerId="LiveId" clId="{6AF36CA8-D1C8-4C56-8110-3A0F5029C282}" dt="2024-04-22T08:53:02.088" v="964" actId="1038"/>
            <ac:spMkLst>
              <pc:docMk/>
              <pc:sldMasterMk cId="0" sldId="2147483676"/>
              <pc:sldLayoutMk cId="0" sldId="2147483652"/>
              <ac:spMk id="6" creationId="{9B123ADC-AFDA-CA8C-55F0-2D686907E8FA}"/>
            </ac:spMkLst>
          </pc:spChg>
          <pc:spChg chg="add mod">
            <ac:chgData name="Moritz Baldauf" userId="d2a8e088faa3b6be" providerId="LiveId" clId="{6AF36CA8-D1C8-4C56-8110-3A0F5029C282}" dt="2024-04-22T08:53:02.088" v="964" actId="1038"/>
            <ac:spMkLst>
              <pc:docMk/>
              <pc:sldMasterMk cId="0" sldId="2147483676"/>
              <pc:sldLayoutMk cId="0" sldId="2147483652"/>
              <ac:spMk id="7" creationId="{15AF7BBF-3EBF-38D7-8A92-F3FBEF06A444}"/>
            </ac:spMkLst>
          </pc:spChg>
          <pc:spChg chg="add mod">
            <ac:chgData name="Moritz Baldauf" userId="d2a8e088faa3b6be" providerId="LiveId" clId="{6AF36CA8-D1C8-4C56-8110-3A0F5029C282}" dt="2024-04-22T08:52:44.525" v="931" actId="571"/>
            <ac:spMkLst>
              <pc:docMk/>
              <pc:sldMasterMk cId="0" sldId="2147483676"/>
              <pc:sldLayoutMk cId="0" sldId="2147483652"/>
              <ac:spMk id="8" creationId="{799C122B-C29D-3AA2-F6AD-35AE17AD27CF}"/>
            </ac:spMkLst>
          </pc:spChg>
          <pc:spChg chg="add mod">
            <ac:chgData name="Moritz Baldauf" userId="d2a8e088faa3b6be" providerId="LiveId" clId="{6AF36CA8-D1C8-4C56-8110-3A0F5029C282}" dt="2024-04-22T08:52:44.525" v="931" actId="571"/>
            <ac:spMkLst>
              <pc:docMk/>
              <pc:sldMasterMk cId="0" sldId="2147483676"/>
              <pc:sldLayoutMk cId="0" sldId="2147483652"/>
              <ac:spMk id="9" creationId="{AB6E6D1B-DB88-EC65-6CC9-AA015E136D24}"/>
            </ac:spMkLst>
          </pc:spChg>
          <pc:spChg chg="add mod">
            <ac:chgData name="Moritz Baldauf" userId="d2a8e088faa3b6be" providerId="LiveId" clId="{6AF36CA8-D1C8-4C56-8110-3A0F5029C282}" dt="2024-04-22T08:52:44.525" v="931" actId="571"/>
            <ac:spMkLst>
              <pc:docMk/>
              <pc:sldMasterMk cId="0" sldId="2147483676"/>
              <pc:sldLayoutMk cId="0" sldId="2147483652"/>
              <ac:spMk id="10" creationId="{5EEA4A62-B3B2-35FD-4710-F5625C1B41A3}"/>
            </ac:spMkLst>
          </pc:spChg>
          <pc:spChg chg="add mod">
            <ac:chgData name="Moritz Baldauf" userId="d2a8e088faa3b6be" providerId="LiveId" clId="{6AF36CA8-D1C8-4C56-8110-3A0F5029C282}" dt="2024-04-22T08:52:44.525" v="931" actId="571"/>
            <ac:spMkLst>
              <pc:docMk/>
              <pc:sldMasterMk cId="0" sldId="2147483676"/>
              <pc:sldLayoutMk cId="0" sldId="2147483652"/>
              <ac:spMk id="11" creationId="{D16AEB41-C2F1-04BC-CCEB-4EE016B68528}"/>
            </ac:spMkLst>
          </pc:spChg>
          <pc:spChg chg="add mod">
            <ac:chgData name="Moritz Baldauf" userId="d2a8e088faa3b6be" providerId="LiveId" clId="{6AF36CA8-D1C8-4C56-8110-3A0F5029C282}" dt="2024-04-22T08:53:08.375" v="966" actId="1035"/>
            <ac:spMkLst>
              <pc:docMk/>
              <pc:sldMasterMk cId="0" sldId="2147483676"/>
              <pc:sldLayoutMk cId="0" sldId="2147483652"/>
              <ac:spMk id="12" creationId="{BE9728C4-6AD9-D806-DB37-32F39C7BA382}"/>
            </ac:spMkLst>
          </pc:spChg>
          <pc:spChg chg="add mod">
            <ac:chgData name="Moritz Baldauf" userId="d2a8e088faa3b6be" providerId="LiveId" clId="{6AF36CA8-D1C8-4C56-8110-3A0F5029C282}" dt="2024-04-22T08:52:44.525" v="931" actId="571"/>
            <ac:spMkLst>
              <pc:docMk/>
              <pc:sldMasterMk cId="0" sldId="2147483676"/>
              <pc:sldLayoutMk cId="0" sldId="2147483652"/>
              <ac:spMk id="13" creationId="{8E547931-6EDD-2DE2-4205-41931D6F8991}"/>
            </ac:spMkLst>
          </pc:spChg>
          <pc:spChg chg="add mod">
            <ac:chgData name="Moritz Baldauf" userId="d2a8e088faa3b6be" providerId="LiveId" clId="{6AF36CA8-D1C8-4C56-8110-3A0F5029C282}" dt="2024-04-22T08:52:44.525" v="931" actId="571"/>
            <ac:spMkLst>
              <pc:docMk/>
              <pc:sldMasterMk cId="0" sldId="2147483676"/>
              <pc:sldLayoutMk cId="0" sldId="2147483652"/>
              <ac:spMk id="14" creationId="{1ABF48F3-E15C-356A-C134-327A0853DCD2}"/>
            </ac:spMkLst>
          </pc:spChg>
          <pc:spChg chg="add mod">
            <ac:chgData name="Moritz Baldauf" userId="d2a8e088faa3b6be" providerId="LiveId" clId="{6AF36CA8-D1C8-4C56-8110-3A0F5029C282}" dt="2024-04-22T08:52:44.525" v="931" actId="571"/>
            <ac:spMkLst>
              <pc:docMk/>
              <pc:sldMasterMk cId="0" sldId="2147483676"/>
              <pc:sldLayoutMk cId="0" sldId="2147483652"/>
              <ac:spMk id="15" creationId="{02228442-916F-DA5B-265C-5DC36CFE3080}"/>
            </ac:spMkLst>
          </pc:spChg>
          <pc:spChg chg="add mod">
            <ac:chgData name="Moritz Baldauf" userId="d2a8e088faa3b6be" providerId="LiveId" clId="{6AF36CA8-D1C8-4C56-8110-3A0F5029C282}" dt="2024-04-22T08:52:44.525" v="931" actId="571"/>
            <ac:spMkLst>
              <pc:docMk/>
              <pc:sldMasterMk cId="0" sldId="2147483676"/>
              <pc:sldLayoutMk cId="0" sldId="2147483652"/>
              <ac:spMk id="16" creationId="{AF7DA727-C6A6-A34F-1AA0-741ED363C7E5}"/>
            </ac:spMkLst>
          </pc:spChg>
          <pc:spChg chg="add mod">
            <ac:chgData name="Moritz Baldauf" userId="d2a8e088faa3b6be" providerId="LiveId" clId="{6AF36CA8-D1C8-4C56-8110-3A0F5029C282}" dt="2024-04-22T08:52:44.525" v="931" actId="571"/>
            <ac:spMkLst>
              <pc:docMk/>
              <pc:sldMasterMk cId="0" sldId="2147483676"/>
              <pc:sldLayoutMk cId="0" sldId="2147483652"/>
              <ac:spMk id="17" creationId="{B1361460-A38D-DD85-648B-BE7B3AC0BAEB}"/>
            </ac:spMkLst>
          </pc:spChg>
          <pc:spChg chg="mod">
            <ac:chgData name="Moritz Baldauf" userId="d2a8e088faa3b6be" providerId="LiveId" clId="{6AF36CA8-D1C8-4C56-8110-3A0F5029C282}" dt="2024-04-22T08:53:12.337" v="968" actId="404"/>
            <ac:spMkLst>
              <pc:docMk/>
              <pc:sldMasterMk cId="0" sldId="2147483676"/>
              <pc:sldLayoutMk cId="0" sldId="2147483652"/>
              <ac:spMk id="243" creationId="{00000000-0000-0000-0000-000000000000}"/>
            </ac:spMkLst>
          </pc:spChg>
          <pc:spChg chg="del mod">
            <ac:chgData name="Moritz Baldauf" userId="d2a8e088faa3b6be" providerId="LiveId" clId="{6AF36CA8-D1C8-4C56-8110-3A0F5029C282}" dt="2024-04-22T08:52:29.917" v="899" actId="478"/>
            <ac:spMkLst>
              <pc:docMk/>
              <pc:sldMasterMk cId="0" sldId="2147483676"/>
              <pc:sldLayoutMk cId="0" sldId="2147483652"/>
              <ac:spMk id="24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7" creationId="{00000000-0000-0000-0000-000000000000}"/>
            </ac:spMkLst>
          </pc:spChg>
          <pc:spChg chg="del mod">
            <ac:chgData name="Moritz Baldauf" userId="d2a8e088faa3b6be" providerId="LiveId" clId="{6AF36CA8-D1C8-4C56-8110-3A0F5029C282}" dt="2024-04-22T08:52:31.408" v="900" actId="478"/>
            <ac:spMkLst>
              <pc:docMk/>
              <pc:sldMasterMk cId="0" sldId="2147483676"/>
              <pc:sldLayoutMk cId="0" sldId="2147483652"/>
              <ac:spMk id="24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9" creationId="{00000000-0000-0000-0000-000000000000}"/>
            </ac:spMkLst>
          </pc:spChg>
          <pc:spChg chg="del mod">
            <ac:chgData name="Moritz Baldauf" userId="d2a8e088faa3b6be" providerId="LiveId" clId="{6AF36CA8-D1C8-4C56-8110-3A0F5029C282}" dt="2024-04-22T08:52:32.691" v="901" actId="478"/>
            <ac:spMkLst>
              <pc:docMk/>
              <pc:sldMasterMk cId="0" sldId="2147483676"/>
              <pc:sldLayoutMk cId="0" sldId="2147483652"/>
              <ac:spMk id="25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1" creationId="{00000000-0000-0000-0000-000000000000}"/>
            </ac:spMkLst>
          </pc:spChg>
          <pc:spChg chg="del mod">
            <ac:chgData name="Moritz Baldauf" userId="d2a8e088faa3b6be" providerId="LiveId" clId="{6AF36CA8-D1C8-4C56-8110-3A0F5029C282}" dt="2024-04-22T08:52:34.896" v="902" actId="478"/>
            <ac:spMkLst>
              <pc:docMk/>
              <pc:sldMasterMk cId="0" sldId="2147483676"/>
              <pc:sldLayoutMk cId="0" sldId="2147483652"/>
              <ac:spMk id="25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3" creationId="{00000000-0000-0000-0000-000000000000}"/>
            </ac:spMkLst>
          </pc:spChg>
          <pc:spChg chg="mod">
            <ac:chgData name="Moritz Baldauf" userId="d2a8e088faa3b6be" providerId="LiveId" clId="{6AF36CA8-D1C8-4C56-8110-3A0F5029C282}" dt="2024-04-22T08:53:05.247" v="965" actId="1035"/>
            <ac:spMkLst>
              <pc:docMk/>
              <pc:sldMasterMk cId="0" sldId="2147483676"/>
              <pc:sldLayoutMk cId="0" sldId="2147483652"/>
              <ac:spMk id="254" creationId="{00000000-0000-0000-0000-000000000000}"/>
            </ac:spMkLst>
          </pc:spChg>
          <pc:spChg chg="del mod">
            <ac:chgData name="Moritz Baldauf" userId="d2a8e088faa3b6be" providerId="LiveId" clId="{6AF36CA8-D1C8-4C56-8110-3A0F5029C282}" dt="2024-04-22T08:52:27.984" v="898" actId="478"/>
            <ac:spMkLst>
              <pc:docMk/>
              <pc:sldMasterMk cId="0" sldId="2147483676"/>
              <pc:sldLayoutMk cId="0" sldId="2147483652"/>
              <ac:spMk id="25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7" creationId="{00000000-0000-0000-0000-000000000000}"/>
            </ac:spMkLst>
          </pc:spChg>
          <pc:spChg chg="del mod">
            <ac:chgData name="Moritz Baldauf" userId="d2a8e088faa3b6be" providerId="LiveId" clId="{6AF36CA8-D1C8-4C56-8110-3A0F5029C282}" dt="2024-04-22T08:52:26.822" v="897" actId="478"/>
            <ac:spMkLst>
              <pc:docMk/>
              <pc:sldMasterMk cId="0" sldId="2147483676"/>
              <pc:sldLayoutMk cId="0" sldId="2147483652"/>
              <ac:spMk id="25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9" creationId="{00000000-0000-0000-0000-000000000000}"/>
            </ac:spMkLst>
          </pc:spChg>
          <pc:spChg chg="del mod">
            <ac:chgData name="Moritz Baldauf" userId="d2a8e088faa3b6be" providerId="LiveId" clId="{6AF36CA8-D1C8-4C56-8110-3A0F5029C282}" dt="2024-04-22T08:52:25.401" v="896" actId="478"/>
            <ac:spMkLst>
              <pc:docMk/>
              <pc:sldMasterMk cId="0" sldId="2147483676"/>
              <pc:sldLayoutMk cId="0" sldId="2147483652"/>
              <ac:spMk id="26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1" creationId="{00000000-0000-0000-0000-000000000000}"/>
            </ac:spMkLst>
          </pc:spChg>
          <pc:spChg chg="del mod">
            <ac:chgData name="Moritz Baldauf" userId="d2a8e088faa3b6be" providerId="LiveId" clId="{6AF36CA8-D1C8-4C56-8110-3A0F5029C282}" dt="2024-04-22T08:52:20.639" v="892" actId="478"/>
            <ac:spMkLst>
              <pc:docMk/>
              <pc:sldMasterMk cId="0" sldId="2147483676"/>
              <pc:sldLayoutMk cId="0" sldId="2147483652"/>
              <ac:spMk id="26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3" creationId="{00000000-0000-0000-0000-000000000000}"/>
            </ac:spMkLst>
          </pc:spChg>
          <pc:spChg chg="del mod">
            <ac:chgData name="Moritz Baldauf" userId="d2a8e088faa3b6be" providerId="LiveId" clId="{6AF36CA8-D1C8-4C56-8110-3A0F5029C282}" dt="2024-04-22T08:52:22.173" v="893" actId="478"/>
            <ac:spMkLst>
              <pc:docMk/>
              <pc:sldMasterMk cId="0" sldId="2147483676"/>
              <pc:sldLayoutMk cId="0" sldId="2147483652"/>
              <ac:spMk id="264" creationId="{00000000-0000-0000-0000-000000000000}"/>
            </ac:spMkLst>
          </pc:spChg>
          <pc:grpChg chg="add del mod">
            <ac:chgData name="Moritz Baldauf" userId="d2a8e088faa3b6be" providerId="LiveId" clId="{6AF36CA8-D1C8-4C56-8110-3A0F5029C282}" dt="2024-04-22T08:52:44.525" v="931" actId="571"/>
            <ac:grpSpMkLst>
              <pc:docMk/>
              <pc:sldMasterMk cId="0" sldId="2147483676"/>
              <pc:sldLayoutMk cId="0" sldId="2147483652"/>
              <ac:grpSpMk id="244"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45"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55" creationId="{00000000-0000-0000-0000-000000000000}"/>
            </ac:grpSpMkLst>
          </pc:grpChg>
          <pc:graphicFrameChg chg="add mod ord modVis replST">
            <ac:chgData name="Moritz Baldauf" userId="d2a8e088faa3b6be" providerId="LiveId" clId="{6AF36CA8-D1C8-4C56-8110-3A0F5029C282}" dt="2024-04-22T08:53:12.843" v="972"/>
            <ac:graphicFrameMkLst>
              <pc:docMk/>
              <pc:sldMasterMk cId="0" sldId="2147483676"/>
              <pc:sldLayoutMk cId="0" sldId="2147483652"/>
              <ac:graphicFrameMk id="2" creationId="{74E0EB73-D4CA-8249-84E8-EC2D3C4847EA}"/>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5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5"/>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6"/>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8"/>
          </pc:sldLayoutMkLst>
        </pc:sldLayoutChg>
        <pc:sldLayoutChg chg="del setBg">
          <pc:chgData name="Moritz Baldauf" userId="d2a8e088faa3b6be" providerId="LiveId" clId="{6AF36CA8-D1C8-4C56-8110-3A0F5029C282}" dt="2024-04-22T10:13:02.162" v="4201" actId="2696"/>
          <pc:sldLayoutMkLst>
            <pc:docMk/>
            <pc:sldMasterMk cId="0" sldId="2147483676"/>
            <pc:sldLayoutMk cId="0" sldId="214748365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1"/>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2"/>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5"/>
          </pc:sldLayoutMkLst>
        </pc:sldLayoutChg>
        <pc:sldLayoutChg chg="modSp mod setBg">
          <pc:chgData name="Moritz Baldauf" userId="d2a8e088faa3b6be" providerId="LiveId" clId="{6AF36CA8-D1C8-4C56-8110-3A0F5029C282}" dt="2024-04-22T08:51:42.065" v="886" actId="1076"/>
          <pc:sldLayoutMkLst>
            <pc:docMk/>
            <pc:sldMasterMk cId="0" sldId="2147483676"/>
            <pc:sldLayoutMk cId="0" sldId="2147483666"/>
          </pc:sldLayoutMkLst>
          <pc:grpChg chg="mod">
            <ac:chgData name="Moritz Baldauf" userId="d2a8e088faa3b6be" providerId="LiveId" clId="{6AF36CA8-D1C8-4C56-8110-3A0F5029C282}" dt="2024-04-22T08:51:42.065" v="886" actId="1076"/>
            <ac:grpSpMkLst>
              <pc:docMk/>
              <pc:sldMasterMk cId="0" sldId="2147483676"/>
              <pc:sldLayoutMk cId="0" sldId="2147483666"/>
              <ac:grpSpMk id="974" creationId="{00000000-0000-0000-0000-000000000000}"/>
            </ac:grpSpMkLst>
          </pc:grpChg>
        </pc:sldLayoutChg>
        <pc:sldLayoutChg chg="setBg">
          <pc:chgData name="Moritz Baldauf" userId="d2a8e088faa3b6be" providerId="LiveId" clId="{6AF36CA8-D1C8-4C56-8110-3A0F5029C282}" dt="2024-04-22T08:22:23.936" v="9"/>
          <pc:sldLayoutMkLst>
            <pc:docMk/>
            <pc:sldMasterMk cId="0" sldId="2147483676"/>
            <pc:sldLayoutMk cId="0" sldId="214748366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8"/>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1"/>
          </pc:sldLayoutMkLst>
        </pc:sldLayoutChg>
      </pc:sldMasterChg>
      <pc:sldMasterChg chg="setBg modSldLayout">
        <pc:chgData name="Moritz Baldauf" userId="d2a8e088faa3b6be" providerId="LiveId" clId="{6AF36CA8-D1C8-4C56-8110-3A0F5029C282}" dt="2024-04-22T08:22:23.936" v="9"/>
        <pc:sldMasterMkLst>
          <pc:docMk/>
          <pc:sldMasterMk cId="0" sldId="2147483677"/>
        </pc:sldMasterMkLst>
        <pc:sldLayoutChg chg="setBg">
          <pc:chgData name="Moritz Baldauf" userId="d2a8e088faa3b6be" providerId="LiveId" clId="{6AF36CA8-D1C8-4C56-8110-3A0F5029C282}" dt="2024-04-22T08:22:23.936" v="9"/>
          <pc:sldLayoutMkLst>
            <pc:docMk/>
            <pc:sldMasterMk cId="0" sldId="2147483677"/>
            <pc:sldLayoutMk cId="0" sldId="2147483672"/>
          </pc:sldLayoutMkLst>
        </pc:sldLayoutChg>
        <pc:sldLayoutChg chg="setBg">
          <pc:chgData name="Moritz Baldauf" userId="d2a8e088faa3b6be" providerId="LiveId" clId="{6AF36CA8-D1C8-4C56-8110-3A0F5029C282}" dt="2024-04-22T08:22:23.936" v="9"/>
          <pc:sldLayoutMkLst>
            <pc:docMk/>
            <pc:sldMasterMk cId="0" sldId="2147483677"/>
            <pc:sldLayoutMk cId="0" sldId="2147483673"/>
          </pc:sldLayoutMkLst>
        </pc:sldLayoutChg>
      </pc:sldMasterChg>
      <pc:sldMasterChg chg="setBg modSldLayout">
        <pc:chgData name="Moritz Baldauf" userId="d2a8e088faa3b6be" providerId="LiveId" clId="{6AF36CA8-D1C8-4C56-8110-3A0F5029C282}" dt="2024-04-22T08:22:23.936" v="9"/>
        <pc:sldMasterMkLst>
          <pc:docMk/>
          <pc:sldMasterMk cId="0" sldId="2147483678"/>
        </pc:sldMasterMkLst>
        <pc:sldLayoutChg chg="setBg">
          <pc:chgData name="Moritz Baldauf" userId="d2a8e088faa3b6be" providerId="LiveId" clId="{6AF36CA8-D1C8-4C56-8110-3A0F5029C282}" dt="2024-04-22T08:22:23.936" v="9"/>
          <pc:sldLayoutMkLst>
            <pc:docMk/>
            <pc:sldMasterMk cId="0" sldId="2147483678"/>
            <pc:sldLayoutMk cId="0" sldId="2147483674"/>
          </pc:sldLayoutMkLst>
        </pc:sldLayoutChg>
        <pc:sldLayoutChg chg="setBg">
          <pc:chgData name="Moritz Baldauf" userId="d2a8e088faa3b6be" providerId="LiveId" clId="{6AF36CA8-D1C8-4C56-8110-3A0F5029C282}" dt="2024-04-22T08:22:23.936" v="9"/>
          <pc:sldLayoutMkLst>
            <pc:docMk/>
            <pc:sldMasterMk cId="0" sldId="2147483678"/>
            <pc:sldLayoutMk cId="0" sldId="214748367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g124ca15033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6" name="Google Shape;1406;g124ca15033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6"/>
        <p:cNvGrpSpPr/>
        <p:nvPr/>
      </p:nvGrpSpPr>
      <p:grpSpPr>
        <a:xfrm>
          <a:off x="0" y="0"/>
          <a:ext cx="0" cy="0"/>
          <a:chOff x="0" y="0"/>
          <a:chExt cx="0" cy="0"/>
        </a:xfrm>
      </p:grpSpPr>
      <p:sp>
        <p:nvSpPr>
          <p:cNvPr id="1497" name="Google Shape;1497;g12256acf451_0_102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8" name="Google Shape;1498;g12256acf451_0_102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g12511172e7b_0_3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5" name="Google Shape;1505;g12511172e7b_0_3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2"/>
        <p:cNvGrpSpPr/>
        <p:nvPr/>
      </p:nvGrpSpPr>
      <p:grpSpPr>
        <a:xfrm>
          <a:off x="0" y="0"/>
          <a:ext cx="0" cy="0"/>
          <a:chOff x="0" y="0"/>
          <a:chExt cx="0" cy="0"/>
        </a:xfrm>
      </p:grpSpPr>
      <p:sp>
        <p:nvSpPr>
          <p:cNvPr id="1523" name="Google Shape;1523;g12511172e7b_0_3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4" name="Google Shape;1524;g12511172e7b_0_3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9"/>
        <p:cNvGrpSpPr/>
        <p:nvPr/>
      </p:nvGrpSpPr>
      <p:grpSpPr>
        <a:xfrm>
          <a:off x="0" y="0"/>
          <a:ext cx="0" cy="0"/>
          <a:chOff x="0" y="0"/>
          <a:chExt cx="0" cy="0"/>
        </a:xfrm>
      </p:grpSpPr>
      <p:sp>
        <p:nvSpPr>
          <p:cNvPr id="1550" name="Google Shape;1550;g12511172e7b_0_4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1" name="Google Shape;1551;g12511172e7b_0_4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p:cNvGrpSpPr/>
        <p:nvPr/>
      </p:nvGrpSpPr>
      <p:grpSpPr>
        <a:xfrm>
          <a:off x="0" y="0"/>
          <a:ext cx="0" cy="0"/>
          <a:chOff x="0" y="0"/>
          <a:chExt cx="0" cy="0"/>
        </a:xfrm>
      </p:grpSpPr>
      <p:sp>
        <p:nvSpPr>
          <p:cNvPr id="1584" name="Google Shape;1584;g12511172e7b_0_5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5" name="Google Shape;1585;g12511172e7b_0_5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6"/>
        <p:cNvGrpSpPr/>
        <p:nvPr/>
      </p:nvGrpSpPr>
      <p:grpSpPr>
        <a:xfrm>
          <a:off x="0" y="0"/>
          <a:ext cx="0" cy="0"/>
          <a:chOff x="0" y="0"/>
          <a:chExt cx="0" cy="0"/>
        </a:xfrm>
      </p:grpSpPr>
      <p:sp>
        <p:nvSpPr>
          <p:cNvPr id="1607" name="Google Shape;1607;g12511172e7b_0_7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8" name="Google Shape;1608;g12511172e7b_0_7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1"/>
        <p:cNvGrpSpPr/>
        <p:nvPr/>
      </p:nvGrpSpPr>
      <p:grpSpPr>
        <a:xfrm>
          <a:off x="0" y="0"/>
          <a:ext cx="0" cy="0"/>
          <a:chOff x="0" y="0"/>
          <a:chExt cx="0" cy="0"/>
        </a:xfrm>
      </p:grpSpPr>
      <p:sp>
        <p:nvSpPr>
          <p:cNvPr id="1622" name="Google Shape;1622;g12511172e7b_0_8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3" name="Google Shape;1623;g12511172e7b_0_8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4"/>
        <p:cNvGrpSpPr/>
        <p:nvPr/>
      </p:nvGrpSpPr>
      <p:grpSpPr>
        <a:xfrm>
          <a:off x="0" y="0"/>
          <a:ext cx="0" cy="0"/>
          <a:chOff x="0" y="0"/>
          <a:chExt cx="0" cy="0"/>
        </a:xfrm>
      </p:grpSpPr>
      <p:sp>
        <p:nvSpPr>
          <p:cNvPr id="1655" name="Google Shape;1655;g125b7f64248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6" name="Google Shape;1656;g125b7f64248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3"/>
        <p:cNvGrpSpPr/>
        <p:nvPr/>
      </p:nvGrpSpPr>
      <p:grpSpPr>
        <a:xfrm>
          <a:off x="0" y="0"/>
          <a:ext cx="0" cy="0"/>
          <a:chOff x="0" y="0"/>
          <a:chExt cx="0" cy="0"/>
        </a:xfrm>
      </p:grpSpPr>
      <p:sp>
        <p:nvSpPr>
          <p:cNvPr id="1674" name="Google Shape;1674;g11b377937d2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5" name="Google Shape;1675;g11b377937d2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8"/>
        <p:cNvGrpSpPr/>
        <p:nvPr/>
      </p:nvGrpSpPr>
      <p:grpSpPr>
        <a:xfrm>
          <a:off x="0" y="0"/>
          <a:ext cx="0" cy="0"/>
          <a:chOff x="0" y="0"/>
          <a:chExt cx="0" cy="0"/>
        </a:xfrm>
      </p:grpSpPr>
      <p:sp>
        <p:nvSpPr>
          <p:cNvPr id="1679" name="Google Shape;1679;g11b377937d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0" name="Google Shape;1680;g11b377937d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10729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p:cNvGrpSpPr/>
        <p:nvPr/>
      </p:nvGrpSpPr>
      <p:grpSpPr>
        <a:xfrm>
          <a:off x="0" y="0"/>
          <a:ext cx="0" cy="0"/>
          <a:chOff x="0" y="0"/>
          <a:chExt cx="0" cy="0"/>
        </a:xfrm>
      </p:grpSpPr>
      <p:sp>
        <p:nvSpPr>
          <p:cNvPr id="1708" name="Google Shape;1708;g11b377937d2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9" name="Google Shape;1709;g11b377937d2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5"/>
        <p:cNvGrpSpPr/>
        <p:nvPr/>
      </p:nvGrpSpPr>
      <p:grpSpPr>
        <a:xfrm>
          <a:off x="0" y="0"/>
          <a:ext cx="0" cy="0"/>
          <a:chOff x="0" y="0"/>
          <a:chExt cx="0" cy="0"/>
        </a:xfrm>
      </p:grpSpPr>
      <p:sp>
        <p:nvSpPr>
          <p:cNvPr id="1746" name="Google Shape;1746;g125a75bd3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7" name="Google Shape;1747;g125a75bd3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7"/>
        <p:cNvGrpSpPr/>
        <p:nvPr/>
      </p:nvGrpSpPr>
      <p:grpSpPr>
        <a:xfrm>
          <a:off x="0" y="0"/>
          <a:ext cx="0" cy="0"/>
          <a:chOff x="0" y="0"/>
          <a:chExt cx="0" cy="0"/>
        </a:xfrm>
      </p:grpSpPr>
      <p:sp>
        <p:nvSpPr>
          <p:cNvPr id="1758" name="Google Shape;1758;g125a75bd3b9_0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9" name="Google Shape;1759;g125a75bd3b9_0_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2"/>
        <p:cNvGrpSpPr/>
        <p:nvPr/>
      </p:nvGrpSpPr>
      <p:grpSpPr>
        <a:xfrm>
          <a:off x="0" y="0"/>
          <a:ext cx="0" cy="0"/>
          <a:chOff x="0" y="0"/>
          <a:chExt cx="0" cy="0"/>
        </a:xfrm>
      </p:grpSpPr>
      <p:sp>
        <p:nvSpPr>
          <p:cNvPr id="1833" name="Google Shape;1833;g125b7f64248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4" name="Google Shape;1834;g125b7f64248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4"/>
        <p:cNvGrpSpPr/>
        <p:nvPr/>
      </p:nvGrpSpPr>
      <p:grpSpPr>
        <a:xfrm>
          <a:off x="0" y="0"/>
          <a:ext cx="0" cy="0"/>
          <a:chOff x="0" y="0"/>
          <a:chExt cx="0" cy="0"/>
        </a:xfrm>
      </p:grpSpPr>
      <p:sp>
        <p:nvSpPr>
          <p:cNvPr id="1855" name="Google Shape;1855;g125a75bd3b9_0_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6" name="Google Shape;1856;g125a75bd3b9_0_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4"/>
        <p:cNvGrpSpPr/>
        <p:nvPr/>
      </p:nvGrpSpPr>
      <p:grpSpPr>
        <a:xfrm>
          <a:off x="0" y="0"/>
          <a:ext cx="0" cy="0"/>
          <a:chOff x="0" y="0"/>
          <a:chExt cx="0" cy="0"/>
        </a:xfrm>
      </p:grpSpPr>
      <p:sp>
        <p:nvSpPr>
          <p:cNvPr id="1885" name="Google Shape;1885;g125a75bd3b9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6" name="Google Shape;1886;g125a75bd3b9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8"/>
        <p:cNvGrpSpPr/>
        <p:nvPr/>
      </p:nvGrpSpPr>
      <p:grpSpPr>
        <a:xfrm>
          <a:off x="0" y="0"/>
          <a:ext cx="0" cy="0"/>
          <a:chOff x="0" y="0"/>
          <a:chExt cx="0" cy="0"/>
        </a:xfrm>
      </p:grpSpPr>
      <p:sp>
        <p:nvSpPr>
          <p:cNvPr id="1899" name="Google Shape;1899;g125b7f64248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0" name="Google Shape;1900;g125b7f64248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0"/>
        <p:cNvGrpSpPr/>
        <p:nvPr/>
      </p:nvGrpSpPr>
      <p:grpSpPr>
        <a:xfrm>
          <a:off x="0" y="0"/>
          <a:ext cx="0" cy="0"/>
          <a:chOff x="0" y="0"/>
          <a:chExt cx="0" cy="0"/>
        </a:xfrm>
      </p:grpSpPr>
      <p:sp>
        <p:nvSpPr>
          <p:cNvPr id="1911" name="Google Shape;1911;g125b7f64248_0_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12" name="Google Shape;1912;g125b7f64248_0_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9"/>
        <p:cNvGrpSpPr/>
        <p:nvPr/>
      </p:nvGrpSpPr>
      <p:grpSpPr>
        <a:xfrm>
          <a:off x="0" y="0"/>
          <a:ext cx="0" cy="0"/>
          <a:chOff x="0" y="0"/>
          <a:chExt cx="0" cy="0"/>
        </a:xfrm>
      </p:grpSpPr>
      <p:sp>
        <p:nvSpPr>
          <p:cNvPr id="1940" name="Google Shape;1940;g125b7f64248_0_394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1" name="Google Shape;1941;g125b7f64248_0_394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8"/>
        <p:cNvGrpSpPr/>
        <p:nvPr/>
      </p:nvGrpSpPr>
      <p:grpSpPr>
        <a:xfrm>
          <a:off x="0" y="0"/>
          <a:ext cx="0" cy="0"/>
          <a:chOff x="0" y="0"/>
          <a:chExt cx="0" cy="0"/>
        </a:xfrm>
      </p:grpSpPr>
      <p:sp>
        <p:nvSpPr>
          <p:cNvPr id="1949" name="Google Shape;1949;g125b7f64248_0_394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0" name="Google Shape;1950;g125b7f64248_0_394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Lewis Hamilton:</a:t>
            </a:r>
          </a:p>
          <a:p>
            <a:pPr marL="285750" indent="-285750">
              <a:buFont typeface="Arial" panose="020B0604020202020204" pitchFamily="34" charset="0"/>
              <a:buChar char="•"/>
            </a:pPr>
            <a:r>
              <a:rPr lang="en-GB" dirty="0"/>
              <a:t>7 times world champion </a:t>
            </a:r>
          </a:p>
          <a:p>
            <a:pPr marL="285750" indent="-285750">
              <a:buFont typeface="Arial" panose="020B0604020202020204" pitchFamily="34" charset="0"/>
              <a:buChar char="•"/>
            </a:pPr>
            <a:r>
              <a:rPr lang="en-GB" dirty="0"/>
              <a:t>103 Race wins </a:t>
            </a:r>
          </a:p>
          <a:p>
            <a:pPr marL="285750" indent="-285750">
              <a:buFont typeface="Arial" panose="020B0604020202020204" pitchFamily="34" charset="0"/>
              <a:buChar char="•"/>
            </a:pPr>
            <a:r>
              <a:rPr lang="en-GB" dirty="0"/>
              <a:t>197 Podiums </a:t>
            </a:r>
          </a:p>
          <a:p>
            <a:pPr marL="285750" indent="-285750">
              <a:buFont typeface="Arial" panose="020B0604020202020204" pitchFamily="34" charset="0"/>
              <a:buChar char="•"/>
            </a:pPr>
            <a:r>
              <a:rPr lang="en-GB" dirty="0"/>
              <a:t>104 Pole Positions</a:t>
            </a:r>
          </a:p>
          <a:p>
            <a:endParaRPr lang="en-GB" dirty="0"/>
          </a:p>
        </p:txBody>
      </p:sp>
    </p:spTree>
    <p:extLst>
      <p:ext uri="{BB962C8B-B14F-4D97-AF65-F5344CB8AC3E}">
        <p14:creationId xmlns:p14="http://schemas.microsoft.com/office/powerpoint/2010/main" val="1394998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g125b7f64248_0_188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6" name="Google Shape;1956;g125b7f64248_0_188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125b7f64248_0_188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3" name="Google Shape;1963;g125b7f64248_0_188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125b7f64248_0_188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0" name="Google Shape;1970;g125b7f64248_0_188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1"/>
        <p:cNvGrpSpPr/>
        <p:nvPr/>
      </p:nvGrpSpPr>
      <p:grpSpPr>
        <a:xfrm>
          <a:off x="0" y="0"/>
          <a:ext cx="0" cy="0"/>
          <a:chOff x="0" y="0"/>
          <a:chExt cx="0" cy="0"/>
        </a:xfrm>
      </p:grpSpPr>
      <p:sp>
        <p:nvSpPr>
          <p:cNvPr id="1992" name="Google Shape;1992;g125b7f64248_0_18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93" name="Google Shape;1993;g125b7f64248_0_18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7"/>
        <p:cNvGrpSpPr/>
        <p:nvPr/>
      </p:nvGrpSpPr>
      <p:grpSpPr>
        <a:xfrm>
          <a:off x="0" y="0"/>
          <a:ext cx="0" cy="0"/>
          <a:chOff x="0" y="0"/>
          <a:chExt cx="0" cy="0"/>
        </a:xfrm>
      </p:grpSpPr>
      <p:sp>
        <p:nvSpPr>
          <p:cNvPr id="2008" name="Google Shape;2008;g125b7f64248_0_188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09" name="Google Shape;2009;g125b7f64248_0_188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6"/>
        <p:cNvGrpSpPr/>
        <p:nvPr/>
      </p:nvGrpSpPr>
      <p:grpSpPr>
        <a:xfrm>
          <a:off x="0" y="0"/>
          <a:ext cx="0" cy="0"/>
          <a:chOff x="0" y="0"/>
          <a:chExt cx="0" cy="0"/>
        </a:xfrm>
      </p:grpSpPr>
      <p:sp>
        <p:nvSpPr>
          <p:cNvPr id="2347" name="Google Shape;2347;g125b7f64248_0_19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8" name="Google Shape;2348;g125b7f64248_0_19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7"/>
        <p:cNvGrpSpPr/>
        <p:nvPr/>
      </p:nvGrpSpPr>
      <p:grpSpPr>
        <a:xfrm>
          <a:off x="0" y="0"/>
          <a:ext cx="0" cy="0"/>
          <a:chOff x="0" y="0"/>
          <a:chExt cx="0" cy="0"/>
        </a:xfrm>
      </p:grpSpPr>
      <p:sp>
        <p:nvSpPr>
          <p:cNvPr id="4548" name="Google Shape;4548;g125b7f64248_0_214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9" name="Google Shape;4549;g125b7f64248_0_214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6"/>
        <p:cNvGrpSpPr/>
        <p:nvPr/>
      </p:nvGrpSpPr>
      <p:grpSpPr>
        <a:xfrm>
          <a:off x="0" y="0"/>
          <a:ext cx="0" cy="0"/>
          <a:chOff x="0" y="0"/>
          <a:chExt cx="0" cy="0"/>
        </a:xfrm>
      </p:grpSpPr>
      <p:sp>
        <p:nvSpPr>
          <p:cNvPr id="4967" name="Google Shape;4967;g125b7f64248_0_218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8" name="Google Shape;4968;g125b7f64248_0_218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6"/>
        <p:cNvGrpSpPr/>
        <p:nvPr/>
      </p:nvGrpSpPr>
      <p:grpSpPr>
        <a:xfrm>
          <a:off x="0" y="0"/>
          <a:ext cx="0" cy="0"/>
          <a:chOff x="0" y="0"/>
          <a:chExt cx="0" cy="0"/>
        </a:xfrm>
      </p:grpSpPr>
      <p:sp>
        <p:nvSpPr>
          <p:cNvPr id="5137" name="Google Shape;5137;g125b7f64248_0_220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38" name="Google Shape;5138;g125b7f64248_0_220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1"/>
        <p:cNvGrpSpPr/>
        <p:nvPr/>
      </p:nvGrpSpPr>
      <p:grpSpPr>
        <a:xfrm>
          <a:off x="0" y="0"/>
          <a:ext cx="0" cy="0"/>
          <a:chOff x="0" y="0"/>
          <a:chExt cx="0" cy="0"/>
        </a:xfrm>
      </p:grpSpPr>
      <p:sp>
        <p:nvSpPr>
          <p:cNvPr id="5542" name="Google Shape;5542;g125b7f64248_0_224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43" name="Google Shape;5543;g125b7f64248_0_224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g11b20512f65_0_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21"/>
        <p:cNvGrpSpPr/>
        <p:nvPr/>
      </p:nvGrpSpPr>
      <p:grpSpPr>
        <a:xfrm>
          <a:off x="0" y="0"/>
          <a:ext cx="0" cy="0"/>
          <a:chOff x="0" y="0"/>
          <a:chExt cx="0" cy="0"/>
        </a:xfrm>
      </p:grpSpPr>
      <p:sp>
        <p:nvSpPr>
          <p:cNvPr id="5922" name="Google Shape;5922;g12256acf451_0_48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23" name="Google Shape;5923;g12256acf451_0_48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5"/>
        <p:cNvGrpSpPr/>
        <p:nvPr/>
      </p:nvGrpSpPr>
      <p:grpSpPr>
        <a:xfrm>
          <a:off x="0" y="0"/>
          <a:ext cx="0" cy="0"/>
          <a:chOff x="0" y="0"/>
          <a:chExt cx="0" cy="0"/>
        </a:xfrm>
      </p:grpSpPr>
      <p:sp>
        <p:nvSpPr>
          <p:cNvPr id="6336" name="Google Shape;6336;g12256acf451_0_5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37" name="Google Shape;6337;g12256acf451_0_52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6"/>
        <p:cNvGrpSpPr/>
        <p:nvPr/>
      </p:nvGrpSpPr>
      <p:grpSpPr>
        <a:xfrm>
          <a:off x="0" y="0"/>
          <a:ext cx="0" cy="0"/>
          <a:chOff x="0" y="0"/>
          <a:chExt cx="0" cy="0"/>
        </a:xfrm>
      </p:grpSpPr>
      <p:sp>
        <p:nvSpPr>
          <p:cNvPr id="6697" name="Google Shape;6697;g12256acf451_0_56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98" name="Google Shape;6698;g12256acf451_0_56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06"/>
        <p:cNvGrpSpPr/>
        <p:nvPr/>
      </p:nvGrpSpPr>
      <p:grpSpPr>
        <a:xfrm>
          <a:off x="0" y="0"/>
          <a:ext cx="0" cy="0"/>
          <a:chOff x="0" y="0"/>
          <a:chExt cx="0" cy="0"/>
        </a:xfrm>
      </p:grpSpPr>
      <p:sp>
        <p:nvSpPr>
          <p:cNvPr id="7207" name="Google Shape;7207;g12256acf451_0_6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08" name="Google Shape;7208;g12256acf451_0_6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6"/>
        <p:cNvGrpSpPr/>
        <p:nvPr/>
      </p:nvGrpSpPr>
      <p:grpSpPr>
        <a:xfrm>
          <a:off x="0" y="0"/>
          <a:ext cx="0" cy="0"/>
          <a:chOff x="0" y="0"/>
          <a:chExt cx="0" cy="0"/>
        </a:xfrm>
      </p:grpSpPr>
      <p:sp>
        <p:nvSpPr>
          <p:cNvPr id="7827" name="Google Shape;7827;g12256acf451_0_67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28" name="Google Shape;7828;g12256acf451_0_67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0"/>
        <p:cNvGrpSpPr/>
        <p:nvPr/>
      </p:nvGrpSpPr>
      <p:grpSpPr>
        <a:xfrm>
          <a:off x="0" y="0"/>
          <a:ext cx="0" cy="0"/>
          <a:chOff x="0" y="0"/>
          <a:chExt cx="0" cy="0"/>
        </a:xfrm>
      </p:grpSpPr>
      <p:sp>
        <p:nvSpPr>
          <p:cNvPr id="8421" name="Google Shape;8421;g12256acf451_0_73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22" name="Google Shape;8422;g12256acf451_0_73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41"/>
        <p:cNvGrpSpPr/>
        <p:nvPr/>
      </p:nvGrpSpPr>
      <p:grpSpPr>
        <a:xfrm>
          <a:off x="0" y="0"/>
          <a:ext cx="0" cy="0"/>
          <a:chOff x="0" y="0"/>
          <a:chExt cx="0" cy="0"/>
        </a:xfrm>
      </p:grpSpPr>
      <p:sp>
        <p:nvSpPr>
          <p:cNvPr id="8742" name="Google Shape;8742;g12256acf451_0_76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43" name="Google Shape;8743;g12256acf451_0_76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9"/>
        <p:cNvGrpSpPr/>
        <p:nvPr/>
      </p:nvGrpSpPr>
      <p:grpSpPr>
        <a:xfrm>
          <a:off x="0" y="0"/>
          <a:ext cx="0" cy="0"/>
          <a:chOff x="0" y="0"/>
          <a:chExt cx="0" cy="0"/>
        </a:xfrm>
      </p:grpSpPr>
      <p:sp>
        <p:nvSpPr>
          <p:cNvPr id="9050" name="Google Shape;9050;g12256acf451_0_95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51" name="Google Shape;9051;g12256acf451_0_95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g11b20512f71_0_5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45" name="Google Shape;1445;g11b20512f71_0_5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g11b20512f71_0_1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1" name="Google Shape;1451;g11b20512f71_0_1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11b20512f71_0_4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11b20512f71_0_4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6"/>
        <p:cNvGrpSpPr/>
        <p:nvPr/>
      </p:nvGrpSpPr>
      <p:grpSpPr>
        <a:xfrm>
          <a:off x="0" y="0"/>
          <a:ext cx="0" cy="0"/>
          <a:chOff x="0" y="0"/>
          <a:chExt cx="0" cy="0"/>
        </a:xfrm>
      </p:grpSpPr>
      <p:sp>
        <p:nvSpPr>
          <p:cNvPr id="1477" name="Google Shape;1477;g12511172e7b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8" name="Google Shape;1478;g12511172e7b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g12511172e7b_0_6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5" name="Google Shape;1485;g12511172e7b_0_6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34F580-6649-3049-8C9E-18DAD03076D9}"/>
              </a:ext>
            </a:extLst>
          </p:cNvPr>
          <p:cNvGraphicFramePr>
            <a:graphicFrameLocks noChangeAspect="1"/>
          </p:cNvGraphicFramePr>
          <p:nvPr userDrawn="1">
            <p:custDataLst>
              <p:tags r:id="rId1"/>
            </p:custDataLst>
            <p:extLst>
              <p:ext uri="{D42A27DB-BD31-4B8C-83A1-F6EECF244321}">
                <p14:modId xmlns:p14="http://schemas.microsoft.com/office/powerpoint/2010/main" val="254282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1134F580-6649-3049-8C9E-18DAD0307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2"/>
          <p:cNvSpPr txBox="1">
            <a:spLocks noGrp="1"/>
          </p:cNvSpPr>
          <p:nvPr>
            <p:ph type="ctrTitle"/>
          </p:nvPr>
        </p:nvSpPr>
        <p:spPr>
          <a:xfrm>
            <a:off x="870716" y="953030"/>
            <a:ext cx="7704000" cy="16800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4500">
                <a:latin typeface="Krona One"/>
                <a:ea typeface="Krona One"/>
                <a:cs typeface="Krona One"/>
                <a:sym typeface="Kron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2411516" y="3463691"/>
            <a:ext cx="4622400" cy="410100"/>
          </a:xfrm>
          <a:prstGeom prst="rect">
            <a:avLst/>
          </a:prstGeom>
          <a:noFill/>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9"/>
        <p:cNvGrpSpPr/>
        <p:nvPr/>
      </p:nvGrpSpPr>
      <p:grpSpPr>
        <a:xfrm>
          <a:off x="0" y="0"/>
          <a:ext cx="0" cy="0"/>
          <a:chOff x="0" y="0"/>
          <a:chExt cx="0" cy="0"/>
        </a:xfrm>
      </p:grpSpPr>
      <p:grpSp>
        <p:nvGrpSpPr>
          <p:cNvPr id="540" name="Google Shape;540;p11"/>
          <p:cNvGrpSpPr/>
          <p:nvPr/>
        </p:nvGrpSpPr>
        <p:grpSpPr>
          <a:xfrm>
            <a:off x="-94" y="1100"/>
            <a:ext cx="9144094" cy="570400"/>
            <a:chOff x="-94" y="1100"/>
            <a:chExt cx="9144094" cy="570400"/>
          </a:xfrm>
        </p:grpSpPr>
        <p:grpSp>
          <p:nvGrpSpPr>
            <p:cNvPr id="541" name="Google Shape;541;p11"/>
            <p:cNvGrpSpPr/>
            <p:nvPr/>
          </p:nvGrpSpPr>
          <p:grpSpPr>
            <a:xfrm>
              <a:off x="300" y="1100"/>
              <a:ext cx="9143700" cy="570400"/>
              <a:chOff x="300" y="1100"/>
              <a:chExt cx="9143700" cy="570400"/>
            </a:xfrm>
          </p:grpSpPr>
          <p:sp>
            <p:nvSpPr>
              <p:cNvPr id="542" name="Google Shape;542;p1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3" name="Google Shape;543;p11"/>
              <p:cNvGrpSpPr/>
              <p:nvPr/>
            </p:nvGrpSpPr>
            <p:grpSpPr>
              <a:xfrm flipH="1">
                <a:off x="449825" y="1100"/>
                <a:ext cx="8244106" cy="515409"/>
                <a:chOff x="720050" y="0"/>
                <a:chExt cx="7704052" cy="481646"/>
              </a:xfrm>
            </p:grpSpPr>
            <p:sp>
              <p:nvSpPr>
                <p:cNvPr id="544" name="Google Shape;544;p1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1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1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1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1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1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1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1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1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1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1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1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1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1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1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1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1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1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1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1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1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1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1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1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1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1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1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1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1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1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1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1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1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1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1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1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1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1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1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1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1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1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1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1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1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1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1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1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1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1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1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1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1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1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1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1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1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1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60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08" name="Google Shape;608;p11"/>
            <p:cNvGrpSpPr/>
            <p:nvPr/>
          </p:nvGrpSpPr>
          <p:grpSpPr>
            <a:xfrm flipH="1">
              <a:off x="-94" y="1100"/>
              <a:ext cx="449926" cy="515409"/>
              <a:chOff x="7942458" y="0"/>
              <a:chExt cx="420452" cy="481646"/>
            </a:xfrm>
          </p:grpSpPr>
          <p:sp>
            <p:nvSpPr>
              <p:cNvPr id="609" name="Google Shape;609;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1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1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13" name="Google Shape;613;p11"/>
            <p:cNvGrpSpPr/>
            <p:nvPr/>
          </p:nvGrpSpPr>
          <p:grpSpPr>
            <a:xfrm flipH="1">
              <a:off x="8693950" y="1100"/>
              <a:ext cx="449923" cy="515409"/>
              <a:chOff x="8003652" y="0"/>
              <a:chExt cx="420450" cy="481646"/>
            </a:xfrm>
          </p:grpSpPr>
          <p:sp>
            <p:nvSpPr>
              <p:cNvPr id="614" name="Google Shape;614;p1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615;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616;p1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18" name="Google Shape;618;p11"/>
          <p:cNvSpPr txBox="1">
            <a:spLocks noGrp="1"/>
          </p:cNvSpPr>
          <p:nvPr>
            <p:ph type="title" hasCustomPrompt="1"/>
          </p:nvPr>
        </p:nvSpPr>
        <p:spPr>
          <a:xfrm>
            <a:off x="720000" y="1018200"/>
            <a:ext cx="7704000" cy="15732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01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19" name="Google Shape;619;p11"/>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dk1"/>
              </a:buClr>
              <a:buSzPts val="1400"/>
              <a:buNone/>
              <a:defRPr sz="1800">
                <a:solidFill>
                  <a:schemeClr val="dk1"/>
                </a:solidFil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20"/>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656"/>
        <p:cNvGrpSpPr/>
        <p:nvPr/>
      </p:nvGrpSpPr>
      <p:grpSpPr>
        <a:xfrm>
          <a:off x="0" y="0"/>
          <a:ext cx="0" cy="0"/>
          <a:chOff x="0" y="0"/>
          <a:chExt cx="0" cy="0"/>
        </a:xfrm>
      </p:grpSpPr>
      <p:sp>
        <p:nvSpPr>
          <p:cNvPr id="657" name="Google Shape;657;p14"/>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0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658" name="Google Shape;658;p14"/>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1400"/>
              <a:buNone/>
              <a:defRPr sz="3000">
                <a:solidFill>
                  <a:schemeClr val="dk1"/>
                </a:solidFill>
              </a:defRPr>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659" name="Google Shape;659;p14"/>
          <p:cNvGrpSpPr/>
          <p:nvPr/>
        </p:nvGrpSpPr>
        <p:grpSpPr>
          <a:xfrm>
            <a:off x="-94" y="1100"/>
            <a:ext cx="9144094" cy="570400"/>
            <a:chOff x="-94" y="1100"/>
            <a:chExt cx="9144094" cy="570400"/>
          </a:xfrm>
        </p:grpSpPr>
        <p:grpSp>
          <p:nvGrpSpPr>
            <p:cNvPr id="660" name="Google Shape;660;p14"/>
            <p:cNvGrpSpPr/>
            <p:nvPr/>
          </p:nvGrpSpPr>
          <p:grpSpPr>
            <a:xfrm>
              <a:off x="300" y="1100"/>
              <a:ext cx="9143700" cy="570400"/>
              <a:chOff x="300" y="1100"/>
              <a:chExt cx="9143700" cy="570400"/>
            </a:xfrm>
          </p:grpSpPr>
          <p:sp>
            <p:nvSpPr>
              <p:cNvPr id="661" name="Google Shape;661;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2" name="Google Shape;662;p14"/>
              <p:cNvGrpSpPr/>
              <p:nvPr/>
            </p:nvGrpSpPr>
            <p:grpSpPr>
              <a:xfrm flipH="1">
                <a:off x="449825" y="1100"/>
                <a:ext cx="8244106" cy="515409"/>
                <a:chOff x="720050" y="0"/>
                <a:chExt cx="7704052" cy="481646"/>
              </a:xfrm>
            </p:grpSpPr>
            <p:sp>
              <p:nvSpPr>
                <p:cNvPr id="663" name="Google Shape;663;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682;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683;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693;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702;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712;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713;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7" name="Google Shape;727;p14"/>
            <p:cNvGrpSpPr/>
            <p:nvPr/>
          </p:nvGrpSpPr>
          <p:grpSpPr>
            <a:xfrm flipH="1">
              <a:off x="-94" y="1100"/>
              <a:ext cx="449926" cy="515409"/>
              <a:chOff x="7942458" y="0"/>
              <a:chExt cx="420452" cy="481646"/>
            </a:xfrm>
          </p:grpSpPr>
          <p:sp>
            <p:nvSpPr>
              <p:cNvPr id="728" name="Google Shape;728;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14"/>
            <p:cNvGrpSpPr/>
            <p:nvPr/>
          </p:nvGrpSpPr>
          <p:grpSpPr>
            <a:xfrm flipH="1">
              <a:off x="8693950" y="1100"/>
              <a:ext cx="449923" cy="515409"/>
              <a:chOff x="8003652" y="0"/>
              <a:chExt cx="420450" cy="481646"/>
            </a:xfrm>
          </p:grpSpPr>
          <p:sp>
            <p:nvSpPr>
              <p:cNvPr id="733" name="Google Shape;733;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37" name="Google Shape;737;p14"/>
          <p:cNvGrpSpPr/>
          <p:nvPr/>
        </p:nvGrpSpPr>
        <p:grpSpPr>
          <a:xfrm rot="10800000">
            <a:off x="-94" y="4573100"/>
            <a:ext cx="9144094" cy="570400"/>
            <a:chOff x="-94" y="1100"/>
            <a:chExt cx="9144094" cy="570400"/>
          </a:xfrm>
        </p:grpSpPr>
        <p:grpSp>
          <p:nvGrpSpPr>
            <p:cNvPr id="738" name="Google Shape;738;p14"/>
            <p:cNvGrpSpPr/>
            <p:nvPr/>
          </p:nvGrpSpPr>
          <p:grpSpPr>
            <a:xfrm>
              <a:off x="300" y="1100"/>
              <a:ext cx="9143700" cy="570400"/>
              <a:chOff x="300" y="1100"/>
              <a:chExt cx="9143700" cy="570400"/>
            </a:xfrm>
          </p:grpSpPr>
          <p:sp>
            <p:nvSpPr>
              <p:cNvPr id="739" name="Google Shape;739;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0" name="Google Shape;740;p14"/>
              <p:cNvGrpSpPr/>
              <p:nvPr/>
            </p:nvGrpSpPr>
            <p:grpSpPr>
              <a:xfrm flipH="1">
                <a:off x="449825" y="1100"/>
                <a:ext cx="8244106" cy="515409"/>
                <a:chOff x="720050" y="0"/>
                <a:chExt cx="7704052" cy="481646"/>
              </a:xfrm>
            </p:grpSpPr>
            <p:sp>
              <p:nvSpPr>
                <p:cNvPr id="741" name="Google Shape;741;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763;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05" name="Google Shape;805;p14"/>
            <p:cNvGrpSpPr/>
            <p:nvPr/>
          </p:nvGrpSpPr>
          <p:grpSpPr>
            <a:xfrm flipH="1">
              <a:off x="-94" y="1100"/>
              <a:ext cx="449926" cy="515409"/>
              <a:chOff x="7942458" y="0"/>
              <a:chExt cx="420452" cy="481646"/>
            </a:xfrm>
          </p:grpSpPr>
          <p:sp>
            <p:nvSpPr>
              <p:cNvPr id="806" name="Google Shape;806;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808;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809;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 name="Google Shape;810;p14"/>
            <p:cNvGrpSpPr/>
            <p:nvPr/>
          </p:nvGrpSpPr>
          <p:grpSpPr>
            <a:xfrm flipH="1">
              <a:off x="8693950" y="1100"/>
              <a:ext cx="449923" cy="515409"/>
              <a:chOff x="8003652" y="0"/>
              <a:chExt cx="420450" cy="481646"/>
            </a:xfrm>
          </p:grpSpPr>
          <p:sp>
            <p:nvSpPr>
              <p:cNvPr id="811" name="Google Shape;811;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812;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Numbers and text">
  <p:cSld name="CUSTOM_5">
    <p:spTree>
      <p:nvGrpSpPr>
        <p:cNvPr id="1" name="Shape 815"/>
        <p:cNvGrpSpPr/>
        <p:nvPr/>
      </p:nvGrpSpPr>
      <p:grpSpPr>
        <a:xfrm>
          <a:off x="0" y="0"/>
          <a:ext cx="0" cy="0"/>
          <a:chOff x="0" y="0"/>
          <a:chExt cx="0" cy="0"/>
        </a:xfrm>
      </p:grpSpPr>
      <p:sp>
        <p:nvSpPr>
          <p:cNvPr id="816" name="Google Shape;816;p15"/>
          <p:cNvSpPr txBox="1">
            <a:spLocks noGrp="1"/>
          </p:cNvSpPr>
          <p:nvPr>
            <p:ph type="subTitle" idx="1"/>
          </p:nvPr>
        </p:nvSpPr>
        <p:spPr>
          <a:xfrm>
            <a:off x="3641711"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7" name="Google Shape;817;p15"/>
          <p:cNvSpPr txBox="1">
            <a:spLocks noGrp="1"/>
          </p:cNvSpPr>
          <p:nvPr>
            <p:ph type="subTitle" idx="2"/>
          </p:nvPr>
        </p:nvSpPr>
        <p:spPr>
          <a:xfrm>
            <a:off x="6033439"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8" name="Google Shape;818;p15"/>
          <p:cNvSpPr txBox="1">
            <a:spLocks noGrp="1"/>
          </p:cNvSpPr>
          <p:nvPr>
            <p:ph type="title" hasCustomPrompt="1"/>
          </p:nvPr>
        </p:nvSpPr>
        <p:spPr>
          <a:xfrm>
            <a:off x="3641711"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19" name="Google Shape;819;p15"/>
          <p:cNvSpPr txBox="1">
            <a:spLocks noGrp="1"/>
          </p:cNvSpPr>
          <p:nvPr>
            <p:ph type="title" idx="3" hasCustomPrompt="1"/>
          </p:nvPr>
        </p:nvSpPr>
        <p:spPr>
          <a:xfrm>
            <a:off x="6033439"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0" name="Google Shape;820;p15"/>
          <p:cNvSpPr txBox="1">
            <a:spLocks noGrp="1"/>
          </p:cNvSpPr>
          <p:nvPr>
            <p:ph type="subTitle" idx="4"/>
          </p:nvPr>
        </p:nvSpPr>
        <p:spPr>
          <a:xfrm>
            <a:off x="3641711"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1" name="Google Shape;821;p15"/>
          <p:cNvSpPr txBox="1">
            <a:spLocks noGrp="1"/>
          </p:cNvSpPr>
          <p:nvPr>
            <p:ph type="subTitle" idx="5"/>
          </p:nvPr>
        </p:nvSpPr>
        <p:spPr>
          <a:xfrm>
            <a:off x="6033437"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2" name="Google Shape;822;p15"/>
          <p:cNvSpPr txBox="1">
            <a:spLocks noGrp="1"/>
          </p:cNvSpPr>
          <p:nvPr>
            <p:ph type="title" idx="6" hasCustomPrompt="1"/>
          </p:nvPr>
        </p:nvSpPr>
        <p:spPr>
          <a:xfrm>
            <a:off x="3641711"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3" name="Google Shape;823;p15"/>
          <p:cNvSpPr txBox="1">
            <a:spLocks noGrp="1"/>
          </p:cNvSpPr>
          <p:nvPr>
            <p:ph type="title" idx="7" hasCustomPrompt="1"/>
          </p:nvPr>
        </p:nvSpPr>
        <p:spPr>
          <a:xfrm>
            <a:off x="6033439"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4" name="Google Shape;824;p15"/>
          <p:cNvSpPr txBox="1">
            <a:spLocks noGrp="1"/>
          </p:cNvSpPr>
          <p:nvPr>
            <p:ph type="subTitle" idx="8"/>
          </p:nvPr>
        </p:nvSpPr>
        <p:spPr>
          <a:xfrm>
            <a:off x="865061" y="2283075"/>
            <a:ext cx="2630400" cy="1485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5" name="Google Shape;825;p1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26" name="Google Shape;826;p15"/>
          <p:cNvGrpSpPr/>
          <p:nvPr/>
        </p:nvGrpSpPr>
        <p:grpSpPr>
          <a:xfrm>
            <a:off x="-16750" y="0"/>
            <a:ext cx="9177500" cy="5143500"/>
            <a:chOff x="-16750" y="0"/>
            <a:chExt cx="9177500" cy="5143500"/>
          </a:xfrm>
        </p:grpSpPr>
        <p:grpSp>
          <p:nvGrpSpPr>
            <p:cNvPr id="827" name="Google Shape;827;p15"/>
            <p:cNvGrpSpPr/>
            <p:nvPr/>
          </p:nvGrpSpPr>
          <p:grpSpPr>
            <a:xfrm rot="10800000" flipH="1">
              <a:off x="8693950" y="0"/>
              <a:ext cx="466800" cy="5143500"/>
              <a:chOff x="-16750" y="0"/>
              <a:chExt cx="466800" cy="5143500"/>
            </a:xfrm>
          </p:grpSpPr>
          <p:sp>
            <p:nvSpPr>
              <p:cNvPr id="828" name="Google Shape;828;p1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1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1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1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1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1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1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1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1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 name="Google Shape;837;p15"/>
            <p:cNvGrpSpPr/>
            <p:nvPr/>
          </p:nvGrpSpPr>
          <p:grpSpPr>
            <a:xfrm>
              <a:off x="-16750" y="0"/>
              <a:ext cx="466800" cy="5143500"/>
              <a:chOff x="-16750" y="0"/>
              <a:chExt cx="466800" cy="5143500"/>
            </a:xfrm>
          </p:grpSpPr>
          <p:sp>
            <p:nvSpPr>
              <p:cNvPr id="838" name="Google Shape;838;p1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1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1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1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1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1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1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1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1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7" name="Google Shape;847;p1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2000"/>
              <a:buFont typeface="Krona One"/>
              <a:buNone/>
              <a:defRPr sz="1800">
                <a:latin typeface="Krona One"/>
                <a:ea typeface="Krona One"/>
                <a:cs typeface="Krona One"/>
                <a:sym typeface="Krona One"/>
              </a:defRPr>
            </a:lvl1pPr>
            <a:lvl2pPr lvl="1"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2pPr>
            <a:lvl3pPr lvl="2"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3pPr>
            <a:lvl4pPr lvl="3"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4pPr>
            <a:lvl5pPr lvl="4"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5pPr>
            <a:lvl6pPr lvl="5"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6pPr>
            <a:lvl7pPr lvl="6"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7pPr>
            <a:lvl8pPr lvl="7"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8pPr>
            <a:lvl9pPr lvl="8"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2">
    <p:spTree>
      <p:nvGrpSpPr>
        <p:cNvPr id="1" name="Shape 848"/>
        <p:cNvGrpSpPr/>
        <p:nvPr/>
      </p:nvGrpSpPr>
      <p:grpSpPr>
        <a:xfrm>
          <a:off x="0" y="0"/>
          <a:ext cx="0" cy="0"/>
          <a:chOff x="0" y="0"/>
          <a:chExt cx="0" cy="0"/>
        </a:xfrm>
      </p:grpSpPr>
      <p:sp>
        <p:nvSpPr>
          <p:cNvPr id="849" name="Google Shape;849;p16"/>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0" name="Google Shape;850;p16"/>
          <p:cNvSpPr txBox="1">
            <a:spLocks noGrp="1"/>
          </p:cNvSpPr>
          <p:nvPr>
            <p:ph type="subTitle" idx="1"/>
          </p:nvPr>
        </p:nvSpPr>
        <p:spPr>
          <a:xfrm>
            <a:off x="85772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1" name="Google Shape;851;p16"/>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2" name="Google Shape;852;p16"/>
          <p:cNvSpPr txBox="1">
            <a:spLocks noGrp="1"/>
          </p:cNvSpPr>
          <p:nvPr>
            <p:ph type="subTitle" idx="3"/>
          </p:nvPr>
        </p:nvSpPr>
        <p:spPr>
          <a:xfrm>
            <a:off x="604077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3" name="Google Shape;853;p16"/>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4" name="Google Shape;854;p16"/>
          <p:cNvSpPr txBox="1">
            <a:spLocks noGrp="1"/>
          </p:cNvSpPr>
          <p:nvPr>
            <p:ph type="subTitle" idx="5"/>
          </p:nvPr>
        </p:nvSpPr>
        <p:spPr>
          <a:xfrm>
            <a:off x="3449250"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5" name="Google Shape;855;p16"/>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56" name="Google Shape;856;p16"/>
          <p:cNvGrpSpPr/>
          <p:nvPr/>
        </p:nvGrpSpPr>
        <p:grpSpPr>
          <a:xfrm>
            <a:off x="-16750" y="0"/>
            <a:ext cx="9177500" cy="5143500"/>
            <a:chOff x="-16750" y="0"/>
            <a:chExt cx="9177500" cy="5143500"/>
          </a:xfrm>
        </p:grpSpPr>
        <p:grpSp>
          <p:nvGrpSpPr>
            <p:cNvPr id="857" name="Google Shape;857;p16"/>
            <p:cNvGrpSpPr/>
            <p:nvPr/>
          </p:nvGrpSpPr>
          <p:grpSpPr>
            <a:xfrm rot="10800000" flipH="1">
              <a:off x="8693950" y="0"/>
              <a:ext cx="466800" cy="5143500"/>
              <a:chOff x="-16750" y="0"/>
              <a:chExt cx="466800" cy="5143500"/>
            </a:xfrm>
          </p:grpSpPr>
          <p:sp>
            <p:nvSpPr>
              <p:cNvPr id="858" name="Google Shape;858;p1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1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1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1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1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1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1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1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1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 name="Google Shape;867;p16"/>
            <p:cNvGrpSpPr/>
            <p:nvPr/>
          </p:nvGrpSpPr>
          <p:grpSpPr>
            <a:xfrm>
              <a:off x="-16750" y="0"/>
              <a:ext cx="466800" cy="5143500"/>
              <a:chOff x="-16750" y="0"/>
              <a:chExt cx="466800" cy="5143500"/>
            </a:xfrm>
          </p:grpSpPr>
          <p:sp>
            <p:nvSpPr>
              <p:cNvPr id="868" name="Google Shape;868;p1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1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1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1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1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1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1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hree columns 1">
  <p:cSld name="CUSTOM_2_1">
    <p:spTree>
      <p:nvGrpSpPr>
        <p:cNvPr id="1" name="Shape 877"/>
        <p:cNvGrpSpPr/>
        <p:nvPr/>
      </p:nvGrpSpPr>
      <p:grpSpPr>
        <a:xfrm>
          <a:off x="0" y="0"/>
          <a:ext cx="0" cy="0"/>
          <a:chOff x="0" y="0"/>
          <a:chExt cx="0" cy="0"/>
        </a:xfrm>
      </p:grpSpPr>
      <p:sp>
        <p:nvSpPr>
          <p:cNvPr id="878" name="Google Shape;878;p1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879" name="Google Shape;879;p17"/>
          <p:cNvSpPr txBox="1">
            <a:spLocks noGrp="1"/>
          </p:cNvSpPr>
          <p:nvPr>
            <p:ph type="title" idx="2"/>
          </p:nvPr>
        </p:nvSpPr>
        <p:spPr>
          <a:xfrm>
            <a:off x="5952819"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0" name="Google Shape;880;p17"/>
          <p:cNvSpPr txBox="1">
            <a:spLocks noGrp="1"/>
          </p:cNvSpPr>
          <p:nvPr>
            <p:ph type="title" idx="3"/>
          </p:nvPr>
        </p:nvSpPr>
        <p:spPr>
          <a:xfrm>
            <a:off x="720081"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1" name="Google Shape;881;p17"/>
          <p:cNvSpPr txBox="1">
            <a:spLocks noGrp="1"/>
          </p:cNvSpPr>
          <p:nvPr>
            <p:ph type="subTitle" idx="1"/>
          </p:nvPr>
        </p:nvSpPr>
        <p:spPr>
          <a:xfrm>
            <a:off x="5952819"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2" name="Google Shape;882;p17"/>
          <p:cNvSpPr txBox="1">
            <a:spLocks noGrp="1"/>
          </p:cNvSpPr>
          <p:nvPr>
            <p:ph type="subTitle" idx="4"/>
          </p:nvPr>
        </p:nvSpPr>
        <p:spPr>
          <a:xfrm>
            <a:off x="720081"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3" name="Google Shape;883;p17"/>
          <p:cNvSpPr txBox="1">
            <a:spLocks noGrp="1"/>
          </p:cNvSpPr>
          <p:nvPr>
            <p:ph type="title" idx="5"/>
          </p:nvPr>
        </p:nvSpPr>
        <p:spPr>
          <a:xfrm>
            <a:off x="3336450"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4" name="Google Shape;884;p17"/>
          <p:cNvSpPr txBox="1">
            <a:spLocks noGrp="1"/>
          </p:cNvSpPr>
          <p:nvPr>
            <p:ph type="subTitle" idx="6"/>
          </p:nvPr>
        </p:nvSpPr>
        <p:spPr>
          <a:xfrm>
            <a:off x="3336450"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885" name="Google Shape;885;p17"/>
          <p:cNvGrpSpPr/>
          <p:nvPr/>
        </p:nvGrpSpPr>
        <p:grpSpPr>
          <a:xfrm>
            <a:off x="-16750" y="0"/>
            <a:ext cx="9177500" cy="5143500"/>
            <a:chOff x="-16750" y="0"/>
            <a:chExt cx="9177500" cy="5143500"/>
          </a:xfrm>
        </p:grpSpPr>
        <p:grpSp>
          <p:nvGrpSpPr>
            <p:cNvPr id="886" name="Google Shape;886;p17"/>
            <p:cNvGrpSpPr/>
            <p:nvPr/>
          </p:nvGrpSpPr>
          <p:grpSpPr>
            <a:xfrm rot="10800000" flipH="1">
              <a:off x="8693950" y="0"/>
              <a:ext cx="466800" cy="5143500"/>
              <a:chOff x="-16750" y="0"/>
              <a:chExt cx="466800" cy="5143500"/>
            </a:xfrm>
          </p:grpSpPr>
          <p:sp>
            <p:nvSpPr>
              <p:cNvPr id="887" name="Google Shape;887;p1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1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1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890;p1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1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1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1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894;p1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1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 name="Google Shape;896;p17"/>
            <p:cNvGrpSpPr/>
            <p:nvPr/>
          </p:nvGrpSpPr>
          <p:grpSpPr>
            <a:xfrm>
              <a:off x="-16750" y="0"/>
              <a:ext cx="466800" cy="5143500"/>
              <a:chOff x="-16750" y="0"/>
              <a:chExt cx="466800" cy="5143500"/>
            </a:xfrm>
          </p:grpSpPr>
          <p:sp>
            <p:nvSpPr>
              <p:cNvPr id="897" name="Google Shape;897;p1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1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1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1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1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1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1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1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1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3">
    <p:spTree>
      <p:nvGrpSpPr>
        <p:cNvPr id="1" name="Shape 906"/>
        <p:cNvGrpSpPr/>
        <p:nvPr/>
      </p:nvGrpSpPr>
      <p:grpSpPr>
        <a:xfrm>
          <a:off x="0" y="0"/>
          <a:ext cx="0" cy="0"/>
          <a:chOff x="0" y="0"/>
          <a:chExt cx="0" cy="0"/>
        </a:xfrm>
      </p:grpSpPr>
      <p:sp>
        <p:nvSpPr>
          <p:cNvPr id="907" name="Google Shape;907;p1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08" name="Google Shape;908;p18"/>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09" name="Google Shape;909;p18"/>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0" name="Google Shape;910;p18"/>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1" name="Google Shape;911;p18"/>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2" name="Google Shape;912;p18"/>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3" name="Google Shape;913;p18"/>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4" name="Google Shape;914;p18"/>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5" name="Google Shape;915;p18"/>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916" name="Google Shape;916;p18"/>
          <p:cNvGrpSpPr/>
          <p:nvPr/>
        </p:nvGrpSpPr>
        <p:grpSpPr>
          <a:xfrm>
            <a:off x="-16750" y="0"/>
            <a:ext cx="9177500" cy="5143500"/>
            <a:chOff x="-16750" y="0"/>
            <a:chExt cx="9177500" cy="5143500"/>
          </a:xfrm>
        </p:grpSpPr>
        <p:grpSp>
          <p:nvGrpSpPr>
            <p:cNvPr id="917" name="Google Shape;917;p18"/>
            <p:cNvGrpSpPr/>
            <p:nvPr/>
          </p:nvGrpSpPr>
          <p:grpSpPr>
            <a:xfrm rot="10800000" flipH="1">
              <a:off x="8693950" y="0"/>
              <a:ext cx="466800" cy="5143500"/>
              <a:chOff x="-16750" y="0"/>
              <a:chExt cx="466800" cy="5143500"/>
            </a:xfrm>
          </p:grpSpPr>
          <p:sp>
            <p:nvSpPr>
              <p:cNvPr id="918" name="Google Shape;918;p1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1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1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1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1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1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1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1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1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 name="Google Shape;927;p18"/>
            <p:cNvGrpSpPr/>
            <p:nvPr/>
          </p:nvGrpSpPr>
          <p:grpSpPr>
            <a:xfrm>
              <a:off x="-16750" y="0"/>
              <a:ext cx="466800" cy="5143500"/>
              <a:chOff x="-16750" y="0"/>
              <a:chExt cx="466800" cy="5143500"/>
            </a:xfrm>
          </p:grpSpPr>
          <p:sp>
            <p:nvSpPr>
              <p:cNvPr id="928" name="Google Shape;928;p1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1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1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1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1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1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1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1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936;p1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six columns">
  <p:cSld name="CUSTOM_4">
    <p:spTree>
      <p:nvGrpSpPr>
        <p:cNvPr id="1" name="Shape 937"/>
        <p:cNvGrpSpPr/>
        <p:nvPr/>
      </p:nvGrpSpPr>
      <p:grpSpPr>
        <a:xfrm>
          <a:off x="0" y="0"/>
          <a:ext cx="0" cy="0"/>
          <a:chOff x="0" y="0"/>
          <a:chExt cx="0" cy="0"/>
        </a:xfrm>
      </p:grpSpPr>
      <p:sp>
        <p:nvSpPr>
          <p:cNvPr id="938" name="Google Shape;938;p1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939" name="Google Shape;939;p19"/>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0" name="Google Shape;940;p19"/>
          <p:cNvSpPr txBox="1">
            <a:spLocks noGrp="1"/>
          </p:cNvSpPr>
          <p:nvPr>
            <p:ph type="subTitle" idx="1"/>
          </p:nvPr>
        </p:nvSpPr>
        <p:spPr>
          <a:xfrm>
            <a:off x="85772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1" name="Google Shape;941;p19"/>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2" name="Google Shape;942;p19"/>
          <p:cNvSpPr txBox="1">
            <a:spLocks noGrp="1"/>
          </p:cNvSpPr>
          <p:nvPr>
            <p:ph type="subTitle" idx="4"/>
          </p:nvPr>
        </p:nvSpPr>
        <p:spPr>
          <a:xfrm>
            <a:off x="604077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3" name="Google Shape;943;p19"/>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4" name="Google Shape;944;p19"/>
          <p:cNvSpPr txBox="1">
            <a:spLocks noGrp="1"/>
          </p:cNvSpPr>
          <p:nvPr>
            <p:ph type="subTitle" idx="6"/>
          </p:nvPr>
        </p:nvSpPr>
        <p:spPr>
          <a:xfrm>
            <a:off x="3449250"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5" name="Google Shape;945;p19"/>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6" name="Google Shape;946;p19"/>
          <p:cNvSpPr txBox="1">
            <a:spLocks noGrp="1"/>
          </p:cNvSpPr>
          <p:nvPr>
            <p:ph type="subTitle" idx="8"/>
          </p:nvPr>
        </p:nvSpPr>
        <p:spPr>
          <a:xfrm>
            <a:off x="85772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7" name="Google Shape;947;p19"/>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8" name="Google Shape;948;p19"/>
          <p:cNvSpPr txBox="1">
            <a:spLocks noGrp="1"/>
          </p:cNvSpPr>
          <p:nvPr>
            <p:ph type="subTitle" idx="13"/>
          </p:nvPr>
        </p:nvSpPr>
        <p:spPr>
          <a:xfrm>
            <a:off x="604077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9" name="Google Shape;949;p19"/>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50" name="Google Shape;950;p19"/>
          <p:cNvSpPr txBox="1">
            <a:spLocks noGrp="1"/>
          </p:cNvSpPr>
          <p:nvPr>
            <p:ph type="subTitle" idx="15"/>
          </p:nvPr>
        </p:nvSpPr>
        <p:spPr>
          <a:xfrm>
            <a:off x="3449250"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951" name="Google Shape;951;p19"/>
          <p:cNvGrpSpPr/>
          <p:nvPr/>
        </p:nvGrpSpPr>
        <p:grpSpPr>
          <a:xfrm>
            <a:off x="-16750" y="0"/>
            <a:ext cx="9177500" cy="5143500"/>
            <a:chOff x="-16750" y="0"/>
            <a:chExt cx="9177500" cy="5143500"/>
          </a:xfrm>
        </p:grpSpPr>
        <p:grpSp>
          <p:nvGrpSpPr>
            <p:cNvPr id="952" name="Google Shape;952;p19"/>
            <p:cNvGrpSpPr/>
            <p:nvPr/>
          </p:nvGrpSpPr>
          <p:grpSpPr>
            <a:xfrm rot="10800000" flipH="1">
              <a:off x="8693950" y="0"/>
              <a:ext cx="466800" cy="5143500"/>
              <a:chOff x="-16750" y="0"/>
              <a:chExt cx="466800" cy="5143500"/>
            </a:xfrm>
          </p:grpSpPr>
          <p:sp>
            <p:nvSpPr>
              <p:cNvPr id="953" name="Google Shape;953;p19"/>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19"/>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19"/>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19"/>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19"/>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19"/>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19"/>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19"/>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19"/>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 name="Google Shape;962;p19"/>
            <p:cNvGrpSpPr/>
            <p:nvPr/>
          </p:nvGrpSpPr>
          <p:grpSpPr>
            <a:xfrm>
              <a:off x="-16750" y="0"/>
              <a:ext cx="466800" cy="5143500"/>
              <a:chOff x="-16750" y="0"/>
              <a:chExt cx="466800" cy="5143500"/>
            </a:xfrm>
          </p:grpSpPr>
          <p:sp>
            <p:nvSpPr>
              <p:cNvPr id="963" name="Google Shape;963;p19"/>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19"/>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19"/>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19"/>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19"/>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19"/>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19"/>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19"/>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19"/>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1">
  <p:cSld name="CUSTOM_7">
    <p:spTree>
      <p:nvGrpSpPr>
        <p:cNvPr id="1" name="Shape 972"/>
        <p:cNvGrpSpPr/>
        <p:nvPr/>
      </p:nvGrpSpPr>
      <p:grpSpPr>
        <a:xfrm>
          <a:off x="0" y="0"/>
          <a:ext cx="0" cy="0"/>
          <a:chOff x="0" y="0"/>
          <a:chExt cx="0" cy="0"/>
        </a:xfrm>
      </p:grpSpPr>
      <p:sp>
        <p:nvSpPr>
          <p:cNvPr id="973" name="Google Shape;973;p2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atin typeface="Krona One"/>
                <a:ea typeface="Krona One"/>
                <a:cs typeface="Krona One"/>
                <a:sym typeface="Krona 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974" name="Google Shape;974;p20"/>
          <p:cNvGrpSpPr/>
          <p:nvPr/>
        </p:nvGrpSpPr>
        <p:grpSpPr>
          <a:xfrm>
            <a:off x="-16750" y="0"/>
            <a:ext cx="9177500" cy="5143500"/>
            <a:chOff x="-16750" y="0"/>
            <a:chExt cx="9177500" cy="5143500"/>
          </a:xfrm>
        </p:grpSpPr>
        <p:grpSp>
          <p:nvGrpSpPr>
            <p:cNvPr id="975" name="Google Shape;975;p20"/>
            <p:cNvGrpSpPr/>
            <p:nvPr/>
          </p:nvGrpSpPr>
          <p:grpSpPr>
            <a:xfrm rot="10800000" flipH="1">
              <a:off x="8693950" y="0"/>
              <a:ext cx="466800" cy="5143500"/>
              <a:chOff x="-16750" y="0"/>
              <a:chExt cx="466800" cy="5143500"/>
            </a:xfrm>
          </p:grpSpPr>
          <p:sp>
            <p:nvSpPr>
              <p:cNvPr id="976" name="Google Shape;976;p20"/>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0"/>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20"/>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20"/>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20"/>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20"/>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20"/>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20"/>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20"/>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 name="Google Shape;985;p20"/>
            <p:cNvGrpSpPr/>
            <p:nvPr/>
          </p:nvGrpSpPr>
          <p:grpSpPr>
            <a:xfrm>
              <a:off x="-16750" y="0"/>
              <a:ext cx="466800" cy="5143500"/>
              <a:chOff x="-16750" y="0"/>
              <a:chExt cx="466800" cy="5143500"/>
            </a:xfrm>
          </p:grpSpPr>
          <p:sp>
            <p:nvSpPr>
              <p:cNvPr id="986" name="Google Shape;986;p20"/>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20"/>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20"/>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20"/>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20"/>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20"/>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20"/>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20"/>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20"/>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ext">
  <p:cSld name="CUSTOM_8">
    <p:spTree>
      <p:nvGrpSpPr>
        <p:cNvPr id="1" name="Shape 995"/>
        <p:cNvGrpSpPr/>
        <p:nvPr/>
      </p:nvGrpSpPr>
      <p:grpSpPr>
        <a:xfrm>
          <a:off x="0" y="0"/>
          <a:ext cx="0" cy="0"/>
          <a:chOff x="0" y="0"/>
          <a:chExt cx="0" cy="0"/>
        </a:xfrm>
      </p:grpSpPr>
      <p:grpSp>
        <p:nvGrpSpPr>
          <p:cNvPr id="996" name="Google Shape;996;p21"/>
          <p:cNvGrpSpPr/>
          <p:nvPr/>
        </p:nvGrpSpPr>
        <p:grpSpPr>
          <a:xfrm>
            <a:off x="-94" y="1100"/>
            <a:ext cx="9144094" cy="570400"/>
            <a:chOff x="-94" y="1100"/>
            <a:chExt cx="9144094" cy="570400"/>
          </a:xfrm>
        </p:grpSpPr>
        <p:grpSp>
          <p:nvGrpSpPr>
            <p:cNvPr id="997" name="Google Shape;997;p21"/>
            <p:cNvGrpSpPr/>
            <p:nvPr/>
          </p:nvGrpSpPr>
          <p:grpSpPr>
            <a:xfrm>
              <a:off x="300" y="1100"/>
              <a:ext cx="9143700" cy="570400"/>
              <a:chOff x="300" y="1100"/>
              <a:chExt cx="9143700" cy="570400"/>
            </a:xfrm>
          </p:grpSpPr>
          <p:sp>
            <p:nvSpPr>
              <p:cNvPr id="998" name="Google Shape;998;p2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9" name="Google Shape;999;p21"/>
              <p:cNvGrpSpPr/>
              <p:nvPr/>
            </p:nvGrpSpPr>
            <p:grpSpPr>
              <a:xfrm flipH="1">
                <a:off x="449825" y="1100"/>
                <a:ext cx="8244106" cy="515409"/>
                <a:chOff x="720050" y="0"/>
                <a:chExt cx="7704052" cy="481646"/>
              </a:xfrm>
            </p:grpSpPr>
            <p:sp>
              <p:nvSpPr>
                <p:cNvPr id="1000" name="Google Shape;1000;p2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2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2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2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2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2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2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2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2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2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2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2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2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2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2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2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2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2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2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2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2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2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2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2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2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2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2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2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2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2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2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2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2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2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2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2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2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2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2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2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2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2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2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2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2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2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2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2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2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2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2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2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2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2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2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2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2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2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2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2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64" name="Google Shape;1064;p21"/>
            <p:cNvGrpSpPr/>
            <p:nvPr/>
          </p:nvGrpSpPr>
          <p:grpSpPr>
            <a:xfrm flipH="1">
              <a:off x="-94" y="1100"/>
              <a:ext cx="449926" cy="515409"/>
              <a:chOff x="7942458" y="0"/>
              <a:chExt cx="420452" cy="481646"/>
            </a:xfrm>
          </p:grpSpPr>
          <p:sp>
            <p:nvSpPr>
              <p:cNvPr id="1065" name="Google Shape;1065;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2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2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 name="Google Shape;1069;p21"/>
            <p:cNvGrpSpPr/>
            <p:nvPr/>
          </p:nvGrpSpPr>
          <p:grpSpPr>
            <a:xfrm flipH="1">
              <a:off x="8693950" y="1100"/>
              <a:ext cx="449923" cy="515409"/>
              <a:chOff x="8003652" y="0"/>
              <a:chExt cx="420450" cy="481646"/>
            </a:xfrm>
          </p:grpSpPr>
          <p:sp>
            <p:nvSpPr>
              <p:cNvPr id="1070" name="Google Shape;1070;p2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2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21"/>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075" name="Google Shape;1075;p21"/>
          <p:cNvSpPr txBox="1">
            <a:spLocks noGrp="1"/>
          </p:cNvSpPr>
          <p:nvPr>
            <p:ph type="subTitle" idx="1"/>
          </p:nvPr>
        </p:nvSpPr>
        <p:spPr>
          <a:xfrm>
            <a:off x="1132289" y="2790038"/>
            <a:ext cx="2697000" cy="876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076" name="Google Shape;1076;p21"/>
          <p:cNvGrpSpPr/>
          <p:nvPr/>
        </p:nvGrpSpPr>
        <p:grpSpPr>
          <a:xfrm>
            <a:off x="-16750" y="0"/>
            <a:ext cx="9177500" cy="5143500"/>
            <a:chOff x="-16750" y="0"/>
            <a:chExt cx="9177500" cy="5143500"/>
          </a:xfrm>
        </p:grpSpPr>
        <p:grpSp>
          <p:nvGrpSpPr>
            <p:cNvPr id="1077" name="Google Shape;1077;p21"/>
            <p:cNvGrpSpPr/>
            <p:nvPr/>
          </p:nvGrpSpPr>
          <p:grpSpPr>
            <a:xfrm rot="10800000" flipH="1">
              <a:off x="8693950" y="0"/>
              <a:ext cx="466800" cy="5143500"/>
              <a:chOff x="-16750" y="0"/>
              <a:chExt cx="466800" cy="5143500"/>
            </a:xfrm>
          </p:grpSpPr>
          <p:sp>
            <p:nvSpPr>
              <p:cNvPr id="1078" name="Google Shape;1078;p21"/>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21"/>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21"/>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21"/>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21"/>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21"/>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21"/>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21"/>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21"/>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 name="Google Shape;1087;p21"/>
            <p:cNvGrpSpPr/>
            <p:nvPr/>
          </p:nvGrpSpPr>
          <p:grpSpPr>
            <a:xfrm>
              <a:off x="-16750" y="0"/>
              <a:ext cx="466800" cy="5143500"/>
              <a:chOff x="-16750" y="0"/>
              <a:chExt cx="466800" cy="5143500"/>
            </a:xfrm>
          </p:grpSpPr>
          <p:sp>
            <p:nvSpPr>
              <p:cNvPr id="1088" name="Google Shape;1088;p21"/>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21"/>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21"/>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21"/>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21"/>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21"/>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21"/>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21"/>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21"/>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9"/>
        <p:cNvGrpSpPr/>
        <p:nvPr/>
      </p:nvGrpSpPr>
      <p:grpSpPr>
        <a:xfrm>
          <a:off x="0" y="0"/>
          <a:ext cx="0" cy="0"/>
          <a:chOff x="0" y="0"/>
          <a:chExt cx="0" cy="0"/>
        </a:xfrm>
      </p:grpSpPr>
      <p:grpSp>
        <p:nvGrpSpPr>
          <p:cNvPr id="100" name="Google Shape;100;p3"/>
          <p:cNvGrpSpPr/>
          <p:nvPr/>
        </p:nvGrpSpPr>
        <p:grpSpPr>
          <a:xfrm>
            <a:off x="449825" y="1100"/>
            <a:ext cx="8244125" cy="570400"/>
            <a:chOff x="449825" y="1100"/>
            <a:chExt cx="8244125" cy="570400"/>
          </a:xfrm>
        </p:grpSpPr>
        <p:sp>
          <p:nvSpPr>
            <p:cNvPr id="101" name="Google Shape;101;p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 name="Google Shape;102;p3"/>
            <p:cNvGrpSpPr/>
            <p:nvPr/>
          </p:nvGrpSpPr>
          <p:grpSpPr>
            <a:xfrm flipH="1">
              <a:off x="449825" y="1100"/>
              <a:ext cx="8244106" cy="515409"/>
              <a:chOff x="720050" y="0"/>
              <a:chExt cx="7704052" cy="481646"/>
            </a:xfrm>
          </p:grpSpPr>
          <p:sp>
            <p:nvSpPr>
              <p:cNvPr id="103" name="Google Shape;103;p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67" name="Google Shape;167;p3"/>
          <p:cNvSpPr txBox="1">
            <a:spLocks noGrp="1"/>
          </p:cNvSpPr>
          <p:nvPr>
            <p:ph type="title"/>
          </p:nvPr>
        </p:nvSpPr>
        <p:spPr>
          <a:xfrm>
            <a:off x="3043150" y="1213828"/>
            <a:ext cx="4827600" cy="9642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3500">
                <a:latin typeface="Krona One"/>
                <a:ea typeface="Krona One"/>
                <a:cs typeface="Krona One"/>
                <a:sym typeface="Krona One"/>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68" name="Google Shape;168;p3"/>
          <p:cNvSpPr txBox="1">
            <a:spLocks noGrp="1"/>
          </p:cNvSpPr>
          <p:nvPr>
            <p:ph type="title" idx="2" hasCustomPrompt="1"/>
          </p:nvPr>
        </p:nvSpPr>
        <p:spPr>
          <a:xfrm>
            <a:off x="1273250" y="1241332"/>
            <a:ext cx="1463100" cy="14661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45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69" name="Google Shape;169;p3"/>
          <p:cNvSpPr txBox="1">
            <a:spLocks noGrp="1"/>
          </p:cNvSpPr>
          <p:nvPr>
            <p:ph type="subTitle" idx="1"/>
          </p:nvPr>
        </p:nvSpPr>
        <p:spPr>
          <a:xfrm>
            <a:off x="3043150" y="2420475"/>
            <a:ext cx="4827600" cy="410100"/>
          </a:xfrm>
          <a:prstGeom prst="rect">
            <a:avLst/>
          </a:prstGeom>
          <a:noFill/>
        </p:spPr>
        <p:txBody>
          <a:bodyPr spcFirstLastPara="1" wrap="square" lIns="91425" tIns="91425" rIns="91425" bIns="91425" anchor="ctr" anchorCtr="0">
            <a:noAutofit/>
          </a:bodyPr>
          <a:lstStyle>
            <a:lvl1pPr lvl="0" rtl="0">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grpSp>
        <p:nvGrpSpPr>
          <p:cNvPr id="170" name="Google Shape;170;p3"/>
          <p:cNvGrpSpPr/>
          <p:nvPr/>
        </p:nvGrpSpPr>
        <p:grpSpPr>
          <a:xfrm>
            <a:off x="-16750" y="0"/>
            <a:ext cx="9177500" cy="5143500"/>
            <a:chOff x="-16750" y="0"/>
            <a:chExt cx="9177500" cy="5143500"/>
          </a:xfrm>
        </p:grpSpPr>
        <p:grpSp>
          <p:nvGrpSpPr>
            <p:cNvPr id="171" name="Google Shape;171;p3"/>
            <p:cNvGrpSpPr/>
            <p:nvPr/>
          </p:nvGrpSpPr>
          <p:grpSpPr>
            <a:xfrm rot="10800000" flipH="1">
              <a:off x="8693950" y="0"/>
              <a:ext cx="466800" cy="5143500"/>
              <a:chOff x="-16750" y="0"/>
              <a:chExt cx="466800" cy="5143500"/>
            </a:xfrm>
          </p:grpSpPr>
          <p:sp>
            <p:nvSpPr>
              <p:cNvPr id="172" name="Google Shape;172;p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 name="Google Shape;181;p3"/>
            <p:cNvGrpSpPr/>
            <p:nvPr/>
          </p:nvGrpSpPr>
          <p:grpSpPr>
            <a:xfrm>
              <a:off x="-16750" y="0"/>
              <a:ext cx="466800" cy="5143500"/>
              <a:chOff x="-16750" y="0"/>
              <a:chExt cx="466800" cy="5143500"/>
            </a:xfrm>
          </p:grpSpPr>
          <p:sp>
            <p:nvSpPr>
              <p:cNvPr id="182" name="Google Shape;182;p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ext 1">
  <p:cSld name="CUSTOM_8_1">
    <p:spTree>
      <p:nvGrpSpPr>
        <p:cNvPr id="1" name="Shape 1097"/>
        <p:cNvGrpSpPr/>
        <p:nvPr/>
      </p:nvGrpSpPr>
      <p:grpSpPr>
        <a:xfrm>
          <a:off x="0" y="0"/>
          <a:ext cx="0" cy="0"/>
          <a:chOff x="0" y="0"/>
          <a:chExt cx="0" cy="0"/>
        </a:xfrm>
      </p:grpSpPr>
      <p:grpSp>
        <p:nvGrpSpPr>
          <p:cNvPr id="1098" name="Google Shape;1098;p22"/>
          <p:cNvGrpSpPr/>
          <p:nvPr/>
        </p:nvGrpSpPr>
        <p:grpSpPr>
          <a:xfrm>
            <a:off x="-94" y="1100"/>
            <a:ext cx="9144094" cy="570400"/>
            <a:chOff x="-94" y="1100"/>
            <a:chExt cx="9144094" cy="570400"/>
          </a:xfrm>
        </p:grpSpPr>
        <p:grpSp>
          <p:nvGrpSpPr>
            <p:cNvPr id="1099" name="Google Shape;1099;p22"/>
            <p:cNvGrpSpPr/>
            <p:nvPr/>
          </p:nvGrpSpPr>
          <p:grpSpPr>
            <a:xfrm>
              <a:off x="300" y="1100"/>
              <a:ext cx="9143700" cy="570400"/>
              <a:chOff x="300" y="1100"/>
              <a:chExt cx="9143700" cy="570400"/>
            </a:xfrm>
          </p:grpSpPr>
          <p:sp>
            <p:nvSpPr>
              <p:cNvPr id="1100" name="Google Shape;1100;p22"/>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1" name="Google Shape;1101;p22"/>
              <p:cNvGrpSpPr/>
              <p:nvPr/>
            </p:nvGrpSpPr>
            <p:grpSpPr>
              <a:xfrm flipH="1">
                <a:off x="449825" y="1100"/>
                <a:ext cx="8244106" cy="515409"/>
                <a:chOff x="720050" y="0"/>
                <a:chExt cx="7704052" cy="481646"/>
              </a:xfrm>
            </p:grpSpPr>
            <p:sp>
              <p:nvSpPr>
                <p:cNvPr id="1102" name="Google Shape;1102;p2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2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2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2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2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2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2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2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2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2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2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2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2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2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2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2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2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2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2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2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2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2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2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2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2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2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2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2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2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2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2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2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2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2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2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2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2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2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2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2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2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2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2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2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2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2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2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2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2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2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2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2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2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2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2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2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2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2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2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2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66" name="Google Shape;1166;p22"/>
            <p:cNvGrpSpPr/>
            <p:nvPr/>
          </p:nvGrpSpPr>
          <p:grpSpPr>
            <a:xfrm flipH="1">
              <a:off x="-94" y="1100"/>
              <a:ext cx="449926" cy="515409"/>
              <a:chOff x="7942458" y="0"/>
              <a:chExt cx="420452" cy="481646"/>
            </a:xfrm>
          </p:grpSpPr>
          <p:sp>
            <p:nvSpPr>
              <p:cNvPr id="1167" name="Google Shape;1167;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22"/>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22"/>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 name="Google Shape;1171;p22"/>
            <p:cNvGrpSpPr/>
            <p:nvPr/>
          </p:nvGrpSpPr>
          <p:grpSpPr>
            <a:xfrm flipH="1">
              <a:off x="8693950" y="1100"/>
              <a:ext cx="449923" cy="515409"/>
              <a:chOff x="8003652" y="0"/>
              <a:chExt cx="420450" cy="481646"/>
            </a:xfrm>
          </p:grpSpPr>
          <p:sp>
            <p:nvSpPr>
              <p:cNvPr id="1172" name="Google Shape;1172;p22"/>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22"/>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76" name="Google Shape;1176;p22"/>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177" name="Google Shape;1177;p22"/>
          <p:cNvSpPr txBox="1">
            <a:spLocks noGrp="1"/>
          </p:cNvSpPr>
          <p:nvPr>
            <p:ph type="subTitle" idx="1"/>
          </p:nvPr>
        </p:nvSpPr>
        <p:spPr>
          <a:xfrm>
            <a:off x="4890125" y="3337575"/>
            <a:ext cx="3315300" cy="669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178" name="Google Shape;1178;p22"/>
          <p:cNvGrpSpPr/>
          <p:nvPr/>
        </p:nvGrpSpPr>
        <p:grpSpPr>
          <a:xfrm>
            <a:off x="-16750" y="0"/>
            <a:ext cx="9177500" cy="5143500"/>
            <a:chOff x="-16750" y="0"/>
            <a:chExt cx="9177500" cy="5143500"/>
          </a:xfrm>
        </p:grpSpPr>
        <p:grpSp>
          <p:nvGrpSpPr>
            <p:cNvPr id="1179" name="Google Shape;1179;p22"/>
            <p:cNvGrpSpPr/>
            <p:nvPr/>
          </p:nvGrpSpPr>
          <p:grpSpPr>
            <a:xfrm rot="10800000" flipH="1">
              <a:off x="8693950" y="0"/>
              <a:ext cx="466800" cy="5143500"/>
              <a:chOff x="-16750" y="0"/>
              <a:chExt cx="466800" cy="5143500"/>
            </a:xfrm>
          </p:grpSpPr>
          <p:sp>
            <p:nvSpPr>
              <p:cNvPr id="1180" name="Google Shape;1180;p2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2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2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2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2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2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2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2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2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 name="Google Shape;1189;p22"/>
            <p:cNvGrpSpPr/>
            <p:nvPr/>
          </p:nvGrpSpPr>
          <p:grpSpPr>
            <a:xfrm>
              <a:off x="-16750" y="0"/>
              <a:ext cx="466800" cy="5143500"/>
              <a:chOff x="-16750" y="0"/>
              <a:chExt cx="466800" cy="5143500"/>
            </a:xfrm>
          </p:grpSpPr>
          <p:sp>
            <p:nvSpPr>
              <p:cNvPr id="1190" name="Google Shape;1190;p2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2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2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2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2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2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2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2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2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anks">
  <p:cSld name="CUSTOM_6">
    <p:spTree>
      <p:nvGrpSpPr>
        <p:cNvPr id="1" name="Shape 1199"/>
        <p:cNvGrpSpPr/>
        <p:nvPr/>
      </p:nvGrpSpPr>
      <p:grpSpPr>
        <a:xfrm>
          <a:off x="0" y="0"/>
          <a:ext cx="0" cy="0"/>
          <a:chOff x="0" y="0"/>
          <a:chExt cx="0" cy="0"/>
        </a:xfrm>
      </p:grpSpPr>
      <p:sp>
        <p:nvSpPr>
          <p:cNvPr id="1200" name="Google Shape;1200;p23"/>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sz="45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201" name="Google Shape;1201;p23"/>
          <p:cNvSpPr txBox="1">
            <a:spLocks noGrp="1"/>
          </p:cNvSpPr>
          <p:nvPr>
            <p:ph type="subTitle" idx="1"/>
          </p:nvPr>
        </p:nvSpPr>
        <p:spPr>
          <a:xfrm>
            <a:off x="979975" y="2052590"/>
            <a:ext cx="3477900" cy="1339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202" name="Google Shape;1202;p23"/>
          <p:cNvGrpSpPr/>
          <p:nvPr/>
        </p:nvGrpSpPr>
        <p:grpSpPr>
          <a:xfrm>
            <a:off x="449825" y="1100"/>
            <a:ext cx="8244125" cy="570400"/>
            <a:chOff x="449825" y="1100"/>
            <a:chExt cx="8244125" cy="570400"/>
          </a:xfrm>
        </p:grpSpPr>
        <p:sp>
          <p:nvSpPr>
            <p:cNvPr id="1203" name="Google Shape;1203;p2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1204;p23"/>
            <p:cNvGrpSpPr/>
            <p:nvPr/>
          </p:nvGrpSpPr>
          <p:grpSpPr>
            <a:xfrm flipH="1">
              <a:off x="449825" y="1100"/>
              <a:ext cx="8244106" cy="515409"/>
              <a:chOff x="720050" y="0"/>
              <a:chExt cx="7704052" cy="481646"/>
            </a:xfrm>
          </p:grpSpPr>
          <p:sp>
            <p:nvSpPr>
              <p:cNvPr id="1205" name="Google Shape;1205;p2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2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2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2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2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2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2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2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2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2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2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2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2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2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2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2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2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2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2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2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2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2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2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2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2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2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2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2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2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2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2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2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2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2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1239;p2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1240;p2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2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2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2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2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2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2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2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1251;p2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1252;p2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2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2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2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2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2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1258;p2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1259;p2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1260;p2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2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1262;p2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2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2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2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2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2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2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69" name="Google Shape;1269;p23"/>
          <p:cNvGrpSpPr/>
          <p:nvPr/>
        </p:nvGrpSpPr>
        <p:grpSpPr>
          <a:xfrm>
            <a:off x="-16750" y="0"/>
            <a:ext cx="9177500" cy="5143500"/>
            <a:chOff x="-16750" y="0"/>
            <a:chExt cx="9177500" cy="5143500"/>
          </a:xfrm>
        </p:grpSpPr>
        <p:grpSp>
          <p:nvGrpSpPr>
            <p:cNvPr id="1270" name="Google Shape;1270;p23"/>
            <p:cNvGrpSpPr/>
            <p:nvPr/>
          </p:nvGrpSpPr>
          <p:grpSpPr>
            <a:xfrm rot="10800000" flipH="1">
              <a:off x="8693950" y="0"/>
              <a:ext cx="466800" cy="5143500"/>
              <a:chOff x="-16750" y="0"/>
              <a:chExt cx="466800" cy="5143500"/>
            </a:xfrm>
          </p:grpSpPr>
          <p:sp>
            <p:nvSpPr>
              <p:cNvPr id="1271" name="Google Shape;1271;p2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2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2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2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2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2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2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2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2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 name="Google Shape;1280;p23"/>
            <p:cNvGrpSpPr/>
            <p:nvPr/>
          </p:nvGrpSpPr>
          <p:grpSpPr>
            <a:xfrm>
              <a:off x="-16750" y="0"/>
              <a:ext cx="466800" cy="5143500"/>
              <a:chOff x="-16750" y="0"/>
              <a:chExt cx="466800" cy="5143500"/>
            </a:xfrm>
          </p:grpSpPr>
          <p:sp>
            <p:nvSpPr>
              <p:cNvPr id="1281" name="Google Shape;1281;p2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2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2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2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2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2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2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2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2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290" name="Google Shape;1290;p23"/>
          <p:cNvSpPr txBox="1"/>
          <p:nvPr/>
        </p:nvSpPr>
        <p:spPr>
          <a:xfrm>
            <a:off x="4797125" y="1947625"/>
            <a:ext cx="3253800" cy="7389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CREDITS: This presentation template was created by </a:t>
            </a:r>
            <a:r>
              <a:rPr lang="en" sz="1200">
                <a:solidFill>
                  <a:schemeClr val="dk1"/>
                </a:solidFill>
                <a:uFill>
                  <a:noFill/>
                </a:uFill>
                <a:latin typeface="Jost"/>
                <a:ea typeface="Jost"/>
                <a:cs typeface="Jost"/>
                <a:sym typeface="Jost"/>
                <a:hlinkClick r:id="rId2">
                  <a:extLst>
                    <a:ext uri="{A12FA001-AC4F-418D-AE19-62706E023703}">
                      <ahyp:hlinkClr xmlns:ahyp="http://schemas.microsoft.com/office/drawing/2018/hyperlinkcolor" val="tx"/>
                    </a:ext>
                  </a:extLst>
                </a:hlinkClick>
              </a:rPr>
              <a:t>Slidesgo</a:t>
            </a:r>
            <a:r>
              <a:rPr lang="en" sz="1200">
                <a:solidFill>
                  <a:schemeClr val="dk1"/>
                </a:solidFill>
                <a:latin typeface="Jost"/>
                <a:ea typeface="Jost"/>
                <a:cs typeface="Jost"/>
                <a:sym typeface="Jost"/>
              </a:rPr>
              <a:t>, including icons by </a:t>
            </a:r>
            <a:r>
              <a:rPr lang="en" sz="1200">
                <a:solidFill>
                  <a:schemeClr val="dk1"/>
                </a:solidFill>
                <a:uFill>
                  <a:noFill/>
                </a:uFill>
                <a:latin typeface="Jost"/>
                <a:ea typeface="Jost"/>
                <a:cs typeface="Jost"/>
                <a:sym typeface="Jost"/>
                <a:hlinkClick r:id="rId3">
                  <a:extLst>
                    <a:ext uri="{A12FA001-AC4F-418D-AE19-62706E023703}">
                      <ahyp:hlinkClr xmlns:ahyp="http://schemas.microsoft.com/office/drawing/2018/hyperlinkcolor" val="tx"/>
                    </a:ext>
                  </a:extLst>
                </a:hlinkClick>
              </a:rPr>
              <a:t>Flaticon</a:t>
            </a:r>
            <a:r>
              <a:rPr lang="en" sz="1200">
                <a:solidFill>
                  <a:schemeClr val="dk1"/>
                </a:solidFill>
                <a:latin typeface="Jost"/>
                <a:ea typeface="Jost"/>
                <a:cs typeface="Jost"/>
                <a:sym typeface="Jost"/>
              </a:rPr>
              <a:t> and infographics &amp; images by </a:t>
            </a:r>
            <a:r>
              <a:rPr lang="en" sz="1200">
                <a:solidFill>
                  <a:schemeClr val="dk1"/>
                </a:solidFill>
                <a:uFill>
                  <a:noFill/>
                </a:uFill>
                <a:latin typeface="Jost"/>
                <a:ea typeface="Jost"/>
                <a:cs typeface="Jost"/>
                <a:sym typeface="Jost"/>
                <a:hlinkClick r:id="rId4">
                  <a:extLst>
                    <a:ext uri="{A12FA001-AC4F-418D-AE19-62706E023703}">
                      <ahyp:hlinkClr xmlns:ahyp="http://schemas.microsoft.com/office/drawing/2018/hyperlinkcolor" val="tx"/>
                    </a:ext>
                  </a:extLst>
                </a:hlinkClick>
              </a:rPr>
              <a:t>Freepik</a:t>
            </a:r>
            <a:endParaRPr sz="1200">
              <a:solidFill>
                <a:schemeClr val="dk1"/>
              </a:solidFill>
              <a:latin typeface="Jost"/>
              <a:ea typeface="Jost"/>
              <a:cs typeface="Jost"/>
              <a:sym typeface="Jost"/>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291"/>
        <p:cNvGrpSpPr/>
        <p:nvPr/>
      </p:nvGrpSpPr>
      <p:grpSpPr>
        <a:xfrm>
          <a:off x="0" y="0"/>
          <a:ext cx="0" cy="0"/>
          <a:chOff x="0" y="0"/>
          <a:chExt cx="0" cy="0"/>
        </a:xfrm>
      </p:grpSpPr>
      <p:grpSp>
        <p:nvGrpSpPr>
          <p:cNvPr id="1292" name="Google Shape;1292;p24"/>
          <p:cNvGrpSpPr/>
          <p:nvPr/>
        </p:nvGrpSpPr>
        <p:grpSpPr>
          <a:xfrm>
            <a:off x="-16750" y="0"/>
            <a:ext cx="9177500" cy="5143500"/>
            <a:chOff x="-16750" y="0"/>
            <a:chExt cx="9177500" cy="5143500"/>
          </a:xfrm>
        </p:grpSpPr>
        <p:grpSp>
          <p:nvGrpSpPr>
            <p:cNvPr id="1293" name="Google Shape;1293;p24"/>
            <p:cNvGrpSpPr/>
            <p:nvPr/>
          </p:nvGrpSpPr>
          <p:grpSpPr>
            <a:xfrm rot="10800000" flipH="1">
              <a:off x="8693950" y="0"/>
              <a:ext cx="466800" cy="5143500"/>
              <a:chOff x="-16750" y="0"/>
              <a:chExt cx="466800" cy="5143500"/>
            </a:xfrm>
          </p:grpSpPr>
          <p:sp>
            <p:nvSpPr>
              <p:cNvPr id="1294" name="Google Shape;1294;p2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2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2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2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2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2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2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2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2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 name="Google Shape;1303;p24"/>
            <p:cNvGrpSpPr/>
            <p:nvPr/>
          </p:nvGrpSpPr>
          <p:grpSpPr>
            <a:xfrm>
              <a:off x="-16750" y="0"/>
              <a:ext cx="466800" cy="5143500"/>
              <a:chOff x="-16750" y="0"/>
              <a:chExt cx="466800" cy="5143500"/>
            </a:xfrm>
          </p:grpSpPr>
          <p:sp>
            <p:nvSpPr>
              <p:cNvPr id="1304" name="Google Shape;1304;p2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2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2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2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2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2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2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2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2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13"/>
        <p:cNvGrpSpPr/>
        <p:nvPr/>
      </p:nvGrpSpPr>
      <p:grpSpPr>
        <a:xfrm>
          <a:off x="0" y="0"/>
          <a:ext cx="0" cy="0"/>
          <a:chOff x="0" y="0"/>
          <a:chExt cx="0" cy="0"/>
        </a:xfrm>
      </p:grpSpPr>
      <p:grpSp>
        <p:nvGrpSpPr>
          <p:cNvPr id="1314" name="Google Shape;1314;p25"/>
          <p:cNvGrpSpPr/>
          <p:nvPr/>
        </p:nvGrpSpPr>
        <p:grpSpPr>
          <a:xfrm>
            <a:off x="-94" y="1100"/>
            <a:ext cx="9144094" cy="570400"/>
            <a:chOff x="-94" y="1100"/>
            <a:chExt cx="9144094" cy="570400"/>
          </a:xfrm>
        </p:grpSpPr>
        <p:grpSp>
          <p:nvGrpSpPr>
            <p:cNvPr id="1315" name="Google Shape;1315;p25"/>
            <p:cNvGrpSpPr/>
            <p:nvPr/>
          </p:nvGrpSpPr>
          <p:grpSpPr>
            <a:xfrm>
              <a:off x="300" y="1100"/>
              <a:ext cx="9143700" cy="570400"/>
              <a:chOff x="300" y="1100"/>
              <a:chExt cx="9143700" cy="570400"/>
            </a:xfrm>
          </p:grpSpPr>
          <p:sp>
            <p:nvSpPr>
              <p:cNvPr id="1316" name="Google Shape;1316;p25"/>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7" name="Google Shape;1317;p25"/>
              <p:cNvGrpSpPr/>
              <p:nvPr/>
            </p:nvGrpSpPr>
            <p:grpSpPr>
              <a:xfrm flipH="1">
                <a:off x="449825" y="1100"/>
                <a:ext cx="8244106" cy="515409"/>
                <a:chOff x="720050" y="0"/>
                <a:chExt cx="7704052" cy="481646"/>
              </a:xfrm>
            </p:grpSpPr>
            <p:sp>
              <p:nvSpPr>
                <p:cNvPr id="1318" name="Google Shape;1318;p25"/>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25"/>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25"/>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25"/>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25"/>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25"/>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25"/>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25"/>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25"/>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25"/>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25"/>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25"/>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25"/>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25"/>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25"/>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25"/>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25"/>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25"/>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25"/>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25"/>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25"/>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25"/>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25"/>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25"/>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25"/>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25"/>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25"/>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25"/>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25"/>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25"/>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25"/>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25"/>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25"/>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25"/>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25"/>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25"/>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25"/>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25"/>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25"/>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25"/>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25"/>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25"/>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25"/>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25"/>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25"/>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25"/>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25"/>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25"/>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25"/>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25"/>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25"/>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25"/>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25"/>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25"/>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25"/>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25"/>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25"/>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25"/>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25"/>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25"/>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82" name="Google Shape;1382;p25"/>
            <p:cNvGrpSpPr/>
            <p:nvPr/>
          </p:nvGrpSpPr>
          <p:grpSpPr>
            <a:xfrm flipH="1">
              <a:off x="-94" y="1100"/>
              <a:ext cx="449926" cy="515409"/>
              <a:chOff x="7942458" y="0"/>
              <a:chExt cx="420452" cy="481646"/>
            </a:xfrm>
          </p:grpSpPr>
          <p:sp>
            <p:nvSpPr>
              <p:cNvPr id="1383" name="Google Shape;1383;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25"/>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25"/>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 name="Google Shape;1387;p25"/>
            <p:cNvGrpSpPr/>
            <p:nvPr/>
          </p:nvGrpSpPr>
          <p:grpSpPr>
            <a:xfrm flipH="1">
              <a:off x="8693950" y="1100"/>
              <a:ext cx="449923" cy="515409"/>
              <a:chOff x="8003652" y="0"/>
              <a:chExt cx="420450" cy="481646"/>
            </a:xfrm>
          </p:grpSpPr>
          <p:sp>
            <p:nvSpPr>
              <p:cNvPr id="1388" name="Google Shape;1388;p25"/>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25"/>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395"/>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396"/>
        <p:cNvGrpSpPr/>
        <p:nvPr/>
      </p:nvGrpSpPr>
      <p:grpSpPr>
        <a:xfrm>
          <a:off x="0" y="0"/>
          <a:ext cx="0" cy="0"/>
          <a:chOff x="0" y="0"/>
          <a:chExt cx="0" cy="0"/>
        </a:xfrm>
      </p:grpSpPr>
      <p:sp>
        <p:nvSpPr>
          <p:cNvPr id="1397" name="Google Shape;1397;p28"/>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401"/>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402"/>
        <p:cNvGrpSpPr/>
        <p:nvPr/>
      </p:nvGrpSpPr>
      <p:grpSpPr>
        <a:xfrm>
          <a:off x="0" y="0"/>
          <a:ext cx="0" cy="0"/>
          <a:chOff x="0" y="0"/>
          <a:chExt cx="0" cy="0"/>
        </a:xfrm>
      </p:grpSpPr>
      <p:sp>
        <p:nvSpPr>
          <p:cNvPr id="1403" name="Google Shape;1403;p3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1"/>
        <p:cNvGrpSpPr/>
        <p:nvPr/>
      </p:nvGrpSpPr>
      <p:grpSpPr>
        <a:xfrm>
          <a:off x="0" y="0"/>
          <a:ext cx="0" cy="0"/>
          <a:chOff x="0" y="0"/>
          <a:chExt cx="0" cy="0"/>
        </a:xfrm>
      </p:grpSpPr>
      <p:sp>
        <p:nvSpPr>
          <p:cNvPr id="192" name="Google Shape;192;p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93" name="Google Shape;193;p4"/>
          <p:cNvSpPr txBox="1">
            <a:spLocks noGrp="1"/>
          </p:cNvSpPr>
          <p:nvPr>
            <p:ph type="body" idx="1"/>
          </p:nvPr>
        </p:nvSpPr>
        <p:spPr>
          <a:xfrm>
            <a:off x="720000" y="1152475"/>
            <a:ext cx="3859500" cy="3416400"/>
          </a:xfrm>
          <a:prstGeom prst="rect">
            <a:avLst/>
          </a:prstGeom>
        </p:spPr>
        <p:txBody>
          <a:bodyPr spcFirstLastPara="1" wrap="square" lIns="91425" tIns="91425" rIns="91425" bIns="91425" anchor="t" anchorCtr="0">
            <a:noAutofit/>
          </a:bodyPr>
          <a:lstStyle>
            <a:lvl1pPr marL="457200" lvl="0" indent="-317500">
              <a:lnSpc>
                <a:spcPct val="100000"/>
              </a:lnSpc>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194" name="Google Shape;194;p4"/>
          <p:cNvGrpSpPr/>
          <p:nvPr/>
        </p:nvGrpSpPr>
        <p:grpSpPr>
          <a:xfrm>
            <a:off x="-16750" y="0"/>
            <a:ext cx="9177500" cy="5143500"/>
            <a:chOff x="-16750" y="0"/>
            <a:chExt cx="9177500" cy="5143500"/>
          </a:xfrm>
        </p:grpSpPr>
        <p:grpSp>
          <p:nvGrpSpPr>
            <p:cNvPr id="195" name="Google Shape;195;p4"/>
            <p:cNvGrpSpPr/>
            <p:nvPr/>
          </p:nvGrpSpPr>
          <p:grpSpPr>
            <a:xfrm rot="10800000" flipH="1">
              <a:off x="8693950" y="0"/>
              <a:ext cx="466800" cy="5143500"/>
              <a:chOff x="-16750" y="0"/>
              <a:chExt cx="466800" cy="5143500"/>
            </a:xfrm>
          </p:grpSpPr>
          <p:sp>
            <p:nvSpPr>
              <p:cNvPr id="196" name="Google Shape;196;p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 name="Google Shape;205;p4"/>
            <p:cNvGrpSpPr/>
            <p:nvPr/>
          </p:nvGrpSpPr>
          <p:grpSpPr>
            <a:xfrm>
              <a:off x="-16750" y="0"/>
              <a:ext cx="466800" cy="5143500"/>
              <a:chOff x="-16750" y="0"/>
              <a:chExt cx="466800" cy="5143500"/>
            </a:xfrm>
          </p:grpSpPr>
          <p:sp>
            <p:nvSpPr>
              <p:cNvPr id="206" name="Google Shape;206;p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5"/>
        <p:cNvGrpSpPr/>
        <p:nvPr/>
      </p:nvGrpSpPr>
      <p:grpSpPr>
        <a:xfrm>
          <a:off x="0" y="0"/>
          <a:ext cx="0" cy="0"/>
          <a:chOff x="0" y="0"/>
          <a:chExt cx="0" cy="0"/>
        </a:xfrm>
      </p:grpSpPr>
      <p:sp>
        <p:nvSpPr>
          <p:cNvPr id="216" name="Google Shape;216;p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7" name="Google Shape;217;p5"/>
          <p:cNvSpPr txBox="1">
            <a:spLocks noGrp="1"/>
          </p:cNvSpPr>
          <p:nvPr>
            <p:ph type="title" idx="2"/>
          </p:nvPr>
        </p:nvSpPr>
        <p:spPr>
          <a:xfrm>
            <a:off x="16045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18" name="Google Shape;218;p5"/>
          <p:cNvSpPr txBox="1">
            <a:spLocks noGrp="1"/>
          </p:cNvSpPr>
          <p:nvPr>
            <p:ph type="subTitle" idx="1"/>
          </p:nvPr>
        </p:nvSpPr>
        <p:spPr>
          <a:xfrm>
            <a:off x="16045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219" name="Google Shape;219;p5"/>
          <p:cNvSpPr txBox="1">
            <a:spLocks noGrp="1"/>
          </p:cNvSpPr>
          <p:nvPr>
            <p:ph type="title" idx="3"/>
          </p:nvPr>
        </p:nvSpPr>
        <p:spPr>
          <a:xfrm>
            <a:off x="49727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20" name="Google Shape;220;p5"/>
          <p:cNvSpPr txBox="1">
            <a:spLocks noGrp="1"/>
          </p:cNvSpPr>
          <p:nvPr>
            <p:ph type="subTitle" idx="4"/>
          </p:nvPr>
        </p:nvSpPr>
        <p:spPr>
          <a:xfrm>
            <a:off x="49727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221" name="Google Shape;221;p5"/>
          <p:cNvGrpSpPr/>
          <p:nvPr/>
        </p:nvGrpSpPr>
        <p:grpSpPr>
          <a:xfrm>
            <a:off x="-16750" y="0"/>
            <a:ext cx="9177500" cy="5143500"/>
            <a:chOff x="-16750" y="0"/>
            <a:chExt cx="9177500" cy="5143500"/>
          </a:xfrm>
        </p:grpSpPr>
        <p:grpSp>
          <p:nvGrpSpPr>
            <p:cNvPr id="222" name="Google Shape;222;p5"/>
            <p:cNvGrpSpPr/>
            <p:nvPr/>
          </p:nvGrpSpPr>
          <p:grpSpPr>
            <a:xfrm rot="10800000" flipH="1">
              <a:off x="8693950" y="0"/>
              <a:ext cx="466800" cy="5143500"/>
              <a:chOff x="-16750" y="0"/>
              <a:chExt cx="466800" cy="5143500"/>
            </a:xfrm>
          </p:grpSpPr>
          <p:sp>
            <p:nvSpPr>
              <p:cNvPr id="223" name="Google Shape;223;p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2" name="Google Shape;232;p5"/>
            <p:cNvGrpSpPr/>
            <p:nvPr/>
          </p:nvGrpSpPr>
          <p:grpSpPr>
            <a:xfrm>
              <a:off x="-16750" y="0"/>
              <a:ext cx="466800" cy="5143500"/>
              <a:chOff x="-16750" y="0"/>
              <a:chExt cx="466800" cy="5143500"/>
            </a:xfrm>
          </p:grpSpPr>
          <p:sp>
            <p:nvSpPr>
              <p:cNvPr id="233" name="Google Shape;233;p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E0EB73-D4CA-8249-84E8-EC2D3C4847EA}"/>
              </a:ext>
            </a:extLst>
          </p:cNvPr>
          <p:cNvGraphicFramePr>
            <a:graphicFrameLocks noChangeAspect="1"/>
          </p:cNvGraphicFramePr>
          <p:nvPr userDrawn="1">
            <p:custDataLst>
              <p:tags r:id="rId1"/>
            </p:custDataLst>
            <p:extLst>
              <p:ext uri="{D42A27DB-BD31-4B8C-83A1-F6EECF244321}">
                <p14:modId xmlns:p14="http://schemas.microsoft.com/office/powerpoint/2010/main" val="250140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74E0EB73-D4CA-8249-84E8-EC2D3C484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3" name="Google Shape;243;p6"/>
          <p:cNvSpPr txBox="1">
            <a:spLocks noGrp="1"/>
          </p:cNvSpPr>
          <p:nvPr>
            <p:ph type="title"/>
          </p:nvPr>
        </p:nvSpPr>
        <p:spPr>
          <a:xfrm>
            <a:off x="611592" y="346751"/>
            <a:ext cx="7704000" cy="5727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sz="2000">
                <a:latin typeface="+mj-lt"/>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grpSp>
        <p:nvGrpSpPr>
          <p:cNvPr id="244" name="Google Shape;244;p6"/>
          <p:cNvGrpSpPr/>
          <p:nvPr userDrawn="1"/>
        </p:nvGrpSpPr>
        <p:grpSpPr>
          <a:xfrm>
            <a:off x="-16750" y="-4764"/>
            <a:ext cx="9177500" cy="5148263"/>
            <a:chOff x="-16750" y="-4764"/>
            <a:chExt cx="9177500" cy="5148263"/>
          </a:xfrm>
        </p:grpSpPr>
        <p:grpSp>
          <p:nvGrpSpPr>
            <p:cNvPr id="245" name="Google Shape;245;p6"/>
            <p:cNvGrpSpPr/>
            <p:nvPr/>
          </p:nvGrpSpPr>
          <p:grpSpPr>
            <a:xfrm rot="10800000" flipH="1">
              <a:off x="8693950" y="-4763"/>
              <a:ext cx="466800" cy="5148262"/>
              <a:chOff x="-16750" y="1"/>
              <a:chExt cx="466800" cy="5148262"/>
            </a:xfrm>
          </p:grpSpPr>
          <p:sp>
            <p:nvSpPr>
              <p:cNvPr id="247" name="Google Shape;247;p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6"/>
              <p:cNvSpPr/>
              <p:nvPr/>
            </p:nvSpPr>
            <p:spPr>
              <a:xfrm>
                <a:off x="192814" y="4576763"/>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46;p6">
                <a:extLst>
                  <a:ext uri="{FF2B5EF4-FFF2-40B4-BE49-F238E27FC236}">
                    <a16:creationId xmlns:a16="http://schemas.microsoft.com/office/drawing/2014/main" id="{8A0E0A33-F9C8-7B33-CA92-77AB03200BD2}"/>
                  </a:ext>
                </a:extLst>
              </p:cNvPr>
              <p:cNvSpPr/>
              <p:nvPr userDrawn="1"/>
            </p:nvSpPr>
            <p:spPr>
              <a:xfrm>
                <a:off x="192814" y="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48;p6">
                <a:extLst>
                  <a:ext uri="{FF2B5EF4-FFF2-40B4-BE49-F238E27FC236}">
                    <a16:creationId xmlns:a16="http://schemas.microsoft.com/office/drawing/2014/main" id="{28A33E81-5FB9-E93C-A2A2-A367AD05ACB7}"/>
                  </a:ext>
                </a:extLst>
              </p:cNvPr>
              <p:cNvSpPr/>
              <p:nvPr userDrawn="1"/>
            </p:nvSpPr>
            <p:spPr>
              <a:xfrm>
                <a:off x="192814" y="1143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50;p6">
                <a:extLst>
                  <a:ext uri="{FF2B5EF4-FFF2-40B4-BE49-F238E27FC236}">
                    <a16:creationId xmlns:a16="http://schemas.microsoft.com/office/drawing/2014/main" id="{9B123ADC-AFDA-CA8C-55F0-2D686907E8FA}"/>
                  </a:ext>
                </a:extLst>
              </p:cNvPr>
              <p:cNvSpPr/>
              <p:nvPr userDrawn="1"/>
            </p:nvSpPr>
            <p:spPr>
              <a:xfrm>
                <a:off x="192814" y="2286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52;p6">
                <a:extLst>
                  <a:ext uri="{FF2B5EF4-FFF2-40B4-BE49-F238E27FC236}">
                    <a16:creationId xmlns:a16="http://schemas.microsoft.com/office/drawing/2014/main" id="{15AF7BBF-3EBF-38D7-8A92-F3FBEF06A444}"/>
                  </a:ext>
                </a:extLst>
              </p:cNvPr>
              <p:cNvSpPr/>
              <p:nvPr userDrawn="1"/>
            </p:nvSpPr>
            <p:spPr>
              <a:xfrm>
                <a:off x="192814" y="3429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5" name="Google Shape;255;p6"/>
            <p:cNvGrpSpPr/>
            <p:nvPr/>
          </p:nvGrpSpPr>
          <p:grpSpPr>
            <a:xfrm>
              <a:off x="-16750" y="-4764"/>
              <a:ext cx="466800" cy="5148263"/>
              <a:chOff x="-16750" y="-4764"/>
              <a:chExt cx="466800" cy="5148263"/>
            </a:xfrm>
          </p:grpSpPr>
          <p:sp>
            <p:nvSpPr>
              <p:cNvPr id="257" name="Google Shape;257;p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56;p6">
                <a:extLst>
                  <a:ext uri="{FF2B5EF4-FFF2-40B4-BE49-F238E27FC236}">
                    <a16:creationId xmlns:a16="http://schemas.microsoft.com/office/drawing/2014/main" id="{799C122B-C29D-3AA2-F6AD-35AE17AD27CF}"/>
                  </a:ext>
                </a:extLst>
              </p:cNvPr>
              <p:cNvSpPr/>
              <p:nvPr userDrawn="1"/>
            </p:nvSpPr>
            <p:spPr>
              <a:xfrm rot="10800000" flipH="1">
                <a:off x="-16749" y="4571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58;p6">
                <a:extLst>
                  <a:ext uri="{FF2B5EF4-FFF2-40B4-BE49-F238E27FC236}">
                    <a16:creationId xmlns:a16="http://schemas.microsoft.com/office/drawing/2014/main" id="{AB6E6D1B-DB88-EC65-6CC9-AA015E136D24}"/>
                  </a:ext>
                </a:extLst>
              </p:cNvPr>
              <p:cNvSpPr/>
              <p:nvPr userDrawn="1"/>
            </p:nvSpPr>
            <p:spPr>
              <a:xfrm rot="10800000" flipH="1">
                <a:off x="-16749" y="3428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0;p6">
                <a:extLst>
                  <a:ext uri="{FF2B5EF4-FFF2-40B4-BE49-F238E27FC236}">
                    <a16:creationId xmlns:a16="http://schemas.microsoft.com/office/drawing/2014/main" id="{5EEA4A62-B3B2-35FD-4710-F5625C1B41A3}"/>
                  </a:ext>
                </a:extLst>
              </p:cNvPr>
              <p:cNvSpPr/>
              <p:nvPr userDrawn="1"/>
            </p:nvSpPr>
            <p:spPr>
              <a:xfrm rot="10800000" flipH="1">
                <a:off x="-16749" y="2285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2;p6">
                <a:extLst>
                  <a:ext uri="{FF2B5EF4-FFF2-40B4-BE49-F238E27FC236}">
                    <a16:creationId xmlns:a16="http://schemas.microsoft.com/office/drawing/2014/main" id="{D16AEB41-C2F1-04BC-CCEB-4EE016B68528}"/>
                  </a:ext>
                </a:extLst>
              </p:cNvPr>
              <p:cNvSpPr/>
              <p:nvPr userDrawn="1"/>
            </p:nvSpPr>
            <p:spPr>
              <a:xfrm rot="10800000" flipH="1">
                <a:off x="-16749" y="1142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4;p6">
                <a:extLst>
                  <a:ext uri="{FF2B5EF4-FFF2-40B4-BE49-F238E27FC236}">
                    <a16:creationId xmlns:a16="http://schemas.microsoft.com/office/drawing/2014/main" id="{BE9728C4-6AD9-D806-DB37-32F39C7BA382}"/>
                  </a:ext>
                </a:extLst>
              </p:cNvPr>
              <p:cNvSpPr/>
              <p:nvPr userDrawn="1"/>
            </p:nvSpPr>
            <p:spPr>
              <a:xfrm rot="10800000" flipH="1">
                <a:off x="-16749" y="-4764"/>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65"/>
        <p:cNvGrpSpPr/>
        <p:nvPr/>
      </p:nvGrpSpPr>
      <p:grpSpPr>
        <a:xfrm>
          <a:off x="0" y="0"/>
          <a:ext cx="0" cy="0"/>
          <a:chOff x="0" y="0"/>
          <a:chExt cx="0" cy="0"/>
        </a:xfrm>
      </p:grpSpPr>
      <p:sp>
        <p:nvSpPr>
          <p:cNvPr id="266" name="Google Shape;266;p7"/>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lvl1pPr marL="457200" lvl="0" indent="-317500">
              <a:lnSpc>
                <a:spcPct val="100000"/>
              </a:lnSpc>
              <a:spcBef>
                <a:spcPts val="0"/>
              </a:spcBef>
              <a:spcAft>
                <a:spcPts val="0"/>
              </a:spcAft>
              <a:buClr>
                <a:srgbClr val="595959"/>
              </a:buClr>
              <a:buSzPts val="1400"/>
              <a:buFont typeface="Anaheim"/>
              <a:buChar char="●"/>
              <a:defRPr/>
            </a:lvl1pPr>
            <a:lvl2pPr marL="914400" lvl="1" indent="-317500">
              <a:spcBef>
                <a:spcPts val="0"/>
              </a:spcBef>
              <a:spcAft>
                <a:spcPts val="0"/>
              </a:spcAft>
              <a:buClr>
                <a:srgbClr val="595959"/>
              </a:buClr>
              <a:buSzPts val="1400"/>
              <a:buFont typeface="Anaheim"/>
              <a:buChar char="○"/>
              <a:defRPr sz="1200"/>
            </a:lvl2pPr>
            <a:lvl3pPr marL="1371600" lvl="2" indent="-317500">
              <a:spcBef>
                <a:spcPts val="0"/>
              </a:spcBef>
              <a:spcAft>
                <a:spcPts val="0"/>
              </a:spcAft>
              <a:buClr>
                <a:srgbClr val="595959"/>
              </a:buClr>
              <a:buSzPts val="1400"/>
              <a:buFont typeface="Anaheim"/>
              <a:buChar char="■"/>
              <a:defRPr sz="1200"/>
            </a:lvl3pPr>
            <a:lvl4pPr marL="1828800" lvl="3" indent="-317500">
              <a:spcBef>
                <a:spcPts val="0"/>
              </a:spcBef>
              <a:spcAft>
                <a:spcPts val="0"/>
              </a:spcAft>
              <a:buClr>
                <a:srgbClr val="595959"/>
              </a:buClr>
              <a:buSzPts val="1400"/>
              <a:buFont typeface="Anaheim"/>
              <a:buChar char="●"/>
              <a:defRPr sz="1200"/>
            </a:lvl4pPr>
            <a:lvl5pPr marL="2286000" lvl="4" indent="-317500">
              <a:spcBef>
                <a:spcPts val="0"/>
              </a:spcBef>
              <a:spcAft>
                <a:spcPts val="0"/>
              </a:spcAft>
              <a:buClr>
                <a:srgbClr val="595959"/>
              </a:buClr>
              <a:buSzPts val="1400"/>
              <a:buFont typeface="Anaheim"/>
              <a:buChar char="○"/>
              <a:defRPr sz="1200"/>
            </a:lvl5pPr>
            <a:lvl6pPr marL="2743200" lvl="5" indent="-317500">
              <a:spcBef>
                <a:spcPts val="0"/>
              </a:spcBef>
              <a:spcAft>
                <a:spcPts val="0"/>
              </a:spcAft>
              <a:buClr>
                <a:srgbClr val="595959"/>
              </a:buClr>
              <a:buSzPts val="1400"/>
              <a:buFont typeface="Anaheim"/>
              <a:buChar char="■"/>
              <a:defRPr sz="1200"/>
            </a:lvl6pPr>
            <a:lvl7pPr marL="3200400" lvl="6" indent="-317500">
              <a:spcBef>
                <a:spcPts val="0"/>
              </a:spcBef>
              <a:spcAft>
                <a:spcPts val="0"/>
              </a:spcAft>
              <a:buClr>
                <a:srgbClr val="595959"/>
              </a:buClr>
              <a:buSzPts val="1400"/>
              <a:buFont typeface="Anaheim"/>
              <a:buChar char="●"/>
              <a:defRPr sz="1200"/>
            </a:lvl7pPr>
            <a:lvl8pPr marL="3657600" lvl="7" indent="-317500">
              <a:spcBef>
                <a:spcPts val="0"/>
              </a:spcBef>
              <a:spcAft>
                <a:spcPts val="0"/>
              </a:spcAft>
              <a:buClr>
                <a:srgbClr val="595959"/>
              </a:buClr>
              <a:buSzPts val="1400"/>
              <a:buFont typeface="Anaheim"/>
              <a:buChar char="○"/>
              <a:defRPr sz="1200"/>
            </a:lvl8pPr>
            <a:lvl9pPr marL="4114800" lvl="8" indent="-317500">
              <a:spcBef>
                <a:spcPts val="0"/>
              </a:spcBef>
              <a:spcAft>
                <a:spcPts val="0"/>
              </a:spcAft>
              <a:buClr>
                <a:srgbClr val="595959"/>
              </a:buClr>
              <a:buSzPts val="1400"/>
              <a:buFont typeface="Anaheim"/>
              <a:buChar char="■"/>
              <a:defRPr sz="1200"/>
            </a:lvl9pPr>
          </a:lstStyle>
          <a:p>
            <a:endParaRPr/>
          </a:p>
        </p:txBody>
      </p:sp>
      <p:sp>
        <p:nvSpPr>
          <p:cNvPr id="267" name="Google Shape;267;p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400"/>
              <a:buNone/>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grpSp>
        <p:nvGrpSpPr>
          <p:cNvPr id="268" name="Google Shape;268;p7"/>
          <p:cNvGrpSpPr/>
          <p:nvPr/>
        </p:nvGrpSpPr>
        <p:grpSpPr>
          <a:xfrm>
            <a:off x="-16750" y="0"/>
            <a:ext cx="9177500" cy="5143500"/>
            <a:chOff x="-16750" y="0"/>
            <a:chExt cx="9177500" cy="5143500"/>
          </a:xfrm>
        </p:grpSpPr>
        <p:grpSp>
          <p:nvGrpSpPr>
            <p:cNvPr id="269" name="Google Shape;269;p7"/>
            <p:cNvGrpSpPr/>
            <p:nvPr/>
          </p:nvGrpSpPr>
          <p:grpSpPr>
            <a:xfrm rot="10800000" flipH="1">
              <a:off x="8693950" y="0"/>
              <a:ext cx="466800" cy="5143500"/>
              <a:chOff x="-16750" y="0"/>
              <a:chExt cx="466800" cy="5143500"/>
            </a:xfrm>
          </p:grpSpPr>
          <p:sp>
            <p:nvSpPr>
              <p:cNvPr id="270" name="Google Shape;270;p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9" name="Google Shape;279;p7"/>
            <p:cNvGrpSpPr/>
            <p:nvPr/>
          </p:nvGrpSpPr>
          <p:grpSpPr>
            <a:xfrm>
              <a:off x="-16750" y="0"/>
              <a:ext cx="466800" cy="5143500"/>
              <a:chOff x="-16750" y="0"/>
              <a:chExt cx="466800" cy="5143500"/>
            </a:xfrm>
          </p:grpSpPr>
          <p:sp>
            <p:nvSpPr>
              <p:cNvPr id="280" name="Google Shape;280;p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89"/>
        <p:cNvGrpSpPr/>
        <p:nvPr/>
      </p:nvGrpSpPr>
      <p:grpSpPr>
        <a:xfrm>
          <a:off x="0" y="0"/>
          <a:ext cx="0" cy="0"/>
          <a:chOff x="0" y="0"/>
          <a:chExt cx="0" cy="0"/>
        </a:xfrm>
      </p:grpSpPr>
      <p:grpSp>
        <p:nvGrpSpPr>
          <p:cNvPr id="290" name="Google Shape;290;p8"/>
          <p:cNvGrpSpPr/>
          <p:nvPr/>
        </p:nvGrpSpPr>
        <p:grpSpPr>
          <a:xfrm>
            <a:off x="449825" y="1100"/>
            <a:ext cx="8244125" cy="570400"/>
            <a:chOff x="449825" y="1100"/>
            <a:chExt cx="8244125" cy="570400"/>
          </a:xfrm>
        </p:grpSpPr>
        <p:sp>
          <p:nvSpPr>
            <p:cNvPr id="291" name="Google Shape;291;p8"/>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2" name="Google Shape;292;p8"/>
            <p:cNvGrpSpPr/>
            <p:nvPr/>
          </p:nvGrpSpPr>
          <p:grpSpPr>
            <a:xfrm flipH="1">
              <a:off x="449825" y="1100"/>
              <a:ext cx="8244106" cy="515409"/>
              <a:chOff x="720050" y="0"/>
              <a:chExt cx="7704052" cy="481646"/>
            </a:xfrm>
          </p:grpSpPr>
          <p:sp>
            <p:nvSpPr>
              <p:cNvPr id="293" name="Google Shape;293;p8"/>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8"/>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8"/>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8"/>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8"/>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8"/>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8"/>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8"/>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301;p8"/>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8"/>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8"/>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304;p8"/>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8"/>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8"/>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8"/>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8"/>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8"/>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8"/>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8"/>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312;p8"/>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313;p8"/>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8"/>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8"/>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8"/>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8"/>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8"/>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8"/>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8"/>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8"/>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8"/>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8"/>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8"/>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8"/>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8"/>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8"/>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8"/>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8"/>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8"/>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8"/>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8"/>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8"/>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8"/>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8"/>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8"/>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8"/>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8"/>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339;p8"/>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340;p8"/>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8"/>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8"/>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8"/>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8"/>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8"/>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8"/>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8"/>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8"/>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8"/>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8"/>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8"/>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8"/>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8"/>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8"/>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8"/>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8"/>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57" name="Google Shape;357;p8"/>
          <p:cNvGrpSpPr/>
          <p:nvPr/>
        </p:nvGrpSpPr>
        <p:grpSpPr>
          <a:xfrm rot="10800000" flipH="1">
            <a:off x="8693950" y="0"/>
            <a:ext cx="466800" cy="5143500"/>
            <a:chOff x="-16750" y="0"/>
            <a:chExt cx="466800" cy="5143500"/>
          </a:xfrm>
        </p:grpSpPr>
        <p:sp>
          <p:nvSpPr>
            <p:cNvPr id="358" name="Google Shape;358;p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7" name="Google Shape;367;p8"/>
          <p:cNvGrpSpPr/>
          <p:nvPr/>
        </p:nvGrpSpPr>
        <p:grpSpPr>
          <a:xfrm>
            <a:off x="-16750" y="0"/>
            <a:ext cx="466800" cy="5143500"/>
            <a:chOff x="-16750" y="0"/>
            <a:chExt cx="466800" cy="5143500"/>
          </a:xfrm>
        </p:grpSpPr>
        <p:sp>
          <p:nvSpPr>
            <p:cNvPr id="368" name="Google Shape;368;p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374;p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77" name="Google Shape;377;p8"/>
          <p:cNvSpPr txBox="1">
            <a:spLocks noGrp="1"/>
          </p:cNvSpPr>
          <p:nvPr>
            <p:ph type="title"/>
          </p:nvPr>
        </p:nvSpPr>
        <p:spPr>
          <a:xfrm>
            <a:off x="1388100" y="1567650"/>
            <a:ext cx="6367800" cy="20082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60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78"/>
        <p:cNvGrpSpPr/>
        <p:nvPr/>
      </p:nvGrpSpPr>
      <p:grpSpPr>
        <a:xfrm>
          <a:off x="0" y="0"/>
          <a:ext cx="0" cy="0"/>
          <a:chOff x="0" y="0"/>
          <a:chExt cx="0" cy="0"/>
        </a:xfrm>
      </p:grpSpPr>
      <p:grpSp>
        <p:nvGrpSpPr>
          <p:cNvPr id="379" name="Google Shape;379;p9"/>
          <p:cNvGrpSpPr/>
          <p:nvPr/>
        </p:nvGrpSpPr>
        <p:grpSpPr>
          <a:xfrm>
            <a:off x="-94" y="1100"/>
            <a:ext cx="9144094" cy="570400"/>
            <a:chOff x="-94" y="1100"/>
            <a:chExt cx="9144094" cy="570400"/>
          </a:xfrm>
        </p:grpSpPr>
        <p:grpSp>
          <p:nvGrpSpPr>
            <p:cNvPr id="380" name="Google Shape;380;p9"/>
            <p:cNvGrpSpPr/>
            <p:nvPr/>
          </p:nvGrpSpPr>
          <p:grpSpPr>
            <a:xfrm>
              <a:off x="300" y="1100"/>
              <a:ext cx="9143700" cy="570400"/>
              <a:chOff x="300" y="1100"/>
              <a:chExt cx="9143700" cy="570400"/>
            </a:xfrm>
          </p:grpSpPr>
          <p:sp>
            <p:nvSpPr>
              <p:cNvPr id="381" name="Google Shape;381;p9"/>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2" name="Google Shape;382;p9"/>
              <p:cNvGrpSpPr/>
              <p:nvPr/>
            </p:nvGrpSpPr>
            <p:grpSpPr>
              <a:xfrm flipH="1">
                <a:off x="449825" y="1100"/>
                <a:ext cx="8244106" cy="515409"/>
                <a:chOff x="720050" y="0"/>
                <a:chExt cx="7704052" cy="481646"/>
              </a:xfrm>
            </p:grpSpPr>
            <p:sp>
              <p:nvSpPr>
                <p:cNvPr id="383" name="Google Shape;383;p9"/>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9"/>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9"/>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9"/>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9"/>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9"/>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9"/>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9"/>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9"/>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9"/>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9"/>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9"/>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9"/>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9"/>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9"/>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9"/>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9"/>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9"/>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9"/>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9"/>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9"/>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9"/>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9"/>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9"/>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9"/>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9"/>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9"/>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9"/>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9"/>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9"/>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9"/>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9"/>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9"/>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9"/>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9"/>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9"/>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9"/>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9"/>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9"/>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9"/>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9"/>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9"/>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9"/>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9"/>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9"/>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9"/>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9"/>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9"/>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9"/>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9"/>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9"/>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9"/>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9"/>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9"/>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9"/>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9"/>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9"/>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9"/>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9"/>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9"/>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7" name="Google Shape;447;p9"/>
            <p:cNvGrpSpPr/>
            <p:nvPr/>
          </p:nvGrpSpPr>
          <p:grpSpPr>
            <a:xfrm flipH="1">
              <a:off x="-94" y="1100"/>
              <a:ext cx="449926" cy="515409"/>
              <a:chOff x="7942458" y="0"/>
              <a:chExt cx="420452" cy="481646"/>
            </a:xfrm>
          </p:grpSpPr>
          <p:sp>
            <p:nvSpPr>
              <p:cNvPr id="448" name="Google Shape;448;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9"/>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9"/>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2" name="Google Shape;452;p9"/>
            <p:cNvGrpSpPr/>
            <p:nvPr/>
          </p:nvGrpSpPr>
          <p:grpSpPr>
            <a:xfrm flipH="1">
              <a:off x="8693950" y="1100"/>
              <a:ext cx="449923" cy="515409"/>
              <a:chOff x="8003652" y="0"/>
              <a:chExt cx="420450" cy="481646"/>
            </a:xfrm>
          </p:grpSpPr>
          <p:sp>
            <p:nvSpPr>
              <p:cNvPr id="453" name="Google Shape;453;p9"/>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54;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55;p9"/>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57" name="Google Shape;457;p9"/>
          <p:cNvSpPr txBox="1">
            <a:spLocks noGrp="1"/>
          </p:cNvSpPr>
          <p:nvPr>
            <p:ph type="title"/>
          </p:nvPr>
        </p:nvSpPr>
        <p:spPr>
          <a:xfrm>
            <a:off x="1747188" y="1418745"/>
            <a:ext cx="5649600" cy="765600"/>
          </a:xfrm>
          <a:prstGeom prst="rect">
            <a:avLst/>
          </a:prstGeom>
          <a:noFill/>
        </p:spPr>
        <p:txBody>
          <a:bodyPr spcFirstLastPara="1" wrap="square" lIns="91425" tIns="91425" rIns="91425" bIns="91425" anchor="ctr" anchorCtr="0">
            <a:noAutofit/>
          </a:bodyPr>
          <a:lstStyle>
            <a:lvl1pPr lvl="0" algn="ctr">
              <a:spcBef>
                <a:spcPts val="0"/>
              </a:spcBef>
              <a:spcAft>
                <a:spcPts val="0"/>
              </a:spcAft>
              <a:buSzPts val="4200"/>
              <a:buNone/>
              <a:defRPr sz="4200">
                <a:latin typeface="Krona One"/>
                <a:ea typeface="Krona One"/>
                <a:cs typeface="Krona One"/>
                <a:sym typeface="Krona One"/>
              </a:defRPr>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58" name="Google Shape;458;p9"/>
          <p:cNvSpPr txBox="1">
            <a:spLocks noGrp="1"/>
          </p:cNvSpPr>
          <p:nvPr>
            <p:ph type="subTitle" idx="1"/>
          </p:nvPr>
        </p:nvSpPr>
        <p:spPr>
          <a:xfrm>
            <a:off x="1747213" y="2285950"/>
            <a:ext cx="5649600" cy="673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a:solidFill>
                  <a:schemeClr val="dk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59"/>
        <p:cNvGrpSpPr/>
        <p:nvPr/>
      </p:nvGrpSpPr>
      <p:grpSpPr>
        <a:xfrm>
          <a:off x="0" y="0"/>
          <a:ext cx="0" cy="0"/>
          <a:chOff x="0" y="0"/>
          <a:chExt cx="0" cy="0"/>
        </a:xfrm>
      </p:grpSpPr>
      <p:grpSp>
        <p:nvGrpSpPr>
          <p:cNvPr id="460" name="Google Shape;460;p10"/>
          <p:cNvGrpSpPr/>
          <p:nvPr/>
        </p:nvGrpSpPr>
        <p:grpSpPr>
          <a:xfrm>
            <a:off x="-94" y="1100"/>
            <a:ext cx="9144094" cy="570400"/>
            <a:chOff x="-94" y="1100"/>
            <a:chExt cx="9144094" cy="570400"/>
          </a:xfrm>
        </p:grpSpPr>
        <p:grpSp>
          <p:nvGrpSpPr>
            <p:cNvPr id="461" name="Google Shape;461;p10"/>
            <p:cNvGrpSpPr/>
            <p:nvPr/>
          </p:nvGrpSpPr>
          <p:grpSpPr>
            <a:xfrm>
              <a:off x="300" y="1100"/>
              <a:ext cx="9143700" cy="570400"/>
              <a:chOff x="300" y="1100"/>
              <a:chExt cx="9143700" cy="570400"/>
            </a:xfrm>
          </p:grpSpPr>
          <p:sp>
            <p:nvSpPr>
              <p:cNvPr id="462" name="Google Shape;462;p10"/>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3" name="Google Shape;463;p10"/>
              <p:cNvGrpSpPr/>
              <p:nvPr/>
            </p:nvGrpSpPr>
            <p:grpSpPr>
              <a:xfrm flipH="1">
                <a:off x="449825" y="1100"/>
                <a:ext cx="8244106" cy="515409"/>
                <a:chOff x="720050" y="0"/>
                <a:chExt cx="7704052" cy="481646"/>
              </a:xfrm>
            </p:grpSpPr>
            <p:sp>
              <p:nvSpPr>
                <p:cNvPr id="464" name="Google Shape;464;p10"/>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10"/>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10"/>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10"/>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10"/>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10"/>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10"/>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10"/>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10"/>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10"/>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10"/>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10"/>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10"/>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10"/>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10"/>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10"/>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10"/>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10"/>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10"/>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10"/>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10"/>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485;p10"/>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486;p10"/>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87;p10"/>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10"/>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10"/>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10"/>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491;p10"/>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10"/>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10"/>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10"/>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10"/>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10"/>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10"/>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10"/>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10"/>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10"/>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10"/>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2;p10"/>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03;p10"/>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04;p10"/>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05;p10"/>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06;p10"/>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07;p10"/>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08;p10"/>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10"/>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10"/>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10"/>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10"/>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10"/>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10"/>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10"/>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10"/>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10"/>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10"/>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10"/>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10"/>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10"/>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10"/>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10"/>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8" name="Google Shape;528;p10"/>
            <p:cNvGrpSpPr/>
            <p:nvPr/>
          </p:nvGrpSpPr>
          <p:grpSpPr>
            <a:xfrm flipH="1">
              <a:off x="-94" y="1100"/>
              <a:ext cx="449926" cy="515409"/>
              <a:chOff x="7942458" y="0"/>
              <a:chExt cx="420452" cy="481646"/>
            </a:xfrm>
          </p:grpSpPr>
          <p:sp>
            <p:nvSpPr>
              <p:cNvPr id="529" name="Google Shape;529;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10"/>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10"/>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3" name="Google Shape;533;p10"/>
            <p:cNvGrpSpPr/>
            <p:nvPr/>
          </p:nvGrpSpPr>
          <p:grpSpPr>
            <a:xfrm flipH="1">
              <a:off x="8693950" y="1100"/>
              <a:ext cx="449923" cy="515409"/>
              <a:chOff x="8003652" y="0"/>
              <a:chExt cx="420450" cy="481646"/>
            </a:xfrm>
          </p:grpSpPr>
          <p:sp>
            <p:nvSpPr>
              <p:cNvPr id="534" name="Google Shape;534;p10"/>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36;p10"/>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38" name="Google Shape;538;p10"/>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lvl1pPr marL="457200" lvl="0" indent="-228600" algn="ctr">
              <a:lnSpc>
                <a:spcPct val="100000"/>
              </a:lnSpc>
              <a:spcBef>
                <a:spcPts val="0"/>
              </a:spcBef>
              <a:spcAft>
                <a:spcPts val="0"/>
              </a:spcAft>
              <a:buSzPts val="1400"/>
              <a:buNone/>
              <a:defRPr sz="2800"/>
            </a:lvl1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41A10A-B1CD-E03F-8DB1-E45C8F3819EE}"/>
              </a:ext>
            </a:extLst>
          </p:cNvPr>
          <p:cNvGraphicFramePr>
            <a:graphicFrameLocks noChangeAspect="1"/>
          </p:cNvGraphicFramePr>
          <p:nvPr userDrawn="1">
            <p:custDataLst>
              <p:tags r:id="rId25"/>
            </p:custDataLst>
            <p:extLst>
              <p:ext uri="{D42A27DB-BD31-4B8C-83A1-F6EECF244321}">
                <p14:modId xmlns:p14="http://schemas.microsoft.com/office/powerpoint/2010/main" val="233302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6" imgH="426" progId="TCLayout.ActiveDocument.1">
                  <p:embed/>
                </p:oleObj>
              </mc:Choice>
              <mc:Fallback>
                <p:oleObj name="think-cell Slide" r:id="rId26" imgW="426" imgH="426" progId="TCLayout.ActiveDocument.1">
                  <p:embed/>
                  <p:pic>
                    <p:nvPicPr>
                      <p:cNvPr id="2" name="think-cell data - do not delete" hidden="1">
                        <a:extLst>
                          <a:ext uri="{FF2B5EF4-FFF2-40B4-BE49-F238E27FC236}">
                            <a16:creationId xmlns:a16="http://schemas.microsoft.com/office/drawing/2014/main" id="{D341A10A-B1CD-E03F-8DB1-E45C8F3819E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2800"/>
              <a:buFont typeface="Krona One"/>
              <a:buNone/>
              <a:defRPr sz="2800">
                <a:solidFill>
                  <a:schemeClr val="dk1"/>
                </a:solidFill>
                <a:latin typeface="Krona One"/>
                <a:ea typeface="Krona One"/>
                <a:cs typeface="Krona One"/>
                <a:sym typeface="Krona One"/>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20000" y="1152475"/>
            <a:ext cx="7704000" cy="3416400"/>
          </a:xfrm>
          <a:prstGeom prst="rect">
            <a:avLst/>
          </a:prstGeom>
          <a:noFill/>
          <a:ln>
            <a:noFill/>
          </a:ln>
        </p:spPr>
        <p:txBody>
          <a:bodyPr spcFirstLastPara="1" wrap="square" lIns="91425" tIns="91425" rIns="91425" bIns="91425" anchor="ctr" anchorCtr="0">
            <a:noAutofit/>
          </a:bodyPr>
          <a:lstStyle>
            <a:lvl1pPr marL="457200" lvl="0"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1pPr>
            <a:lvl2pPr marL="914400" lvl="1"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2pPr>
            <a:lvl3pPr marL="1371600" lvl="2"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3pPr>
            <a:lvl4pPr marL="1828800" lvl="3"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4pPr>
            <a:lvl5pPr marL="2286000" lvl="4"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5pPr>
            <a:lvl6pPr marL="2743200" lvl="5"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6pPr>
            <a:lvl7pPr marL="3200400" lvl="6"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7pPr>
            <a:lvl8pPr marL="3657600" lvl="7"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8pPr>
            <a:lvl9pPr marL="4114800" lvl="8"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668DDB-FC0C-826B-DA8A-C2C1945F9FE1}"/>
              </a:ext>
            </a:extLst>
          </p:cNvPr>
          <p:cNvGraphicFramePr>
            <a:graphicFrameLocks noChangeAspect="1"/>
          </p:cNvGraphicFramePr>
          <p:nvPr userDrawn="1">
            <p:custDataLst>
              <p:tags r:id="rId4"/>
            </p:custDataLst>
            <p:extLst>
              <p:ext uri="{D42A27DB-BD31-4B8C-83A1-F6EECF244321}">
                <p14:modId xmlns:p14="http://schemas.microsoft.com/office/powerpoint/2010/main" val="29364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668DDB-FC0C-826B-DA8A-C2C1945F9F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3" name="Google Shape;1393;p26"/>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None/>
              <a:defRPr sz="2400">
                <a:solidFill>
                  <a:srgbClr val="FFFFFF"/>
                </a:solidFill>
              </a:defRPr>
            </a:lvl1pPr>
            <a:lvl2pPr lvl="1" algn="ctr" rtl="0">
              <a:spcBef>
                <a:spcPts val="0"/>
              </a:spcBef>
              <a:spcAft>
                <a:spcPts val="0"/>
              </a:spcAft>
              <a:buClr>
                <a:srgbClr val="FFFFFF"/>
              </a:buClr>
              <a:buSzPts val="2400"/>
              <a:buNone/>
              <a:defRPr sz="2400">
                <a:solidFill>
                  <a:srgbClr val="FFFFFF"/>
                </a:solidFill>
              </a:defRPr>
            </a:lvl2pPr>
            <a:lvl3pPr lvl="2" algn="ctr" rtl="0">
              <a:spcBef>
                <a:spcPts val="0"/>
              </a:spcBef>
              <a:spcAft>
                <a:spcPts val="0"/>
              </a:spcAft>
              <a:buClr>
                <a:srgbClr val="FFFFFF"/>
              </a:buClr>
              <a:buSzPts val="2400"/>
              <a:buNone/>
              <a:defRPr sz="2400">
                <a:solidFill>
                  <a:srgbClr val="FFFFFF"/>
                </a:solidFill>
              </a:defRPr>
            </a:lvl3pPr>
            <a:lvl4pPr lvl="3" algn="ctr" rtl="0">
              <a:spcBef>
                <a:spcPts val="0"/>
              </a:spcBef>
              <a:spcAft>
                <a:spcPts val="0"/>
              </a:spcAft>
              <a:buClr>
                <a:srgbClr val="FFFFFF"/>
              </a:buClr>
              <a:buSzPts val="2400"/>
              <a:buNone/>
              <a:defRPr sz="2400">
                <a:solidFill>
                  <a:srgbClr val="FFFFFF"/>
                </a:solidFill>
              </a:defRPr>
            </a:lvl4pPr>
            <a:lvl5pPr lvl="4" algn="ctr" rtl="0">
              <a:spcBef>
                <a:spcPts val="0"/>
              </a:spcBef>
              <a:spcAft>
                <a:spcPts val="0"/>
              </a:spcAft>
              <a:buClr>
                <a:srgbClr val="FFFFFF"/>
              </a:buClr>
              <a:buSzPts val="2400"/>
              <a:buNone/>
              <a:defRPr sz="2400">
                <a:solidFill>
                  <a:srgbClr val="FFFFFF"/>
                </a:solidFill>
              </a:defRPr>
            </a:lvl5pPr>
            <a:lvl6pPr lvl="5" algn="ctr" rtl="0">
              <a:spcBef>
                <a:spcPts val="0"/>
              </a:spcBef>
              <a:spcAft>
                <a:spcPts val="0"/>
              </a:spcAft>
              <a:buClr>
                <a:srgbClr val="FFFFFF"/>
              </a:buClr>
              <a:buSzPts val="2400"/>
              <a:buNone/>
              <a:defRPr sz="2400">
                <a:solidFill>
                  <a:srgbClr val="FFFFFF"/>
                </a:solidFill>
              </a:defRPr>
            </a:lvl6pPr>
            <a:lvl7pPr lvl="6" algn="ctr" rtl="0">
              <a:spcBef>
                <a:spcPts val="0"/>
              </a:spcBef>
              <a:spcAft>
                <a:spcPts val="0"/>
              </a:spcAft>
              <a:buClr>
                <a:srgbClr val="FFFFFF"/>
              </a:buClr>
              <a:buSzPts val="2400"/>
              <a:buNone/>
              <a:defRPr sz="2400">
                <a:solidFill>
                  <a:srgbClr val="FFFFFF"/>
                </a:solidFill>
              </a:defRPr>
            </a:lvl7pPr>
            <a:lvl8pPr lvl="7" algn="ctr" rtl="0">
              <a:spcBef>
                <a:spcPts val="0"/>
              </a:spcBef>
              <a:spcAft>
                <a:spcPts val="0"/>
              </a:spcAft>
              <a:buClr>
                <a:srgbClr val="FFFFFF"/>
              </a:buClr>
              <a:buSzPts val="2400"/>
              <a:buNone/>
              <a:defRPr sz="2400">
                <a:solidFill>
                  <a:srgbClr val="FFFFFF"/>
                </a:solidFill>
              </a:defRPr>
            </a:lvl8pPr>
            <a:lvl9pPr lvl="8" algn="ctr" rtl="0">
              <a:spcBef>
                <a:spcPts val="0"/>
              </a:spcBef>
              <a:spcAft>
                <a:spcPts val="0"/>
              </a:spcAft>
              <a:buClr>
                <a:srgbClr val="FFFFFF"/>
              </a:buClr>
              <a:buSzPts val="2400"/>
              <a:buNone/>
              <a:defRPr sz="2400">
                <a:solidFill>
                  <a:srgbClr val="FFFFFF"/>
                </a:solidFill>
              </a:defRPr>
            </a:lvl9pPr>
          </a:lstStyle>
          <a:p>
            <a:endParaRPr/>
          </a:p>
        </p:txBody>
      </p:sp>
      <p:sp>
        <p:nvSpPr>
          <p:cNvPr id="1394" name="Google Shape;1394;p26"/>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2" r:id="rId1"/>
    <p:sldLayoutId id="214748367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2CCBB7-346A-5A39-1081-519F7BB9BD22}"/>
              </a:ext>
            </a:extLst>
          </p:cNvPr>
          <p:cNvGraphicFramePr>
            <a:graphicFrameLocks noChangeAspect="1"/>
          </p:cNvGraphicFramePr>
          <p:nvPr userDrawn="1">
            <p:custDataLst>
              <p:tags r:id="rId4"/>
            </p:custDataLst>
            <p:extLst>
              <p:ext uri="{D42A27DB-BD31-4B8C-83A1-F6EECF244321}">
                <p14:modId xmlns:p14="http://schemas.microsoft.com/office/powerpoint/2010/main" val="300039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2CCBB7-346A-5A39-1081-519F7BB9BD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9" name="Google Shape;1399;p29"/>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400" name="Google Shape;1400;p29"/>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 id="214748367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slide" Target="slide47.xml"/><Relationship Id="rId13" Type="http://schemas.openxmlformats.org/officeDocument/2006/relationships/hyperlink" Target="https://www.flaticon.com/?utm_source=slidesgo_template&amp;utm_medium=referral-link&amp;utm_campaign=promo-slide&amp;utm_term=slidesgo&amp;utm_content=flaticon" TargetMode="External"/><Relationship Id="rId3" Type="http://schemas.openxmlformats.org/officeDocument/2006/relationships/slide" Target="slide39.xml"/><Relationship Id="rId7" Type="http://schemas.openxmlformats.org/officeDocument/2006/relationships/slide" Target="slide41.xml"/><Relationship Id="rId12" Type="http://schemas.openxmlformats.org/officeDocument/2006/relationships/hyperlink" Target="https://www.freepik.com/?utm_source=slidesgo_template&amp;utm_medium=referral-link&amp;utm_campaign=promo-slide&amp;utm_term=slidesgo&amp;utm_content=freepik" TargetMode="External"/><Relationship Id="rId2" Type="http://schemas.openxmlformats.org/officeDocument/2006/relationships/notesSlide" Target="../notesSlides/notesSlide4.xml"/><Relationship Id="rId16" Type="http://schemas.openxmlformats.org/officeDocument/2006/relationships/hyperlink" Target="https://www.videvo.net/?utm_source=slidesgo_template&amp;utm_medium=referral-link&amp;utm_campaign=sg_resources&amp;utm_content=videvo" TargetMode="External"/><Relationship Id="rId1" Type="http://schemas.openxmlformats.org/officeDocument/2006/relationships/slideLayout" Target="../slideLayouts/slideLayout5.xml"/><Relationship Id="rId6" Type="http://schemas.openxmlformats.org/officeDocument/2006/relationships/slide" Target="slide34.xml"/><Relationship Id="rId11" Type="http://schemas.openxmlformats.org/officeDocument/2006/relationships/hyperlink" Target="http://bit.ly/33VAFh3" TargetMode="External"/><Relationship Id="rId5" Type="http://schemas.openxmlformats.org/officeDocument/2006/relationships/slide" Target="slide35.xml"/><Relationship Id="rId15" Type="http://schemas.openxmlformats.org/officeDocument/2006/relationships/hyperlink" Target="https://wepik.com/?utm_source=slidesgo_template&amp;utm_medium=referral-link&amp;utm_campaign=promo-slide&amp;utm_term=slidesgo&amp;utm_content=wepik" TargetMode="External"/><Relationship Id="rId10" Type="http://schemas.openxmlformats.org/officeDocument/2006/relationships/hyperlink" Target="http://bit.ly/30B07Gq" TargetMode="External"/><Relationship Id="rId4" Type="http://schemas.openxmlformats.org/officeDocument/2006/relationships/slide" Target="slide36.xml"/><Relationship Id="rId9" Type="http://schemas.openxmlformats.org/officeDocument/2006/relationships/hyperlink" Target="http://bit.ly/2Tynxth" TargetMode="External"/><Relationship Id="rId14" Type="http://schemas.openxmlformats.org/officeDocument/2006/relationships/hyperlink" Target="https://storyset.com/?utm_source=slidesgo_template&amp;utm_medium=referral-link&amp;utm_campaign=promo-slide&amp;utm_term=slidesgo&amp;utm_content=storyse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docs.google.com/spreadsheets/d/1w5VO4oltV_iqiRd7tBvk1viBn5RN6v5Q0y8iTVAP014/copy#gid=0" TargetMode="External"/><Relationship Id="rId2" Type="http://schemas.openxmlformats.org/officeDocument/2006/relationships/notesSlide" Target="../notesSlides/notesSlide17.xml"/><Relationship Id="rId1" Type="http://schemas.openxmlformats.org/officeDocument/2006/relationships/slideLayout" Target="../slideLayouts/slideLayout18.xml"/><Relationship Id="rId5" Type="http://schemas.openxmlformats.org/officeDocument/2006/relationships/hyperlink" Target="https://slidesgo.com/slidesgo-school/presentation-tips/how-to-modify-a-graph-in-our-templates?utm_source=slidesgo_template&amp;utm_medium=referral-link&amp;utm_campaign=how-to-modify-a-graph-in-our-templates&amp;utm_term=slidesgo-school&amp;utm_content=how-to-modify-a-graph-in-our-templates" TargetMode="Externa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5.xml"/><Relationship Id="rId1" Type="http://schemas.openxmlformats.org/officeDocument/2006/relationships/slideLayout" Target="../slideLayouts/slideLayout15.xml"/><Relationship Id="rId5" Type="http://schemas.openxmlformats.org/officeDocument/2006/relationships/image" Target="../media/image22.jpg"/><Relationship Id="rId4" Type="http://schemas.openxmlformats.org/officeDocument/2006/relationships/image" Target="../media/image21.jpg"/></Relationships>
</file>

<file path=ppt/slides/_rels/slide3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s://www.freepik.com/free-photo/street-signs-closeup_5180650.htm#page=2&amp;query=TIRES%20ROAD%20FREEPIK&amp;position=43&amp;from_view=search/?utm_source=slidesgo_template&amp;utm_medium=referral-link&amp;utm_campaign=sg_resources&amp;utm_content=freepik" TargetMode="External"/><Relationship Id="rId7"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hyperlink" Target="https://www.freepik.com/free-vector/formula-1-racing-car-collection_2677654.htm#&amp;position=6&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road_5752356.htm#&amp;position=1&amp;from_view=collections/?utm_source=slidesgo_template&amp;utm_medium=referral-link&amp;utm_campaign=sg_resources&amp;utm_content=freepik"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freepik.com/free-photo/multiple-alined-tires-road_5752357.htm#&amp;position=3&amp;from_view=collections/?utm_source=slidesgo_template&amp;utm_medium=referral-link&amp;utm_campaign=sg_resources&amp;utm_content=freepik"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hyperlink" Target="https://www.freepik.com/free-vector/formula-1-racing-car-set_2677655.htm#&amp;position=4&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asphalt_5752364.htm#&amp;position=2&amp;from_view=collections/?utm_source=slidesgo_template&amp;utm_medium=referral-link&amp;utm_campaign=sg_resources&amp;utm_content=freepik"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bit.ly/33VAFh3" TargetMode="External"/><Relationship Id="rId2" Type="http://schemas.openxmlformats.org/officeDocument/2006/relationships/notesSlide" Target="../notesSlides/notesSlide30.xml"/><Relationship Id="rId1" Type="http://schemas.openxmlformats.org/officeDocument/2006/relationships/slideLayout" Target="../slideLayouts/slideLayout25.xml"/><Relationship Id="rId6" Type="http://schemas.openxmlformats.org/officeDocument/2006/relationships/slide" Target="slide34.xml"/><Relationship Id="rId5" Type="http://schemas.openxmlformats.org/officeDocument/2006/relationships/hyperlink" Target="http://bit.ly/2PfT4lq" TargetMode="External"/><Relationship Id="rId4" Type="http://schemas.openxmlformats.org/officeDocument/2006/relationships/hyperlink" Target="http://bit.ly/30B07Gq"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31.xml"/><Relationship Id="rId1" Type="http://schemas.openxmlformats.org/officeDocument/2006/relationships/slideLayout" Target="../slideLayouts/slideLayout25.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34.xml"/></Relationships>
</file>

<file path=ppt/slides/_rels/slide39.xml.rels><?xml version="1.0" encoding="UTF-8" standalone="yes"?>
<Relationships xmlns="http://schemas.openxmlformats.org/package/2006/relationships"><Relationship Id="rId3" Type="http://schemas.openxmlformats.org/officeDocument/2006/relationships/hyperlink" Target="https://fonts.google.com/specimen/Krona+One" TargetMode="External"/><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hyperlink" Target="https://fonts.google.com/specimen/Jost"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hyperlink" Target="https://storyset.com/rafiki?utm_source=slidesgo_template&amp;utm_medium=referral-link&amp;utm_campaign=slidesgo_final_slides&amp;utm_term=rafiki&amp;utm_content=storyset" TargetMode="External"/><Relationship Id="rId13" Type="http://schemas.openxmlformats.org/officeDocument/2006/relationships/hyperlink" Target="https://storyset.com/cuate?utm_source=slidesgo_template&amp;utm_medium=referral-link&amp;utm_campaign=slidesgo_final_slides&amp;utm_term=cuate&amp;utm_content=storyset" TargetMode="External"/><Relationship Id="rId3" Type="http://schemas.openxmlformats.org/officeDocument/2006/relationships/hyperlink" Target="https://storyset.com/how-it-works?utm_source=slidesgo_template&amp;utm_medium=referral-link&amp;utm_campaign=slidesgo_final_slides&amp;utm_term=how%20it%20works&amp;utm_content=storyset" TargetMode="External"/><Relationship Id="rId7" Type="http://schemas.openxmlformats.org/officeDocument/2006/relationships/hyperlink" Target="https://storyset.com/bro?utm_source=slidesgo_template&amp;utm_medium=referral-link&amp;utm_campaign=slidesgo_final_slides&amp;utm_term=bro&amp;utm_content=storyset" TargetMode="External"/><Relationship Id="rId12"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25.xml"/><Relationship Id="rId6" Type="http://schemas.openxmlformats.org/officeDocument/2006/relationships/hyperlink" Target="https://storyset.com/amico?utm_source=slidesgo_template&amp;utm_medium=referral-link&amp;utm_campaign=slidesgo_final_slides&amp;utm_term=amico&amp;utm_content=storyset" TargetMode="External"/><Relationship Id="rId11" Type="http://schemas.openxmlformats.org/officeDocument/2006/relationships/image" Target="../media/image30.png"/><Relationship Id="rId5" Type="http://schemas.openxmlformats.org/officeDocument/2006/relationships/hyperlink" Target="https://storyset.com/pana?utm_source=slidesgo_template&amp;utm_medium=referral-link&amp;utm_campaign=slidesgo_final_slides&amp;utm_term=pana&amp;utm_content=storyset" TargetMode="External"/><Relationship Id="rId10" Type="http://schemas.openxmlformats.org/officeDocument/2006/relationships/image" Target="../media/image29.png"/><Relationship Id="rId4" Type="http://schemas.openxmlformats.org/officeDocument/2006/relationships/image" Target="../media/image27.png"/><Relationship Id="rId9"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7.xml"/><Relationship Id="rId1" Type="http://schemas.openxmlformats.org/officeDocument/2006/relationships/slideLayout" Target="../slideLayouts/slideLayout26.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12.bin"/><Relationship Id="rId9" Type="http://schemas.openxmlformats.org/officeDocument/2006/relationships/image" Target="../media/image8.sv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3.xml"/><Relationship Id="rId7" Type="http://schemas.openxmlformats.org/officeDocument/2006/relationships/image" Target="../media/image12.sv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2.emf"/><Relationship Id="rId10" Type="http://schemas.openxmlformats.org/officeDocument/2006/relationships/image" Target="../media/image4.png"/><Relationship Id="rId4" Type="http://schemas.openxmlformats.org/officeDocument/2006/relationships/oleObject" Target="../embeddings/oleObject13.bin"/><Relationship Id="rId9" Type="http://schemas.openxmlformats.org/officeDocument/2006/relationships/image" Target="../media/image14.sv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CAC3A5-1CE5-7CB5-5909-599762BDC66F}"/>
              </a:ext>
            </a:extLst>
          </p:cNvPr>
          <p:cNvGraphicFramePr>
            <a:graphicFrameLocks noChangeAspect="1"/>
          </p:cNvGraphicFramePr>
          <p:nvPr>
            <p:custDataLst>
              <p:tags r:id="rId1"/>
            </p:custDataLst>
            <p:extLst>
              <p:ext uri="{D42A27DB-BD31-4B8C-83A1-F6EECF244321}">
                <p14:modId xmlns:p14="http://schemas.microsoft.com/office/powerpoint/2010/main" val="39957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57CAC3A5-1CE5-7CB5-5909-599762BDC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08" name="Google Shape;1408;p32"/>
          <p:cNvGrpSpPr/>
          <p:nvPr/>
        </p:nvGrpSpPr>
        <p:grpSpPr>
          <a:xfrm>
            <a:off x="1407020" y="3362633"/>
            <a:ext cx="1221300" cy="570400"/>
            <a:chOff x="670175" y="3809850"/>
            <a:chExt cx="1221300" cy="570400"/>
          </a:xfrm>
        </p:grpSpPr>
        <p:cxnSp>
          <p:nvCxnSpPr>
            <p:cNvPr id="1409" name="Google Shape;1409;p32"/>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0" name="Google Shape;1410;p32"/>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1" name="Google Shape;1411;p32"/>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12" name="Google Shape;1412;p32"/>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13" name="Google Shape;1413;p32"/>
          <p:cNvPicPr preferRelativeResize="0"/>
          <p:nvPr/>
        </p:nvPicPr>
        <p:blipFill rotWithShape="1">
          <a:blip r:embed="rId6">
            <a:alphaModFix/>
          </a:blip>
          <a:srcRect l="2922" t="3652" b="22262"/>
          <a:stretch/>
        </p:blipFill>
        <p:spPr>
          <a:xfrm>
            <a:off x="2260799" y="3313533"/>
            <a:ext cx="4622403" cy="1035226"/>
          </a:xfrm>
          <a:prstGeom prst="rect">
            <a:avLst/>
          </a:prstGeom>
          <a:noFill/>
          <a:ln>
            <a:noFill/>
          </a:ln>
        </p:spPr>
      </p:pic>
      <p:sp>
        <p:nvSpPr>
          <p:cNvPr id="1414" name="Google Shape;1414;p32"/>
          <p:cNvSpPr txBox="1">
            <a:spLocks noGrp="1"/>
          </p:cNvSpPr>
          <p:nvPr>
            <p:ph type="ctrTitle"/>
          </p:nvPr>
        </p:nvSpPr>
        <p:spPr>
          <a:xfrm>
            <a:off x="720000" y="907380"/>
            <a:ext cx="7704000" cy="1680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600" dirty="0"/>
              <a:t>Data Analytics Project: Formula 1</a:t>
            </a:r>
            <a:endParaRPr sz="3600" dirty="0"/>
          </a:p>
        </p:txBody>
      </p:sp>
      <p:sp>
        <p:nvSpPr>
          <p:cNvPr id="1415" name="Google Shape;1415;p32"/>
          <p:cNvSpPr txBox="1">
            <a:spLocks noGrp="1"/>
          </p:cNvSpPr>
          <p:nvPr>
            <p:ph type="subTitle" idx="1"/>
          </p:nvPr>
        </p:nvSpPr>
        <p:spPr>
          <a:xfrm>
            <a:off x="995550" y="2470406"/>
            <a:ext cx="7152900" cy="410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dirty="0"/>
              <a:t>Moritz Baldauf, Anna </a:t>
            </a:r>
            <a:r>
              <a:rPr lang="en-US" dirty="0" err="1"/>
              <a:t>Fábián</a:t>
            </a:r>
            <a:r>
              <a:rPr lang="en-US" dirty="0"/>
              <a:t>, </a:t>
            </a:r>
            <a:r>
              <a:rPr lang="en-US" dirty="0" err="1"/>
              <a:t>Bolormaa</a:t>
            </a:r>
            <a:r>
              <a:rPr lang="en-US" dirty="0"/>
              <a:t> </a:t>
            </a:r>
            <a:r>
              <a:rPr lang="en-US" dirty="0" err="1"/>
              <a:t>Munkh</a:t>
            </a:r>
            <a:r>
              <a:rPr lang="en-US" dirty="0"/>
              <a:t>-Erdene, </a:t>
            </a:r>
            <a:r>
              <a:rPr lang="en-US" dirty="0" err="1"/>
              <a:t>Wiktor</a:t>
            </a:r>
            <a:r>
              <a:rPr lang="en-US" dirty="0"/>
              <a:t> </a:t>
            </a:r>
            <a:r>
              <a:rPr lang="en-US" dirty="0" err="1"/>
              <a:t>Uszko</a:t>
            </a:r>
            <a:r>
              <a:rPr lang="en-US" dirty="0"/>
              <a:t>, Christian  </a:t>
            </a:r>
            <a:r>
              <a:rPr lang="en-US" dirty="0" err="1"/>
              <a:t>Vorhauser</a:t>
            </a:r>
            <a:endParaRPr dirty="0"/>
          </a:p>
        </p:txBody>
      </p:sp>
      <p:sp>
        <p:nvSpPr>
          <p:cNvPr id="1416" name="Google Shape;1416;p32"/>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 name="Google Shape;12;p2">
            <a:extLst>
              <a:ext uri="{FF2B5EF4-FFF2-40B4-BE49-F238E27FC236}">
                <a16:creationId xmlns:a16="http://schemas.microsoft.com/office/drawing/2014/main" id="{E2897E63-D48E-B241-9989-1439CD254549}"/>
              </a:ext>
            </a:extLst>
          </p:cNvPr>
          <p:cNvGrpSpPr/>
          <p:nvPr/>
        </p:nvGrpSpPr>
        <p:grpSpPr>
          <a:xfrm>
            <a:off x="1028650" y="4351648"/>
            <a:ext cx="7086701" cy="314138"/>
            <a:chOff x="449825" y="1100"/>
            <a:chExt cx="8244125" cy="570400"/>
          </a:xfrm>
        </p:grpSpPr>
        <p:sp>
          <p:nvSpPr>
            <p:cNvPr id="4" name="Google Shape;13;p2">
              <a:extLst>
                <a:ext uri="{FF2B5EF4-FFF2-40B4-BE49-F238E27FC236}">
                  <a16:creationId xmlns:a16="http://schemas.microsoft.com/office/drawing/2014/main" id="{7B34A60F-C14E-96F5-6A35-8FF180149B2B}"/>
                </a:ext>
              </a:extLst>
            </p:cNvPr>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4;p2">
              <a:extLst>
                <a:ext uri="{FF2B5EF4-FFF2-40B4-BE49-F238E27FC236}">
                  <a16:creationId xmlns:a16="http://schemas.microsoft.com/office/drawing/2014/main" id="{D57B49E3-1281-B83C-6994-F10A8F073568}"/>
                </a:ext>
              </a:extLst>
            </p:cNvPr>
            <p:cNvGrpSpPr/>
            <p:nvPr/>
          </p:nvGrpSpPr>
          <p:grpSpPr>
            <a:xfrm flipH="1">
              <a:off x="449825" y="1100"/>
              <a:ext cx="8244106" cy="515409"/>
              <a:chOff x="720050" y="0"/>
              <a:chExt cx="7704052" cy="481646"/>
            </a:xfrm>
          </p:grpSpPr>
          <p:sp>
            <p:nvSpPr>
              <p:cNvPr id="6" name="Google Shape;15;p2">
                <a:extLst>
                  <a:ext uri="{FF2B5EF4-FFF2-40B4-BE49-F238E27FC236}">
                    <a16:creationId xmlns:a16="http://schemas.microsoft.com/office/drawing/2014/main" id="{648D7CF8-9357-F308-7083-81BC2181E8C6}"/>
                  </a:ext>
                </a:extLst>
              </p:cNvPr>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p2">
                <a:extLst>
                  <a:ext uri="{FF2B5EF4-FFF2-40B4-BE49-F238E27FC236}">
                    <a16:creationId xmlns:a16="http://schemas.microsoft.com/office/drawing/2014/main" id="{BD3BAC96-6E69-0E0C-F065-E356702171CF}"/>
                  </a:ext>
                </a:extLst>
              </p:cNvPr>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p2">
                <a:extLst>
                  <a:ext uri="{FF2B5EF4-FFF2-40B4-BE49-F238E27FC236}">
                    <a16:creationId xmlns:a16="http://schemas.microsoft.com/office/drawing/2014/main" id="{8CB49D3B-5AE0-2F4A-14F0-B753F0F345F0}"/>
                  </a:ext>
                </a:extLst>
              </p:cNvPr>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8;p2">
                <a:extLst>
                  <a:ext uri="{FF2B5EF4-FFF2-40B4-BE49-F238E27FC236}">
                    <a16:creationId xmlns:a16="http://schemas.microsoft.com/office/drawing/2014/main" id="{DC556717-E6A1-B526-C929-832A4F7474FF}"/>
                  </a:ext>
                </a:extLst>
              </p:cNvPr>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9;p2">
                <a:extLst>
                  <a:ext uri="{FF2B5EF4-FFF2-40B4-BE49-F238E27FC236}">
                    <a16:creationId xmlns:a16="http://schemas.microsoft.com/office/drawing/2014/main" id="{DED0CA8C-578B-FABA-6076-B33A9D7CE4AA}"/>
                  </a:ext>
                </a:extLst>
              </p:cNvPr>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0;p2">
                <a:extLst>
                  <a:ext uri="{FF2B5EF4-FFF2-40B4-BE49-F238E27FC236}">
                    <a16:creationId xmlns:a16="http://schemas.microsoft.com/office/drawing/2014/main" id="{E6ED5529-8B1F-883D-25B6-3FCA83EB1B3D}"/>
                  </a:ext>
                </a:extLst>
              </p:cNvPr>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1;p2">
                <a:extLst>
                  <a:ext uri="{FF2B5EF4-FFF2-40B4-BE49-F238E27FC236}">
                    <a16:creationId xmlns:a16="http://schemas.microsoft.com/office/drawing/2014/main" id="{DF84B156-30A6-9B78-23E8-2219A9E61FC7}"/>
                  </a:ext>
                </a:extLst>
              </p:cNvPr>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p2">
                <a:extLst>
                  <a:ext uri="{FF2B5EF4-FFF2-40B4-BE49-F238E27FC236}">
                    <a16:creationId xmlns:a16="http://schemas.microsoft.com/office/drawing/2014/main" id="{3E634902-BDD7-E46F-62AD-A110D10FB66D}"/>
                  </a:ext>
                </a:extLst>
              </p:cNvPr>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3;p2">
                <a:extLst>
                  <a:ext uri="{FF2B5EF4-FFF2-40B4-BE49-F238E27FC236}">
                    <a16:creationId xmlns:a16="http://schemas.microsoft.com/office/drawing/2014/main" id="{02704872-450A-ECEB-CA66-114D5BC1B116}"/>
                  </a:ext>
                </a:extLst>
              </p:cNvPr>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4;p2">
                <a:extLst>
                  <a:ext uri="{FF2B5EF4-FFF2-40B4-BE49-F238E27FC236}">
                    <a16:creationId xmlns:a16="http://schemas.microsoft.com/office/drawing/2014/main" id="{C175C053-5DAD-3E1F-F426-A280880BF3C6}"/>
                  </a:ext>
                </a:extLst>
              </p:cNvPr>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5;p2">
                <a:extLst>
                  <a:ext uri="{FF2B5EF4-FFF2-40B4-BE49-F238E27FC236}">
                    <a16:creationId xmlns:a16="http://schemas.microsoft.com/office/drawing/2014/main" id="{A3B9C595-3B15-728E-7E4D-187D7B645F53}"/>
                  </a:ext>
                </a:extLst>
              </p:cNvPr>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p2">
                <a:extLst>
                  <a:ext uri="{FF2B5EF4-FFF2-40B4-BE49-F238E27FC236}">
                    <a16:creationId xmlns:a16="http://schemas.microsoft.com/office/drawing/2014/main" id="{81EFF430-7999-3151-7734-C14C992E4CC9}"/>
                  </a:ext>
                </a:extLst>
              </p:cNvPr>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7;p2">
                <a:extLst>
                  <a:ext uri="{FF2B5EF4-FFF2-40B4-BE49-F238E27FC236}">
                    <a16:creationId xmlns:a16="http://schemas.microsoft.com/office/drawing/2014/main" id="{7B349AD6-133B-E11E-7B56-30EB971B0139}"/>
                  </a:ext>
                </a:extLst>
              </p:cNvPr>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p2">
                <a:extLst>
                  <a:ext uri="{FF2B5EF4-FFF2-40B4-BE49-F238E27FC236}">
                    <a16:creationId xmlns:a16="http://schemas.microsoft.com/office/drawing/2014/main" id="{6F61BCF1-A4A6-4D21-72BE-05F481B24328}"/>
                  </a:ext>
                </a:extLst>
              </p:cNvPr>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9;p2">
                <a:extLst>
                  <a:ext uri="{FF2B5EF4-FFF2-40B4-BE49-F238E27FC236}">
                    <a16:creationId xmlns:a16="http://schemas.microsoft.com/office/drawing/2014/main" id="{D5D3C467-35E2-C8F9-58F3-27426A2FC6BC}"/>
                  </a:ext>
                </a:extLst>
              </p:cNvPr>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30;p2">
                <a:extLst>
                  <a:ext uri="{FF2B5EF4-FFF2-40B4-BE49-F238E27FC236}">
                    <a16:creationId xmlns:a16="http://schemas.microsoft.com/office/drawing/2014/main" id="{354D5C9E-FE8A-C199-9DA1-F2428D3F66D6}"/>
                  </a:ext>
                </a:extLst>
              </p:cNvPr>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31;p2">
                <a:extLst>
                  <a:ext uri="{FF2B5EF4-FFF2-40B4-BE49-F238E27FC236}">
                    <a16:creationId xmlns:a16="http://schemas.microsoft.com/office/drawing/2014/main" id="{9A2E0E3E-DE76-DC4B-8BC8-6D1699E0275E}"/>
                  </a:ext>
                </a:extLst>
              </p:cNvPr>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32;p2">
                <a:extLst>
                  <a:ext uri="{FF2B5EF4-FFF2-40B4-BE49-F238E27FC236}">
                    <a16:creationId xmlns:a16="http://schemas.microsoft.com/office/drawing/2014/main" id="{7E02943C-917A-1EB4-AE82-5E243A9B12CC}"/>
                  </a:ext>
                </a:extLst>
              </p:cNvPr>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33;p2">
                <a:extLst>
                  <a:ext uri="{FF2B5EF4-FFF2-40B4-BE49-F238E27FC236}">
                    <a16:creationId xmlns:a16="http://schemas.microsoft.com/office/drawing/2014/main" id="{36167455-5152-DC14-C21D-C25BEAAE98DD}"/>
                  </a:ext>
                </a:extLst>
              </p:cNvPr>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34;p2">
                <a:extLst>
                  <a:ext uri="{FF2B5EF4-FFF2-40B4-BE49-F238E27FC236}">
                    <a16:creationId xmlns:a16="http://schemas.microsoft.com/office/drawing/2014/main" id="{CF0DD246-EBF2-8EFF-2C6C-BFB93511E574}"/>
                  </a:ext>
                </a:extLst>
              </p:cNvPr>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35;p2">
                <a:extLst>
                  <a:ext uri="{FF2B5EF4-FFF2-40B4-BE49-F238E27FC236}">
                    <a16:creationId xmlns:a16="http://schemas.microsoft.com/office/drawing/2014/main" id="{1574DA70-16B2-D4E8-3982-7B2C6646B85F}"/>
                  </a:ext>
                </a:extLst>
              </p:cNvPr>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36;p2">
                <a:extLst>
                  <a:ext uri="{FF2B5EF4-FFF2-40B4-BE49-F238E27FC236}">
                    <a16:creationId xmlns:a16="http://schemas.microsoft.com/office/drawing/2014/main" id="{A20C0BA0-2D3A-6DF5-35A6-F3667202A970}"/>
                  </a:ext>
                </a:extLst>
              </p:cNvPr>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7;p2">
                <a:extLst>
                  <a:ext uri="{FF2B5EF4-FFF2-40B4-BE49-F238E27FC236}">
                    <a16:creationId xmlns:a16="http://schemas.microsoft.com/office/drawing/2014/main" id="{2C666D76-FD03-7CA4-3E75-43831C8803EF}"/>
                  </a:ext>
                </a:extLst>
              </p:cNvPr>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8;p2">
                <a:extLst>
                  <a:ext uri="{FF2B5EF4-FFF2-40B4-BE49-F238E27FC236}">
                    <a16:creationId xmlns:a16="http://schemas.microsoft.com/office/drawing/2014/main" id="{DCFADFE6-4EDC-DC6F-B6BD-19C56AD2234E}"/>
                  </a:ext>
                </a:extLst>
              </p:cNvPr>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9;p2">
                <a:extLst>
                  <a:ext uri="{FF2B5EF4-FFF2-40B4-BE49-F238E27FC236}">
                    <a16:creationId xmlns:a16="http://schemas.microsoft.com/office/drawing/2014/main" id="{6379CDBD-96E1-5B68-BA97-DB859E9455BE}"/>
                  </a:ext>
                </a:extLst>
              </p:cNvPr>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0;p2">
                <a:extLst>
                  <a:ext uri="{FF2B5EF4-FFF2-40B4-BE49-F238E27FC236}">
                    <a16:creationId xmlns:a16="http://schemas.microsoft.com/office/drawing/2014/main" id="{088FBE5E-6D01-7531-D280-52EDBF3C157E}"/>
                  </a:ext>
                </a:extLst>
              </p:cNvPr>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41;p2">
                <a:extLst>
                  <a:ext uri="{FF2B5EF4-FFF2-40B4-BE49-F238E27FC236}">
                    <a16:creationId xmlns:a16="http://schemas.microsoft.com/office/drawing/2014/main" id="{88B1900C-47FB-A54D-D489-673E2E6E8EA2}"/>
                  </a:ext>
                </a:extLst>
              </p:cNvPr>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42;p2">
                <a:extLst>
                  <a:ext uri="{FF2B5EF4-FFF2-40B4-BE49-F238E27FC236}">
                    <a16:creationId xmlns:a16="http://schemas.microsoft.com/office/drawing/2014/main" id="{6BED9908-1A58-2859-992D-692081B37A75}"/>
                  </a:ext>
                </a:extLst>
              </p:cNvPr>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43;p2">
                <a:extLst>
                  <a:ext uri="{FF2B5EF4-FFF2-40B4-BE49-F238E27FC236}">
                    <a16:creationId xmlns:a16="http://schemas.microsoft.com/office/drawing/2014/main" id="{40FC2ABB-C1D3-9EB1-9C32-63AADA6A9E68}"/>
                  </a:ext>
                </a:extLst>
              </p:cNvPr>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44;p2">
                <a:extLst>
                  <a:ext uri="{FF2B5EF4-FFF2-40B4-BE49-F238E27FC236}">
                    <a16:creationId xmlns:a16="http://schemas.microsoft.com/office/drawing/2014/main" id="{9E69B5FA-ADE4-EA19-C546-2D0C8D78BFC0}"/>
                  </a:ext>
                </a:extLst>
              </p:cNvPr>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45;p2">
                <a:extLst>
                  <a:ext uri="{FF2B5EF4-FFF2-40B4-BE49-F238E27FC236}">
                    <a16:creationId xmlns:a16="http://schemas.microsoft.com/office/drawing/2014/main" id="{97EB3E99-C9EB-1A9B-6D8E-517A2CBCE162}"/>
                  </a:ext>
                </a:extLst>
              </p:cNvPr>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46;p2">
                <a:extLst>
                  <a:ext uri="{FF2B5EF4-FFF2-40B4-BE49-F238E27FC236}">
                    <a16:creationId xmlns:a16="http://schemas.microsoft.com/office/drawing/2014/main" id="{FD025A2D-0A11-14F0-4625-2235F0465073}"/>
                  </a:ext>
                </a:extLst>
              </p:cNvPr>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47;p2">
                <a:extLst>
                  <a:ext uri="{FF2B5EF4-FFF2-40B4-BE49-F238E27FC236}">
                    <a16:creationId xmlns:a16="http://schemas.microsoft.com/office/drawing/2014/main" id="{99AFAA28-8215-8296-79FB-7A399946D12F}"/>
                  </a:ext>
                </a:extLst>
              </p:cNvPr>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48;p2">
                <a:extLst>
                  <a:ext uri="{FF2B5EF4-FFF2-40B4-BE49-F238E27FC236}">
                    <a16:creationId xmlns:a16="http://schemas.microsoft.com/office/drawing/2014/main" id="{802B4FCC-E39E-AA70-12B8-D7ECFA0D0355}"/>
                  </a:ext>
                </a:extLst>
              </p:cNvPr>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49;p2">
                <a:extLst>
                  <a:ext uri="{FF2B5EF4-FFF2-40B4-BE49-F238E27FC236}">
                    <a16:creationId xmlns:a16="http://schemas.microsoft.com/office/drawing/2014/main" id="{D8FDDA0F-A08D-EC63-9773-3434E4FB6741}"/>
                  </a:ext>
                </a:extLst>
              </p:cNvPr>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50;p2">
                <a:extLst>
                  <a:ext uri="{FF2B5EF4-FFF2-40B4-BE49-F238E27FC236}">
                    <a16:creationId xmlns:a16="http://schemas.microsoft.com/office/drawing/2014/main" id="{5B02E09C-352E-0F4D-B606-40DE1FBA590C}"/>
                  </a:ext>
                </a:extLst>
              </p:cNvPr>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51;p2">
                <a:extLst>
                  <a:ext uri="{FF2B5EF4-FFF2-40B4-BE49-F238E27FC236}">
                    <a16:creationId xmlns:a16="http://schemas.microsoft.com/office/drawing/2014/main" id="{4C2AC634-112D-E442-C07C-623CD7B0D02F}"/>
                  </a:ext>
                </a:extLst>
              </p:cNvPr>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52;p2">
                <a:extLst>
                  <a:ext uri="{FF2B5EF4-FFF2-40B4-BE49-F238E27FC236}">
                    <a16:creationId xmlns:a16="http://schemas.microsoft.com/office/drawing/2014/main" id="{AC83E5F4-4D87-1125-6252-FB68D5D9A840}"/>
                  </a:ext>
                </a:extLst>
              </p:cNvPr>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53;p2">
                <a:extLst>
                  <a:ext uri="{FF2B5EF4-FFF2-40B4-BE49-F238E27FC236}">
                    <a16:creationId xmlns:a16="http://schemas.microsoft.com/office/drawing/2014/main" id="{C288A41A-0F66-64D3-1F90-64C290B2EA0D}"/>
                  </a:ext>
                </a:extLst>
              </p:cNvPr>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54;p2">
                <a:extLst>
                  <a:ext uri="{FF2B5EF4-FFF2-40B4-BE49-F238E27FC236}">
                    <a16:creationId xmlns:a16="http://schemas.microsoft.com/office/drawing/2014/main" id="{45C15DEA-510F-9EF0-07CF-6FB5713E6D4E}"/>
                  </a:ext>
                </a:extLst>
              </p:cNvPr>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55;p2">
                <a:extLst>
                  <a:ext uri="{FF2B5EF4-FFF2-40B4-BE49-F238E27FC236}">
                    <a16:creationId xmlns:a16="http://schemas.microsoft.com/office/drawing/2014/main" id="{30BF5F7F-DB7E-7637-30CF-74D523E1E285}"/>
                  </a:ext>
                </a:extLst>
              </p:cNvPr>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56;p2">
                <a:extLst>
                  <a:ext uri="{FF2B5EF4-FFF2-40B4-BE49-F238E27FC236}">
                    <a16:creationId xmlns:a16="http://schemas.microsoft.com/office/drawing/2014/main" id="{D07AFAAF-9F0B-3BDB-D12B-B8B0FA179807}"/>
                  </a:ext>
                </a:extLst>
              </p:cNvPr>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57;p2">
                <a:extLst>
                  <a:ext uri="{FF2B5EF4-FFF2-40B4-BE49-F238E27FC236}">
                    <a16:creationId xmlns:a16="http://schemas.microsoft.com/office/drawing/2014/main" id="{F6221EA5-4B3C-4D0D-D845-ACDE94D239E3}"/>
                  </a:ext>
                </a:extLst>
              </p:cNvPr>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58;p2">
                <a:extLst>
                  <a:ext uri="{FF2B5EF4-FFF2-40B4-BE49-F238E27FC236}">
                    <a16:creationId xmlns:a16="http://schemas.microsoft.com/office/drawing/2014/main" id="{F2C3AEF3-1C94-6597-09CB-4C5D587FE19B}"/>
                  </a:ext>
                </a:extLst>
              </p:cNvPr>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59;p2">
                <a:extLst>
                  <a:ext uri="{FF2B5EF4-FFF2-40B4-BE49-F238E27FC236}">
                    <a16:creationId xmlns:a16="http://schemas.microsoft.com/office/drawing/2014/main" id="{528C1D0E-FD33-7764-3338-5DD04C0021D4}"/>
                  </a:ext>
                </a:extLst>
              </p:cNvPr>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60;p2">
                <a:extLst>
                  <a:ext uri="{FF2B5EF4-FFF2-40B4-BE49-F238E27FC236}">
                    <a16:creationId xmlns:a16="http://schemas.microsoft.com/office/drawing/2014/main" id="{A6ABFABB-EE8A-7733-FCCB-4781D10771F2}"/>
                  </a:ext>
                </a:extLst>
              </p:cNvPr>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61;p2">
                <a:extLst>
                  <a:ext uri="{FF2B5EF4-FFF2-40B4-BE49-F238E27FC236}">
                    <a16:creationId xmlns:a16="http://schemas.microsoft.com/office/drawing/2014/main" id="{0805045B-3FB2-7083-3892-A8CA15C93B36}"/>
                  </a:ext>
                </a:extLst>
              </p:cNvPr>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62;p2">
                <a:extLst>
                  <a:ext uri="{FF2B5EF4-FFF2-40B4-BE49-F238E27FC236}">
                    <a16:creationId xmlns:a16="http://schemas.microsoft.com/office/drawing/2014/main" id="{F6D1742B-D70B-BA42-FFEB-8A4F5587AC0F}"/>
                  </a:ext>
                </a:extLst>
              </p:cNvPr>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63;p2">
                <a:extLst>
                  <a:ext uri="{FF2B5EF4-FFF2-40B4-BE49-F238E27FC236}">
                    <a16:creationId xmlns:a16="http://schemas.microsoft.com/office/drawing/2014/main" id="{D2C83FB1-F1F0-FE4B-2223-9DE67FE103F9}"/>
                  </a:ext>
                </a:extLst>
              </p:cNvPr>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64;p2">
                <a:extLst>
                  <a:ext uri="{FF2B5EF4-FFF2-40B4-BE49-F238E27FC236}">
                    <a16:creationId xmlns:a16="http://schemas.microsoft.com/office/drawing/2014/main" id="{7E039E25-BA69-96B4-8FA3-0D90F589F396}"/>
                  </a:ext>
                </a:extLst>
              </p:cNvPr>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65;p2">
                <a:extLst>
                  <a:ext uri="{FF2B5EF4-FFF2-40B4-BE49-F238E27FC236}">
                    <a16:creationId xmlns:a16="http://schemas.microsoft.com/office/drawing/2014/main" id="{261BFEBC-BDCB-BFDC-CC58-078DFA7EE3F5}"/>
                  </a:ext>
                </a:extLst>
              </p:cNvPr>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66;p2">
                <a:extLst>
                  <a:ext uri="{FF2B5EF4-FFF2-40B4-BE49-F238E27FC236}">
                    <a16:creationId xmlns:a16="http://schemas.microsoft.com/office/drawing/2014/main" id="{3B74FAB4-DB05-CD62-171E-C1D7C6C6DF71}"/>
                  </a:ext>
                </a:extLst>
              </p:cNvPr>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67;p2">
                <a:extLst>
                  <a:ext uri="{FF2B5EF4-FFF2-40B4-BE49-F238E27FC236}">
                    <a16:creationId xmlns:a16="http://schemas.microsoft.com/office/drawing/2014/main" id="{F6619DC8-3223-EE2E-0A9A-EC19EB7D4E25}"/>
                  </a:ext>
                </a:extLst>
              </p:cNvPr>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68;p2">
                <a:extLst>
                  <a:ext uri="{FF2B5EF4-FFF2-40B4-BE49-F238E27FC236}">
                    <a16:creationId xmlns:a16="http://schemas.microsoft.com/office/drawing/2014/main" id="{1DFC59D7-EEC1-A07C-72BE-12CCACB7E87E}"/>
                  </a:ext>
                </a:extLst>
              </p:cNvPr>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69;p2">
                <a:extLst>
                  <a:ext uri="{FF2B5EF4-FFF2-40B4-BE49-F238E27FC236}">
                    <a16:creationId xmlns:a16="http://schemas.microsoft.com/office/drawing/2014/main" id="{8E92E262-7018-95DF-F54C-EA7340731467}"/>
                  </a:ext>
                </a:extLst>
              </p:cNvPr>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70;p2">
                <a:extLst>
                  <a:ext uri="{FF2B5EF4-FFF2-40B4-BE49-F238E27FC236}">
                    <a16:creationId xmlns:a16="http://schemas.microsoft.com/office/drawing/2014/main" id="{6B070558-BB87-61E5-2AEE-89625D703ED4}"/>
                  </a:ext>
                </a:extLst>
              </p:cNvPr>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71;p2">
                <a:extLst>
                  <a:ext uri="{FF2B5EF4-FFF2-40B4-BE49-F238E27FC236}">
                    <a16:creationId xmlns:a16="http://schemas.microsoft.com/office/drawing/2014/main" id="{7F304EA4-FAC3-D4F7-8CA3-5BE9FB1DC403}"/>
                  </a:ext>
                </a:extLst>
              </p:cNvPr>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72;p2">
                <a:extLst>
                  <a:ext uri="{FF2B5EF4-FFF2-40B4-BE49-F238E27FC236}">
                    <a16:creationId xmlns:a16="http://schemas.microsoft.com/office/drawing/2014/main" id="{5B1A885E-9D94-31D6-2BC9-025AE66583CA}"/>
                  </a:ext>
                </a:extLst>
              </p:cNvPr>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73;p2">
                <a:extLst>
                  <a:ext uri="{FF2B5EF4-FFF2-40B4-BE49-F238E27FC236}">
                    <a16:creationId xmlns:a16="http://schemas.microsoft.com/office/drawing/2014/main" id="{6DB9F31E-4FA3-9D0C-6209-C67357EF76F1}"/>
                  </a:ext>
                </a:extLst>
              </p:cNvPr>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74;p2">
                <a:extLst>
                  <a:ext uri="{FF2B5EF4-FFF2-40B4-BE49-F238E27FC236}">
                    <a16:creationId xmlns:a16="http://schemas.microsoft.com/office/drawing/2014/main" id="{F2984694-F95F-0335-C4AE-82A4A3A4D90D}"/>
                  </a:ext>
                </a:extLst>
              </p:cNvPr>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75;p2">
                <a:extLst>
                  <a:ext uri="{FF2B5EF4-FFF2-40B4-BE49-F238E27FC236}">
                    <a16:creationId xmlns:a16="http://schemas.microsoft.com/office/drawing/2014/main" id="{14C627DD-F7C9-7B22-46A9-F092D049967C}"/>
                  </a:ext>
                </a:extLst>
              </p:cNvPr>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76;p2">
                <a:extLst>
                  <a:ext uri="{FF2B5EF4-FFF2-40B4-BE49-F238E27FC236}">
                    <a16:creationId xmlns:a16="http://schemas.microsoft.com/office/drawing/2014/main" id="{80714B7B-A85B-468A-A07A-47D1EB92214B}"/>
                  </a:ext>
                </a:extLst>
              </p:cNvPr>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77;p2">
                <a:extLst>
                  <a:ext uri="{FF2B5EF4-FFF2-40B4-BE49-F238E27FC236}">
                    <a16:creationId xmlns:a16="http://schemas.microsoft.com/office/drawing/2014/main" id="{EB963AC8-876A-55EE-330B-3B3F3F836120}"/>
                  </a:ext>
                </a:extLst>
              </p:cNvPr>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78;p2">
                <a:extLst>
                  <a:ext uri="{FF2B5EF4-FFF2-40B4-BE49-F238E27FC236}">
                    <a16:creationId xmlns:a16="http://schemas.microsoft.com/office/drawing/2014/main" id="{39F9824F-AFE6-5775-86AB-7D9058F7103A}"/>
                  </a:ext>
                </a:extLst>
              </p:cNvPr>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WRAP UP </a:t>
            </a:r>
            <a:endParaRPr lang="en-AT" dirty="0"/>
          </a:p>
        </p:txBody>
      </p:sp>
      <p:grpSp>
        <p:nvGrpSpPr>
          <p:cNvPr id="2" name="Google Shape;2269;p64">
            <a:extLst>
              <a:ext uri="{FF2B5EF4-FFF2-40B4-BE49-F238E27FC236}">
                <a16:creationId xmlns:a16="http://schemas.microsoft.com/office/drawing/2014/main" id="{6BF6ADB7-0D94-CDF1-03F1-6142413860E0}"/>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C4F7AF9C-0C56-9C95-0007-6A544B6D832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3CB36002-25EA-ADE5-587A-309096C7C2B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B96BCF0-13EB-CBD5-8559-90746D7997AF}"/>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C39E36D3-768E-B1FA-DD5E-A3622328C6CF}"/>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226EEC2D-BC28-30A5-7C60-27C7C0F72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15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3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CONTENTS OF THIS TEMPLATE</a:t>
            </a:r>
            <a:endParaRPr/>
          </a:p>
        </p:txBody>
      </p:sp>
      <p:graphicFrame>
        <p:nvGraphicFramePr>
          <p:cNvPr id="1422" name="Google Shape;1422;p33"/>
          <p:cNvGraphicFramePr/>
          <p:nvPr/>
        </p:nvGraphicFramePr>
        <p:xfrm>
          <a:off x="720000" y="1802030"/>
          <a:ext cx="7704000" cy="2210900"/>
        </p:xfrm>
        <a:graphic>
          <a:graphicData uri="http://schemas.openxmlformats.org/drawingml/2006/table">
            <a:tbl>
              <a:tblPr>
                <a:noFill/>
                <a:tableStyleId>{36388064-F937-4609-BF7D-212556715704}</a:tableStyleId>
              </a:tblPr>
              <a:tblGrid>
                <a:gridCol w="3117050">
                  <a:extLst>
                    <a:ext uri="{9D8B030D-6E8A-4147-A177-3AD203B41FA5}">
                      <a16:colId xmlns:a16="http://schemas.microsoft.com/office/drawing/2014/main" val="20000"/>
                    </a:ext>
                  </a:extLst>
                </a:gridCol>
                <a:gridCol w="4586950">
                  <a:extLst>
                    <a:ext uri="{9D8B030D-6E8A-4147-A177-3AD203B41FA5}">
                      <a16:colId xmlns:a16="http://schemas.microsoft.com/office/drawing/2014/main" val="20001"/>
                    </a:ext>
                  </a:extLst>
                </a:gridCol>
              </a:tblGrid>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FONT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o view this template correctly in PowerPoint, download and install the fonts we us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0"/>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4" action="ppaction://hlinksldjump"/>
                        </a:rPr>
                        <a:t>USED</a:t>
                      </a:r>
                      <a:r>
                        <a:rPr lang="en" sz="900" b="1">
                          <a:solidFill>
                            <a:schemeClr val="dk1"/>
                          </a:solidFill>
                          <a:latin typeface="Krona One"/>
                          <a:ea typeface="Krona One"/>
                          <a:cs typeface="Krona One"/>
                          <a:sym typeface="Krona One"/>
                        </a:rPr>
                        <a:t> AND </a:t>
                      </a:r>
                      <a:r>
                        <a:rPr lang="en" sz="900" b="1">
                          <a:solidFill>
                            <a:schemeClr val="hlink"/>
                          </a:solidFill>
                          <a:uFill>
                            <a:noFill/>
                          </a:uFill>
                          <a:latin typeface="Krona One"/>
                          <a:ea typeface="Krona One"/>
                          <a:cs typeface="Krona One"/>
                          <a:sym typeface="Krona One"/>
                          <a:hlinkClick r:id="rId5" action="ppaction://hlinksldjump"/>
                        </a:rPr>
                        <a:t>ALTERNATIVE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marR="0" lvl="0" indent="0" algn="l" rtl="0">
                        <a:lnSpc>
                          <a:spcPct val="100000"/>
                        </a:lnSpc>
                        <a:spcBef>
                          <a:spcPts val="0"/>
                        </a:spcBef>
                        <a:spcAft>
                          <a:spcPts val="1600"/>
                        </a:spcAft>
                        <a:buNone/>
                      </a:pPr>
                      <a:r>
                        <a:rPr lang="en" sz="900">
                          <a:solidFill>
                            <a:schemeClr val="dk1"/>
                          </a:solidFill>
                          <a:latin typeface="Jost"/>
                          <a:ea typeface="Jost"/>
                          <a:cs typeface="Jost"/>
                          <a:sym typeface="Jost"/>
                        </a:rPr>
                        <a:t>An assortment of graphic resources that are suitable for use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6" action="ppaction://hlinksldjump"/>
                        </a:rPr>
                        <a:t>THANKS SLIDE</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You must keep it so that proper credits for our design are give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29327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COLOR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All the colors used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7" action="ppaction://hlinksldjump"/>
                        </a:rPr>
                        <a:t>INFOGRAPHIC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sz="900">
                          <a:solidFill>
                            <a:schemeClr val="dk1"/>
                          </a:solidFill>
                          <a:latin typeface="Jost"/>
                          <a:ea typeface="Jost"/>
                          <a:cs typeface="Jost"/>
                          <a:sym typeface="Jost"/>
                        </a:rPr>
                        <a:t>These can be used in the template, and their size and color can be edit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8" action="ppaction://hlinksldjump"/>
                        </a:rPr>
                        <a:t>CUSTOMIZABLE ICON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hey are sorted by theme so you can use them in all kinds of presentations</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423" name="Google Shape;1423;p33"/>
          <p:cNvSpPr txBox="1"/>
          <p:nvPr/>
        </p:nvSpPr>
        <p:spPr>
          <a:xfrm>
            <a:off x="720000" y="1171050"/>
            <a:ext cx="7569000" cy="4797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200" b="1">
                <a:solidFill>
                  <a:schemeClr val="dk1"/>
                </a:solidFill>
                <a:latin typeface="Jost"/>
                <a:ea typeface="Jost"/>
                <a:cs typeface="Jost"/>
                <a:sym typeface="Jost"/>
              </a:rPr>
              <a:t>This is a slide structure based on a school center presentation</a:t>
            </a:r>
            <a:endParaRPr sz="1200" b="1">
              <a:solidFill>
                <a:schemeClr val="dk1"/>
              </a:solidFill>
              <a:latin typeface="Jost"/>
              <a:ea typeface="Jost"/>
              <a:cs typeface="Jost"/>
              <a:sym typeface="Jost"/>
            </a:endParaRPr>
          </a:p>
          <a:p>
            <a:pPr marL="0" lvl="0" indent="0" algn="l" rtl="0">
              <a:spcBef>
                <a:spcPts val="0"/>
              </a:spcBef>
              <a:spcAft>
                <a:spcPts val="0"/>
              </a:spcAft>
              <a:buNone/>
            </a:pPr>
            <a:r>
              <a:rPr lang="en" sz="1200">
                <a:solidFill>
                  <a:schemeClr val="dk1"/>
                </a:solidFill>
                <a:latin typeface="Jost"/>
                <a:ea typeface="Jost"/>
                <a:cs typeface="Jost"/>
                <a:sym typeface="Jost"/>
              </a:rPr>
              <a:t>You can delete this slide when you’re done editing the presentation</a:t>
            </a:r>
            <a:endParaRPr sz="1200">
              <a:solidFill>
                <a:schemeClr val="dk1"/>
              </a:solidFill>
              <a:latin typeface="Jost"/>
              <a:ea typeface="Jost"/>
              <a:cs typeface="Jost"/>
              <a:sym typeface="Jost"/>
            </a:endParaRPr>
          </a:p>
        </p:txBody>
      </p:sp>
      <p:sp>
        <p:nvSpPr>
          <p:cNvPr id="1424" name="Google Shape;1424;p33"/>
          <p:cNvSpPr txBox="1"/>
          <p:nvPr/>
        </p:nvSpPr>
        <p:spPr>
          <a:xfrm>
            <a:off x="928500" y="4147800"/>
            <a:ext cx="33699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For more info:</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9">
                  <a:extLst>
                    <a:ext uri="{A12FA001-AC4F-418D-AE19-62706E023703}">
                      <ahyp:hlinkClr xmlns:ahyp="http://schemas.microsoft.com/office/drawing/2018/hyperlinkcolor" val="tx"/>
                    </a:ext>
                  </a:extLst>
                </a:hlinkClick>
              </a:rPr>
              <a:t>SLIDESGO </a:t>
            </a:r>
            <a:r>
              <a:rPr lang="en" sz="800" b="1">
                <a:solidFill>
                  <a:schemeClr val="dk1"/>
                </a:solidFill>
                <a:latin typeface="Krona One"/>
                <a:ea typeface="Krona One"/>
                <a:cs typeface="Krona One"/>
                <a:sym typeface="Krona One"/>
              </a:rPr>
              <a:t> |  </a:t>
            </a:r>
            <a:r>
              <a:rPr lang="en" sz="800" b="1">
                <a:solidFill>
                  <a:schemeClr val="hlink"/>
                </a:solidFill>
                <a:uFill>
                  <a:noFill/>
                </a:uFill>
                <a:latin typeface="Krona One"/>
                <a:ea typeface="Krona One"/>
                <a:cs typeface="Krona One"/>
                <a:sym typeface="Krona One"/>
                <a:hlinkClick r:id="rId10"/>
              </a:rPr>
              <a:t>BLOG</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1">
                  <a:extLst>
                    <a:ext uri="{A12FA001-AC4F-418D-AE19-62706E023703}">
                      <ahyp:hlinkClr xmlns:ahyp="http://schemas.microsoft.com/office/drawing/2018/hyperlinkcolor" val="tx"/>
                    </a:ext>
                  </a:extLst>
                </a:hlinkClick>
              </a:rPr>
              <a:t>FAQS</a:t>
            </a:r>
            <a:endParaRPr sz="1300" b="1">
              <a:solidFill>
                <a:schemeClr val="dk1"/>
              </a:solidFill>
              <a:latin typeface="Krona One"/>
              <a:ea typeface="Krona One"/>
              <a:cs typeface="Krona One"/>
              <a:sym typeface="Krona One"/>
            </a:endParaRPr>
          </a:p>
        </p:txBody>
      </p:sp>
      <p:sp>
        <p:nvSpPr>
          <p:cNvPr id="1425" name="Google Shape;1425;p33"/>
          <p:cNvSpPr txBox="1"/>
          <p:nvPr/>
        </p:nvSpPr>
        <p:spPr>
          <a:xfrm>
            <a:off x="4744500" y="4147800"/>
            <a:ext cx="34710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You can visit our sister projects:</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12">
                  <a:extLst>
                    <a:ext uri="{A12FA001-AC4F-418D-AE19-62706E023703}">
                      <ahyp:hlinkClr xmlns:ahyp="http://schemas.microsoft.com/office/drawing/2018/hyperlinkcolor" val="tx"/>
                    </a:ext>
                  </a:extLst>
                </a:hlinkClick>
              </a:rPr>
              <a:t>FREEPIK</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3">
                  <a:extLst>
                    <a:ext uri="{A12FA001-AC4F-418D-AE19-62706E023703}">
                      <ahyp:hlinkClr xmlns:ahyp="http://schemas.microsoft.com/office/drawing/2018/hyperlinkcolor" val="tx"/>
                    </a:ext>
                  </a:extLst>
                </a:hlinkClick>
              </a:rPr>
              <a:t>FLATICON</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4">
                  <a:extLst>
                    <a:ext uri="{A12FA001-AC4F-418D-AE19-62706E023703}">
                      <ahyp:hlinkClr xmlns:ahyp="http://schemas.microsoft.com/office/drawing/2018/hyperlinkcolor" val="tx"/>
                    </a:ext>
                  </a:extLst>
                </a:hlinkClick>
              </a:rPr>
              <a:t>STORYSET</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5">
                  <a:extLst>
                    <a:ext uri="{A12FA001-AC4F-418D-AE19-62706E023703}">
                      <ahyp:hlinkClr xmlns:ahyp="http://schemas.microsoft.com/office/drawing/2018/hyperlinkcolor" val="tx"/>
                    </a:ext>
                  </a:extLst>
                </a:hlinkClick>
              </a:rPr>
              <a:t>WEPIK </a:t>
            </a:r>
            <a:r>
              <a:rPr lang="en" sz="800" b="1">
                <a:solidFill>
                  <a:schemeClr val="dk1"/>
                </a:solidFill>
                <a:latin typeface="Krona One"/>
                <a:ea typeface="Krona One"/>
                <a:cs typeface="Krona One"/>
                <a:sym typeface="Krona One"/>
              </a:rPr>
              <a:t>| </a:t>
            </a:r>
            <a:r>
              <a:rPr lang="en" sz="800" b="1">
                <a:solidFill>
                  <a:schemeClr val="hlink"/>
                </a:solidFill>
                <a:uFill>
                  <a:noFill/>
                </a:uFill>
                <a:latin typeface="Krona One"/>
                <a:ea typeface="Krona One"/>
                <a:cs typeface="Krona One"/>
                <a:sym typeface="Krona One"/>
                <a:hlinkClick r:id="rId16"/>
              </a:rPr>
              <a:t>VIDEVO</a:t>
            </a:r>
            <a:endParaRPr sz="400" b="1">
              <a:solidFill>
                <a:schemeClr val="dk1"/>
              </a:solidFill>
              <a:latin typeface="Krona One"/>
              <a:ea typeface="Krona One"/>
              <a:cs typeface="Krona One"/>
              <a:sym typeface="Krona One"/>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35"/>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OMEONE FAMOUS</a:t>
            </a:r>
            <a:endParaRPr/>
          </a:p>
        </p:txBody>
      </p:sp>
      <p:sp>
        <p:nvSpPr>
          <p:cNvPr id="1448" name="Google Shape;1448;p35"/>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a:t>“This is a quote, words full of wisdom that someone important said and can make the reader get inspired.”</a:t>
            </a: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grpSp>
        <p:nvGrpSpPr>
          <p:cNvPr id="1453" name="Google Shape;1453;p36"/>
          <p:cNvGrpSpPr/>
          <p:nvPr/>
        </p:nvGrpSpPr>
        <p:grpSpPr>
          <a:xfrm>
            <a:off x="1121475" y="3843025"/>
            <a:ext cx="1221300" cy="570400"/>
            <a:chOff x="670175" y="3809850"/>
            <a:chExt cx="1221300" cy="570400"/>
          </a:xfrm>
        </p:grpSpPr>
        <p:cxnSp>
          <p:nvCxnSpPr>
            <p:cNvPr id="1454" name="Google Shape;1454;p36"/>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5" name="Google Shape;1455;p36"/>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6" name="Google Shape;1456;p36"/>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57" name="Google Shape;1457;p36"/>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58" name="Google Shape;1458;p36"/>
          <p:cNvPicPr preferRelativeResize="0"/>
          <p:nvPr/>
        </p:nvPicPr>
        <p:blipFill rotWithShape="1">
          <a:blip r:embed="rId3">
            <a:alphaModFix/>
          </a:blip>
          <a:srcRect l="3185" t="-3172" b="24648"/>
          <a:stretch/>
        </p:blipFill>
        <p:spPr>
          <a:xfrm>
            <a:off x="2266975" y="3785450"/>
            <a:ext cx="4610052" cy="1035225"/>
          </a:xfrm>
          <a:prstGeom prst="rect">
            <a:avLst/>
          </a:prstGeom>
          <a:noFill/>
          <a:ln>
            <a:noFill/>
          </a:ln>
        </p:spPr>
      </p:pic>
      <p:sp>
        <p:nvSpPr>
          <p:cNvPr id="1459" name="Google Shape;1459;p36"/>
          <p:cNvSpPr txBox="1">
            <a:spLocks noGrp="1"/>
          </p:cNvSpPr>
          <p:nvPr>
            <p:ph type="title"/>
          </p:nvPr>
        </p:nvSpPr>
        <p:spPr>
          <a:xfrm>
            <a:off x="3043150" y="1213828"/>
            <a:ext cx="4827600" cy="964200"/>
          </a:xfrm>
          <a:prstGeom prst="rect">
            <a:avLst/>
          </a:prstGeom>
        </p:spPr>
        <p:txBody>
          <a:bodyPr spcFirstLastPara="1" wrap="square" lIns="91425" tIns="0" rIns="91425" bIns="0" anchor="ctr" anchorCtr="0">
            <a:noAutofit/>
          </a:bodyPr>
          <a:lstStyle/>
          <a:p>
            <a:pPr marL="0" lvl="0" indent="0" algn="l" rtl="0">
              <a:spcBef>
                <a:spcPts val="0"/>
              </a:spcBef>
              <a:spcAft>
                <a:spcPts val="0"/>
              </a:spcAft>
              <a:buNone/>
            </a:pPr>
            <a:r>
              <a:rPr lang="en"/>
              <a:t>OUR TEACHING METHOD</a:t>
            </a:r>
            <a:endParaRPr/>
          </a:p>
        </p:txBody>
      </p:sp>
      <p:sp>
        <p:nvSpPr>
          <p:cNvPr id="1460" name="Google Shape;1460;p36"/>
          <p:cNvSpPr txBox="1">
            <a:spLocks noGrp="1"/>
          </p:cNvSpPr>
          <p:nvPr>
            <p:ph type="title" idx="2"/>
          </p:nvPr>
        </p:nvSpPr>
        <p:spPr>
          <a:xfrm>
            <a:off x="1273250" y="1241332"/>
            <a:ext cx="1463100" cy="1466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1461" name="Google Shape;1461;p36"/>
          <p:cNvSpPr txBox="1">
            <a:spLocks noGrp="1"/>
          </p:cNvSpPr>
          <p:nvPr>
            <p:ph type="subTitle" idx="1"/>
          </p:nvPr>
        </p:nvSpPr>
        <p:spPr>
          <a:xfrm>
            <a:off x="3043150" y="2420475"/>
            <a:ext cx="4827600" cy="410100"/>
          </a:xfrm>
          <a:prstGeom prst="rect">
            <a:avLst/>
          </a:prstGeom>
        </p:spPr>
        <p:txBody>
          <a:bodyPr spcFirstLastPara="1" wrap="square" lIns="91425" tIns="91425" rIns="91425" bIns="91425" anchor="ctr" anchorCtr="0">
            <a:noAutofit/>
          </a:bodyPr>
          <a:lstStyle/>
          <a:p>
            <a:pPr marL="0" lvl="0" indent="0" algn="l" rtl="0">
              <a:spcBef>
                <a:spcPts val="0"/>
              </a:spcBef>
              <a:spcAft>
                <a:spcPts val="1600"/>
              </a:spcAft>
              <a:buNone/>
            </a:pPr>
            <a:r>
              <a:rPr lang="en"/>
              <a:t>You can enter a subtitle here if you need it</a:t>
            </a:r>
            <a:endParaRPr/>
          </a:p>
        </p:txBody>
      </p:sp>
      <p:sp>
        <p:nvSpPr>
          <p:cNvPr id="1462" name="Google Shape;1462;p36"/>
          <p:cNvSpPr/>
          <p:nvPr/>
        </p:nvSpPr>
        <p:spPr>
          <a:xfrm>
            <a:off x="995550"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p37"/>
          <p:cNvSpPr txBox="1">
            <a:spLocks noGrp="1"/>
          </p:cNvSpPr>
          <p:nvPr>
            <p:ph type="title"/>
          </p:nvPr>
        </p:nvSpPr>
        <p:spPr>
          <a:xfrm>
            <a:off x="1747188" y="1418745"/>
            <a:ext cx="5649600" cy="765600"/>
          </a:xfrm>
          <a:prstGeom prst="rect">
            <a:avLst/>
          </a:prstGeom>
        </p:spPr>
        <p:txBody>
          <a:bodyPr spcFirstLastPara="1" wrap="square" lIns="91425" tIns="72000" rIns="91425" bIns="0" anchor="ctr" anchorCtr="0">
            <a:noAutofit/>
          </a:bodyPr>
          <a:lstStyle/>
          <a:p>
            <a:pPr marL="0" lvl="0" indent="0" algn="ctr" rtl="0">
              <a:spcBef>
                <a:spcPts val="0"/>
              </a:spcBef>
              <a:spcAft>
                <a:spcPts val="0"/>
              </a:spcAft>
              <a:buNone/>
            </a:pPr>
            <a:r>
              <a:rPr lang="en"/>
              <a:t>INTRODUCTION</a:t>
            </a:r>
            <a:endParaRPr/>
          </a:p>
        </p:txBody>
      </p:sp>
      <p:sp>
        <p:nvSpPr>
          <p:cNvPr id="1468" name="Google Shape;1468;p37"/>
          <p:cNvSpPr txBox="1">
            <a:spLocks noGrp="1"/>
          </p:cNvSpPr>
          <p:nvPr>
            <p:ph type="subTitle" idx="1"/>
          </p:nvPr>
        </p:nvSpPr>
        <p:spPr>
          <a:xfrm>
            <a:off x="1747213" y="2285950"/>
            <a:ext cx="5649600" cy="673800"/>
          </a:xfrm>
          <a:prstGeom prst="rect">
            <a:avLst/>
          </a:prstGeom>
        </p:spPr>
        <p:txBody>
          <a:bodyPr spcFirstLastPara="1" wrap="square" lIns="126000" tIns="0" rIns="126000" bIns="0" anchor="t" anchorCtr="0">
            <a:noAutofit/>
          </a:bodyPr>
          <a:lstStyle/>
          <a:p>
            <a:pPr marL="0" lvl="0" indent="0" algn="ctr" rtl="0">
              <a:spcBef>
                <a:spcPts val="0"/>
              </a:spcBef>
              <a:spcAft>
                <a:spcPts val="0"/>
              </a:spcAft>
              <a:buNone/>
            </a:pPr>
            <a:r>
              <a:rPr lang="en"/>
              <a:t>You can give a brief description of the topic you want to talk about here. For example, if you want to talk about Mercury, you can say that it’s the smallest planet in the entire Solar System</a:t>
            </a:r>
            <a:endParaRPr/>
          </a:p>
        </p:txBody>
      </p:sp>
      <p:grpSp>
        <p:nvGrpSpPr>
          <p:cNvPr id="1469" name="Google Shape;1469;p37"/>
          <p:cNvGrpSpPr/>
          <p:nvPr/>
        </p:nvGrpSpPr>
        <p:grpSpPr>
          <a:xfrm flipH="1">
            <a:off x="6801175" y="3843025"/>
            <a:ext cx="1221300" cy="570400"/>
            <a:chOff x="670175" y="3809850"/>
            <a:chExt cx="1221300" cy="570400"/>
          </a:xfrm>
        </p:grpSpPr>
        <p:cxnSp>
          <p:nvCxnSpPr>
            <p:cNvPr id="1470" name="Google Shape;1470;p3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1" name="Google Shape;1471;p3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2" name="Google Shape;1472;p3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73" name="Google Shape;1473;p3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74" name="Google Shape;1474;p37"/>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75" name="Google Shape;1475;p3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79"/>
        <p:cNvGrpSpPr/>
        <p:nvPr/>
      </p:nvGrpSpPr>
      <p:grpSpPr>
        <a:xfrm>
          <a:off x="0" y="0"/>
          <a:ext cx="0" cy="0"/>
          <a:chOff x="0" y="0"/>
          <a:chExt cx="0" cy="0"/>
        </a:xfrm>
      </p:grpSpPr>
      <p:sp>
        <p:nvSpPr>
          <p:cNvPr id="1480" name="Google Shape;1480;p3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PECIAL REMINDERS</a:t>
            </a:r>
            <a:endParaRPr/>
          </a:p>
        </p:txBody>
      </p:sp>
      <p:sp>
        <p:nvSpPr>
          <p:cNvPr id="1481" name="Google Shape;1481;p38"/>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solidFill>
                  <a:srgbClr val="191919"/>
                </a:solidFill>
              </a:rPr>
              <a:t>Do you know what helps you make your point clear?</a:t>
            </a:r>
            <a:endParaRPr>
              <a:solidFill>
                <a:srgbClr val="191919"/>
              </a:solidFill>
            </a:endParaRPr>
          </a:p>
          <a:p>
            <a:pPr marL="0" lvl="0" indent="0" algn="l" rtl="0">
              <a:spcBef>
                <a:spcPts val="0"/>
              </a:spcBef>
              <a:spcAft>
                <a:spcPts val="0"/>
              </a:spcAft>
              <a:buClr>
                <a:schemeClr val="dk1"/>
              </a:buClr>
              <a:buSzPts val="1100"/>
              <a:buFont typeface="Arial"/>
              <a:buNone/>
            </a:pPr>
            <a:r>
              <a:rPr lang="en">
                <a:solidFill>
                  <a:srgbClr val="191919"/>
                </a:solidFill>
              </a:rPr>
              <a:t>Lists like this one:</a:t>
            </a:r>
            <a:endParaRPr>
              <a:solidFill>
                <a:srgbClr val="191919"/>
              </a:solidFill>
            </a:endParaRPr>
          </a:p>
          <a:p>
            <a:pPr marL="457200" lvl="0" indent="-317500" algn="l" rtl="0">
              <a:spcBef>
                <a:spcPts val="1600"/>
              </a:spcBef>
              <a:spcAft>
                <a:spcPts val="0"/>
              </a:spcAft>
              <a:buClr>
                <a:schemeClr val="accent1"/>
              </a:buClr>
              <a:buSzPts val="1400"/>
              <a:buFont typeface="Jost Medium"/>
              <a:buChar char="●"/>
            </a:pPr>
            <a:r>
              <a:rPr lang="en">
                <a:solidFill>
                  <a:srgbClr val="191919"/>
                </a:solidFill>
              </a:rPr>
              <a:t>They’re simple </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 can organize your ideas clearly</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ll never forget to buy milk!</a:t>
            </a:r>
            <a:endParaRPr>
              <a:solidFill>
                <a:srgbClr val="191919"/>
              </a:solidFill>
            </a:endParaRPr>
          </a:p>
          <a:p>
            <a:pPr marL="0" lvl="0" indent="0" algn="l" rtl="0">
              <a:spcBef>
                <a:spcPts val="1600"/>
              </a:spcBef>
              <a:spcAft>
                <a:spcPts val="0"/>
              </a:spcAft>
              <a:buClr>
                <a:schemeClr val="dk1"/>
              </a:buClr>
              <a:buSzPts val="1100"/>
              <a:buFont typeface="Arial"/>
              <a:buNone/>
            </a:pPr>
            <a:r>
              <a:rPr lang="en">
                <a:solidFill>
                  <a:srgbClr val="191919"/>
                </a:solidFill>
              </a:rPr>
              <a:t>And the most important thing: the audience won’t miss the point of your presentation</a:t>
            </a:r>
            <a:endParaRPr/>
          </a:p>
        </p:txBody>
      </p:sp>
      <p:pic>
        <p:nvPicPr>
          <p:cNvPr id="1482" name="Google Shape;1482;p38"/>
          <p:cNvPicPr preferRelativeResize="0"/>
          <p:nvPr/>
        </p:nvPicPr>
        <p:blipFill rotWithShape="1">
          <a:blip r:embed="rId3">
            <a:alphaModFix/>
          </a:blip>
          <a:srcRect b="33368"/>
          <a:stretch/>
        </p:blipFill>
        <p:spPr>
          <a:xfrm>
            <a:off x="5447924" y="1626550"/>
            <a:ext cx="2638500" cy="26376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86"/>
        <p:cNvGrpSpPr/>
        <p:nvPr/>
      </p:nvGrpSpPr>
      <p:grpSpPr>
        <a:xfrm>
          <a:off x="0" y="0"/>
          <a:ext cx="0" cy="0"/>
          <a:chOff x="0" y="0"/>
          <a:chExt cx="0" cy="0"/>
        </a:xfrm>
      </p:grpSpPr>
      <p:sp>
        <p:nvSpPr>
          <p:cNvPr id="1487" name="Google Shape;1487;p39"/>
          <p:cNvSpPr txBox="1">
            <a:spLocks noGrp="1"/>
          </p:cNvSpPr>
          <p:nvPr>
            <p:ph type="title"/>
          </p:nvPr>
        </p:nvSpPr>
        <p:spPr>
          <a:xfrm>
            <a:off x="720000" y="1018200"/>
            <a:ext cx="7704000" cy="1573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150,000</a:t>
            </a:r>
            <a:endParaRPr/>
          </a:p>
        </p:txBody>
      </p:sp>
      <p:sp>
        <p:nvSpPr>
          <p:cNvPr id="1488" name="Google Shape;1488;p39"/>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p>
            <a:pPr marL="0" lvl="0" indent="0" algn="ctr" rtl="0">
              <a:spcBef>
                <a:spcPts val="0"/>
              </a:spcBef>
              <a:spcAft>
                <a:spcPts val="1200"/>
              </a:spcAft>
              <a:buNone/>
            </a:pPr>
            <a:r>
              <a:rPr lang="en"/>
              <a:t>Big numbers catch your audience’s attention</a:t>
            </a:r>
            <a:endParaRPr/>
          </a:p>
        </p:txBody>
      </p:sp>
      <p:grpSp>
        <p:nvGrpSpPr>
          <p:cNvPr id="1489" name="Google Shape;1489;p39"/>
          <p:cNvGrpSpPr/>
          <p:nvPr/>
        </p:nvGrpSpPr>
        <p:grpSpPr>
          <a:xfrm flipH="1">
            <a:off x="6801175" y="3843025"/>
            <a:ext cx="1221300" cy="570400"/>
            <a:chOff x="670175" y="3809850"/>
            <a:chExt cx="1221300" cy="570400"/>
          </a:xfrm>
        </p:grpSpPr>
        <p:cxnSp>
          <p:nvCxnSpPr>
            <p:cNvPr id="1490" name="Google Shape;1490;p39"/>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1" name="Google Shape;1491;p39"/>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2" name="Google Shape;1492;p39"/>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93" name="Google Shape;1493;p39"/>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94" name="Google Shape;1494;p39"/>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5" name="Google Shape;1495;p39"/>
          <p:cNvPicPr preferRelativeResize="0"/>
          <p:nvPr/>
        </p:nvPicPr>
        <p:blipFill rotWithShape="1">
          <a:blip r:embed="rId3">
            <a:alphaModFix/>
          </a:blip>
          <a:srcRect t="3652" b="22262"/>
          <a:stretch/>
        </p:blipFill>
        <p:spPr>
          <a:xfrm flipH="1">
            <a:off x="2191174" y="3793925"/>
            <a:ext cx="4761651" cy="1035226"/>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99"/>
        <p:cNvGrpSpPr/>
        <p:nvPr/>
      </p:nvGrpSpPr>
      <p:grpSpPr>
        <a:xfrm>
          <a:off x="0" y="0"/>
          <a:ext cx="0" cy="0"/>
          <a:chOff x="0" y="0"/>
          <a:chExt cx="0" cy="0"/>
        </a:xfrm>
      </p:grpSpPr>
      <p:sp>
        <p:nvSpPr>
          <p:cNvPr id="1500" name="Google Shape;1500;p40"/>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A PICTURE ALWAYS REINFORCES </a:t>
            </a:r>
            <a:endParaRPr/>
          </a:p>
          <a:p>
            <a:pPr marL="0" lvl="0" indent="0" algn="l" rtl="0">
              <a:spcBef>
                <a:spcPts val="0"/>
              </a:spcBef>
              <a:spcAft>
                <a:spcPts val="0"/>
              </a:spcAft>
              <a:buNone/>
            </a:pPr>
            <a:r>
              <a:rPr lang="en"/>
              <a:t>THE CONCEPT</a:t>
            </a:r>
            <a:endParaRPr/>
          </a:p>
        </p:txBody>
      </p:sp>
      <p:sp>
        <p:nvSpPr>
          <p:cNvPr id="1501" name="Google Shape;1501;p40"/>
          <p:cNvSpPr txBox="1">
            <a:spLocks noGrp="1"/>
          </p:cNvSpPr>
          <p:nvPr>
            <p:ph type="subTitle" idx="1"/>
          </p:nvPr>
        </p:nvSpPr>
        <p:spPr>
          <a:xfrm>
            <a:off x="4890125" y="3337575"/>
            <a:ext cx="3315300" cy="669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Images reveal large amounts of data, so remember: use an image instead of a long text. Your audience will appreciate it</a:t>
            </a:r>
            <a:endParaRPr/>
          </a:p>
        </p:txBody>
      </p:sp>
      <p:pic>
        <p:nvPicPr>
          <p:cNvPr id="1502" name="Google Shape;1502;p40"/>
          <p:cNvPicPr preferRelativeResize="0"/>
          <p:nvPr/>
        </p:nvPicPr>
        <p:blipFill rotWithShape="1">
          <a:blip r:embed="rId3">
            <a:alphaModFix/>
          </a:blip>
          <a:srcRect r="39664"/>
          <a:stretch/>
        </p:blipFill>
        <p:spPr>
          <a:xfrm>
            <a:off x="443825" y="576425"/>
            <a:ext cx="4128174" cy="456707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sp>
        <p:nvSpPr>
          <p:cNvPr id="1507" name="Google Shape;1507;p41"/>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MISSION AND VISION</a:t>
            </a:r>
            <a:endParaRPr/>
          </a:p>
        </p:txBody>
      </p:sp>
      <p:sp>
        <p:nvSpPr>
          <p:cNvPr id="1508" name="Google Shape;1508;p41"/>
          <p:cNvSpPr txBox="1">
            <a:spLocks noGrp="1"/>
          </p:cNvSpPr>
          <p:nvPr>
            <p:ph type="title" idx="2"/>
          </p:nvPr>
        </p:nvSpPr>
        <p:spPr>
          <a:xfrm>
            <a:off x="16045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ISSION</a:t>
            </a:r>
            <a:endParaRPr/>
          </a:p>
        </p:txBody>
      </p:sp>
      <p:sp>
        <p:nvSpPr>
          <p:cNvPr id="1509" name="Google Shape;1509;p41"/>
          <p:cNvSpPr txBox="1">
            <a:spLocks noGrp="1"/>
          </p:cNvSpPr>
          <p:nvPr>
            <p:ph type="subTitle" idx="1"/>
          </p:nvPr>
        </p:nvSpPr>
        <p:spPr>
          <a:xfrm>
            <a:off x="16045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Mercury is the closest planet to the Sun and the smallest one in the Solar System. It’s only a bit larger than the Moon</a:t>
            </a:r>
            <a:endParaRPr/>
          </a:p>
        </p:txBody>
      </p:sp>
      <p:sp>
        <p:nvSpPr>
          <p:cNvPr id="1510" name="Google Shape;1510;p41"/>
          <p:cNvSpPr txBox="1">
            <a:spLocks noGrp="1"/>
          </p:cNvSpPr>
          <p:nvPr>
            <p:ph type="title" idx="3"/>
          </p:nvPr>
        </p:nvSpPr>
        <p:spPr>
          <a:xfrm>
            <a:off x="49727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ISION</a:t>
            </a:r>
            <a:endParaRPr/>
          </a:p>
        </p:txBody>
      </p:sp>
      <p:sp>
        <p:nvSpPr>
          <p:cNvPr id="1511" name="Google Shape;1511;p41"/>
          <p:cNvSpPr txBox="1">
            <a:spLocks noGrp="1"/>
          </p:cNvSpPr>
          <p:nvPr>
            <p:ph type="subTitle" idx="4"/>
          </p:nvPr>
        </p:nvSpPr>
        <p:spPr>
          <a:xfrm>
            <a:off x="49727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 It’s hot and has a poisonous atmosphere</a:t>
            </a:r>
            <a:endParaRPr/>
          </a:p>
        </p:txBody>
      </p:sp>
      <p:sp>
        <p:nvSpPr>
          <p:cNvPr id="1512" name="Google Shape;1512;p41"/>
          <p:cNvSpPr/>
          <p:nvPr/>
        </p:nvSpPr>
        <p:spPr>
          <a:xfrm>
            <a:off x="25322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1"/>
          <p:cNvSpPr/>
          <p:nvPr/>
        </p:nvSpPr>
        <p:spPr>
          <a:xfrm>
            <a:off x="59004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4" name="Google Shape;1514;p41"/>
          <p:cNvGrpSpPr/>
          <p:nvPr/>
        </p:nvGrpSpPr>
        <p:grpSpPr>
          <a:xfrm>
            <a:off x="6085655" y="2081160"/>
            <a:ext cx="340890" cy="178912"/>
            <a:chOff x="2084325" y="363300"/>
            <a:chExt cx="484150" cy="254100"/>
          </a:xfrm>
        </p:grpSpPr>
        <p:sp>
          <p:nvSpPr>
            <p:cNvPr id="1515" name="Google Shape;1515;p41"/>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6" name="Google Shape;1516;p41"/>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17" name="Google Shape;1517;p41"/>
          <p:cNvGrpSpPr/>
          <p:nvPr/>
        </p:nvGrpSpPr>
        <p:grpSpPr>
          <a:xfrm>
            <a:off x="2716610" y="2000973"/>
            <a:ext cx="342580" cy="339271"/>
            <a:chOff x="5049725" y="1435050"/>
            <a:chExt cx="486550" cy="481850"/>
          </a:xfrm>
        </p:grpSpPr>
        <p:sp>
          <p:nvSpPr>
            <p:cNvPr id="1518" name="Google Shape;1518;p41"/>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9" name="Google Shape;1519;p41"/>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0" name="Google Shape;1520;p41"/>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1" name="Google Shape;1521;p41"/>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25"/>
        <p:cNvGrpSpPr/>
        <p:nvPr/>
      </p:nvGrpSpPr>
      <p:grpSpPr>
        <a:xfrm>
          <a:off x="0" y="0"/>
          <a:ext cx="0" cy="0"/>
          <a:chOff x="0" y="0"/>
          <a:chExt cx="0" cy="0"/>
        </a:xfrm>
      </p:grpSpPr>
      <p:sp>
        <p:nvSpPr>
          <p:cNvPr id="1526" name="Google Shape;1526;p42"/>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AT SETS US APART?</a:t>
            </a:r>
            <a:endParaRPr/>
          </a:p>
        </p:txBody>
      </p:sp>
      <p:sp>
        <p:nvSpPr>
          <p:cNvPr id="1527" name="Google Shape;1527;p42"/>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28" name="Google Shape;1528;p42"/>
          <p:cNvSpPr txBox="1">
            <a:spLocks noGrp="1"/>
          </p:cNvSpPr>
          <p:nvPr>
            <p:ph type="subTitle" idx="1"/>
          </p:nvPr>
        </p:nvSpPr>
        <p:spPr>
          <a:xfrm>
            <a:off x="85772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It’s the closest planet to the Sun and the smallest in the Solar System</a:t>
            </a:r>
            <a:endParaRPr/>
          </a:p>
        </p:txBody>
      </p:sp>
      <p:sp>
        <p:nvSpPr>
          <p:cNvPr id="1529" name="Google Shape;1529;p42"/>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30" name="Google Shape;1530;p42"/>
          <p:cNvSpPr txBox="1">
            <a:spLocks noGrp="1"/>
          </p:cNvSpPr>
          <p:nvPr>
            <p:ph type="subTitle" idx="3"/>
          </p:nvPr>
        </p:nvSpPr>
        <p:spPr>
          <a:xfrm>
            <a:off x="604077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Despite being red, Mars is actually a cold place. It’s full of iron oxide dust</a:t>
            </a:r>
            <a:endParaRPr/>
          </a:p>
        </p:txBody>
      </p:sp>
      <p:sp>
        <p:nvSpPr>
          <p:cNvPr id="1531" name="Google Shape;1531;p42"/>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32" name="Google Shape;1532;p42"/>
          <p:cNvSpPr txBox="1">
            <a:spLocks noGrp="1"/>
          </p:cNvSpPr>
          <p:nvPr>
            <p:ph type="subTitle" idx="5"/>
          </p:nvPr>
        </p:nvSpPr>
        <p:spPr>
          <a:xfrm>
            <a:off x="3449250"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a:t>
            </a:r>
            <a:endParaRPr/>
          </a:p>
        </p:txBody>
      </p:sp>
      <p:sp>
        <p:nvSpPr>
          <p:cNvPr id="1533" name="Google Shape;1533;p42"/>
          <p:cNvSpPr/>
          <p:nvPr/>
        </p:nvSpPr>
        <p:spPr>
          <a:xfrm>
            <a:off x="162482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2"/>
          <p:cNvSpPr/>
          <p:nvPr/>
        </p:nvSpPr>
        <p:spPr>
          <a:xfrm>
            <a:off x="4216350"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2"/>
          <p:cNvSpPr/>
          <p:nvPr/>
        </p:nvSpPr>
        <p:spPr>
          <a:xfrm>
            <a:off x="680787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36" name="Google Shape;1536;p42"/>
          <p:cNvGrpSpPr/>
          <p:nvPr/>
        </p:nvGrpSpPr>
        <p:grpSpPr>
          <a:xfrm>
            <a:off x="1810850" y="2088183"/>
            <a:ext cx="339253" cy="308765"/>
            <a:chOff x="1492675" y="4420975"/>
            <a:chExt cx="481825" cy="438525"/>
          </a:xfrm>
        </p:grpSpPr>
        <p:sp>
          <p:nvSpPr>
            <p:cNvPr id="1537" name="Google Shape;1537;p42"/>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8" name="Google Shape;1538;p42"/>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9" name="Google Shape;1539;p42"/>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0" name="Google Shape;1540;p42"/>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1" name="Google Shape;1541;p42"/>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2" name="Google Shape;1542;p42"/>
          <p:cNvGrpSpPr/>
          <p:nvPr/>
        </p:nvGrpSpPr>
        <p:grpSpPr>
          <a:xfrm>
            <a:off x="4402346" y="2093472"/>
            <a:ext cx="339306" cy="298186"/>
            <a:chOff x="2085450" y="2057100"/>
            <a:chExt cx="481900" cy="423500"/>
          </a:xfrm>
        </p:grpSpPr>
        <p:sp>
          <p:nvSpPr>
            <p:cNvPr id="1543" name="Google Shape;1543;p42"/>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4" name="Google Shape;1544;p42"/>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5" name="Google Shape;1545;p42"/>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6" name="Google Shape;1546;p42"/>
          <p:cNvGrpSpPr/>
          <p:nvPr/>
        </p:nvGrpSpPr>
        <p:grpSpPr>
          <a:xfrm>
            <a:off x="7017486" y="2072939"/>
            <a:ext cx="292078" cy="339253"/>
            <a:chOff x="4492800" y="2027925"/>
            <a:chExt cx="414825" cy="481825"/>
          </a:xfrm>
        </p:grpSpPr>
        <p:sp>
          <p:nvSpPr>
            <p:cNvPr id="1547" name="Google Shape;1547;p42"/>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8" name="Google Shape;1548;p42"/>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79357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 b="1" dirty="0"/>
              <a:t>Table of Contents</a:t>
            </a:r>
            <a:endParaRPr lang="en-AT" b="1" dirty="0"/>
          </a:p>
        </p:txBody>
      </p:sp>
      <p:sp>
        <p:nvSpPr>
          <p:cNvPr id="3" name="Rectangle 2">
            <a:extLst>
              <a:ext uri="{FF2B5EF4-FFF2-40B4-BE49-F238E27FC236}">
                <a16:creationId xmlns:a16="http://schemas.microsoft.com/office/drawing/2014/main" id="{9A112403-561B-D4F2-20AF-B62AD7E4ECC6}"/>
              </a:ext>
            </a:extLst>
          </p:cNvPr>
          <p:cNvSpPr/>
          <p:nvPr/>
        </p:nvSpPr>
        <p:spPr>
          <a:xfrm>
            <a:off x="9641811" y="285769"/>
            <a:ext cx="5053270" cy="46035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en-GB" dirty="0"/>
              <a:t>Motivation &amp; Research Q</a:t>
            </a:r>
          </a:p>
          <a:p>
            <a:pPr marL="342900" indent="-342900" algn="ctr">
              <a:buAutoNum type="arabicPeriod"/>
            </a:pPr>
            <a:r>
              <a:rPr lang="en-GB" dirty="0"/>
              <a:t>Data Presentation </a:t>
            </a:r>
          </a:p>
          <a:p>
            <a:pPr marL="342900" indent="-342900" algn="ctr">
              <a:buAutoNum type="arabicPeriod"/>
            </a:pPr>
            <a:endParaRPr lang="en-GB" dirty="0"/>
          </a:p>
          <a:p>
            <a:pPr marL="342900" indent="-342900" algn="ctr">
              <a:buAutoNum type="arabicPeriod"/>
            </a:pPr>
            <a:r>
              <a:rPr lang="en-GB" dirty="0"/>
              <a:t>MODELS</a:t>
            </a:r>
          </a:p>
          <a:p>
            <a:pPr marL="342900" indent="-342900" algn="ctr">
              <a:buAutoNum type="arabicPeriod"/>
            </a:pPr>
            <a:r>
              <a:rPr lang="en-GB" dirty="0"/>
              <a:t>3.1 Correlation (</a:t>
            </a:r>
            <a:r>
              <a:rPr lang="en-GB" dirty="0" err="1"/>
              <a:t>Wiktor</a:t>
            </a:r>
            <a:r>
              <a:rPr lang="en-GB" dirty="0"/>
              <a:t>) </a:t>
            </a:r>
          </a:p>
          <a:p>
            <a:pPr marL="342900" indent="-342900" algn="ctr">
              <a:buAutoNum type="arabicPeriod"/>
            </a:pPr>
            <a:r>
              <a:rPr lang="en-GB" dirty="0"/>
              <a:t>Linear Regression (</a:t>
            </a:r>
            <a:r>
              <a:rPr lang="en-GB" dirty="0" err="1"/>
              <a:t>Bolormaa</a:t>
            </a:r>
            <a:r>
              <a:rPr lang="en-GB" dirty="0"/>
              <a:t>, </a:t>
            </a:r>
            <a:r>
              <a:rPr lang="en-GB" dirty="0" err="1"/>
              <a:t>Wiktor</a:t>
            </a:r>
            <a:r>
              <a:rPr lang="en-GB" dirty="0"/>
              <a:t>) </a:t>
            </a:r>
          </a:p>
          <a:p>
            <a:pPr marL="342900" indent="-342900" algn="ctr">
              <a:buAutoNum type="arabicPeriod"/>
            </a:pPr>
            <a:r>
              <a:rPr lang="en-GB" dirty="0"/>
              <a:t>Log Regression (Anna) </a:t>
            </a:r>
          </a:p>
          <a:p>
            <a:pPr marL="342900" indent="-342900" algn="ctr">
              <a:buAutoNum type="arabicPeriod"/>
            </a:pPr>
            <a:endParaRPr lang="en-GB" dirty="0"/>
          </a:p>
          <a:p>
            <a:pPr marL="342900" indent="-342900" algn="ctr">
              <a:buAutoNum type="arabicPeriod"/>
            </a:pPr>
            <a:r>
              <a:rPr lang="en-GB" dirty="0"/>
              <a:t>Trees &amp; Forest (Moritz) </a:t>
            </a:r>
          </a:p>
          <a:p>
            <a:pPr marL="342900" indent="-342900" algn="ctr">
              <a:buAutoNum type="arabicPeriod"/>
            </a:pPr>
            <a:r>
              <a:rPr lang="en-GB" dirty="0"/>
              <a:t>Clustering (Christian)</a:t>
            </a:r>
          </a:p>
          <a:p>
            <a:pPr marL="342900" indent="-342900" algn="ctr">
              <a:buAutoNum type="arabicPeriod"/>
            </a:pPr>
            <a:r>
              <a:rPr lang="en-GB" dirty="0"/>
              <a:t>Discussion and comments </a:t>
            </a:r>
            <a:endParaRPr lang="en-AT" dirty="0"/>
          </a:p>
        </p:txBody>
      </p:sp>
      <p:pic>
        <p:nvPicPr>
          <p:cNvPr id="2" name="Picture 2" descr="Zivil- und Zivilverfahrensrecht - WU (Wirtschaftsuniversität Wien)">
            <a:extLst>
              <a:ext uri="{FF2B5EF4-FFF2-40B4-BE49-F238E27FC236}">
                <a16:creationId xmlns:a16="http://schemas.microsoft.com/office/drawing/2014/main" id="{A0CB0044-F2DE-FF40-AFC9-0D638A24DF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
            <a:extLst>
              <a:ext uri="{FF2B5EF4-FFF2-40B4-BE49-F238E27FC236}">
                <a16:creationId xmlns:a16="http://schemas.microsoft.com/office/drawing/2014/main" id="{BBDE4C0A-4484-9D1B-FB59-E66D3D301801}"/>
              </a:ext>
            </a:extLst>
          </p:cNvPr>
          <p:cNvSpPr txBox="1"/>
          <p:nvPr/>
        </p:nvSpPr>
        <p:spPr>
          <a:xfrm>
            <a:off x="1171308" y="1350338"/>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1</a:t>
            </a:r>
          </a:p>
        </p:txBody>
      </p:sp>
      <p:sp>
        <p:nvSpPr>
          <p:cNvPr id="37" name="TextBox 5">
            <a:extLst>
              <a:ext uri="{FF2B5EF4-FFF2-40B4-BE49-F238E27FC236}">
                <a16:creationId xmlns:a16="http://schemas.microsoft.com/office/drawing/2014/main" id="{62A30B49-717A-3EE9-4178-CEFDE9F1F6D5}"/>
              </a:ext>
            </a:extLst>
          </p:cNvPr>
          <p:cNvSpPr txBox="1"/>
          <p:nvPr/>
        </p:nvSpPr>
        <p:spPr>
          <a:xfrm>
            <a:off x="1171308" y="2114962"/>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2</a:t>
            </a:r>
          </a:p>
        </p:txBody>
      </p:sp>
      <p:sp>
        <p:nvSpPr>
          <p:cNvPr id="39" name="TextBox 7">
            <a:extLst>
              <a:ext uri="{FF2B5EF4-FFF2-40B4-BE49-F238E27FC236}">
                <a16:creationId xmlns:a16="http://schemas.microsoft.com/office/drawing/2014/main" id="{D2667A9B-FD4C-A5F1-7B18-41FED794FA9F}"/>
              </a:ext>
            </a:extLst>
          </p:cNvPr>
          <p:cNvSpPr txBox="1"/>
          <p:nvPr/>
        </p:nvSpPr>
        <p:spPr>
          <a:xfrm>
            <a:off x="1171308" y="2879586"/>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3</a:t>
            </a:r>
          </a:p>
        </p:txBody>
      </p:sp>
      <p:sp>
        <p:nvSpPr>
          <p:cNvPr id="41" name="TextBox 9">
            <a:extLst>
              <a:ext uri="{FF2B5EF4-FFF2-40B4-BE49-F238E27FC236}">
                <a16:creationId xmlns:a16="http://schemas.microsoft.com/office/drawing/2014/main" id="{A77CCAA3-D150-B7DC-8129-18AEEA89D7C5}"/>
              </a:ext>
            </a:extLst>
          </p:cNvPr>
          <p:cNvSpPr txBox="1"/>
          <p:nvPr/>
        </p:nvSpPr>
        <p:spPr>
          <a:xfrm>
            <a:off x="1183554" y="1742187"/>
            <a:ext cx="2660094" cy="215444"/>
          </a:xfrm>
          <a:prstGeom prst="rect">
            <a:avLst/>
          </a:prstGeom>
        </p:spPr>
        <p:txBody>
          <a:bodyPr lIns="0" tIns="0" rIns="0" bIns="0" rtlCol="0" anchor="t">
            <a:spAutoFit/>
          </a:bodyPr>
          <a:lstStyle/>
          <a:p>
            <a:r>
              <a:rPr lang="en-GB" dirty="0"/>
              <a:t>Motivation &amp; Research Questions</a:t>
            </a:r>
          </a:p>
        </p:txBody>
      </p:sp>
      <p:sp>
        <p:nvSpPr>
          <p:cNvPr id="43" name="TextBox 11">
            <a:extLst>
              <a:ext uri="{FF2B5EF4-FFF2-40B4-BE49-F238E27FC236}">
                <a16:creationId xmlns:a16="http://schemas.microsoft.com/office/drawing/2014/main" id="{DA1A4FA0-CEB7-B041-E9E5-2C4371BAC160}"/>
              </a:ext>
            </a:extLst>
          </p:cNvPr>
          <p:cNvSpPr txBox="1"/>
          <p:nvPr/>
        </p:nvSpPr>
        <p:spPr>
          <a:xfrm>
            <a:off x="1183554" y="2500461"/>
            <a:ext cx="1489282" cy="215444"/>
          </a:xfrm>
          <a:prstGeom prst="rect">
            <a:avLst/>
          </a:prstGeom>
        </p:spPr>
        <p:txBody>
          <a:bodyPr wrap="square" lIns="0" tIns="0" rIns="0" bIns="0" rtlCol="0" anchor="t">
            <a:spAutoFit/>
          </a:bodyPr>
          <a:lstStyle/>
          <a:p>
            <a:pPr marL="0" lvl="0" indent="0"/>
            <a:r>
              <a:rPr lang="en-US" dirty="0"/>
              <a:t>Data Selection </a:t>
            </a:r>
          </a:p>
        </p:txBody>
      </p:sp>
      <p:sp>
        <p:nvSpPr>
          <p:cNvPr id="49" name="TextBox 17">
            <a:extLst>
              <a:ext uri="{FF2B5EF4-FFF2-40B4-BE49-F238E27FC236}">
                <a16:creationId xmlns:a16="http://schemas.microsoft.com/office/drawing/2014/main" id="{9B8D106A-7373-932D-2C27-53708D456525}"/>
              </a:ext>
            </a:extLst>
          </p:cNvPr>
          <p:cNvSpPr txBox="1"/>
          <p:nvPr/>
        </p:nvSpPr>
        <p:spPr>
          <a:xfrm>
            <a:off x="1183554" y="4017009"/>
            <a:ext cx="2660094" cy="215444"/>
          </a:xfrm>
          <a:prstGeom prst="rect">
            <a:avLst/>
          </a:prstGeom>
        </p:spPr>
        <p:txBody>
          <a:bodyPr wrap="square" lIns="0" tIns="0" rIns="0" bIns="0" rtlCol="0" anchor="t">
            <a:spAutoFit/>
          </a:bodyPr>
          <a:lstStyle>
            <a:defPPr marR="0" lvl="0" algn="l" rtl="0">
              <a:lnSpc>
                <a:spcPct val="100000"/>
              </a:lnSpc>
              <a:spcBef>
                <a:spcPts val="0"/>
              </a:spcBef>
              <a:spcAft>
                <a:spcPts val="0"/>
              </a:spcAft>
            </a:defPPr>
            <a:lvl1pPr marL="0" indent="0">
              <a:defRPr sz="1050"/>
            </a:lvl1pPr>
          </a:lstStyle>
          <a:p>
            <a:r>
              <a:rPr lang="en-US" sz="1400" dirty="0"/>
              <a:t>Linear Regression</a:t>
            </a:r>
          </a:p>
        </p:txBody>
      </p:sp>
      <p:sp>
        <p:nvSpPr>
          <p:cNvPr id="36" name="TextBox 4">
            <a:extLst>
              <a:ext uri="{FF2B5EF4-FFF2-40B4-BE49-F238E27FC236}">
                <a16:creationId xmlns:a16="http://schemas.microsoft.com/office/drawing/2014/main" id="{41CB1FBE-2DD6-D4AD-D1A1-9D110ACDCCD1}"/>
              </a:ext>
            </a:extLst>
          </p:cNvPr>
          <p:cNvSpPr txBox="1"/>
          <p:nvPr/>
        </p:nvSpPr>
        <p:spPr>
          <a:xfrm>
            <a:off x="5333905" y="1345955"/>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5</a:t>
            </a:r>
          </a:p>
        </p:txBody>
      </p:sp>
      <p:sp>
        <p:nvSpPr>
          <p:cNvPr id="38" name="TextBox 6">
            <a:extLst>
              <a:ext uri="{FF2B5EF4-FFF2-40B4-BE49-F238E27FC236}">
                <a16:creationId xmlns:a16="http://schemas.microsoft.com/office/drawing/2014/main" id="{C448C499-FAA0-E45B-E2C5-3B7FA9DE84BA}"/>
              </a:ext>
            </a:extLst>
          </p:cNvPr>
          <p:cNvSpPr txBox="1"/>
          <p:nvPr/>
        </p:nvSpPr>
        <p:spPr>
          <a:xfrm>
            <a:off x="5333905" y="2115727"/>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6</a:t>
            </a:r>
          </a:p>
        </p:txBody>
      </p:sp>
      <p:sp>
        <p:nvSpPr>
          <p:cNvPr id="40" name="TextBox 8">
            <a:extLst>
              <a:ext uri="{FF2B5EF4-FFF2-40B4-BE49-F238E27FC236}">
                <a16:creationId xmlns:a16="http://schemas.microsoft.com/office/drawing/2014/main" id="{60D91CFF-9CBA-2F24-99D8-0FAF64377F3B}"/>
              </a:ext>
            </a:extLst>
          </p:cNvPr>
          <p:cNvSpPr txBox="1"/>
          <p:nvPr/>
        </p:nvSpPr>
        <p:spPr>
          <a:xfrm>
            <a:off x="5333905" y="2885499"/>
            <a:ext cx="2660094" cy="430887"/>
          </a:xfrm>
          <a:prstGeom prst="rect">
            <a:avLst/>
          </a:prstGeom>
        </p:spPr>
        <p:txBody>
          <a:bodyPr lIns="0" tIns="0" rIns="0" bIns="0" rtlCol="0" anchor="t">
            <a:spAutoFit/>
          </a:bodyPr>
          <a:lstStyle/>
          <a:p>
            <a:pPr marL="0" lvl="0" indent="0"/>
            <a:r>
              <a:rPr lang="en-US" sz="2800" b="1" spc="300">
                <a:solidFill>
                  <a:srgbClr val="BF1F1F"/>
                </a:solidFill>
                <a:latin typeface="Helios Extended Bold"/>
              </a:rPr>
              <a:t>07</a:t>
            </a:r>
          </a:p>
        </p:txBody>
      </p:sp>
      <p:sp>
        <p:nvSpPr>
          <p:cNvPr id="42" name="TextBox 10">
            <a:extLst>
              <a:ext uri="{FF2B5EF4-FFF2-40B4-BE49-F238E27FC236}">
                <a16:creationId xmlns:a16="http://schemas.microsoft.com/office/drawing/2014/main" id="{06E9EA41-952E-F88A-B975-ABDC3D08DCAA}"/>
              </a:ext>
            </a:extLst>
          </p:cNvPr>
          <p:cNvSpPr txBox="1"/>
          <p:nvPr/>
        </p:nvSpPr>
        <p:spPr>
          <a:xfrm>
            <a:off x="5304464" y="1746860"/>
            <a:ext cx="2660094" cy="215444"/>
          </a:xfrm>
          <a:prstGeom prst="rect">
            <a:avLst/>
          </a:prstGeom>
        </p:spPr>
        <p:txBody>
          <a:bodyPr lIns="0" tIns="0" rIns="0" bIns="0" rtlCol="0" anchor="t">
            <a:spAutoFit/>
          </a:bodyPr>
          <a:lstStyle/>
          <a:p>
            <a:pPr marL="0" lvl="0" indent="0"/>
            <a:r>
              <a:rPr lang="en-US" dirty="0"/>
              <a:t>Log Regression</a:t>
            </a:r>
          </a:p>
        </p:txBody>
      </p:sp>
      <p:sp>
        <p:nvSpPr>
          <p:cNvPr id="44" name="TextBox 12">
            <a:extLst>
              <a:ext uri="{FF2B5EF4-FFF2-40B4-BE49-F238E27FC236}">
                <a16:creationId xmlns:a16="http://schemas.microsoft.com/office/drawing/2014/main" id="{6A6BC5EA-E384-1EA9-DBB2-5660685D9705}"/>
              </a:ext>
            </a:extLst>
          </p:cNvPr>
          <p:cNvSpPr txBox="1"/>
          <p:nvPr/>
        </p:nvSpPr>
        <p:spPr>
          <a:xfrm>
            <a:off x="5304464" y="2507172"/>
            <a:ext cx="2660094" cy="215444"/>
          </a:xfrm>
          <a:prstGeom prst="rect">
            <a:avLst/>
          </a:prstGeom>
        </p:spPr>
        <p:txBody>
          <a:bodyPr lIns="0" tIns="0" rIns="0" bIns="0" rtlCol="0" anchor="t">
            <a:spAutoFit/>
          </a:bodyPr>
          <a:lstStyle/>
          <a:p>
            <a:pPr marL="0" lvl="0" indent="0"/>
            <a:r>
              <a:rPr lang="en-US" dirty="0"/>
              <a:t>Trees &amp; Forest</a:t>
            </a:r>
          </a:p>
        </p:txBody>
      </p:sp>
      <p:sp>
        <p:nvSpPr>
          <p:cNvPr id="46" name="TextBox 14">
            <a:extLst>
              <a:ext uri="{FF2B5EF4-FFF2-40B4-BE49-F238E27FC236}">
                <a16:creationId xmlns:a16="http://schemas.microsoft.com/office/drawing/2014/main" id="{F7DD4A1C-5556-7D55-0CC2-4B326A20455C}"/>
              </a:ext>
            </a:extLst>
          </p:cNvPr>
          <p:cNvSpPr txBox="1"/>
          <p:nvPr/>
        </p:nvSpPr>
        <p:spPr>
          <a:xfrm>
            <a:off x="5304464" y="3267484"/>
            <a:ext cx="2660094" cy="215444"/>
          </a:xfrm>
          <a:prstGeom prst="rect">
            <a:avLst/>
          </a:prstGeom>
        </p:spPr>
        <p:txBody>
          <a:bodyPr lIns="0" tIns="0" rIns="0" bIns="0" rtlCol="0" anchor="t">
            <a:spAutoFit/>
          </a:bodyPr>
          <a:lstStyle/>
          <a:p>
            <a:pPr marL="0" lvl="0" indent="0"/>
            <a:r>
              <a:rPr lang="en-US" dirty="0"/>
              <a:t>Clustering</a:t>
            </a:r>
          </a:p>
        </p:txBody>
      </p:sp>
      <p:sp>
        <p:nvSpPr>
          <p:cNvPr id="48" name="TextBox 16">
            <a:extLst>
              <a:ext uri="{FF2B5EF4-FFF2-40B4-BE49-F238E27FC236}">
                <a16:creationId xmlns:a16="http://schemas.microsoft.com/office/drawing/2014/main" id="{B1D82196-909F-3A90-9663-92289A5245E3}"/>
              </a:ext>
            </a:extLst>
          </p:cNvPr>
          <p:cNvSpPr txBox="1"/>
          <p:nvPr/>
        </p:nvSpPr>
        <p:spPr>
          <a:xfrm>
            <a:off x="5333905" y="3655270"/>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8</a:t>
            </a:r>
          </a:p>
        </p:txBody>
      </p:sp>
      <p:sp>
        <p:nvSpPr>
          <p:cNvPr id="50" name="TextBox 18">
            <a:extLst>
              <a:ext uri="{FF2B5EF4-FFF2-40B4-BE49-F238E27FC236}">
                <a16:creationId xmlns:a16="http://schemas.microsoft.com/office/drawing/2014/main" id="{5006890B-AEB5-70F8-8B8F-C1A53534A214}"/>
              </a:ext>
            </a:extLst>
          </p:cNvPr>
          <p:cNvSpPr txBox="1"/>
          <p:nvPr/>
        </p:nvSpPr>
        <p:spPr>
          <a:xfrm>
            <a:off x="5304464" y="4027797"/>
            <a:ext cx="2660094" cy="215444"/>
          </a:xfrm>
          <a:prstGeom prst="rect">
            <a:avLst/>
          </a:prstGeom>
        </p:spPr>
        <p:txBody>
          <a:bodyPr lIns="0" tIns="0" rIns="0" bIns="0" rtlCol="0" anchor="t">
            <a:spAutoFit/>
          </a:bodyPr>
          <a:lstStyle/>
          <a:p>
            <a:pPr marL="0" lvl="0" indent="0"/>
            <a:r>
              <a:rPr lang="en-US" dirty="0"/>
              <a:t>Discussion and comments</a:t>
            </a:r>
          </a:p>
        </p:txBody>
      </p:sp>
      <p:sp>
        <p:nvSpPr>
          <p:cNvPr id="54" name="TextBox 11">
            <a:extLst>
              <a:ext uri="{FF2B5EF4-FFF2-40B4-BE49-F238E27FC236}">
                <a16:creationId xmlns:a16="http://schemas.microsoft.com/office/drawing/2014/main" id="{14284F4E-26A9-DAC1-98E6-064B032C052E}"/>
              </a:ext>
            </a:extLst>
          </p:cNvPr>
          <p:cNvSpPr txBox="1"/>
          <p:nvPr/>
        </p:nvSpPr>
        <p:spPr>
          <a:xfrm>
            <a:off x="1183554" y="3258735"/>
            <a:ext cx="1489282" cy="215444"/>
          </a:xfrm>
          <a:prstGeom prst="rect">
            <a:avLst/>
          </a:prstGeom>
        </p:spPr>
        <p:txBody>
          <a:bodyPr wrap="square" lIns="0" tIns="0" rIns="0" bIns="0" rtlCol="0" anchor="t">
            <a:spAutoFit/>
          </a:bodyPr>
          <a:lstStyle/>
          <a:p>
            <a:pPr marL="0" lvl="0" indent="0"/>
            <a:r>
              <a:rPr lang="en-US" dirty="0"/>
              <a:t>Correlation</a:t>
            </a:r>
          </a:p>
        </p:txBody>
      </p:sp>
      <p:sp>
        <p:nvSpPr>
          <p:cNvPr id="58" name="TextBox 7">
            <a:extLst>
              <a:ext uri="{FF2B5EF4-FFF2-40B4-BE49-F238E27FC236}">
                <a16:creationId xmlns:a16="http://schemas.microsoft.com/office/drawing/2014/main" id="{255B9362-31F8-1459-E02F-B9398CA2C26E}"/>
              </a:ext>
            </a:extLst>
          </p:cNvPr>
          <p:cNvSpPr txBox="1"/>
          <p:nvPr/>
        </p:nvSpPr>
        <p:spPr>
          <a:xfrm>
            <a:off x="1171308" y="3644209"/>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4</a:t>
            </a:r>
          </a:p>
        </p:txBody>
      </p:sp>
    </p:spTree>
    <p:extLst>
      <p:ext uri="{BB962C8B-B14F-4D97-AF65-F5344CB8AC3E}">
        <p14:creationId xmlns:p14="http://schemas.microsoft.com/office/powerpoint/2010/main" val="1338912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552"/>
        <p:cNvGrpSpPr/>
        <p:nvPr/>
      </p:nvGrpSpPr>
      <p:grpSpPr>
        <a:xfrm>
          <a:off x="0" y="0"/>
          <a:ext cx="0" cy="0"/>
          <a:chOff x="0" y="0"/>
          <a:chExt cx="0" cy="0"/>
        </a:xfrm>
      </p:grpSpPr>
      <p:sp>
        <p:nvSpPr>
          <p:cNvPr id="1553" name="Google Shape;1553;p4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VALUES</a:t>
            </a:r>
            <a:endParaRPr/>
          </a:p>
        </p:txBody>
      </p:sp>
      <p:sp>
        <p:nvSpPr>
          <p:cNvPr id="1554" name="Google Shape;1554;p43"/>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55" name="Google Shape;1555;p43"/>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ercury is the closest planet to the Sun and the smallest of them all </a:t>
            </a:r>
            <a:endParaRPr/>
          </a:p>
        </p:txBody>
      </p:sp>
      <p:sp>
        <p:nvSpPr>
          <p:cNvPr id="1556" name="Google Shape;1556;p43"/>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57" name="Google Shape;1557;p43"/>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Venus has a beautiful name and is the second planet from the Sun</a:t>
            </a:r>
            <a:endParaRPr/>
          </a:p>
        </p:txBody>
      </p:sp>
      <p:sp>
        <p:nvSpPr>
          <p:cNvPr id="1558" name="Google Shape;1558;p43"/>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59" name="Google Shape;1559;p43"/>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ars is full of iron oxide dust, which gives the planet its reddish cast</a:t>
            </a:r>
            <a:endParaRPr/>
          </a:p>
        </p:txBody>
      </p:sp>
      <p:sp>
        <p:nvSpPr>
          <p:cNvPr id="1560" name="Google Shape;1560;p43"/>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61" name="Google Shape;1561;p43"/>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Jupiter was named after the Roman god of the skies and lightning</a:t>
            </a:r>
            <a:endParaRPr/>
          </a:p>
        </p:txBody>
      </p:sp>
      <p:sp>
        <p:nvSpPr>
          <p:cNvPr id="1562" name="Google Shape;1562;p43"/>
          <p:cNvSpPr/>
          <p:nvPr/>
        </p:nvSpPr>
        <p:spPr>
          <a:xfrm>
            <a:off x="1697825" y="141858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3"/>
          <p:cNvSpPr/>
          <p:nvPr/>
        </p:nvSpPr>
        <p:spPr>
          <a:xfrm>
            <a:off x="1697825" y="221606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3"/>
          <p:cNvSpPr/>
          <p:nvPr/>
        </p:nvSpPr>
        <p:spPr>
          <a:xfrm>
            <a:off x="1697825" y="30135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3"/>
          <p:cNvSpPr/>
          <p:nvPr/>
        </p:nvSpPr>
        <p:spPr>
          <a:xfrm>
            <a:off x="1697825" y="38110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3"/>
          <p:cNvSpPr/>
          <p:nvPr/>
        </p:nvSpPr>
        <p:spPr>
          <a:xfrm>
            <a:off x="1868942" y="1589682"/>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67" name="Google Shape;1567;p43"/>
          <p:cNvGrpSpPr/>
          <p:nvPr/>
        </p:nvGrpSpPr>
        <p:grpSpPr>
          <a:xfrm>
            <a:off x="1931597" y="2388081"/>
            <a:ext cx="264317" cy="367290"/>
            <a:chOff x="-64001300" y="4093650"/>
            <a:chExt cx="228450" cy="317450"/>
          </a:xfrm>
        </p:grpSpPr>
        <p:sp>
          <p:nvSpPr>
            <p:cNvPr id="1568" name="Google Shape;1568;p43"/>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3"/>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3"/>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3"/>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2" name="Google Shape;1572;p43"/>
          <p:cNvGrpSpPr/>
          <p:nvPr/>
        </p:nvGrpSpPr>
        <p:grpSpPr>
          <a:xfrm>
            <a:off x="1870306" y="3185555"/>
            <a:ext cx="366364" cy="367290"/>
            <a:chOff x="-61784125" y="3377700"/>
            <a:chExt cx="316650" cy="317450"/>
          </a:xfrm>
        </p:grpSpPr>
        <p:sp>
          <p:nvSpPr>
            <p:cNvPr id="1573" name="Google Shape;1573;p43"/>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3"/>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3"/>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3"/>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3"/>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3"/>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3"/>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80" name="Google Shape;1580;p43"/>
          <p:cNvGrpSpPr/>
          <p:nvPr/>
        </p:nvGrpSpPr>
        <p:grpSpPr>
          <a:xfrm>
            <a:off x="1883856" y="3997036"/>
            <a:ext cx="339253" cy="339253"/>
            <a:chOff x="5660400" y="238125"/>
            <a:chExt cx="481825" cy="481825"/>
          </a:xfrm>
        </p:grpSpPr>
        <p:sp>
          <p:nvSpPr>
            <p:cNvPr id="1581" name="Google Shape;1581;p43"/>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82" name="Google Shape;1582;p43"/>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6"/>
        <p:cNvGrpSpPr/>
        <p:nvPr/>
      </p:nvGrpSpPr>
      <p:grpSpPr>
        <a:xfrm>
          <a:off x="0" y="0"/>
          <a:ext cx="0" cy="0"/>
          <a:chOff x="0" y="0"/>
          <a:chExt cx="0" cy="0"/>
        </a:xfrm>
      </p:grpSpPr>
      <p:sp>
        <p:nvSpPr>
          <p:cNvPr id="1587" name="Google Shape;1587;p4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ACADEMIC AREAS</a:t>
            </a:r>
            <a:endParaRPr/>
          </a:p>
        </p:txBody>
      </p:sp>
      <p:sp>
        <p:nvSpPr>
          <p:cNvPr id="1588" name="Google Shape;1588;p44"/>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89" name="Google Shape;1589;p44"/>
          <p:cNvSpPr txBox="1">
            <a:spLocks noGrp="1"/>
          </p:cNvSpPr>
          <p:nvPr>
            <p:ph type="subTitle" idx="1"/>
          </p:nvPr>
        </p:nvSpPr>
        <p:spPr>
          <a:xfrm>
            <a:off x="85772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smallest planet of them all</a:t>
            </a:r>
            <a:endParaRPr/>
          </a:p>
        </p:txBody>
      </p:sp>
      <p:sp>
        <p:nvSpPr>
          <p:cNvPr id="1590" name="Google Shape;1590;p44"/>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91" name="Google Shape;1591;p44"/>
          <p:cNvSpPr txBox="1">
            <a:spLocks noGrp="1"/>
          </p:cNvSpPr>
          <p:nvPr>
            <p:ph type="subTitle" idx="6"/>
          </p:nvPr>
        </p:nvSpPr>
        <p:spPr>
          <a:xfrm>
            <a:off x="3449250"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Venus is extremely hot, even more than Mercury</a:t>
            </a:r>
            <a:endParaRPr/>
          </a:p>
        </p:txBody>
      </p:sp>
      <p:sp>
        <p:nvSpPr>
          <p:cNvPr id="1592" name="Google Shape;1592;p44"/>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93" name="Google Shape;1593;p44"/>
          <p:cNvSpPr txBox="1">
            <a:spLocks noGrp="1"/>
          </p:cNvSpPr>
          <p:nvPr>
            <p:ph type="subTitle" idx="4"/>
          </p:nvPr>
        </p:nvSpPr>
        <p:spPr>
          <a:xfrm>
            <a:off x="604077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Despite being red, Mars is actually a cold place</a:t>
            </a:r>
            <a:endParaRPr/>
          </a:p>
        </p:txBody>
      </p:sp>
      <p:sp>
        <p:nvSpPr>
          <p:cNvPr id="1594" name="Google Shape;1594;p44"/>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95" name="Google Shape;1595;p44"/>
          <p:cNvSpPr txBox="1">
            <a:spLocks noGrp="1"/>
          </p:cNvSpPr>
          <p:nvPr>
            <p:ph type="subTitle" idx="8"/>
          </p:nvPr>
        </p:nvSpPr>
        <p:spPr>
          <a:xfrm>
            <a:off x="85772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596" name="Google Shape;1596;p44"/>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NEPTUNE</a:t>
            </a:r>
            <a:endParaRPr/>
          </a:p>
        </p:txBody>
      </p:sp>
      <p:sp>
        <p:nvSpPr>
          <p:cNvPr id="1597" name="Google Shape;1597;p44"/>
          <p:cNvSpPr txBox="1">
            <a:spLocks noGrp="1"/>
          </p:cNvSpPr>
          <p:nvPr>
            <p:ph type="subTitle" idx="13"/>
          </p:nvPr>
        </p:nvSpPr>
        <p:spPr>
          <a:xfrm>
            <a:off x="604077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598" name="Google Shape;1598;p44"/>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ATURN</a:t>
            </a:r>
            <a:endParaRPr/>
          </a:p>
        </p:txBody>
      </p:sp>
      <p:sp>
        <p:nvSpPr>
          <p:cNvPr id="1599" name="Google Shape;1599;p44"/>
          <p:cNvSpPr txBox="1">
            <a:spLocks noGrp="1"/>
          </p:cNvSpPr>
          <p:nvPr>
            <p:ph type="subTitle" idx="15"/>
          </p:nvPr>
        </p:nvSpPr>
        <p:spPr>
          <a:xfrm>
            <a:off x="3449250"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not the only planet with rings</a:t>
            </a:r>
            <a:endParaRPr/>
          </a:p>
        </p:txBody>
      </p:sp>
      <p:sp>
        <p:nvSpPr>
          <p:cNvPr id="1600" name="Google Shape;1600;p44"/>
          <p:cNvSpPr/>
          <p:nvPr/>
        </p:nvSpPr>
        <p:spPr>
          <a:xfrm>
            <a:off x="172907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1</a:t>
            </a:r>
            <a:endParaRPr>
              <a:solidFill>
                <a:schemeClr val="lt1"/>
              </a:solidFill>
              <a:latin typeface="Krona One"/>
              <a:ea typeface="Krona One"/>
              <a:cs typeface="Krona One"/>
              <a:sym typeface="Krona One"/>
            </a:endParaRPr>
          </a:p>
        </p:txBody>
      </p:sp>
      <p:sp>
        <p:nvSpPr>
          <p:cNvPr id="1601" name="Google Shape;1601;p44"/>
          <p:cNvSpPr/>
          <p:nvPr/>
        </p:nvSpPr>
        <p:spPr>
          <a:xfrm>
            <a:off x="4320600"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2</a:t>
            </a:r>
            <a:endParaRPr>
              <a:solidFill>
                <a:schemeClr val="lt1"/>
              </a:solidFill>
              <a:latin typeface="Krona One"/>
              <a:ea typeface="Krona One"/>
              <a:cs typeface="Krona One"/>
              <a:sym typeface="Krona One"/>
            </a:endParaRPr>
          </a:p>
        </p:txBody>
      </p:sp>
      <p:sp>
        <p:nvSpPr>
          <p:cNvPr id="1602" name="Google Shape;1602;p44"/>
          <p:cNvSpPr/>
          <p:nvPr/>
        </p:nvSpPr>
        <p:spPr>
          <a:xfrm>
            <a:off x="691212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3</a:t>
            </a:r>
            <a:endParaRPr>
              <a:solidFill>
                <a:schemeClr val="lt1"/>
              </a:solidFill>
              <a:latin typeface="Krona One"/>
              <a:ea typeface="Krona One"/>
              <a:cs typeface="Krona One"/>
              <a:sym typeface="Krona One"/>
            </a:endParaRPr>
          </a:p>
        </p:txBody>
      </p:sp>
      <p:sp>
        <p:nvSpPr>
          <p:cNvPr id="1603" name="Google Shape;1603;p44"/>
          <p:cNvSpPr/>
          <p:nvPr/>
        </p:nvSpPr>
        <p:spPr>
          <a:xfrm>
            <a:off x="172907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4</a:t>
            </a:r>
            <a:endParaRPr>
              <a:solidFill>
                <a:schemeClr val="lt1"/>
              </a:solidFill>
              <a:latin typeface="Krona One"/>
              <a:ea typeface="Krona One"/>
              <a:cs typeface="Krona One"/>
              <a:sym typeface="Krona One"/>
            </a:endParaRPr>
          </a:p>
        </p:txBody>
      </p:sp>
      <p:sp>
        <p:nvSpPr>
          <p:cNvPr id="1604" name="Google Shape;1604;p44"/>
          <p:cNvSpPr/>
          <p:nvPr/>
        </p:nvSpPr>
        <p:spPr>
          <a:xfrm>
            <a:off x="4320600"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5</a:t>
            </a:r>
            <a:endParaRPr>
              <a:solidFill>
                <a:schemeClr val="lt1"/>
              </a:solidFill>
              <a:latin typeface="Krona One"/>
              <a:ea typeface="Krona One"/>
              <a:cs typeface="Krona One"/>
              <a:sym typeface="Krona One"/>
            </a:endParaRPr>
          </a:p>
        </p:txBody>
      </p:sp>
      <p:sp>
        <p:nvSpPr>
          <p:cNvPr id="1605" name="Google Shape;1605;p44"/>
          <p:cNvSpPr/>
          <p:nvPr/>
        </p:nvSpPr>
        <p:spPr>
          <a:xfrm>
            <a:off x="691212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6</a:t>
            </a:r>
            <a:endParaRPr>
              <a:solidFill>
                <a:schemeClr val="lt1"/>
              </a:solidFill>
              <a:latin typeface="Krona One"/>
              <a:ea typeface="Krona One"/>
              <a:cs typeface="Krona One"/>
              <a:sym typeface="Krona One"/>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45"/>
          <p:cNvSpPr txBox="1">
            <a:spLocks noGrp="1"/>
          </p:cNvSpPr>
          <p:nvPr>
            <p:ph type="subTitle" idx="8"/>
          </p:nvPr>
        </p:nvSpPr>
        <p:spPr>
          <a:xfrm>
            <a:off x="865061" y="2283075"/>
            <a:ext cx="2630400" cy="14859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Venus has a beautiful name and is the second planet. It’s terribly hot, and its atmosphere is poisonous. It’s the second brightest natural object in the night sky after the Moon. Earth is the third planet from the Sun</a:t>
            </a:r>
            <a:endParaRPr/>
          </a:p>
        </p:txBody>
      </p:sp>
      <p:sp>
        <p:nvSpPr>
          <p:cNvPr id="1611" name="Google Shape;1611;p4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SUCCESS</a:t>
            </a:r>
            <a:endParaRPr/>
          </a:p>
        </p:txBody>
      </p:sp>
      <p:sp>
        <p:nvSpPr>
          <p:cNvPr id="1612" name="Google Shape;1612;p45"/>
          <p:cNvSpPr txBox="1">
            <a:spLocks noGrp="1"/>
          </p:cNvSpPr>
          <p:nvPr>
            <p:ph type="subTitle" idx="4"/>
          </p:nvPr>
        </p:nvSpPr>
        <p:spPr>
          <a:xfrm>
            <a:off x="3641711"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composed of hydrogen and helium</a:t>
            </a:r>
            <a:endParaRPr/>
          </a:p>
        </p:txBody>
      </p:sp>
      <p:sp>
        <p:nvSpPr>
          <p:cNvPr id="1613" name="Google Shape;1613;p45"/>
          <p:cNvSpPr txBox="1">
            <a:spLocks noGrp="1"/>
          </p:cNvSpPr>
          <p:nvPr>
            <p:ph type="subTitle" idx="1"/>
          </p:nvPr>
        </p:nvSpPr>
        <p:spPr>
          <a:xfrm>
            <a:off x="3641711"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closest planet to the Sun</a:t>
            </a:r>
            <a:endParaRPr/>
          </a:p>
        </p:txBody>
      </p:sp>
      <p:sp>
        <p:nvSpPr>
          <p:cNvPr id="1614" name="Google Shape;1614;p45"/>
          <p:cNvSpPr txBox="1">
            <a:spLocks noGrp="1"/>
          </p:cNvSpPr>
          <p:nvPr>
            <p:ph type="subTitle" idx="2"/>
          </p:nvPr>
        </p:nvSpPr>
        <p:spPr>
          <a:xfrm>
            <a:off x="6033439"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615" name="Google Shape;1615;p45"/>
          <p:cNvSpPr txBox="1">
            <a:spLocks noGrp="1"/>
          </p:cNvSpPr>
          <p:nvPr>
            <p:ph type="title"/>
          </p:nvPr>
        </p:nvSpPr>
        <p:spPr>
          <a:xfrm>
            <a:off x="3641711"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15,000</a:t>
            </a:r>
            <a:endParaRPr/>
          </a:p>
        </p:txBody>
      </p:sp>
      <p:sp>
        <p:nvSpPr>
          <p:cNvPr id="1616" name="Google Shape;1616;p45"/>
          <p:cNvSpPr txBox="1">
            <a:spLocks noGrp="1"/>
          </p:cNvSpPr>
          <p:nvPr>
            <p:ph type="title" idx="3"/>
          </p:nvPr>
        </p:nvSpPr>
        <p:spPr>
          <a:xfrm>
            <a:off x="6033439"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27,000</a:t>
            </a:r>
            <a:endParaRPr/>
          </a:p>
        </p:txBody>
      </p:sp>
      <p:sp>
        <p:nvSpPr>
          <p:cNvPr id="1617" name="Google Shape;1617;p45"/>
          <p:cNvSpPr txBox="1">
            <a:spLocks noGrp="1"/>
          </p:cNvSpPr>
          <p:nvPr>
            <p:ph type="subTitle" idx="5"/>
          </p:nvPr>
        </p:nvSpPr>
        <p:spPr>
          <a:xfrm>
            <a:off x="6033437"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618" name="Google Shape;1618;p45"/>
          <p:cNvSpPr txBox="1">
            <a:spLocks noGrp="1"/>
          </p:cNvSpPr>
          <p:nvPr>
            <p:ph type="title" idx="6"/>
          </p:nvPr>
        </p:nvSpPr>
        <p:spPr>
          <a:xfrm>
            <a:off x="3641711"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3,450</a:t>
            </a:r>
            <a:endParaRPr/>
          </a:p>
        </p:txBody>
      </p:sp>
      <p:sp>
        <p:nvSpPr>
          <p:cNvPr id="1619" name="Google Shape;1619;p45"/>
          <p:cNvSpPr txBox="1">
            <a:spLocks noGrp="1"/>
          </p:cNvSpPr>
          <p:nvPr>
            <p:ph type="title" idx="7"/>
          </p:nvPr>
        </p:nvSpPr>
        <p:spPr>
          <a:xfrm>
            <a:off x="6033439"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78,000</a:t>
            </a:r>
            <a:endParaRPr/>
          </a:p>
        </p:txBody>
      </p:sp>
      <p:sp>
        <p:nvSpPr>
          <p:cNvPr id="1620" name="Google Shape;1620;p4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CLUSIONS</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24"/>
        <p:cNvGrpSpPr/>
        <p:nvPr/>
      </p:nvGrpSpPr>
      <p:grpSpPr>
        <a:xfrm>
          <a:off x="0" y="0"/>
          <a:ext cx="0" cy="0"/>
          <a:chOff x="0" y="0"/>
          <a:chExt cx="0" cy="0"/>
        </a:xfrm>
      </p:grpSpPr>
      <p:sp>
        <p:nvSpPr>
          <p:cNvPr id="1625" name="Google Shape;1625;p4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TEACHING METHOD</a:t>
            </a:r>
            <a:endParaRPr/>
          </a:p>
        </p:txBody>
      </p:sp>
      <p:sp>
        <p:nvSpPr>
          <p:cNvPr id="1626" name="Google Shape;1626;p46"/>
          <p:cNvSpPr txBox="1"/>
          <p:nvPr/>
        </p:nvSpPr>
        <p:spPr>
          <a:xfrm>
            <a:off x="720050" y="1348750"/>
            <a:ext cx="7704000" cy="338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THE ACADEMIC CONTENT</a:t>
            </a:r>
            <a:endParaRPr sz="1800">
              <a:solidFill>
                <a:srgbClr val="000000"/>
              </a:solidFill>
              <a:latin typeface="Krona One"/>
              <a:ea typeface="Krona One"/>
              <a:cs typeface="Krona One"/>
              <a:sym typeface="Krona One"/>
            </a:endParaRPr>
          </a:p>
        </p:txBody>
      </p:sp>
      <p:sp>
        <p:nvSpPr>
          <p:cNvPr id="1627" name="Google Shape;1627;p46"/>
          <p:cNvSpPr txBox="1"/>
          <p:nvPr/>
        </p:nvSpPr>
        <p:spPr>
          <a:xfrm>
            <a:off x="720050" y="1704976"/>
            <a:ext cx="7704000" cy="2592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Mercury is the closest planet to the Sun and the smallest one in the Solar System</a:t>
            </a:r>
            <a:endParaRPr>
              <a:latin typeface="Jost"/>
              <a:ea typeface="Jost"/>
              <a:cs typeface="Jost"/>
              <a:sym typeface="Jost"/>
            </a:endParaRPr>
          </a:p>
        </p:txBody>
      </p:sp>
      <p:sp>
        <p:nvSpPr>
          <p:cNvPr id="1628" name="Google Shape;1628;p46"/>
          <p:cNvSpPr txBox="1">
            <a:spLocks noGrp="1"/>
          </p:cNvSpPr>
          <p:nvPr>
            <p:ph type="title" idx="4294967295"/>
          </p:nvPr>
        </p:nvSpPr>
        <p:spPr>
          <a:xfrm>
            <a:off x="328865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MARS</a:t>
            </a:r>
            <a:endParaRPr sz="1800"/>
          </a:p>
        </p:txBody>
      </p:sp>
      <p:sp>
        <p:nvSpPr>
          <p:cNvPr id="1629" name="Google Shape;1629;p46"/>
          <p:cNvSpPr txBox="1">
            <a:spLocks noGrp="1"/>
          </p:cNvSpPr>
          <p:nvPr>
            <p:ph type="subTitle" idx="4294967295"/>
          </p:nvPr>
        </p:nvSpPr>
        <p:spPr>
          <a:xfrm>
            <a:off x="328867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Mars is actually a cold place. It's full of iron oxide dust, and it’s made of basalt</a:t>
            </a:r>
            <a:endParaRPr/>
          </a:p>
        </p:txBody>
      </p:sp>
      <p:sp>
        <p:nvSpPr>
          <p:cNvPr id="1630" name="Google Shape;1630;p46"/>
          <p:cNvSpPr txBox="1">
            <a:spLocks noGrp="1"/>
          </p:cNvSpPr>
          <p:nvPr>
            <p:ph type="title" idx="4294967295"/>
          </p:nvPr>
        </p:nvSpPr>
        <p:spPr>
          <a:xfrm>
            <a:off x="7200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VENUS</a:t>
            </a:r>
            <a:endParaRPr sz="1800"/>
          </a:p>
        </p:txBody>
      </p:sp>
      <p:sp>
        <p:nvSpPr>
          <p:cNvPr id="1631" name="Google Shape;1631;p46"/>
          <p:cNvSpPr txBox="1">
            <a:spLocks noGrp="1"/>
          </p:cNvSpPr>
          <p:nvPr>
            <p:ph type="subTitle" idx="4294967295"/>
          </p:nvPr>
        </p:nvSpPr>
        <p:spPr>
          <a:xfrm>
            <a:off x="72002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Venus is the second planet from the Sun. It’s has a poisonous atmosphere</a:t>
            </a:r>
            <a:endParaRPr/>
          </a:p>
        </p:txBody>
      </p:sp>
      <p:sp>
        <p:nvSpPr>
          <p:cNvPr id="1632" name="Google Shape;1632;p46"/>
          <p:cNvSpPr txBox="1">
            <a:spLocks noGrp="1"/>
          </p:cNvSpPr>
          <p:nvPr>
            <p:ph type="title" idx="4294967295"/>
          </p:nvPr>
        </p:nvSpPr>
        <p:spPr>
          <a:xfrm>
            <a:off x="58573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JUPITER</a:t>
            </a:r>
            <a:endParaRPr sz="1800"/>
          </a:p>
        </p:txBody>
      </p:sp>
      <p:sp>
        <p:nvSpPr>
          <p:cNvPr id="1633" name="Google Shape;1633;p46"/>
          <p:cNvSpPr txBox="1">
            <a:spLocks noGrp="1"/>
          </p:cNvSpPr>
          <p:nvPr>
            <p:ph type="subTitle" idx="4294967295"/>
          </p:nvPr>
        </p:nvSpPr>
        <p:spPr>
          <a:xfrm>
            <a:off x="5857300"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s the biggest planet in the Solar System. It's the fourth brightest object in the sky</a:t>
            </a:r>
            <a:endParaRPr/>
          </a:p>
        </p:txBody>
      </p:sp>
      <p:cxnSp>
        <p:nvCxnSpPr>
          <p:cNvPr id="1634" name="Google Shape;1634;p46"/>
          <p:cNvCxnSpPr>
            <a:stCxn id="1627" idx="2"/>
            <a:endCxn id="1630" idx="0"/>
          </p:cNvCxnSpPr>
          <p:nvPr/>
        </p:nvCxnSpPr>
        <p:spPr>
          <a:xfrm rot="5400000">
            <a:off x="30380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cxnSp>
        <p:nvCxnSpPr>
          <p:cNvPr id="1635" name="Google Shape;1635;p46"/>
          <p:cNvCxnSpPr>
            <a:stCxn id="1627" idx="2"/>
            <a:endCxn id="1632" idx="0"/>
          </p:cNvCxnSpPr>
          <p:nvPr/>
        </p:nvCxnSpPr>
        <p:spPr>
          <a:xfrm rot="-5400000" flipH="1">
            <a:off x="56066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sp>
        <p:nvSpPr>
          <p:cNvPr id="1636" name="Google Shape;1636;p46"/>
          <p:cNvSpPr txBox="1">
            <a:spLocks noGrp="1"/>
          </p:cNvSpPr>
          <p:nvPr>
            <p:ph type="subTitle" idx="4294967295"/>
          </p:nvPr>
        </p:nvSpPr>
        <p:spPr>
          <a:xfrm>
            <a:off x="72000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It’s a satellite</a:t>
            </a:r>
            <a:endParaRPr/>
          </a:p>
        </p:txBody>
      </p:sp>
      <p:sp>
        <p:nvSpPr>
          <p:cNvPr id="1637" name="Google Shape;1637;p46"/>
          <p:cNvSpPr txBox="1">
            <a:spLocks noGrp="1"/>
          </p:cNvSpPr>
          <p:nvPr>
            <p:ph type="subTitle" idx="4294967295"/>
          </p:nvPr>
        </p:nvSpPr>
        <p:spPr>
          <a:xfrm>
            <a:off x="200345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Earth has life</a:t>
            </a:r>
            <a:endParaRPr/>
          </a:p>
        </p:txBody>
      </p:sp>
      <p:sp>
        <p:nvSpPr>
          <p:cNvPr id="1638" name="Google Shape;1638;p46"/>
          <p:cNvSpPr txBox="1">
            <a:spLocks noGrp="1"/>
          </p:cNvSpPr>
          <p:nvPr>
            <p:ph type="subTitle" idx="4294967295"/>
          </p:nvPr>
        </p:nvSpPr>
        <p:spPr>
          <a:xfrm>
            <a:off x="32885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Mars is cold</a:t>
            </a:r>
            <a:endParaRPr/>
          </a:p>
        </p:txBody>
      </p:sp>
      <p:sp>
        <p:nvSpPr>
          <p:cNvPr id="1639" name="Google Shape;1639;p46"/>
          <p:cNvSpPr txBox="1">
            <a:spLocks noGrp="1"/>
          </p:cNvSpPr>
          <p:nvPr>
            <p:ph type="subTitle" idx="4294967295"/>
          </p:nvPr>
        </p:nvSpPr>
        <p:spPr>
          <a:xfrm>
            <a:off x="45720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None/>
            </a:pPr>
            <a:r>
              <a:rPr lang="en"/>
              <a:t>It’s very hot</a:t>
            </a:r>
            <a:endParaRPr/>
          </a:p>
        </p:txBody>
      </p:sp>
      <p:sp>
        <p:nvSpPr>
          <p:cNvPr id="1640" name="Google Shape;1640;p46"/>
          <p:cNvSpPr txBox="1">
            <a:spLocks noGrp="1"/>
          </p:cNvSpPr>
          <p:nvPr>
            <p:ph type="subTitle" idx="4294967295"/>
          </p:nvPr>
        </p:nvSpPr>
        <p:spPr>
          <a:xfrm>
            <a:off x="58572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Jupiter is big</a:t>
            </a:r>
            <a:endParaRPr/>
          </a:p>
        </p:txBody>
      </p:sp>
      <p:sp>
        <p:nvSpPr>
          <p:cNvPr id="1641" name="Google Shape;1641;p46"/>
          <p:cNvSpPr txBox="1">
            <a:spLocks noGrp="1"/>
          </p:cNvSpPr>
          <p:nvPr>
            <p:ph type="subTitle" idx="4294967295"/>
          </p:nvPr>
        </p:nvSpPr>
        <p:spPr>
          <a:xfrm>
            <a:off x="71407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 has rings</a:t>
            </a:r>
            <a:endParaRPr/>
          </a:p>
        </p:txBody>
      </p:sp>
      <p:sp>
        <p:nvSpPr>
          <p:cNvPr id="1642" name="Google Shape;1642;p46"/>
          <p:cNvSpPr txBox="1">
            <a:spLocks noGrp="1"/>
          </p:cNvSpPr>
          <p:nvPr>
            <p:ph type="title" idx="4294967295"/>
          </p:nvPr>
        </p:nvSpPr>
        <p:spPr>
          <a:xfrm>
            <a:off x="71995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OON</a:t>
            </a:r>
            <a:endParaRPr sz="1800"/>
          </a:p>
        </p:txBody>
      </p:sp>
      <p:sp>
        <p:nvSpPr>
          <p:cNvPr id="1643" name="Google Shape;1643;p46"/>
          <p:cNvSpPr txBox="1">
            <a:spLocks noGrp="1"/>
          </p:cNvSpPr>
          <p:nvPr>
            <p:ph type="title" idx="4294967295"/>
          </p:nvPr>
        </p:nvSpPr>
        <p:spPr>
          <a:xfrm>
            <a:off x="200340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EARTH</a:t>
            </a:r>
            <a:endParaRPr sz="1800"/>
          </a:p>
        </p:txBody>
      </p:sp>
      <p:sp>
        <p:nvSpPr>
          <p:cNvPr id="1644" name="Google Shape;1644;p46"/>
          <p:cNvSpPr txBox="1">
            <a:spLocks noGrp="1"/>
          </p:cNvSpPr>
          <p:nvPr>
            <p:ph type="title" idx="4294967295"/>
          </p:nvPr>
        </p:nvSpPr>
        <p:spPr>
          <a:xfrm>
            <a:off x="32885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ARS</a:t>
            </a:r>
            <a:endParaRPr sz="1800"/>
          </a:p>
        </p:txBody>
      </p:sp>
      <p:sp>
        <p:nvSpPr>
          <p:cNvPr id="1645" name="Google Shape;1645;p46"/>
          <p:cNvSpPr txBox="1">
            <a:spLocks noGrp="1"/>
          </p:cNvSpPr>
          <p:nvPr>
            <p:ph type="title" idx="4294967295"/>
          </p:nvPr>
        </p:nvSpPr>
        <p:spPr>
          <a:xfrm>
            <a:off x="45719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VENUS</a:t>
            </a:r>
            <a:endParaRPr sz="1800"/>
          </a:p>
        </p:txBody>
      </p:sp>
      <p:sp>
        <p:nvSpPr>
          <p:cNvPr id="1646" name="Google Shape;1646;p46"/>
          <p:cNvSpPr txBox="1">
            <a:spLocks noGrp="1"/>
          </p:cNvSpPr>
          <p:nvPr>
            <p:ph type="title" idx="4294967295"/>
          </p:nvPr>
        </p:nvSpPr>
        <p:spPr>
          <a:xfrm>
            <a:off x="58572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JUPITER</a:t>
            </a:r>
            <a:endParaRPr sz="1800"/>
          </a:p>
        </p:txBody>
      </p:sp>
      <p:sp>
        <p:nvSpPr>
          <p:cNvPr id="1647" name="Google Shape;1647;p46"/>
          <p:cNvSpPr txBox="1">
            <a:spLocks noGrp="1"/>
          </p:cNvSpPr>
          <p:nvPr>
            <p:ph type="title" idx="4294967295"/>
          </p:nvPr>
        </p:nvSpPr>
        <p:spPr>
          <a:xfrm>
            <a:off x="71406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SATURN</a:t>
            </a:r>
            <a:endParaRPr sz="1800"/>
          </a:p>
        </p:txBody>
      </p:sp>
      <p:cxnSp>
        <p:nvCxnSpPr>
          <p:cNvPr id="1648" name="Google Shape;1648;p46"/>
          <p:cNvCxnSpPr>
            <a:stCxn id="1631" idx="2"/>
            <a:endCxn id="1642" idx="0"/>
          </p:cNvCxnSpPr>
          <p:nvPr/>
        </p:nvCxnSpPr>
        <p:spPr>
          <a:xfrm rot="5400000">
            <a:off x="14709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49" name="Google Shape;1649;p46"/>
          <p:cNvCxnSpPr>
            <a:stCxn id="1631" idx="2"/>
            <a:endCxn id="1643" idx="0"/>
          </p:cNvCxnSpPr>
          <p:nvPr/>
        </p:nvCxnSpPr>
        <p:spPr>
          <a:xfrm rot="-5400000" flipH="1">
            <a:off x="21126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0" name="Google Shape;1650;p46"/>
          <p:cNvCxnSpPr>
            <a:stCxn id="1629" idx="2"/>
            <a:endCxn id="1644" idx="0"/>
          </p:cNvCxnSpPr>
          <p:nvPr/>
        </p:nvCxnSpPr>
        <p:spPr>
          <a:xfrm rot="5400000">
            <a:off x="40395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1" name="Google Shape;1651;p46"/>
          <p:cNvCxnSpPr>
            <a:stCxn id="1629" idx="2"/>
            <a:endCxn id="1645" idx="0"/>
          </p:cNvCxnSpPr>
          <p:nvPr/>
        </p:nvCxnSpPr>
        <p:spPr>
          <a:xfrm rot="-5400000" flipH="1">
            <a:off x="46812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2" name="Google Shape;1652;p46"/>
          <p:cNvCxnSpPr>
            <a:stCxn id="1633" idx="2"/>
            <a:endCxn id="1646" idx="0"/>
          </p:cNvCxnSpPr>
          <p:nvPr/>
        </p:nvCxnSpPr>
        <p:spPr>
          <a:xfrm rot="5400000">
            <a:off x="66082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3" name="Google Shape;1653;p46"/>
          <p:cNvCxnSpPr>
            <a:stCxn id="1633" idx="2"/>
            <a:endCxn id="1647" idx="0"/>
          </p:cNvCxnSpPr>
          <p:nvPr/>
        </p:nvCxnSpPr>
        <p:spPr>
          <a:xfrm rot="-5400000" flipH="1">
            <a:off x="72499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57"/>
        <p:cNvGrpSpPr/>
        <p:nvPr/>
      </p:nvGrpSpPr>
      <p:grpSpPr>
        <a:xfrm>
          <a:off x="0" y="0"/>
          <a:ext cx="0" cy="0"/>
          <a:chOff x="0" y="0"/>
          <a:chExt cx="0" cy="0"/>
        </a:xfrm>
      </p:grpSpPr>
      <p:sp>
        <p:nvSpPr>
          <p:cNvPr id="1658" name="Google Shape;1658;p4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ATISTICS</a:t>
            </a:r>
            <a:endParaRPr/>
          </a:p>
        </p:txBody>
      </p:sp>
      <p:pic>
        <p:nvPicPr>
          <p:cNvPr id="1659" name="Google Shape;1659;p47" title="Gráfico">
            <a:hlinkClick r:id="rId3"/>
          </p:cNvPr>
          <p:cNvPicPr preferRelativeResize="0"/>
          <p:nvPr/>
        </p:nvPicPr>
        <p:blipFill>
          <a:blip r:embed="rId4">
            <a:alphaModFix/>
          </a:blip>
          <a:stretch>
            <a:fillRect/>
          </a:stretch>
        </p:blipFill>
        <p:spPr>
          <a:xfrm>
            <a:off x="720000" y="1433075"/>
            <a:ext cx="4439724" cy="2745250"/>
          </a:xfrm>
          <a:prstGeom prst="rect">
            <a:avLst/>
          </a:prstGeom>
          <a:noFill/>
          <a:ln>
            <a:noFill/>
          </a:ln>
        </p:spPr>
      </p:pic>
      <p:sp>
        <p:nvSpPr>
          <p:cNvPr id="1660" name="Google Shape;1660;p47"/>
          <p:cNvSpPr txBox="1"/>
          <p:nvPr/>
        </p:nvSpPr>
        <p:spPr>
          <a:xfrm>
            <a:off x="5019675" y="1509069"/>
            <a:ext cx="34044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CONCLUSION</a:t>
            </a:r>
            <a:endParaRPr sz="1800">
              <a:solidFill>
                <a:srgbClr val="000000"/>
              </a:solidFill>
              <a:latin typeface="Krona One"/>
              <a:ea typeface="Krona One"/>
              <a:cs typeface="Krona One"/>
              <a:sym typeface="Krona One"/>
            </a:endParaRPr>
          </a:p>
        </p:txBody>
      </p:sp>
      <p:sp>
        <p:nvSpPr>
          <p:cNvPr id="1661" name="Google Shape;1661;p47"/>
          <p:cNvSpPr txBox="1"/>
          <p:nvPr/>
        </p:nvSpPr>
        <p:spPr>
          <a:xfrm>
            <a:off x="5019675" y="1807868"/>
            <a:ext cx="34044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the closest planet to the Sun and the smallest one in the Solar System</a:t>
            </a:r>
            <a:endParaRPr>
              <a:solidFill>
                <a:schemeClr val="dk1"/>
              </a:solidFill>
              <a:latin typeface="Jost"/>
              <a:ea typeface="Jost"/>
              <a:cs typeface="Jost"/>
              <a:sym typeface="Jost"/>
            </a:endParaRPr>
          </a:p>
        </p:txBody>
      </p:sp>
      <p:sp>
        <p:nvSpPr>
          <p:cNvPr id="1662" name="Google Shape;1662;p47"/>
          <p:cNvSpPr txBox="1"/>
          <p:nvPr/>
        </p:nvSpPr>
        <p:spPr>
          <a:xfrm>
            <a:off x="5019675" y="2365975"/>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7</a:t>
            </a:r>
            <a:endParaRPr sz="1800">
              <a:solidFill>
                <a:srgbClr val="000000"/>
              </a:solidFill>
              <a:latin typeface="Krona One"/>
              <a:ea typeface="Krona One"/>
              <a:cs typeface="Krona One"/>
              <a:sym typeface="Krona One"/>
            </a:endParaRPr>
          </a:p>
        </p:txBody>
      </p:sp>
      <p:sp>
        <p:nvSpPr>
          <p:cNvPr id="1663" name="Google Shape;1663;p47"/>
          <p:cNvSpPr txBox="1"/>
          <p:nvPr/>
        </p:nvSpPr>
        <p:spPr>
          <a:xfrm>
            <a:off x="5019675" y="2720244"/>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8</a:t>
            </a:r>
            <a:endParaRPr sz="1800">
              <a:solidFill>
                <a:srgbClr val="000000"/>
              </a:solidFill>
              <a:latin typeface="Krona One"/>
              <a:ea typeface="Krona One"/>
              <a:cs typeface="Krona One"/>
              <a:sym typeface="Krona One"/>
            </a:endParaRPr>
          </a:p>
        </p:txBody>
      </p:sp>
      <p:sp>
        <p:nvSpPr>
          <p:cNvPr id="1664" name="Google Shape;1664;p47"/>
          <p:cNvSpPr txBox="1"/>
          <p:nvPr/>
        </p:nvSpPr>
        <p:spPr>
          <a:xfrm>
            <a:off x="5019675" y="3074513"/>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9</a:t>
            </a:r>
            <a:endParaRPr sz="1800">
              <a:solidFill>
                <a:srgbClr val="000000"/>
              </a:solidFill>
              <a:latin typeface="Krona One"/>
              <a:ea typeface="Krona One"/>
              <a:cs typeface="Krona One"/>
              <a:sym typeface="Krona One"/>
            </a:endParaRPr>
          </a:p>
        </p:txBody>
      </p:sp>
      <p:sp>
        <p:nvSpPr>
          <p:cNvPr id="1665" name="Google Shape;1665;p47"/>
          <p:cNvSpPr txBox="1"/>
          <p:nvPr/>
        </p:nvSpPr>
        <p:spPr>
          <a:xfrm>
            <a:off x="5019675" y="3428781"/>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0</a:t>
            </a:r>
            <a:endParaRPr sz="1800">
              <a:solidFill>
                <a:srgbClr val="000000"/>
              </a:solidFill>
              <a:latin typeface="Krona One"/>
              <a:ea typeface="Krona One"/>
              <a:cs typeface="Krona One"/>
              <a:sym typeface="Krona One"/>
            </a:endParaRPr>
          </a:p>
        </p:txBody>
      </p:sp>
      <p:sp>
        <p:nvSpPr>
          <p:cNvPr id="1666" name="Google Shape;1666;p47"/>
          <p:cNvSpPr txBox="1"/>
          <p:nvPr/>
        </p:nvSpPr>
        <p:spPr>
          <a:xfrm>
            <a:off x="5019675" y="3783050"/>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1</a:t>
            </a:r>
            <a:endParaRPr sz="1800">
              <a:solidFill>
                <a:srgbClr val="000000"/>
              </a:solidFill>
              <a:latin typeface="Krona One"/>
              <a:ea typeface="Krona One"/>
              <a:cs typeface="Krona One"/>
              <a:sym typeface="Krona One"/>
            </a:endParaRPr>
          </a:p>
        </p:txBody>
      </p:sp>
      <p:sp>
        <p:nvSpPr>
          <p:cNvPr id="1667" name="Google Shape;1667;p47"/>
          <p:cNvSpPr txBox="1"/>
          <p:nvPr/>
        </p:nvSpPr>
        <p:spPr>
          <a:xfrm>
            <a:off x="5995875" y="2365975"/>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a small planet</a:t>
            </a:r>
            <a:endParaRPr>
              <a:solidFill>
                <a:schemeClr val="dk1"/>
              </a:solidFill>
              <a:latin typeface="Jost"/>
              <a:ea typeface="Jost"/>
              <a:cs typeface="Jost"/>
              <a:sym typeface="Jost"/>
            </a:endParaRPr>
          </a:p>
        </p:txBody>
      </p:sp>
      <p:sp>
        <p:nvSpPr>
          <p:cNvPr id="1668" name="Google Shape;1668;p47"/>
          <p:cNvSpPr txBox="1"/>
          <p:nvPr/>
        </p:nvSpPr>
        <p:spPr>
          <a:xfrm>
            <a:off x="5995875" y="27202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It has high temperatures</a:t>
            </a:r>
            <a:endParaRPr>
              <a:solidFill>
                <a:schemeClr val="dk1"/>
              </a:solidFill>
              <a:latin typeface="Jost"/>
              <a:ea typeface="Jost"/>
              <a:cs typeface="Jost"/>
              <a:sym typeface="Jost"/>
            </a:endParaRPr>
          </a:p>
        </p:txBody>
      </p:sp>
      <p:sp>
        <p:nvSpPr>
          <p:cNvPr id="1669" name="Google Shape;1669;p47"/>
          <p:cNvSpPr txBox="1"/>
          <p:nvPr/>
        </p:nvSpPr>
        <p:spPr>
          <a:xfrm>
            <a:off x="5995875" y="3074513"/>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Earth is the planet with life</a:t>
            </a:r>
            <a:endParaRPr>
              <a:solidFill>
                <a:schemeClr val="dk1"/>
              </a:solidFill>
              <a:latin typeface="Jost"/>
              <a:ea typeface="Jost"/>
              <a:cs typeface="Jost"/>
              <a:sym typeface="Jost"/>
            </a:endParaRPr>
          </a:p>
        </p:txBody>
      </p:sp>
      <p:sp>
        <p:nvSpPr>
          <p:cNvPr id="1670" name="Google Shape;1670;p47"/>
          <p:cNvSpPr txBox="1"/>
          <p:nvPr/>
        </p:nvSpPr>
        <p:spPr>
          <a:xfrm>
            <a:off x="5995875" y="3428781"/>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 cold place</a:t>
            </a:r>
            <a:endParaRPr>
              <a:solidFill>
                <a:schemeClr val="dk1"/>
              </a:solidFill>
              <a:latin typeface="Jost"/>
              <a:ea typeface="Jost"/>
              <a:cs typeface="Jost"/>
              <a:sym typeface="Jost"/>
            </a:endParaRPr>
          </a:p>
        </p:txBody>
      </p:sp>
      <p:sp>
        <p:nvSpPr>
          <p:cNvPr id="1671" name="Google Shape;1671;p47"/>
          <p:cNvSpPr txBox="1"/>
          <p:nvPr/>
        </p:nvSpPr>
        <p:spPr>
          <a:xfrm>
            <a:off x="5995875" y="37830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a gas giant</a:t>
            </a:r>
            <a:endParaRPr>
              <a:solidFill>
                <a:schemeClr val="dk1"/>
              </a:solidFill>
              <a:latin typeface="Jost"/>
              <a:ea typeface="Jost"/>
              <a:cs typeface="Jost"/>
              <a:sym typeface="Jost"/>
            </a:endParaRPr>
          </a:p>
        </p:txBody>
      </p:sp>
      <p:sp>
        <p:nvSpPr>
          <p:cNvPr id="1672" name="Google Shape;1672;p47"/>
          <p:cNvSpPr txBox="1"/>
          <p:nvPr/>
        </p:nvSpPr>
        <p:spPr>
          <a:xfrm>
            <a:off x="720000" y="4346300"/>
            <a:ext cx="7704000" cy="257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dk1"/>
                </a:solidFill>
                <a:latin typeface="Jost"/>
                <a:ea typeface="Jost"/>
                <a:cs typeface="Jost"/>
                <a:sym typeface="Jost"/>
              </a:rPr>
              <a:t>Follow the link in the graph to modify its data and then paste the new one here.</a:t>
            </a:r>
            <a:r>
              <a:rPr lang="en" sz="1200">
                <a:solidFill>
                  <a:schemeClr val="dk1"/>
                </a:solidFill>
                <a:latin typeface="Jost Medium"/>
                <a:ea typeface="Jost Medium"/>
                <a:cs typeface="Jost Medium"/>
                <a:sym typeface="Jost Medium"/>
              </a:rPr>
              <a:t> </a:t>
            </a:r>
            <a:r>
              <a:rPr lang="en" sz="1200" b="1">
                <a:solidFill>
                  <a:schemeClr val="dk1"/>
                </a:solidFill>
                <a:uFill>
                  <a:noFill/>
                </a:uFill>
                <a:latin typeface="Jost"/>
                <a:ea typeface="Jost"/>
                <a:cs typeface="Jost"/>
                <a:sym typeface="Jost"/>
                <a:hlinkClick r:id="rId5">
                  <a:extLst>
                    <a:ext uri="{A12FA001-AC4F-418D-AE19-62706E023703}">
                      <ahyp:hlinkClr xmlns:ahyp="http://schemas.microsoft.com/office/drawing/2018/hyperlinkcolor" val="tx"/>
                    </a:ext>
                  </a:extLst>
                </a:hlinkClick>
              </a:rPr>
              <a:t>For more info, click here</a:t>
            </a:r>
            <a:endParaRPr sz="1200" b="1">
              <a:solidFill>
                <a:schemeClr val="dk1"/>
              </a:solidFill>
              <a:latin typeface="Jost"/>
              <a:ea typeface="Jost"/>
              <a:cs typeface="Jost"/>
              <a:sym typeface="Jo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76"/>
        <p:cNvGrpSpPr/>
        <p:nvPr/>
      </p:nvGrpSpPr>
      <p:grpSpPr>
        <a:xfrm>
          <a:off x="0" y="0"/>
          <a:ext cx="0" cy="0"/>
          <a:chOff x="0" y="0"/>
          <a:chExt cx="0" cy="0"/>
        </a:xfrm>
      </p:grpSpPr>
      <p:sp>
        <p:nvSpPr>
          <p:cNvPr id="1677" name="Google Shape;1677;p48"/>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 PICTURE IS WORTH A THOUSAND WORDS</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81"/>
        <p:cNvGrpSpPr/>
        <p:nvPr/>
      </p:nvGrpSpPr>
      <p:grpSpPr>
        <a:xfrm>
          <a:off x="0" y="0"/>
          <a:ext cx="0" cy="0"/>
          <a:chOff x="0" y="0"/>
          <a:chExt cx="0" cy="0"/>
        </a:xfrm>
      </p:grpSpPr>
      <p:sp>
        <p:nvSpPr>
          <p:cNvPr id="1682" name="Google Shape;1682;p4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UDENT PROGRESS</a:t>
            </a:r>
            <a:endParaRPr/>
          </a:p>
        </p:txBody>
      </p:sp>
      <p:sp>
        <p:nvSpPr>
          <p:cNvPr id="1683" name="Google Shape;1683;p49"/>
          <p:cNvSpPr/>
          <p:nvPr/>
        </p:nvSpPr>
        <p:spPr>
          <a:xfrm flipH="1">
            <a:off x="1147406"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684" name="Google Shape;1684;p49"/>
          <p:cNvSpPr/>
          <p:nvPr/>
        </p:nvSpPr>
        <p:spPr>
          <a:xfrm>
            <a:off x="5219219" y="168052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6</a:t>
            </a:r>
            <a:endParaRPr sz="2000">
              <a:solidFill>
                <a:schemeClr val="lt1"/>
              </a:solidFill>
              <a:latin typeface="Krona One"/>
              <a:ea typeface="Krona One"/>
              <a:cs typeface="Krona One"/>
              <a:sym typeface="Krona One"/>
            </a:endParaRPr>
          </a:p>
        </p:txBody>
      </p:sp>
      <p:sp>
        <p:nvSpPr>
          <p:cNvPr id="1685" name="Google Shape;1685;p49"/>
          <p:cNvSpPr/>
          <p:nvPr/>
        </p:nvSpPr>
        <p:spPr>
          <a:xfrm flipH="1">
            <a:off x="1147381"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686" name="Google Shape;1686;p49"/>
          <p:cNvSpPr/>
          <p:nvPr/>
        </p:nvSpPr>
        <p:spPr>
          <a:xfrm>
            <a:off x="5219219"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5</a:t>
            </a:r>
            <a:endParaRPr sz="2000">
              <a:solidFill>
                <a:schemeClr val="lt1"/>
              </a:solidFill>
              <a:latin typeface="Krona One"/>
              <a:ea typeface="Krona One"/>
              <a:cs typeface="Krona One"/>
              <a:sym typeface="Krona One"/>
            </a:endParaRPr>
          </a:p>
        </p:txBody>
      </p:sp>
      <p:sp>
        <p:nvSpPr>
          <p:cNvPr id="1687" name="Google Shape;1687;p49"/>
          <p:cNvSpPr txBox="1"/>
          <p:nvPr/>
        </p:nvSpPr>
        <p:spPr>
          <a:xfrm flipH="1">
            <a:off x="1971197" y="161807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688" name="Google Shape;1688;p49"/>
          <p:cNvSpPr txBox="1"/>
          <p:nvPr/>
        </p:nvSpPr>
        <p:spPr>
          <a:xfrm flipH="1">
            <a:off x="1971197" y="1961376"/>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Mercury is the smallest planet of them all</a:t>
            </a:r>
            <a:endParaRPr>
              <a:solidFill>
                <a:srgbClr val="000000"/>
              </a:solidFill>
              <a:latin typeface="Jost"/>
              <a:ea typeface="Jost"/>
              <a:cs typeface="Jost"/>
              <a:sym typeface="Jost"/>
            </a:endParaRPr>
          </a:p>
        </p:txBody>
      </p:sp>
      <p:sp>
        <p:nvSpPr>
          <p:cNvPr id="1689" name="Google Shape;1689;p49"/>
          <p:cNvSpPr txBox="1"/>
          <p:nvPr/>
        </p:nvSpPr>
        <p:spPr>
          <a:xfrm flipH="1">
            <a:off x="1971197" y="264612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690" name="Google Shape;1690;p49"/>
          <p:cNvSpPr txBox="1"/>
          <p:nvPr/>
        </p:nvSpPr>
        <p:spPr>
          <a:xfrm flipH="1">
            <a:off x="1971197" y="2989435"/>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extremely hot, even more than Mercury</a:t>
            </a:r>
            <a:endParaRPr>
              <a:solidFill>
                <a:srgbClr val="000000"/>
              </a:solidFill>
              <a:latin typeface="Jost"/>
              <a:ea typeface="Jost"/>
              <a:cs typeface="Jost"/>
              <a:sym typeface="Jost"/>
            </a:endParaRPr>
          </a:p>
        </p:txBody>
      </p:sp>
      <p:sp>
        <p:nvSpPr>
          <p:cNvPr id="1691" name="Google Shape;1691;p49"/>
          <p:cNvSpPr txBox="1"/>
          <p:nvPr/>
        </p:nvSpPr>
        <p:spPr>
          <a:xfrm>
            <a:off x="6044519" y="1618075"/>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NEPTUNE</a:t>
            </a:r>
            <a:endParaRPr sz="1800">
              <a:solidFill>
                <a:schemeClr val="dk1"/>
              </a:solidFill>
              <a:latin typeface="Krona One"/>
              <a:ea typeface="Krona One"/>
              <a:cs typeface="Krona One"/>
              <a:sym typeface="Krona One"/>
            </a:endParaRPr>
          </a:p>
        </p:txBody>
      </p:sp>
      <p:sp>
        <p:nvSpPr>
          <p:cNvPr id="1692" name="Google Shape;1692;p49"/>
          <p:cNvSpPr txBox="1"/>
          <p:nvPr/>
        </p:nvSpPr>
        <p:spPr>
          <a:xfrm>
            <a:off x="6044519" y="1961376"/>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None/>
            </a:pPr>
            <a:r>
              <a:rPr lang="en">
                <a:solidFill>
                  <a:schemeClr val="dk1"/>
                </a:solidFill>
                <a:latin typeface="Jost"/>
                <a:ea typeface="Jost"/>
                <a:cs typeface="Jost"/>
                <a:sym typeface="Jost"/>
              </a:rPr>
              <a:t>It’s the fourth largest planet in the System</a:t>
            </a:r>
            <a:endParaRPr>
              <a:latin typeface="Jost"/>
              <a:ea typeface="Jost"/>
              <a:cs typeface="Jost"/>
              <a:sym typeface="Jost"/>
            </a:endParaRPr>
          </a:p>
        </p:txBody>
      </p:sp>
      <p:sp>
        <p:nvSpPr>
          <p:cNvPr id="1693" name="Google Shape;1693;p49"/>
          <p:cNvSpPr txBox="1"/>
          <p:nvPr/>
        </p:nvSpPr>
        <p:spPr>
          <a:xfrm>
            <a:off x="6044519" y="2646112"/>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694" name="Google Shape;1694;p49"/>
          <p:cNvSpPr txBox="1"/>
          <p:nvPr/>
        </p:nvSpPr>
        <p:spPr>
          <a:xfrm>
            <a:off x="6044519" y="2989424"/>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Saturn is composed of hydrogen and helium</a:t>
            </a:r>
            <a:endParaRPr>
              <a:solidFill>
                <a:schemeClr val="dk1"/>
              </a:solidFill>
              <a:latin typeface="Jost"/>
              <a:ea typeface="Jost"/>
              <a:cs typeface="Jost"/>
              <a:sym typeface="Jost"/>
            </a:endParaRPr>
          </a:p>
        </p:txBody>
      </p:sp>
      <p:sp>
        <p:nvSpPr>
          <p:cNvPr id="1695" name="Google Shape;1695;p49"/>
          <p:cNvSpPr/>
          <p:nvPr/>
        </p:nvSpPr>
        <p:spPr>
          <a:xfrm flipH="1">
            <a:off x="1147381"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696" name="Google Shape;1696;p49"/>
          <p:cNvSpPr/>
          <p:nvPr/>
        </p:nvSpPr>
        <p:spPr>
          <a:xfrm>
            <a:off x="5219219"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697" name="Google Shape;1697;p49"/>
          <p:cNvSpPr txBox="1"/>
          <p:nvPr/>
        </p:nvSpPr>
        <p:spPr>
          <a:xfrm flipH="1">
            <a:off x="1971197" y="3701049"/>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698" name="Google Shape;1698;p49"/>
          <p:cNvSpPr txBox="1"/>
          <p:nvPr/>
        </p:nvSpPr>
        <p:spPr>
          <a:xfrm flipH="1">
            <a:off x="1971197" y="4044350"/>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a cold place</a:t>
            </a:r>
            <a:endParaRPr>
              <a:solidFill>
                <a:schemeClr val="dk1"/>
              </a:solidFill>
              <a:latin typeface="Jost"/>
              <a:ea typeface="Jost"/>
              <a:cs typeface="Jost"/>
              <a:sym typeface="Jost"/>
            </a:endParaRPr>
          </a:p>
          <a:p>
            <a:pPr marL="0" lvl="0" indent="0" algn="l" rtl="0">
              <a:spcBef>
                <a:spcPts val="0"/>
              </a:spcBef>
              <a:spcAft>
                <a:spcPts val="0"/>
              </a:spcAft>
              <a:buNone/>
            </a:pPr>
            <a:endParaRPr>
              <a:latin typeface="Jost"/>
              <a:ea typeface="Jost"/>
              <a:cs typeface="Jost"/>
              <a:sym typeface="Jost"/>
            </a:endParaRPr>
          </a:p>
        </p:txBody>
      </p:sp>
      <p:sp>
        <p:nvSpPr>
          <p:cNvPr id="1699" name="Google Shape;1699;p49"/>
          <p:cNvSpPr txBox="1"/>
          <p:nvPr/>
        </p:nvSpPr>
        <p:spPr>
          <a:xfrm>
            <a:off x="6044519" y="3701049"/>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00" name="Google Shape;1700;p49"/>
          <p:cNvSpPr txBox="1"/>
          <p:nvPr/>
        </p:nvSpPr>
        <p:spPr>
          <a:xfrm>
            <a:off x="6044519" y="4044350"/>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cxnSp>
        <p:nvCxnSpPr>
          <p:cNvPr id="1701" name="Google Shape;1701;p49"/>
          <p:cNvCxnSpPr>
            <a:stCxn id="1683" idx="2"/>
            <a:endCxn id="1685" idx="0"/>
          </p:cNvCxnSpPr>
          <p:nvPr/>
        </p:nvCxnSpPr>
        <p:spPr>
          <a:xfrm>
            <a:off x="1479506" y="2344700"/>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2" name="Google Shape;1702;p49"/>
          <p:cNvCxnSpPr>
            <a:stCxn id="1685" idx="2"/>
            <a:endCxn id="1695" idx="0"/>
          </p:cNvCxnSpPr>
          <p:nvPr/>
        </p:nvCxnSpPr>
        <p:spPr>
          <a:xfrm>
            <a:off x="1479481" y="3372775"/>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3" name="Google Shape;1703;p49"/>
          <p:cNvCxnSpPr>
            <a:stCxn id="1696" idx="0"/>
            <a:endCxn id="1686" idx="2"/>
          </p:cNvCxnSpPr>
          <p:nvPr/>
        </p:nvCxnSpPr>
        <p:spPr>
          <a:xfrm rot="10800000">
            <a:off x="5551319" y="3372900"/>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4" name="Google Shape;1704;p49"/>
          <p:cNvCxnSpPr>
            <a:stCxn id="1686" idx="0"/>
            <a:endCxn id="1684" idx="2"/>
          </p:cNvCxnSpPr>
          <p:nvPr/>
        </p:nvCxnSpPr>
        <p:spPr>
          <a:xfrm rot="10800000">
            <a:off x="5551319" y="2344675"/>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5" name="Google Shape;1705;p49"/>
          <p:cNvCxnSpPr>
            <a:stCxn id="1683" idx="0"/>
          </p:cNvCxnSpPr>
          <p:nvPr/>
        </p:nvCxnSpPr>
        <p:spPr>
          <a:xfrm rot="10800000">
            <a:off x="1479506" y="-13300"/>
            <a:ext cx="0" cy="1693800"/>
          </a:xfrm>
          <a:prstGeom prst="straightConnector1">
            <a:avLst/>
          </a:prstGeom>
          <a:noFill/>
          <a:ln w="19050" cap="flat" cmpd="sng">
            <a:solidFill>
              <a:schemeClr val="dk2"/>
            </a:solidFill>
            <a:prstDash val="solid"/>
            <a:round/>
            <a:headEnd type="none" w="med" len="med"/>
            <a:tailEnd type="none" w="med" len="med"/>
          </a:ln>
        </p:spPr>
      </p:cxnSp>
      <p:cxnSp>
        <p:nvCxnSpPr>
          <p:cNvPr id="1706" name="Google Shape;1706;p49"/>
          <p:cNvCxnSpPr>
            <a:stCxn id="1696" idx="2"/>
          </p:cNvCxnSpPr>
          <p:nvPr/>
        </p:nvCxnSpPr>
        <p:spPr>
          <a:xfrm>
            <a:off x="5551319" y="4427700"/>
            <a:ext cx="0" cy="749100"/>
          </a:xfrm>
          <a:prstGeom prst="straightConnector1">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1" name="Google Shape;1711;p5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GOALS</a:t>
            </a:r>
            <a:endParaRPr/>
          </a:p>
        </p:txBody>
      </p:sp>
      <p:sp>
        <p:nvSpPr>
          <p:cNvPr id="1712" name="Google Shape;1712;p50"/>
          <p:cNvSpPr/>
          <p:nvPr/>
        </p:nvSpPr>
        <p:spPr>
          <a:xfrm>
            <a:off x="3268263" y="2210942"/>
            <a:ext cx="2607475" cy="1437941"/>
          </a:xfrm>
          <a:custGeom>
            <a:avLst/>
            <a:gdLst/>
            <a:ahLst/>
            <a:cxnLst/>
            <a:rect l="l" t="t" r="r" b="b"/>
            <a:pathLst>
              <a:path w="126469" h="87840" extrusionOk="0">
                <a:moveTo>
                  <a:pt x="41924" y="88"/>
                </a:moveTo>
                <a:cubicBezTo>
                  <a:pt x="31132" y="1243"/>
                  <a:pt x="12316" y="14741"/>
                  <a:pt x="11100" y="18693"/>
                </a:cubicBezTo>
                <a:cubicBezTo>
                  <a:pt x="9884" y="22645"/>
                  <a:pt x="29249" y="19453"/>
                  <a:pt x="34629" y="23800"/>
                </a:cubicBezTo>
                <a:cubicBezTo>
                  <a:pt x="40010" y="28147"/>
                  <a:pt x="49098" y="40519"/>
                  <a:pt x="43383" y="44775"/>
                </a:cubicBezTo>
                <a:cubicBezTo>
                  <a:pt x="37668" y="49031"/>
                  <a:pt x="3288" y="43954"/>
                  <a:pt x="339" y="49335"/>
                </a:cubicBezTo>
                <a:cubicBezTo>
                  <a:pt x="-2609" y="54716"/>
                  <a:pt x="14323" y="74293"/>
                  <a:pt x="25692" y="77059"/>
                </a:cubicBezTo>
                <a:cubicBezTo>
                  <a:pt x="37061" y="79825"/>
                  <a:pt x="61319" y="64140"/>
                  <a:pt x="68554" y="65933"/>
                </a:cubicBezTo>
                <a:cubicBezTo>
                  <a:pt x="75789" y="67727"/>
                  <a:pt x="62991" y="87212"/>
                  <a:pt x="69101" y="87820"/>
                </a:cubicBezTo>
                <a:cubicBezTo>
                  <a:pt x="75211" y="88428"/>
                  <a:pt x="98132" y="75326"/>
                  <a:pt x="105215" y="69580"/>
                </a:cubicBezTo>
                <a:cubicBezTo>
                  <a:pt x="112298" y="63835"/>
                  <a:pt x="116007" y="56448"/>
                  <a:pt x="111599" y="53347"/>
                </a:cubicBezTo>
                <a:cubicBezTo>
                  <a:pt x="107191" y="50246"/>
                  <a:pt x="77066" y="54138"/>
                  <a:pt x="78768" y="50976"/>
                </a:cubicBezTo>
                <a:cubicBezTo>
                  <a:pt x="80470" y="47815"/>
                  <a:pt x="115277" y="40579"/>
                  <a:pt x="121813" y="34378"/>
                </a:cubicBezTo>
                <a:cubicBezTo>
                  <a:pt x="128349" y="28177"/>
                  <a:pt x="128804" y="13555"/>
                  <a:pt x="117982" y="13768"/>
                </a:cubicBezTo>
                <a:cubicBezTo>
                  <a:pt x="107160" y="13981"/>
                  <a:pt x="68311" y="33527"/>
                  <a:pt x="56881" y="35655"/>
                </a:cubicBezTo>
                <a:cubicBezTo>
                  <a:pt x="45451" y="37783"/>
                  <a:pt x="47154" y="27813"/>
                  <a:pt x="49403" y="26536"/>
                </a:cubicBezTo>
                <a:cubicBezTo>
                  <a:pt x="51653" y="25259"/>
                  <a:pt x="63295" y="30153"/>
                  <a:pt x="70378" y="27995"/>
                </a:cubicBezTo>
                <a:cubicBezTo>
                  <a:pt x="77461" y="25837"/>
                  <a:pt x="90988" y="16292"/>
                  <a:pt x="91900" y="13586"/>
                </a:cubicBezTo>
                <a:cubicBezTo>
                  <a:pt x="92812" y="10881"/>
                  <a:pt x="84179" y="14012"/>
                  <a:pt x="75850" y="11762"/>
                </a:cubicBezTo>
                <a:cubicBezTo>
                  <a:pt x="67521" y="9512"/>
                  <a:pt x="52716" y="-1067"/>
                  <a:pt x="41924" y="88"/>
                </a:cubicBezTo>
                <a:close/>
              </a:path>
            </a:pathLst>
          </a:custGeom>
          <a:noFill/>
          <a:ln w="28575" cap="flat" cmpd="sng">
            <a:solidFill>
              <a:schemeClr val="dk1"/>
            </a:solidFill>
            <a:prstDash val="solid"/>
            <a:round/>
            <a:headEnd type="none" w="med" len="med"/>
            <a:tailEnd type="none" w="med" len="med"/>
          </a:ln>
        </p:spPr>
        <p:txBody>
          <a:bodyPr/>
          <a:lstStyle/>
          <a:p>
            <a:endParaRPr lang="en-AT"/>
          </a:p>
        </p:txBody>
      </p:sp>
      <p:sp>
        <p:nvSpPr>
          <p:cNvPr id="1713" name="Google Shape;1713;p50"/>
          <p:cNvSpPr txBox="1"/>
          <p:nvPr/>
        </p:nvSpPr>
        <p:spPr>
          <a:xfrm>
            <a:off x="720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14" name="Google Shape;1714;p50"/>
          <p:cNvSpPr txBox="1"/>
          <p:nvPr/>
        </p:nvSpPr>
        <p:spPr>
          <a:xfrm>
            <a:off x="720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715" name="Google Shape;1715;p50"/>
          <p:cNvSpPr txBox="1"/>
          <p:nvPr/>
        </p:nvSpPr>
        <p:spPr>
          <a:xfrm>
            <a:off x="6525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NEPTUNE</a:t>
            </a:r>
            <a:endParaRPr sz="1800">
              <a:solidFill>
                <a:srgbClr val="000000"/>
              </a:solidFill>
              <a:latin typeface="Krona One"/>
              <a:ea typeface="Krona One"/>
              <a:cs typeface="Krona One"/>
              <a:sym typeface="Krona One"/>
            </a:endParaRPr>
          </a:p>
        </p:txBody>
      </p:sp>
      <p:sp>
        <p:nvSpPr>
          <p:cNvPr id="1716" name="Google Shape;1716;p50"/>
          <p:cNvSpPr txBox="1"/>
          <p:nvPr/>
        </p:nvSpPr>
        <p:spPr>
          <a:xfrm>
            <a:off x="6525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farthest planet from the Sun</a:t>
            </a:r>
            <a:endParaRPr>
              <a:solidFill>
                <a:schemeClr val="dk1"/>
              </a:solidFill>
              <a:latin typeface="Jost"/>
              <a:ea typeface="Jost"/>
              <a:cs typeface="Jost"/>
              <a:sym typeface="Jost"/>
            </a:endParaRPr>
          </a:p>
        </p:txBody>
      </p:sp>
      <p:sp>
        <p:nvSpPr>
          <p:cNvPr id="1717" name="Google Shape;1717;p50"/>
          <p:cNvSpPr txBox="1"/>
          <p:nvPr/>
        </p:nvSpPr>
        <p:spPr>
          <a:xfrm>
            <a:off x="36225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718" name="Google Shape;1718;p50"/>
          <p:cNvSpPr txBox="1"/>
          <p:nvPr/>
        </p:nvSpPr>
        <p:spPr>
          <a:xfrm>
            <a:off x="36225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Saturn is a gas giant and has several rings.</a:t>
            </a:r>
            <a:endParaRPr>
              <a:solidFill>
                <a:schemeClr val="dk1"/>
              </a:solidFill>
              <a:latin typeface="Jost"/>
              <a:ea typeface="Jost"/>
              <a:cs typeface="Jost"/>
              <a:sym typeface="Jost"/>
            </a:endParaRPr>
          </a:p>
        </p:txBody>
      </p:sp>
      <p:sp>
        <p:nvSpPr>
          <p:cNvPr id="1719" name="Google Shape;1719;p50"/>
          <p:cNvSpPr txBox="1"/>
          <p:nvPr/>
        </p:nvSpPr>
        <p:spPr>
          <a:xfrm>
            <a:off x="720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720" name="Google Shape;1720;p50"/>
          <p:cNvSpPr txBox="1"/>
          <p:nvPr/>
        </p:nvSpPr>
        <p:spPr>
          <a:xfrm>
            <a:off x="720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721" name="Google Shape;1721;p50"/>
          <p:cNvSpPr txBox="1"/>
          <p:nvPr/>
        </p:nvSpPr>
        <p:spPr>
          <a:xfrm>
            <a:off x="6525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722" name="Google Shape;1722;p50"/>
          <p:cNvSpPr txBox="1"/>
          <p:nvPr/>
        </p:nvSpPr>
        <p:spPr>
          <a:xfrm>
            <a:off x="6525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723" name="Google Shape;1723;p50"/>
          <p:cNvSpPr txBox="1"/>
          <p:nvPr/>
        </p:nvSpPr>
        <p:spPr>
          <a:xfrm>
            <a:off x="36225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724" name="Google Shape;1724;p50"/>
          <p:cNvSpPr txBox="1"/>
          <p:nvPr/>
        </p:nvSpPr>
        <p:spPr>
          <a:xfrm>
            <a:off x="36225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725" name="Google Shape;1725;p50"/>
          <p:cNvSpPr txBox="1"/>
          <p:nvPr/>
        </p:nvSpPr>
        <p:spPr>
          <a:xfrm>
            <a:off x="720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EARTH</a:t>
            </a:r>
            <a:endParaRPr sz="1800">
              <a:solidFill>
                <a:srgbClr val="000000"/>
              </a:solidFill>
              <a:latin typeface="Krona One"/>
              <a:ea typeface="Krona One"/>
              <a:cs typeface="Krona One"/>
              <a:sym typeface="Krona One"/>
            </a:endParaRPr>
          </a:p>
        </p:txBody>
      </p:sp>
      <p:sp>
        <p:nvSpPr>
          <p:cNvPr id="1726" name="Google Shape;1726;p50"/>
          <p:cNvSpPr txBox="1"/>
          <p:nvPr/>
        </p:nvSpPr>
        <p:spPr>
          <a:xfrm>
            <a:off x="720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only planet that harbors life</a:t>
            </a:r>
            <a:endParaRPr>
              <a:solidFill>
                <a:schemeClr val="dk1"/>
              </a:solidFill>
              <a:latin typeface="Jost"/>
              <a:ea typeface="Jost"/>
              <a:cs typeface="Jost"/>
              <a:sym typeface="Jost"/>
            </a:endParaRPr>
          </a:p>
        </p:txBody>
      </p:sp>
      <p:sp>
        <p:nvSpPr>
          <p:cNvPr id="1727" name="Google Shape;1727;p50"/>
          <p:cNvSpPr txBox="1"/>
          <p:nvPr/>
        </p:nvSpPr>
        <p:spPr>
          <a:xfrm>
            <a:off x="6525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MOON</a:t>
            </a:r>
            <a:endParaRPr sz="1800">
              <a:solidFill>
                <a:srgbClr val="000000"/>
              </a:solidFill>
              <a:latin typeface="Krona One"/>
              <a:ea typeface="Krona One"/>
              <a:cs typeface="Krona One"/>
              <a:sym typeface="Krona One"/>
            </a:endParaRPr>
          </a:p>
        </p:txBody>
      </p:sp>
      <p:sp>
        <p:nvSpPr>
          <p:cNvPr id="1728" name="Google Shape;1728;p50"/>
          <p:cNvSpPr txBox="1"/>
          <p:nvPr/>
        </p:nvSpPr>
        <p:spPr>
          <a:xfrm>
            <a:off x="6525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The Moon is Earth’s only natural satellite</a:t>
            </a:r>
            <a:endParaRPr>
              <a:solidFill>
                <a:schemeClr val="dk1"/>
              </a:solidFill>
              <a:latin typeface="Jost"/>
              <a:ea typeface="Jost"/>
              <a:cs typeface="Jost"/>
              <a:sym typeface="Jost"/>
            </a:endParaRPr>
          </a:p>
        </p:txBody>
      </p:sp>
      <p:cxnSp>
        <p:nvCxnSpPr>
          <p:cNvPr id="1729" name="Google Shape;1729;p50"/>
          <p:cNvCxnSpPr>
            <a:stCxn id="1720" idx="2"/>
            <a:endCxn id="1730" idx="1"/>
          </p:cNvCxnSpPr>
          <p:nvPr/>
        </p:nvCxnSpPr>
        <p:spPr>
          <a:xfrm rot="-5400000" flipH="1">
            <a:off x="2372850" y="1264548"/>
            <a:ext cx="470100" cy="1876800"/>
          </a:xfrm>
          <a:prstGeom prst="bentConnector2">
            <a:avLst/>
          </a:prstGeom>
          <a:noFill/>
          <a:ln w="19050" cap="flat" cmpd="sng">
            <a:solidFill>
              <a:schemeClr val="dk2"/>
            </a:solidFill>
            <a:prstDash val="solid"/>
            <a:round/>
            <a:headEnd type="none" w="med" len="med"/>
            <a:tailEnd type="none" w="med" len="med"/>
          </a:ln>
        </p:spPr>
      </p:cxnSp>
      <p:cxnSp>
        <p:nvCxnSpPr>
          <p:cNvPr id="1731" name="Google Shape;1731;p50"/>
          <p:cNvCxnSpPr>
            <a:stCxn id="1726" idx="3"/>
            <a:endCxn id="1732" idx="1"/>
          </p:cNvCxnSpPr>
          <p:nvPr/>
        </p:nvCxnSpPr>
        <p:spPr>
          <a:xfrm rot="10800000" flipH="1">
            <a:off x="2619000" y="2774499"/>
            <a:ext cx="1507200" cy="295200"/>
          </a:xfrm>
          <a:prstGeom prst="bentConnector3">
            <a:avLst>
              <a:gd name="adj1" fmla="val 50003"/>
            </a:avLst>
          </a:prstGeom>
          <a:noFill/>
          <a:ln w="19050" cap="flat" cmpd="sng">
            <a:solidFill>
              <a:schemeClr val="dk2"/>
            </a:solidFill>
            <a:prstDash val="solid"/>
            <a:round/>
            <a:headEnd type="none" w="med" len="med"/>
            <a:tailEnd type="none" w="med" len="med"/>
          </a:ln>
        </p:spPr>
      </p:cxnSp>
      <p:cxnSp>
        <p:nvCxnSpPr>
          <p:cNvPr id="1733" name="Google Shape;1733;p50"/>
          <p:cNvCxnSpPr>
            <a:stCxn id="1714" idx="3"/>
            <a:endCxn id="1734" idx="2"/>
          </p:cNvCxnSpPr>
          <p:nvPr/>
        </p:nvCxnSpPr>
        <p:spPr>
          <a:xfrm rot="10800000" flipH="1">
            <a:off x="2619000" y="3182400"/>
            <a:ext cx="729300" cy="1205100"/>
          </a:xfrm>
          <a:prstGeom prst="bentConnector2">
            <a:avLst/>
          </a:prstGeom>
          <a:noFill/>
          <a:ln w="19050" cap="flat" cmpd="sng">
            <a:solidFill>
              <a:schemeClr val="dk2"/>
            </a:solidFill>
            <a:prstDash val="solid"/>
            <a:round/>
            <a:headEnd type="none" w="med" len="med"/>
            <a:tailEnd type="none" w="med" len="med"/>
          </a:ln>
        </p:spPr>
      </p:cxnSp>
      <p:cxnSp>
        <p:nvCxnSpPr>
          <p:cNvPr id="1735" name="Google Shape;1735;p50"/>
          <p:cNvCxnSpPr>
            <a:stCxn id="1717" idx="0"/>
            <a:endCxn id="1736" idx="2"/>
          </p:cNvCxnSpPr>
          <p:nvPr/>
        </p:nvCxnSpPr>
        <p:spPr>
          <a:xfrm rot="5400000" flipH="1">
            <a:off x="4277400" y="3578100"/>
            <a:ext cx="538800" cy="50400"/>
          </a:xfrm>
          <a:prstGeom prst="bentConnector3">
            <a:avLst>
              <a:gd name="adj1" fmla="val 50007"/>
            </a:avLst>
          </a:prstGeom>
          <a:noFill/>
          <a:ln w="19050" cap="flat" cmpd="sng">
            <a:solidFill>
              <a:schemeClr val="dk2"/>
            </a:solidFill>
            <a:prstDash val="solid"/>
            <a:round/>
            <a:headEnd type="none" w="med" len="med"/>
            <a:tailEnd type="none" w="med" len="med"/>
          </a:ln>
        </p:spPr>
      </p:cxnSp>
      <p:cxnSp>
        <p:nvCxnSpPr>
          <p:cNvPr id="1737" name="Google Shape;1737;p50"/>
          <p:cNvCxnSpPr>
            <a:stCxn id="1716" idx="1"/>
            <a:endCxn id="1738" idx="2"/>
          </p:cNvCxnSpPr>
          <p:nvPr/>
        </p:nvCxnSpPr>
        <p:spPr>
          <a:xfrm rot="10800000">
            <a:off x="5610000" y="3182400"/>
            <a:ext cx="915000" cy="1205100"/>
          </a:xfrm>
          <a:prstGeom prst="bentConnector2">
            <a:avLst/>
          </a:prstGeom>
          <a:noFill/>
          <a:ln w="19050" cap="flat" cmpd="sng">
            <a:solidFill>
              <a:schemeClr val="dk2"/>
            </a:solidFill>
            <a:prstDash val="solid"/>
            <a:round/>
            <a:headEnd type="none" w="med" len="med"/>
            <a:tailEnd type="none" w="med" len="med"/>
          </a:ln>
        </p:spPr>
      </p:cxnSp>
      <p:cxnSp>
        <p:nvCxnSpPr>
          <p:cNvPr id="1739" name="Google Shape;1739;p50"/>
          <p:cNvCxnSpPr>
            <a:stCxn id="1728" idx="1"/>
            <a:endCxn id="1740" idx="3"/>
          </p:cNvCxnSpPr>
          <p:nvPr/>
        </p:nvCxnSpPr>
        <p:spPr>
          <a:xfrm rot="10800000">
            <a:off x="5774100" y="2774499"/>
            <a:ext cx="750900" cy="295200"/>
          </a:xfrm>
          <a:prstGeom prst="bentConnector3">
            <a:avLst>
              <a:gd name="adj1" fmla="val 50006"/>
            </a:avLst>
          </a:prstGeom>
          <a:noFill/>
          <a:ln w="19050" cap="flat" cmpd="sng">
            <a:solidFill>
              <a:schemeClr val="dk2"/>
            </a:solidFill>
            <a:prstDash val="solid"/>
            <a:round/>
            <a:headEnd type="none" w="med" len="med"/>
            <a:tailEnd type="none" w="med" len="med"/>
          </a:ln>
        </p:spPr>
      </p:cxnSp>
      <p:cxnSp>
        <p:nvCxnSpPr>
          <p:cNvPr id="1741" name="Google Shape;1741;p50"/>
          <p:cNvCxnSpPr>
            <a:stCxn id="1722" idx="2"/>
            <a:endCxn id="1742" idx="3"/>
          </p:cNvCxnSpPr>
          <p:nvPr/>
        </p:nvCxnSpPr>
        <p:spPr>
          <a:xfrm rot="5400000">
            <a:off x="6389250" y="1352748"/>
            <a:ext cx="470100" cy="1700400"/>
          </a:xfrm>
          <a:prstGeom prst="bentConnector2">
            <a:avLst/>
          </a:prstGeom>
          <a:noFill/>
          <a:ln w="19050" cap="flat" cmpd="sng">
            <a:solidFill>
              <a:schemeClr val="dk2"/>
            </a:solidFill>
            <a:prstDash val="solid"/>
            <a:round/>
            <a:headEnd type="none" w="med" len="med"/>
            <a:tailEnd type="none" w="med" len="med"/>
          </a:ln>
        </p:spPr>
      </p:cxnSp>
      <p:cxnSp>
        <p:nvCxnSpPr>
          <p:cNvPr id="1743" name="Google Shape;1743;p50"/>
          <p:cNvCxnSpPr>
            <a:stCxn id="1724" idx="2"/>
            <a:endCxn id="1744" idx="0"/>
          </p:cNvCxnSpPr>
          <p:nvPr/>
        </p:nvCxnSpPr>
        <p:spPr>
          <a:xfrm rot="5400000">
            <a:off x="4406400" y="2083098"/>
            <a:ext cx="280800" cy="50400"/>
          </a:xfrm>
          <a:prstGeom prst="bentConnector3">
            <a:avLst>
              <a:gd name="adj1" fmla="val 50012"/>
            </a:avLst>
          </a:prstGeom>
          <a:noFill/>
          <a:ln w="19050" cap="flat" cmpd="sng">
            <a:solidFill>
              <a:schemeClr val="dk2"/>
            </a:solidFill>
            <a:prstDash val="solid"/>
            <a:round/>
            <a:headEnd type="none" w="med" len="med"/>
            <a:tailEnd type="none" w="med" len="med"/>
          </a:ln>
        </p:spPr>
      </p:cxnSp>
      <p:sp>
        <p:nvSpPr>
          <p:cNvPr id="1732" name="Google Shape;1732;p50"/>
          <p:cNvSpPr/>
          <p:nvPr/>
        </p:nvSpPr>
        <p:spPr>
          <a:xfrm>
            <a:off x="4126291"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0"/>
          <p:cNvSpPr/>
          <p:nvPr/>
        </p:nvSpPr>
        <p:spPr>
          <a:xfrm>
            <a:off x="3546159"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0"/>
          <p:cNvSpPr/>
          <p:nvPr/>
        </p:nvSpPr>
        <p:spPr>
          <a:xfrm>
            <a:off x="5698108"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0"/>
          <p:cNvSpPr/>
          <p:nvPr/>
        </p:nvSpPr>
        <p:spPr>
          <a:xfrm>
            <a:off x="5698108"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0"/>
          <p:cNvSpPr/>
          <p:nvPr/>
        </p:nvSpPr>
        <p:spPr>
          <a:xfrm>
            <a:off x="5571987"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0"/>
          <p:cNvSpPr/>
          <p:nvPr/>
        </p:nvSpPr>
        <p:spPr>
          <a:xfrm>
            <a:off x="3310281"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0"/>
          <p:cNvSpPr/>
          <p:nvPr/>
        </p:nvSpPr>
        <p:spPr>
          <a:xfrm>
            <a:off x="4483635" y="3257927"/>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0"/>
          <p:cNvSpPr/>
          <p:nvPr/>
        </p:nvSpPr>
        <p:spPr>
          <a:xfrm>
            <a:off x="4483635" y="224876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48"/>
        <p:cNvGrpSpPr/>
        <p:nvPr/>
      </p:nvGrpSpPr>
      <p:grpSpPr>
        <a:xfrm>
          <a:off x="0" y="0"/>
          <a:ext cx="0" cy="0"/>
          <a:chOff x="0" y="0"/>
          <a:chExt cx="0" cy="0"/>
        </a:xfrm>
      </p:grpSpPr>
      <p:sp>
        <p:nvSpPr>
          <p:cNvPr id="1749" name="Google Shape;1749;p51"/>
          <p:cNvSpPr txBox="1">
            <a:spLocks noGrp="1"/>
          </p:cNvSpPr>
          <p:nvPr>
            <p:ph type="title"/>
          </p:nvPr>
        </p:nvSpPr>
        <p:spPr>
          <a:xfrm>
            <a:off x="1388100" y="1567650"/>
            <a:ext cx="6367800" cy="2008200"/>
          </a:xfrm>
          <a:prstGeom prst="rect">
            <a:avLst/>
          </a:prstGeom>
        </p:spPr>
        <p:txBody>
          <a:bodyPr spcFirstLastPara="1" wrap="square" lIns="91425" tIns="0" rIns="91425" bIns="0" anchor="ctr" anchorCtr="0">
            <a:noAutofit/>
          </a:bodyPr>
          <a:lstStyle/>
          <a:p>
            <a:pPr marL="0" lvl="0" indent="0" algn="ctr" rtl="0">
              <a:spcBef>
                <a:spcPts val="0"/>
              </a:spcBef>
              <a:spcAft>
                <a:spcPts val="0"/>
              </a:spcAft>
              <a:buNone/>
            </a:pPr>
            <a:r>
              <a:rPr lang="en"/>
              <a:t>AWESOME WORDS</a:t>
            </a:r>
            <a:endParaRPr/>
          </a:p>
        </p:txBody>
      </p:sp>
      <p:grpSp>
        <p:nvGrpSpPr>
          <p:cNvPr id="1750" name="Google Shape;1750;p51"/>
          <p:cNvGrpSpPr/>
          <p:nvPr/>
        </p:nvGrpSpPr>
        <p:grpSpPr>
          <a:xfrm flipH="1">
            <a:off x="6801175" y="3843025"/>
            <a:ext cx="1221300" cy="570400"/>
            <a:chOff x="670175" y="3809850"/>
            <a:chExt cx="1221300" cy="570400"/>
          </a:xfrm>
        </p:grpSpPr>
        <p:cxnSp>
          <p:nvCxnSpPr>
            <p:cNvPr id="1751" name="Google Shape;1751;p51"/>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2" name="Google Shape;1752;p51"/>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3" name="Google Shape;1753;p51"/>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754" name="Google Shape;1754;p51"/>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755" name="Google Shape;1755;p51"/>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56" name="Google Shape;1756;p51"/>
          <p:cNvPicPr preferRelativeResize="0"/>
          <p:nvPr/>
        </p:nvPicPr>
        <p:blipFill rotWithShape="1">
          <a:blip r:embed="rId3">
            <a:alphaModFix/>
          </a:blip>
          <a:srcRect t="-3172" b="24648"/>
          <a:stretch/>
        </p:blipFill>
        <p:spPr>
          <a:xfrm flipH="1">
            <a:off x="2191174" y="3785444"/>
            <a:ext cx="4761650" cy="103522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60"/>
        <p:cNvGrpSpPr/>
        <p:nvPr/>
      </p:nvGrpSpPr>
      <p:grpSpPr>
        <a:xfrm>
          <a:off x="0" y="0"/>
          <a:ext cx="0" cy="0"/>
          <a:chOff x="0" y="0"/>
          <a:chExt cx="0" cy="0"/>
        </a:xfrm>
      </p:grpSpPr>
      <p:sp>
        <p:nvSpPr>
          <p:cNvPr id="1761" name="Google Shape;1761;p52"/>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BEST COMPETITIONS</a:t>
            </a:r>
            <a:endParaRPr/>
          </a:p>
        </p:txBody>
      </p:sp>
      <p:grpSp>
        <p:nvGrpSpPr>
          <p:cNvPr id="1762" name="Google Shape;1762;p52"/>
          <p:cNvGrpSpPr/>
          <p:nvPr/>
        </p:nvGrpSpPr>
        <p:grpSpPr>
          <a:xfrm>
            <a:off x="4465446" y="1656297"/>
            <a:ext cx="3377370" cy="1799248"/>
            <a:chOff x="233350" y="949250"/>
            <a:chExt cx="7137300" cy="3802300"/>
          </a:xfrm>
        </p:grpSpPr>
        <p:sp>
          <p:nvSpPr>
            <p:cNvPr id="1763" name="Google Shape;1763;p52"/>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4" name="Google Shape;1764;p52"/>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6" name="Google Shape;1766;p52"/>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7" name="Google Shape;1767;p52"/>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0" name="Google Shape;1770;p52"/>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4" name="Google Shape;1774;p52"/>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5" name="Google Shape;1775;p52"/>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7" name="Google Shape;1777;p52"/>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8" name="Google Shape;1778;p52"/>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0" name="Google Shape;1780;p52"/>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1" name="Google Shape;1781;p52"/>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3" name="Google Shape;1783;p52"/>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4" name="Google Shape;1784;p52"/>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6" name="Google Shape;1786;p52"/>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7" name="Google Shape;1787;p52"/>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9" name="Google Shape;1789;p52"/>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0" name="Google Shape;1790;p52"/>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52"/>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52"/>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52"/>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52"/>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52"/>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52"/>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52"/>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52"/>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52"/>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52"/>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52"/>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52"/>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txBox="1"/>
          <p:nvPr/>
        </p:nvSpPr>
        <p:spPr>
          <a:xfrm>
            <a:off x="1355465" y="160292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15" name="Google Shape;1815;p52"/>
          <p:cNvSpPr txBox="1"/>
          <p:nvPr/>
        </p:nvSpPr>
        <p:spPr>
          <a:xfrm>
            <a:off x="1355465" y="190172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816" name="Google Shape;1816;p52"/>
          <p:cNvSpPr txBox="1"/>
          <p:nvPr/>
        </p:nvSpPr>
        <p:spPr>
          <a:xfrm>
            <a:off x="1355465" y="355427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17" name="Google Shape;1817;p52"/>
          <p:cNvSpPr txBox="1"/>
          <p:nvPr/>
        </p:nvSpPr>
        <p:spPr>
          <a:xfrm>
            <a:off x="1355465" y="385307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818" name="Google Shape;1818;p52"/>
          <p:cNvSpPr txBox="1"/>
          <p:nvPr/>
        </p:nvSpPr>
        <p:spPr>
          <a:xfrm>
            <a:off x="1355465" y="2578600"/>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19" name="Google Shape;1819;p52"/>
          <p:cNvSpPr txBox="1"/>
          <p:nvPr/>
        </p:nvSpPr>
        <p:spPr>
          <a:xfrm>
            <a:off x="1355465" y="2877398"/>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820" name="Google Shape;1820;p52"/>
          <p:cNvSpPr/>
          <p:nvPr/>
        </p:nvSpPr>
        <p:spPr>
          <a:xfrm>
            <a:off x="4707735" y="2029251"/>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52"/>
          <p:cNvSpPr/>
          <p:nvPr/>
        </p:nvSpPr>
        <p:spPr>
          <a:xfrm>
            <a:off x="5381165" y="2768070"/>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7079507" y="2034948"/>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52"/>
          <p:cNvSpPr/>
          <p:nvPr/>
        </p:nvSpPr>
        <p:spPr>
          <a:xfrm>
            <a:off x="4617840" y="3659728"/>
            <a:ext cx="303900" cy="30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52"/>
          <p:cNvSpPr/>
          <p:nvPr/>
        </p:nvSpPr>
        <p:spPr>
          <a:xfrm>
            <a:off x="6011790" y="3659728"/>
            <a:ext cx="303900" cy="3039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7405740" y="3659728"/>
            <a:ext cx="303900" cy="303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6" name="Google Shape;1826;p52"/>
          <p:cNvSpPr txBox="1"/>
          <p:nvPr/>
        </p:nvSpPr>
        <p:spPr>
          <a:xfrm>
            <a:off x="43001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small</a:t>
            </a:r>
            <a:endParaRPr>
              <a:solidFill>
                <a:srgbClr val="000000"/>
              </a:solidFill>
              <a:latin typeface="Jost"/>
              <a:ea typeface="Jost"/>
              <a:cs typeface="Jost"/>
              <a:sym typeface="Jost"/>
            </a:endParaRPr>
          </a:p>
        </p:txBody>
      </p:sp>
      <p:sp>
        <p:nvSpPr>
          <p:cNvPr id="1827" name="Google Shape;1827;p52"/>
          <p:cNvSpPr txBox="1"/>
          <p:nvPr/>
        </p:nvSpPr>
        <p:spPr>
          <a:xfrm>
            <a:off x="569409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hot</a:t>
            </a:r>
            <a:endParaRPr>
              <a:solidFill>
                <a:srgbClr val="000000"/>
              </a:solidFill>
              <a:latin typeface="Jost"/>
              <a:ea typeface="Jost"/>
              <a:cs typeface="Jost"/>
              <a:sym typeface="Jost"/>
            </a:endParaRPr>
          </a:p>
        </p:txBody>
      </p:sp>
      <p:sp>
        <p:nvSpPr>
          <p:cNvPr id="1828" name="Google Shape;1828;p52"/>
          <p:cNvSpPr txBox="1"/>
          <p:nvPr/>
        </p:nvSpPr>
        <p:spPr>
          <a:xfrm>
            <a:off x="70880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cold</a:t>
            </a:r>
            <a:endParaRPr>
              <a:solidFill>
                <a:srgbClr val="000000"/>
              </a:solidFill>
              <a:latin typeface="Jost"/>
              <a:ea typeface="Jost"/>
              <a:cs typeface="Jost"/>
              <a:sym typeface="Jost"/>
            </a:endParaRPr>
          </a:p>
        </p:txBody>
      </p:sp>
      <p:sp>
        <p:nvSpPr>
          <p:cNvPr id="1829" name="Google Shape;1829;p52"/>
          <p:cNvSpPr/>
          <p:nvPr/>
        </p:nvSpPr>
        <p:spPr>
          <a:xfrm>
            <a:off x="1116660" y="2649251"/>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1116660" y="3624926"/>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1116660" y="1673576"/>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38819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GB" dirty="0"/>
              <a:t>Optional: Motivation (Moritz) </a:t>
            </a:r>
            <a:endParaRPr lang="en-AT" dirty="0"/>
          </a:p>
        </p:txBody>
      </p:sp>
      <p:grpSp>
        <p:nvGrpSpPr>
          <p:cNvPr id="6" name="Google Shape;2269;p64">
            <a:extLst>
              <a:ext uri="{FF2B5EF4-FFF2-40B4-BE49-F238E27FC236}">
                <a16:creationId xmlns:a16="http://schemas.microsoft.com/office/drawing/2014/main" id="{FD9787EB-B510-F154-0A38-755112CF5D1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7" name="Google Shape;2270;p64">
              <a:extLst>
                <a:ext uri="{FF2B5EF4-FFF2-40B4-BE49-F238E27FC236}">
                  <a16:creationId xmlns:a16="http://schemas.microsoft.com/office/drawing/2014/main" id="{7F513D93-2CF0-0D3B-B894-FA8781D73762}"/>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8" name="Google Shape;2271;p64">
              <a:extLst>
                <a:ext uri="{FF2B5EF4-FFF2-40B4-BE49-F238E27FC236}">
                  <a16:creationId xmlns:a16="http://schemas.microsoft.com/office/drawing/2014/main" id="{7C63D60C-20A1-0EBB-E44B-A6BBB9A7ADF5}"/>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2;p64">
              <a:extLst>
                <a:ext uri="{FF2B5EF4-FFF2-40B4-BE49-F238E27FC236}">
                  <a16:creationId xmlns:a16="http://schemas.microsoft.com/office/drawing/2014/main" id="{0EA38B50-3F78-8531-65F0-96902055C20C}"/>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273;p64">
              <a:extLst>
                <a:ext uri="{FF2B5EF4-FFF2-40B4-BE49-F238E27FC236}">
                  <a16:creationId xmlns:a16="http://schemas.microsoft.com/office/drawing/2014/main" id="{6DCE48C0-68CD-62C6-7326-80B61CBD38B3}"/>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6" name="Picture 2" descr="Zivil- und Zivilverfahrensrecht - WU (Wirtschaftsuniversität Wien)">
            <a:extLst>
              <a:ext uri="{FF2B5EF4-FFF2-40B4-BE49-F238E27FC236}">
                <a16:creationId xmlns:a16="http://schemas.microsoft.com/office/drawing/2014/main" id="{729E3C65-3FC8-A3F0-A8B8-934CF25776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516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835"/>
        <p:cNvGrpSpPr/>
        <p:nvPr/>
      </p:nvGrpSpPr>
      <p:grpSpPr>
        <a:xfrm>
          <a:off x="0" y="0"/>
          <a:ext cx="0" cy="0"/>
          <a:chOff x="0" y="0"/>
          <a:chExt cx="0" cy="0"/>
        </a:xfrm>
      </p:grpSpPr>
      <p:sp>
        <p:nvSpPr>
          <p:cNvPr id="1836" name="Google Shape;1836;p5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E CURRICULUM</a:t>
            </a:r>
            <a:endParaRPr/>
          </a:p>
        </p:txBody>
      </p:sp>
      <p:graphicFrame>
        <p:nvGraphicFramePr>
          <p:cNvPr id="1837" name="Google Shape;1837;p53"/>
          <p:cNvGraphicFramePr/>
          <p:nvPr/>
        </p:nvGraphicFramePr>
        <p:xfrm>
          <a:off x="720050" y="1311775"/>
          <a:ext cx="7703950" cy="3215400"/>
        </p:xfrm>
        <a:graphic>
          <a:graphicData uri="http://schemas.openxmlformats.org/drawingml/2006/table">
            <a:tbl>
              <a:tblPr>
                <a:noFill/>
                <a:tableStyleId>{36388064-F937-4609-BF7D-212556715704}</a:tableStyleId>
              </a:tblPr>
              <a:tblGrid>
                <a:gridCol w="811475">
                  <a:extLst>
                    <a:ext uri="{9D8B030D-6E8A-4147-A177-3AD203B41FA5}">
                      <a16:colId xmlns:a16="http://schemas.microsoft.com/office/drawing/2014/main" val="20000"/>
                    </a:ext>
                  </a:extLst>
                </a:gridCol>
                <a:gridCol w="3040475">
                  <a:extLst>
                    <a:ext uri="{9D8B030D-6E8A-4147-A177-3AD203B41FA5}">
                      <a16:colId xmlns:a16="http://schemas.microsoft.com/office/drawing/2014/main" val="20001"/>
                    </a:ext>
                  </a:extLst>
                </a:gridCol>
                <a:gridCol w="1284000">
                  <a:extLst>
                    <a:ext uri="{9D8B030D-6E8A-4147-A177-3AD203B41FA5}">
                      <a16:colId xmlns:a16="http://schemas.microsoft.com/office/drawing/2014/main" val="20002"/>
                    </a:ext>
                  </a:extLst>
                </a:gridCol>
                <a:gridCol w="1284000">
                  <a:extLst>
                    <a:ext uri="{9D8B030D-6E8A-4147-A177-3AD203B41FA5}">
                      <a16:colId xmlns:a16="http://schemas.microsoft.com/office/drawing/2014/main" val="20003"/>
                    </a:ext>
                  </a:extLst>
                </a:gridCol>
                <a:gridCol w="1284000">
                  <a:extLst>
                    <a:ext uri="{9D8B030D-6E8A-4147-A177-3AD203B41FA5}">
                      <a16:colId xmlns:a16="http://schemas.microsoft.com/office/drawing/2014/main" val="20004"/>
                    </a:ext>
                  </a:extLst>
                </a:gridCol>
              </a:tblGrid>
              <a:tr h="401925">
                <a:tc gridSpan="2">
                  <a:txBody>
                    <a:bodyPr/>
                    <a:lstStyle/>
                    <a:p>
                      <a:pPr marL="0" lvl="0" indent="0" algn="ctr" rtl="0">
                        <a:spcBef>
                          <a:spcPts val="0"/>
                        </a:spcBef>
                        <a:spcAft>
                          <a:spcPts val="0"/>
                        </a:spcAft>
                        <a:buNone/>
                      </a:pPr>
                      <a:r>
                        <a:rPr lang="en" sz="1800">
                          <a:latin typeface="Krona One"/>
                          <a:ea typeface="Krona One"/>
                          <a:cs typeface="Krona One"/>
                          <a:sym typeface="Krona One"/>
                        </a:rPr>
                        <a:t>INTRODUCTION</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gridSpan="3">
                  <a:txBody>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FEATURES</a:t>
                      </a:r>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0"/>
                  </a:ext>
                </a:extLst>
              </a:tr>
              <a:tr h="401925">
                <a:tc rowSpan="2" gridSpan="2">
                  <a:txBody>
                    <a:bodyPr/>
                    <a:lstStyle/>
                    <a:p>
                      <a:pPr marL="0" lvl="0" indent="0" algn="l" rtl="0">
                        <a:spcBef>
                          <a:spcPts val="0"/>
                        </a:spcBef>
                        <a:spcAft>
                          <a:spcPts val="0"/>
                        </a:spcAft>
                        <a:buNone/>
                      </a:pPr>
                      <a:r>
                        <a:rPr lang="en">
                          <a:solidFill>
                            <a:schemeClr val="dk1"/>
                          </a:solidFill>
                          <a:latin typeface="Jost"/>
                          <a:ea typeface="Jost"/>
                          <a:cs typeface="Jost"/>
                          <a:sym typeface="Jost"/>
                        </a:rPr>
                        <a:t>Venus is the second planet from the Sun. It’s terribly hot, even hotter than Mercury, and its atmosphere is extremely poisonous</a:t>
                      </a:r>
                      <a:r>
                        <a:rPr lang="en">
                          <a:solidFill>
                            <a:srgbClr val="595959"/>
                          </a:solidFill>
                          <a:latin typeface="Jost"/>
                          <a:ea typeface="Jost"/>
                          <a:cs typeface="Jost"/>
                          <a:sym typeface="Jost"/>
                        </a:rPr>
                        <a:t>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ercury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3/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401925">
                <a:tc gridSpan="2" vMerge="1">
                  <a:txBody>
                    <a:bodyPr/>
                    <a:lstStyle/>
                    <a:p>
                      <a:endParaRPr lang="en-AT"/>
                    </a:p>
                  </a:txBody>
                  <a:tcPr/>
                </a:tc>
                <a:tc hMerge="1" v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ars</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8</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doesn’t have a solid surface</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a:txBody>
                    <a:bodyPr/>
                    <a:lstStyle/>
                    <a:p>
                      <a:pPr marL="0" lvl="0" indent="0" algn="ctr" rtl="0">
                        <a:spcBef>
                          <a:spcPts val="0"/>
                        </a:spcBef>
                        <a:spcAft>
                          <a:spcPts val="0"/>
                        </a:spcAft>
                        <a:buNone/>
                      </a:pPr>
                      <a:r>
                        <a:rPr lang="en" sz="1800">
                          <a:latin typeface="Krona One"/>
                          <a:ea typeface="Krona One"/>
                          <a:cs typeface="Krona One"/>
                          <a:sym typeface="Krona One"/>
                        </a:rPr>
                        <a:t>ADVANTAGES</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3"/>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9</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a:solidFill>
                            <a:schemeClr val="dk1"/>
                          </a:solidFill>
                          <a:latin typeface="Jost"/>
                          <a:ea typeface="Jost"/>
                          <a:cs typeface="Jost"/>
                          <a:sym typeface="Jost"/>
                        </a:rPr>
                        <a:t>Mercury is the smallest planet</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4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7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0</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has high temperatures</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vMerge="1">
                  <a:txBody>
                    <a:bodyPr/>
                    <a:lstStyle/>
                    <a:p>
                      <a:endParaRPr lang="en-AT"/>
                    </a:p>
                  </a:txBody>
                  <a:tcPr/>
                </a:tc>
                <a:tc vMerge="1">
                  <a:txBody>
                    <a:bodyPr/>
                    <a:lstStyle/>
                    <a:p>
                      <a:endParaRPr lang="en-AT"/>
                    </a:p>
                  </a:txBody>
                  <a:tcPr/>
                </a:tc>
                <a:tc vMerge="1">
                  <a:txBody>
                    <a:bodyPr/>
                    <a:lstStyle/>
                    <a:p>
                      <a:endParaRPr lang="en-AT"/>
                    </a:p>
                  </a:txBody>
                  <a:tcPr/>
                </a:tc>
                <a:extLst>
                  <a:ext uri="{0D108BD9-81ED-4DB2-BD59-A6C34878D82A}">
                    <a16:rowId xmlns:a16="http://schemas.microsoft.com/office/drawing/2014/main" val="10005"/>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1</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We all live in the Earth</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gridSpan="3">
                  <a:txBody>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in the Solar System. It's the fourth-brightest object in the night sky. It was named after the Roman god </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rowSpan="2" hMerge="1">
                  <a:txBody>
                    <a:bodyPr/>
                    <a:lstStyle/>
                    <a:p>
                      <a:endParaRPr lang="en-AT"/>
                    </a:p>
                  </a:txBody>
                  <a:tcPr/>
                </a:tc>
                <a:extLst>
                  <a:ext uri="{0D108BD9-81ED-4DB2-BD59-A6C34878D82A}">
                    <a16:rowId xmlns:a16="http://schemas.microsoft.com/office/drawing/2014/main" val="10006"/>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2</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very cold</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vMerge="1">
                  <a:txBody>
                    <a:bodyPr/>
                    <a:lstStyle/>
                    <a:p>
                      <a:endParaRPr lang="en-AT"/>
                    </a:p>
                  </a:txBody>
                  <a:tcPr/>
                </a:tc>
                <a:tc hMerge="1" vMerge="1">
                  <a:txBody>
                    <a:bodyPr/>
                    <a:lstStyle/>
                    <a:p>
                      <a:endParaRPr lang="en-AT"/>
                    </a:p>
                  </a:txBody>
                  <a:tcPr/>
                </a:tc>
                <a:tc hMerge="1" vMerge="1">
                  <a:txBody>
                    <a:bodyPr/>
                    <a:lstStyle/>
                    <a:p>
                      <a:endParaRPr lang="en-AT"/>
                    </a:p>
                  </a:txBody>
                  <a:tcPr/>
                </a:tc>
                <a:extLst>
                  <a:ext uri="{0D108BD9-81ED-4DB2-BD59-A6C34878D82A}">
                    <a16:rowId xmlns:a16="http://schemas.microsoft.com/office/drawing/2014/main" val="10007"/>
                  </a:ext>
                </a:extLst>
              </a:tr>
            </a:tbl>
          </a:graphicData>
        </a:graphic>
      </p:graphicFrame>
      <p:sp>
        <p:nvSpPr>
          <p:cNvPr id="1838" name="Google Shape;1838;p53"/>
          <p:cNvSpPr/>
          <p:nvPr/>
        </p:nvSpPr>
        <p:spPr>
          <a:xfrm>
            <a:off x="5983825"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3"/>
          <p:cNvSpPr/>
          <p:nvPr/>
        </p:nvSpPr>
        <p:spPr>
          <a:xfrm>
            <a:off x="6200039"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3"/>
          <p:cNvSpPr/>
          <p:nvPr/>
        </p:nvSpPr>
        <p:spPr>
          <a:xfrm>
            <a:off x="6416253"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3"/>
          <p:cNvSpPr/>
          <p:nvPr/>
        </p:nvSpPr>
        <p:spPr>
          <a:xfrm>
            <a:off x="6632467"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2" name="Google Shape;1842;p53"/>
          <p:cNvSpPr/>
          <p:nvPr/>
        </p:nvSpPr>
        <p:spPr>
          <a:xfrm>
            <a:off x="6848680"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3" name="Google Shape;1843;p53"/>
          <p:cNvSpPr/>
          <p:nvPr/>
        </p:nvSpPr>
        <p:spPr>
          <a:xfrm>
            <a:off x="5983825"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3"/>
          <p:cNvSpPr/>
          <p:nvPr/>
        </p:nvSpPr>
        <p:spPr>
          <a:xfrm>
            <a:off x="6200039"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5" name="Google Shape;1845;p53"/>
          <p:cNvSpPr/>
          <p:nvPr/>
        </p:nvSpPr>
        <p:spPr>
          <a:xfrm>
            <a:off x="6416253"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6" name="Google Shape;1846;p53"/>
          <p:cNvSpPr/>
          <p:nvPr/>
        </p:nvSpPr>
        <p:spPr>
          <a:xfrm>
            <a:off x="6632467"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3"/>
          <p:cNvSpPr/>
          <p:nvPr/>
        </p:nvSpPr>
        <p:spPr>
          <a:xfrm>
            <a:off x="6848680"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3"/>
          <p:cNvSpPr/>
          <p:nvPr/>
        </p:nvSpPr>
        <p:spPr>
          <a:xfrm>
            <a:off x="4892150" y="300280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3"/>
          <p:cNvSpPr/>
          <p:nvPr/>
        </p:nvSpPr>
        <p:spPr>
          <a:xfrm>
            <a:off x="6176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3"/>
          <p:cNvSpPr/>
          <p:nvPr/>
        </p:nvSpPr>
        <p:spPr>
          <a:xfrm>
            <a:off x="7460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3"/>
          <p:cNvSpPr/>
          <p:nvPr/>
        </p:nvSpPr>
        <p:spPr>
          <a:xfrm>
            <a:off x="4892150" y="3002800"/>
            <a:ext cx="643800" cy="643800"/>
          </a:xfrm>
          <a:prstGeom prst="arc">
            <a:avLst>
              <a:gd name="adj1" fmla="val 16200000"/>
              <a:gd name="adj2" fmla="val 4267066"/>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3"/>
          <p:cNvSpPr/>
          <p:nvPr/>
        </p:nvSpPr>
        <p:spPr>
          <a:xfrm>
            <a:off x="6176100" y="3002750"/>
            <a:ext cx="643800" cy="643800"/>
          </a:xfrm>
          <a:prstGeom prst="arc">
            <a:avLst>
              <a:gd name="adj1" fmla="val 16200000"/>
              <a:gd name="adj2" fmla="val 10103184"/>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3"/>
          <p:cNvSpPr/>
          <p:nvPr/>
        </p:nvSpPr>
        <p:spPr>
          <a:xfrm>
            <a:off x="7460100" y="3002750"/>
            <a:ext cx="643800" cy="643800"/>
          </a:xfrm>
          <a:prstGeom prst="arc">
            <a:avLst>
              <a:gd name="adj1" fmla="val 16200000"/>
              <a:gd name="adj2" fmla="val 97998"/>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57"/>
        <p:cNvGrpSpPr/>
        <p:nvPr/>
      </p:nvGrpSpPr>
      <p:grpSpPr>
        <a:xfrm>
          <a:off x="0" y="0"/>
          <a:ext cx="0" cy="0"/>
          <a:chOff x="0" y="0"/>
          <a:chExt cx="0" cy="0"/>
        </a:xfrm>
      </p:grpSpPr>
      <p:cxnSp>
        <p:nvCxnSpPr>
          <p:cNvPr id="1858" name="Google Shape;1858;p54"/>
          <p:cNvCxnSpPr/>
          <p:nvPr/>
        </p:nvCxnSpPr>
        <p:spPr>
          <a:xfrm>
            <a:off x="-14700" y="4410650"/>
            <a:ext cx="9163200" cy="0"/>
          </a:xfrm>
          <a:prstGeom prst="straightConnector1">
            <a:avLst/>
          </a:prstGeom>
          <a:noFill/>
          <a:ln w="19050" cap="flat" cmpd="sng">
            <a:solidFill>
              <a:schemeClr val="dk2"/>
            </a:solidFill>
            <a:prstDash val="solid"/>
            <a:round/>
            <a:headEnd type="none" w="med" len="med"/>
            <a:tailEnd type="none" w="med" len="med"/>
          </a:ln>
        </p:spPr>
      </p:cxnSp>
      <p:sp>
        <p:nvSpPr>
          <p:cNvPr id="1859" name="Google Shape;1859;p5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ENROLLMENT PROCESS</a:t>
            </a:r>
            <a:endParaRPr/>
          </a:p>
        </p:txBody>
      </p:sp>
      <p:sp>
        <p:nvSpPr>
          <p:cNvPr id="1860" name="Google Shape;1860;p54"/>
          <p:cNvSpPr/>
          <p:nvPr/>
        </p:nvSpPr>
        <p:spPr>
          <a:xfrm flipH="1">
            <a:off x="8219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861" name="Google Shape;1861;p54"/>
          <p:cNvSpPr txBox="1"/>
          <p:nvPr/>
        </p:nvSpPr>
        <p:spPr>
          <a:xfrm flipH="1">
            <a:off x="7199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62" name="Google Shape;1862;p54"/>
          <p:cNvSpPr txBox="1"/>
          <p:nvPr/>
        </p:nvSpPr>
        <p:spPr>
          <a:xfrm flipH="1">
            <a:off x="7199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the smallest planet of them all</a:t>
            </a:r>
            <a:endParaRPr>
              <a:solidFill>
                <a:srgbClr val="000000"/>
              </a:solidFill>
              <a:latin typeface="Jost"/>
              <a:ea typeface="Jost"/>
              <a:cs typeface="Jost"/>
              <a:sym typeface="Jost"/>
            </a:endParaRPr>
          </a:p>
        </p:txBody>
      </p:sp>
      <p:sp>
        <p:nvSpPr>
          <p:cNvPr id="1863" name="Google Shape;1863;p54"/>
          <p:cNvSpPr txBox="1"/>
          <p:nvPr/>
        </p:nvSpPr>
        <p:spPr>
          <a:xfrm flipH="1">
            <a:off x="7199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the closest planet to the Sun</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made of</a:t>
            </a:r>
            <a:endParaRPr>
              <a:solidFill>
                <a:schemeClr val="dk1"/>
              </a:solidFill>
              <a:latin typeface="Jost"/>
              <a:ea typeface="Jost"/>
              <a:cs typeface="Jost"/>
              <a:sym typeface="Jost"/>
            </a:endParaRPr>
          </a:p>
          <a:p>
            <a:pPr marL="144000" lvl="0" indent="0" algn="l" rtl="0">
              <a:spcBef>
                <a:spcPts val="0"/>
              </a:spcBef>
              <a:spcAft>
                <a:spcPts val="0"/>
              </a:spcAft>
              <a:buNone/>
            </a:pPr>
            <a:r>
              <a:rPr lang="en">
                <a:solidFill>
                  <a:schemeClr val="dk1"/>
                </a:solidFill>
                <a:latin typeface="Jost"/>
                <a:ea typeface="Jost"/>
                <a:cs typeface="Jost"/>
                <a:sym typeface="Jost"/>
              </a:rPr>
              <a:t> a rocky core</a:t>
            </a:r>
            <a:endParaRPr>
              <a:solidFill>
                <a:schemeClr val="dk1"/>
              </a:solidFill>
              <a:latin typeface="Jost"/>
              <a:ea typeface="Jost"/>
              <a:cs typeface="Jost"/>
              <a:sym typeface="Jost"/>
            </a:endParaRPr>
          </a:p>
          <a:p>
            <a:pPr marL="182880" lvl="0" indent="-91440" algn="l" rtl="0">
              <a:spcBef>
                <a:spcPts val="0"/>
              </a:spcBef>
              <a:spcAft>
                <a:spcPts val="0"/>
              </a:spcAft>
              <a:buNone/>
            </a:pPr>
            <a:endParaRPr>
              <a:solidFill>
                <a:srgbClr val="595959"/>
              </a:solidFill>
              <a:latin typeface="Jost"/>
              <a:ea typeface="Jost"/>
              <a:cs typeface="Jost"/>
              <a:sym typeface="Jost"/>
            </a:endParaRPr>
          </a:p>
        </p:txBody>
      </p:sp>
      <p:sp>
        <p:nvSpPr>
          <p:cNvPr id="1864" name="Google Shape;1864;p54"/>
          <p:cNvSpPr/>
          <p:nvPr/>
        </p:nvSpPr>
        <p:spPr>
          <a:xfrm flipH="1">
            <a:off x="27779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865" name="Google Shape;1865;p54"/>
          <p:cNvSpPr txBox="1"/>
          <p:nvPr/>
        </p:nvSpPr>
        <p:spPr>
          <a:xfrm flipH="1">
            <a:off x="26760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66" name="Google Shape;1866;p54"/>
          <p:cNvSpPr txBox="1"/>
          <p:nvPr/>
        </p:nvSpPr>
        <p:spPr>
          <a:xfrm flipH="1">
            <a:off x="26760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is the second planet from the Sun</a:t>
            </a:r>
            <a:endParaRPr>
              <a:solidFill>
                <a:schemeClr val="dk1"/>
              </a:solidFill>
              <a:latin typeface="Jost"/>
              <a:ea typeface="Jost"/>
              <a:cs typeface="Jost"/>
              <a:sym typeface="Jost"/>
            </a:endParaRPr>
          </a:p>
        </p:txBody>
      </p:sp>
      <p:sp>
        <p:nvSpPr>
          <p:cNvPr id="1867" name="Google Shape;1867;p54"/>
          <p:cNvSpPr txBox="1"/>
          <p:nvPr/>
        </p:nvSpPr>
        <p:spPr>
          <a:xfrm flipH="1">
            <a:off x="26760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is a very </a:t>
            </a:r>
            <a:endParaRPr>
              <a:solidFill>
                <a:schemeClr val="dk1"/>
              </a:solidFill>
              <a:latin typeface="Jost"/>
              <a:ea typeface="Jost"/>
              <a:cs typeface="Jost"/>
              <a:sym typeface="Jost"/>
            </a:endParaRPr>
          </a:p>
          <a:p>
            <a:pPr marL="0" lvl="0" indent="0" algn="l" rtl="0">
              <a:spcBef>
                <a:spcPts val="0"/>
              </a:spcBef>
              <a:spcAft>
                <a:spcPts val="0"/>
              </a:spcAft>
              <a:buNone/>
            </a:pPr>
            <a:r>
              <a:rPr lang="en">
                <a:solidFill>
                  <a:schemeClr val="dk1"/>
                </a:solidFill>
                <a:latin typeface="Jost"/>
                <a:ea typeface="Jost"/>
                <a:cs typeface="Jost"/>
                <a:sym typeface="Jost"/>
              </a:rPr>
              <a:t>    hot plane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has a beautiful name</a:t>
            </a:r>
            <a:endParaRPr>
              <a:solidFill>
                <a:schemeClr val="dk1"/>
              </a:solidFill>
              <a:latin typeface="Jost"/>
              <a:ea typeface="Jost"/>
              <a:cs typeface="Jost"/>
              <a:sym typeface="Jost"/>
            </a:endParaRPr>
          </a:p>
        </p:txBody>
      </p:sp>
      <p:sp>
        <p:nvSpPr>
          <p:cNvPr id="1868" name="Google Shape;1868;p54"/>
          <p:cNvSpPr/>
          <p:nvPr/>
        </p:nvSpPr>
        <p:spPr>
          <a:xfrm flipH="1">
            <a:off x="47340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869" name="Google Shape;1869;p54"/>
          <p:cNvSpPr txBox="1"/>
          <p:nvPr/>
        </p:nvSpPr>
        <p:spPr>
          <a:xfrm flipH="1">
            <a:off x="46320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70" name="Google Shape;1870;p54"/>
          <p:cNvSpPr txBox="1"/>
          <p:nvPr/>
        </p:nvSpPr>
        <p:spPr>
          <a:xfrm flipH="1">
            <a:off x="46320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n extremely cold planet</a:t>
            </a:r>
            <a:endParaRPr>
              <a:solidFill>
                <a:schemeClr val="dk1"/>
              </a:solidFill>
              <a:latin typeface="Jost"/>
              <a:ea typeface="Jost"/>
              <a:cs typeface="Jost"/>
              <a:sym typeface="Jost"/>
            </a:endParaRPr>
          </a:p>
        </p:txBody>
      </p:sp>
      <p:sp>
        <p:nvSpPr>
          <p:cNvPr id="1871" name="Google Shape;1871;p54"/>
          <p:cNvSpPr txBox="1"/>
          <p:nvPr/>
        </p:nvSpPr>
        <p:spPr>
          <a:xfrm flipH="1">
            <a:off x="46320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is full of iron oxide dus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was named after a god</a:t>
            </a:r>
            <a:endParaRPr>
              <a:solidFill>
                <a:schemeClr val="dk1"/>
              </a:solidFill>
              <a:latin typeface="Jost"/>
              <a:ea typeface="Jost"/>
              <a:cs typeface="Jost"/>
              <a:sym typeface="Jost"/>
            </a:endParaRPr>
          </a:p>
        </p:txBody>
      </p:sp>
      <p:sp>
        <p:nvSpPr>
          <p:cNvPr id="1872" name="Google Shape;1872;p54"/>
          <p:cNvSpPr/>
          <p:nvPr/>
        </p:nvSpPr>
        <p:spPr>
          <a:xfrm flipH="1">
            <a:off x="66900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873" name="Google Shape;1873;p54"/>
          <p:cNvSpPr txBox="1"/>
          <p:nvPr/>
        </p:nvSpPr>
        <p:spPr>
          <a:xfrm flipH="1">
            <a:off x="65881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874" name="Google Shape;1874;p54"/>
          <p:cNvSpPr txBox="1"/>
          <p:nvPr/>
        </p:nvSpPr>
        <p:spPr>
          <a:xfrm flipH="1">
            <a:off x="65881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875" name="Google Shape;1875;p54"/>
          <p:cNvSpPr txBox="1"/>
          <p:nvPr/>
        </p:nvSpPr>
        <p:spPr>
          <a:xfrm flipH="1">
            <a:off x="65881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was named after a Roman god</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is is made of gases</a:t>
            </a:r>
            <a:endParaRPr>
              <a:solidFill>
                <a:schemeClr val="dk1"/>
              </a:solidFill>
              <a:latin typeface="Jost"/>
              <a:ea typeface="Jost"/>
              <a:cs typeface="Jost"/>
              <a:sym typeface="Jost"/>
            </a:endParaRPr>
          </a:p>
        </p:txBody>
      </p:sp>
      <p:sp>
        <p:nvSpPr>
          <p:cNvPr id="1876" name="Google Shape;1876;p54"/>
          <p:cNvSpPr/>
          <p:nvPr/>
        </p:nvSpPr>
        <p:spPr>
          <a:xfrm>
            <a:off x="590850"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77" name="Google Shape;1877;p54"/>
          <p:cNvCxnSpPr>
            <a:stCxn id="1860" idx="3"/>
            <a:endCxn id="1876" idx="0"/>
          </p:cNvCxnSpPr>
          <p:nvPr/>
        </p:nvCxnSpPr>
        <p:spPr>
          <a:xfrm flipH="1">
            <a:off x="643713" y="2012600"/>
            <a:ext cx="178200" cy="2345100"/>
          </a:xfrm>
          <a:prstGeom prst="bentConnector2">
            <a:avLst/>
          </a:prstGeom>
          <a:noFill/>
          <a:ln w="19050" cap="flat" cmpd="sng">
            <a:solidFill>
              <a:schemeClr val="dk2"/>
            </a:solidFill>
            <a:prstDash val="solid"/>
            <a:round/>
            <a:headEnd type="none" w="med" len="med"/>
            <a:tailEnd type="none" w="med" len="med"/>
          </a:ln>
        </p:spPr>
      </p:cxnSp>
      <p:sp>
        <p:nvSpPr>
          <p:cNvPr id="1878" name="Google Shape;1878;p54"/>
          <p:cNvSpPr/>
          <p:nvPr/>
        </p:nvSpPr>
        <p:spPr>
          <a:xfrm>
            <a:off x="255016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4"/>
          <p:cNvSpPr/>
          <p:nvPr/>
        </p:nvSpPr>
        <p:spPr>
          <a:xfrm>
            <a:off x="4506139"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4"/>
          <p:cNvSpPr/>
          <p:nvPr/>
        </p:nvSpPr>
        <p:spPr>
          <a:xfrm>
            <a:off x="646211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81" name="Google Shape;1881;p54"/>
          <p:cNvCxnSpPr>
            <a:stCxn id="1864" idx="3"/>
            <a:endCxn id="1878" idx="0"/>
          </p:cNvCxnSpPr>
          <p:nvPr/>
        </p:nvCxnSpPr>
        <p:spPr>
          <a:xfrm flipH="1">
            <a:off x="260306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2" name="Google Shape;1882;p54"/>
          <p:cNvCxnSpPr>
            <a:stCxn id="1868" idx="3"/>
            <a:endCxn id="1879" idx="0"/>
          </p:cNvCxnSpPr>
          <p:nvPr/>
        </p:nvCxnSpPr>
        <p:spPr>
          <a:xfrm flipH="1">
            <a:off x="455911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3" name="Google Shape;1883;p54"/>
          <p:cNvCxnSpPr>
            <a:stCxn id="1880" idx="0"/>
            <a:endCxn id="1872" idx="3"/>
          </p:cNvCxnSpPr>
          <p:nvPr/>
        </p:nvCxnSpPr>
        <p:spPr>
          <a:xfrm rot="-5400000">
            <a:off x="5429964" y="3097700"/>
            <a:ext cx="2345100" cy="174900"/>
          </a:xfrm>
          <a:prstGeom prst="bentConnector2">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87"/>
        <p:cNvGrpSpPr/>
        <p:nvPr/>
      </p:nvGrpSpPr>
      <p:grpSpPr>
        <a:xfrm>
          <a:off x="0" y="0"/>
          <a:ext cx="0" cy="0"/>
          <a:chOff x="0" y="0"/>
          <a:chExt cx="0" cy="0"/>
        </a:xfrm>
      </p:grpSpPr>
      <p:sp>
        <p:nvSpPr>
          <p:cNvPr id="1888" name="Google Shape;1888;p5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TEACHERS</a:t>
            </a:r>
            <a:endParaRPr/>
          </a:p>
        </p:txBody>
      </p:sp>
      <p:sp>
        <p:nvSpPr>
          <p:cNvPr id="1889" name="Google Shape;1889;p55"/>
          <p:cNvSpPr txBox="1">
            <a:spLocks noGrp="1"/>
          </p:cNvSpPr>
          <p:nvPr>
            <p:ph type="title" idx="2"/>
          </p:nvPr>
        </p:nvSpPr>
        <p:spPr>
          <a:xfrm>
            <a:off x="5952819"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USAN BONES</a:t>
            </a:r>
            <a:endParaRPr/>
          </a:p>
        </p:txBody>
      </p:sp>
      <p:sp>
        <p:nvSpPr>
          <p:cNvPr id="1890" name="Google Shape;1890;p55"/>
          <p:cNvSpPr txBox="1">
            <a:spLocks noGrp="1"/>
          </p:cNvSpPr>
          <p:nvPr>
            <p:ph type="title" idx="3"/>
          </p:nvPr>
        </p:nvSpPr>
        <p:spPr>
          <a:xfrm>
            <a:off x="720081"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ENNA DOE</a:t>
            </a:r>
            <a:endParaRPr/>
          </a:p>
        </p:txBody>
      </p:sp>
      <p:sp>
        <p:nvSpPr>
          <p:cNvPr id="1891" name="Google Shape;1891;p55"/>
          <p:cNvSpPr txBox="1">
            <a:spLocks noGrp="1"/>
          </p:cNvSpPr>
          <p:nvPr>
            <p:ph type="subTitle" idx="1"/>
          </p:nvPr>
        </p:nvSpPr>
        <p:spPr>
          <a:xfrm>
            <a:off x="5952819"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2" name="Google Shape;1892;p55"/>
          <p:cNvSpPr txBox="1">
            <a:spLocks noGrp="1"/>
          </p:cNvSpPr>
          <p:nvPr>
            <p:ph type="subTitle" idx="4"/>
          </p:nvPr>
        </p:nvSpPr>
        <p:spPr>
          <a:xfrm>
            <a:off x="720081"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3" name="Google Shape;1893;p55"/>
          <p:cNvSpPr txBox="1">
            <a:spLocks noGrp="1"/>
          </p:cNvSpPr>
          <p:nvPr>
            <p:ph type="title" idx="5"/>
          </p:nvPr>
        </p:nvSpPr>
        <p:spPr>
          <a:xfrm>
            <a:off x="3336450"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IMMY JIMMY</a:t>
            </a:r>
            <a:endParaRPr/>
          </a:p>
        </p:txBody>
      </p:sp>
      <p:sp>
        <p:nvSpPr>
          <p:cNvPr id="1894" name="Google Shape;1894;p55"/>
          <p:cNvSpPr txBox="1">
            <a:spLocks noGrp="1"/>
          </p:cNvSpPr>
          <p:nvPr>
            <p:ph type="subTitle" idx="6"/>
          </p:nvPr>
        </p:nvSpPr>
        <p:spPr>
          <a:xfrm>
            <a:off x="3336450"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pic>
        <p:nvPicPr>
          <p:cNvPr id="1895" name="Google Shape;1895;p55"/>
          <p:cNvPicPr preferRelativeResize="0"/>
          <p:nvPr/>
        </p:nvPicPr>
        <p:blipFill rotWithShape="1">
          <a:blip r:embed="rId3">
            <a:alphaModFix/>
          </a:blip>
          <a:srcRect l="23417" r="9809"/>
          <a:stretch/>
        </p:blipFill>
        <p:spPr>
          <a:xfrm>
            <a:off x="1104831" y="1622650"/>
            <a:ext cx="1701600" cy="1701000"/>
          </a:xfrm>
          <a:prstGeom prst="ellipse">
            <a:avLst/>
          </a:prstGeom>
          <a:noFill/>
          <a:ln w="76200" cap="flat" cmpd="sng">
            <a:solidFill>
              <a:schemeClr val="accent1"/>
            </a:solidFill>
            <a:prstDash val="dash"/>
            <a:round/>
            <a:headEnd type="none" w="sm" len="sm"/>
            <a:tailEnd type="none" w="sm" len="sm"/>
          </a:ln>
        </p:spPr>
      </p:pic>
      <p:pic>
        <p:nvPicPr>
          <p:cNvPr id="1896" name="Google Shape;1896;p55"/>
          <p:cNvPicPr preferRelativeResize="0"/>
          <p:nvPr/>
        </p:nvPicPr>
        <p:blipFill rotWithShape="1">
          <a:blip r:embed="rId4">
            <a:alphaModFix/>
          </a:blip>
          <a:srcRect l="37709" r="6015"/>
          <a:stretch/>
        </p:blipFill>
        <p:spPr>
          <a:xfrm>
            <a:off x="3721050" y="1622377"/>
            <a:ext cx="1701900" cy="1701000"/>
          </a:xfrm>
          <a:prstGeom prst="ellipse">
            <a:avLst/>
          </a:prstGeom>
          <a:noFill/>
          <a:ln w="76200" cap="flat" cmpd="sng">
            <a:solidFill>
              <a:schemeClr val="accent1"/>
            </a:solidFill>
            <a:prstDash val="dash"/>
            <a:round/>
            <a:headEnd type="none" w="sm" len="sm"/>
            <a:tailEnd type="none" w="sm" len="sm"/>
          </a:ln>
        </p:spPr>
      </p:pic>
      <p:pic>
        <p:nvPicPr>
          <p:cNvPr id="1897" name="Google Shape;1897;p55"/>
          <p:cNvPicPr preferRelativeResize="0"/>
          <p:nvPr/>
        </p:nvPicPr>
        <p:blipFill rotWithShape="1">
          <a:blip r:embed="rId5">
            <a:alphaModFix/>
          </a:blip>
          <a:srcRect t="19" b="19"/>
          <a:stretch/>
        </p:blipFill>
        <p:spPr>
          <a:xfrm>
            <a:off x="6337419" y="1622377"/>
            <a:ext cx="1701900" cy="17010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01"/>
        <p:cNvGrpSpPr/>
        <p:nvPr/>
      </p:nvGrpSpPr>
      <p:grpSpPr>
        <a:xfrm>
          <a:off x="0" y="0"/>
          <a:ext cx="0" cy="0"/>
          <a:chOff x="0" y="0"/>
          <a:chExt cx="0" cy="0"/>
        </a:xfrm>
      </p:grpSpPr>
      <p:sp>
        <p:nvSpPr>
          <p:cNvPr id="1902" name="Google Shape;1902;p56"/>
          <p:cNvSpPr/>
          <p:nvPr/>
        </p:nvSpPr>
        <p:spPr>
          <a:xfrm flipH="1">
            <a:off x="4545205" y="4048153"/>
            <a:ext cx="3466500" cy="834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6"/>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DESKTOP SOFTWARE</a:t>
            </a:r>
            <a:endParaRPr/>
          </a:p>
        </p:txBody>
      </p:sp>
      <p:sp>
        <p:nvSpPr>
          <p:cNvPr id="1904" name="Google Shape;1904;p56"/>
          <p:cNvSpPr txBox="1">
            <a:spLocks noGrp="1"/>
          </p:cNvSpPr>
          <p:nvPr>
            <p:ph type="subTitle" idx="1"/>
          </p:nvPr>
        </p:nvSpPr>
        <p:spPr>
          <a:xfrm>
            <a:off x="1132289" y="2790038"/>
            <a:ext cx="2697000" cy="876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You can replace the image on the screen with your own work. Just right-click on it and select “Replace image”</a:t>
            </a:r>
            <a:endParaRPr/>
          </a:p>
        </p:txBody>
      </p:sp>
      <p:grpSp>
        <p:nvGrpSpPr>
          <p:cNvPr id="1905" name="Google Shape;1905;p56"/>
          <p:cNvGrpSpPr/>
          <p:nvPr/>
        </p:nvGrpSpPr>
        <p:grpSpPr>
          <a:xfrm>
            <a:off x="4545211" y="1541819"/>
            <a:ext cx="3466500" cy="2517063"/>
            <a:chOff x="4624072" y="1313242"/>
            <a:chExt cx="3466500" cy="2517063"/>
          </a:xfrm>
        </p:grpSpPr>
        <p:sp>
          <p:nvSpPr>
            <p:cNvPr id="1906" name="Google Shape;1906;p56"/>
            <p:cNvSpPr/>
            <p:nvPr/>
          </p:nvSpPr>
          <p:spPr>
            <a:xfrm>
              <a:off x="4624072" y="1313242"/>
              <a:ext cx="3466500" cy="20400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6"/>
            <p:cNvSpPr/>
            <p:nvPr/>
          </p:nvSpPr>
          <p:spPr>
            <a:xfrm>
              <a:off x="5941997" y="3353234"/>
              <a:ext cx="830400" cy="428100"/>
            </a:xfrm>
            <a:prstGeom prst="trapezoid">
              <a:avLst>
                <a:gd name="adj" fmla="val 2500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6"/>
            <p:cNvSpPr/>
            <p:nvPr/>
          </p:nvSpPr>
          <p:spPr>
            <a:xfrm>
              <a:off x="5729608" y="3781405"/>
              <a:ext cx="1255500" cy="489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09" name="Google Shape;1909;p56"/>
          <p:cNvPicPr preferRelativeResize="0"/>
          <p:nvPr/>
        </p:nvPicPr>
        <p:blipFill rotWithShape="1">
          <a:blip r:embed="rId3">
            <a:alphaModFix/>
          </a:blip>
          <a:srcRect t="4997" b="1935"/>
          <a:stretch/>
        </p:blipFill>
        <p:spPr>
          <a:xfrm>
            <a:off x="4722251" y="1751811"/>
            <a:ext cx="3112374" cy="1619951"/>
          </a:xfrm>
          <a:prstGeom prst="rect">
            <a:avLst/>
          </a:prstGeom>
          <a:noFill/>
          <a:ln w="19050" cap="flat" cmpd="sng">
            <a:solidFill>
              <a:schemeClr val="dk2"/>
            </a:solidFill>
            <a:prstDash val="solid"/>
            <a:round/>
            <a:headEnd type="none" w="sm" len="sm"/>
            <a:tailEnd type="none" w="sm" len="sm"/>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13"/>
        <p:cNvGrpSpPr/>
        <p:nvPr/>
      </p:nvGrpSpPr>
      <p:grpSpPr>
        <a:xfrm>
          <a:off x="0" y="0"/>
          <a:ext cx="0" cy="0"/>
          <a:chOff x="0" y="0"/>
          <a:chExt cx="0" cy="0"/>
        </a:xfrm>
      </p:grpSpPr>
      <p:sp>
        <p:nvSpPr>
          <p:cNvPr id="1914" name="Google Shape;1914;p57"/>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ANKS</a:t>
            </a:r>
            <a:endParaRPr/>
          </a:p>
        </p:txBody>
      </p:sp>
      <p:sp>
        <p:nvSpPr>
          <p:cNvPr id="1915" name="Google Shape;1915;p57"/>
          <p:cNvSpPr txBox="1">
            <a:spLocks noGrp="1"/>
          </p:cNvSpPr>
          <p:nvPr>
            <p:ph type="subTitle" idx="1"/>
          </p:nvPr>
        </p:nvSpPr>
        <p:spPr>
          <a:xfrm>
            <a:off x="979975" y="2052590"/>
            <a:ext cx="3477900" cy="13398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sz="1800">
                <a:latin typeface="Krona One"/>
                <a:ea typeface="Krona One"/>
                <a:cs typeface="Krona One"/>
                <a:sym typeface="Krona One"/>
              </a:rPr>
              <a:t>DO YOU HAVE</a:t>
            </a:r>
            <a:endParaRPr sz="1800">
              <a:latin typeface="Krona One"/>
              <a:ea typeface="Krona One"/>
              <a:cs typeface="Krona One"/>
              <a:sym typeface="Krona One"/>
            </a:endParaRPr>
          </a:p>
          <a:p>
            <a:pPr marL="0" lvl="0" indent="0" algn="l" rtl="0">
              <a:spcBef>
                <a:spcPts val="0"/>
              </a:spcBef>
              <a:spcAft>
                <a:spcPts val="0"/>
              </a:spcAft>
              <a:buClr>
                <a:schemeClr val="lt1"/>
              </a:buClr>
              <a:buSzPts val="1100"/>
              <a:buFont typeface="Arial"/>
              <a:buNone/>
            </a:pPr>
            <a:r>
              <a:rPr lang="en" sz="1800">
                <a:latin typeface="Krona One"/>
                <a:ea typeface="Krona One"/>
                <a:cs typeface="Krona One"/>
                <a:sym typeface="Krona One"/>
              </a:rPr>
              <a:t>ANY QUESTIONS?</a:t>
            </a:r>
            <a:endParaRPr sz="1800">
              <a:latin typeface="Krona One"/>
              <a:ea typeface="Krona One"/>
              <a:cs typeface="Krona One"/>
              <a:sym typeface="Krona One"/>
            </a:endParaRPr>
          </a:p>
          <a:p>
            <a:pPr marL="0" lvl="0" indent="0" algn="l" rtl="0">
              <a:spcBef>
                <a:spcPts val="1000"/>
              </a:spcBef>
              <a:spcAft>
                <a:spcPts val="0"/>
              </a:spcAft>
              <a:buClr>
                <a:schemeClr val="lt1"/>
              </a:buClr>
              <a:buSzPts val="1100"/>
              <a:buFont typeface="Arial"/>
              <a:buNone/>
            </a:pPr>
            <a:r>
              <a:rPr lang="en"/>
              <a:t>youremail@freepik.com </a:t>
            </a:r>
            <a:endParaRPr/>
          </a:p>
          <a:p>
            <a:pPr marL="0" lvl="0" indent="0" algn="l" rtl="0">
              <a:spcBef>
                <a:spcPts val="0"/>
              </a:spcBef>
              <a:spcAft>
                <a:spcPts val="0"/>
              </a:spcAft>
              <a:buClr>
                <a:schemeClr val="lt1"/>
              </a:buClr>
              <a:buSzPts val="1100"/>
              <a:buFont typeface="Arial"/>
              <a:buNone/>
            </a:pPr>
            <a:r>
              <a:rPr lang="en"/>
              <a:t>+91  620 421 838 </a:t>
            </a:r>
            <a:endParaRPr/>
          </a:p>
          <a:p>
            <a:pPr marL="0" lvl="0" indent="0" algn="l" rtl="0">
              <a:spcBef>
                <a:spcPts val="0"/>
              </a:spcBef>
              <a:spcAft>
                <a:spcPts val="0"/>
              </a:spcAft>
              <a:buNone/>
            </a:pPr>
            <a:r>
              <a:rPr lang="en"/>
              <a:t>yourwebsite.com</a:t>
            </a:r>
            <a:endParaRPr sz="1000"/>
          </a:p>
        </p:txBody>
      </p:sp>
      <p:sp>
        <p:nvSpPr>
          <p:cNvPr id="1916" name="Google Shape;1916;p57"/>
          <p:cNvSpPr/>
          <p:nvPr/>
        </p:nvSpPr>
        <p:spPr>
          <a:xfrm>
            <a:off x="489890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7"/>
          <p:cNvSpPr/>
          <p:nvPr/>
        </p:nvSpPr>
        <p:spPr>
          <a:xfrm>
            <a:off x="5509525"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7"/>
          <p:cNvSpPr/>
          <p:nvPr/>
        </p:nvSpPr>
        <p:spPr>
          <a:xfrm>
            <a:off x="612015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7"/>
          <p:cNvSpPr txBox="1"/>
          <p:nvPr/>
        </p:nvSpPr>
        <p:spPr>
          <a:xfrm>
            <a:off x="4797125" y="3085100"/>
            <a:ext cx="3351300" cy="3693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Please keep this slide for attribution</a:t>
            </a:r>
            <a:endParaRPr sz="1200">
              <a:solidFill>
                <a:schemeClr val="dk1"/>
              </a:solidFill>
              <a:latin typeface="Jost"/>
              <a:ea typeface="Jost"/>
              <a:cs typeface="Jost"/>
              <a:sym typeface="Jost"/>
            </a:endParaRPr>
          </a:p>
        </p:txBody>
      </p:sp>
      <p:grpSp>
        <p:nvGrpSpPr>
          <p:cNvPr id="1920" name="Google Shape;1920;p57"/>
          <p:cNvGrpSpPr/>
          <p:nvPr/>
        </p:nvGrpSpPr>
        <p:grpSpPr>
          <a:xfrm>
            <a:off x="1121475" y="3843025"/>
            <a:ext cx="1221300" cy="570400"/>
            <a:chOff x="670175" y="3809850"/>
            <a:chExt cx="1221300" cy="570400"/>
          </a:xfrm>
        </p:grpSpPr>
        <p:cxnSp>
          <p:nvCxnSpPr>
            <p:cNvPr id="1921" name="Google Shape;1921;p5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2" name="Google Shape;1922;p5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3" name="Google Shape;1923;p5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924" name="Google Shape;1924;p5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925" name="Google Shape;1925;p57"/>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26" name="Google Shape;1926;p57"/>
          <p:cNvGrpSpPr/>
          <p:nvPr/>
        </p:nvGrpSpPr>
        <p:grpSpPr>
          <a:xfrm>
            <a:off x="4988611" y="1421388"/>
            <a:ext cx="270617" cy="270603"/>
            <a:chOff x="266768" y="1721375"/>
            <a:chExt cx="397907" cy="397887"/>
          </a:xfrm>
        </p:grpSpPr>
        <p:sp>
          <p:nvSpPr>
            <p:cNvPr id="1927" name="Google Shape;1927;p57"/>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7"/>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29" name="Google Shape;1929;p57"/>
          <p:cNvGrpSpPr/>
          <p:nvPr/>
        </p:nvGrpSpPr>
        <p:grpSpPr>
          <a:xfrm>
            <a:off x="6209872" y="1421440"/>
            <a:ext cx="270642" cy="270642"/>
            <a:chOff x="1379798" y="1723250"/>
            <a:chExt cx="397887" cy="397887"/>
          </a:xfrm>
        </p:grpSpPr>
        <p:sp>
          <p:nvSpPr>
            <p:cNvPr id="1930" name="Google Shape;1930;p57"/>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7"/>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7"/>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7"/>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34" name="Google Shape;1934;p57"/>
          <p:cNvGrpSpPr/>
          <p:nvPr/>
        </p:nvGrpSpPr>
        <p:grpSpPr>
          <a:xfrm>
            <a:off x="5599218" y="1421440"/>
            <a:ext cx="270628" cy="270642"/>
            <a:chOff x="864491" y="1723250"/>
            <a:chExt cx="397866" cy="397887"/>
          </a:xfrm>
        </p:grpSpPr>
        <p:sp>
          <p:nvSpPr>
            <p:cNvPr id="1935" name="Google Shape;1935;p57"/>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7"/>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7"/>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38" name="Google Shape;1938;p5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42"/>
        <p:cNvGrpSpPr/>
        <p:nvPr/>
      </p:nvGrpSpPr>
      <p:grpSpPr>
        <a:xfrm>
          <a:off x="0" y="0"/>
          <a:ext cx="0" cy="0"/>
          <a:chOff x="0" y="0"/>
          <a:chExt cx="0" cy="0"/>
        </a:xfrm>
      </p:grpSpPr>
      <p:sp>
        <p:nvSpPr>
          <p:cNvPr id="1943" name="Google Shape;1943;p5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LTERNATIVE RESOURCES</a:t>
            </a:r>
            <a:endParaRPr/>
          </a:p>
        </p:txBody>
      </p:sp>
      <p:sp>
        <p:nvSpPr>
          <p:cNvPr id="1944" name="Google Shape;1944;p58"/>
          <p:cNvSpPr txBox="1">
            <a:spLocks noGrp="1"/>
          </p:cNvSpPr>
          <p:nvPr>
            <p:ph type="body" idx="1"/>
          </p:nvPr>
        </p:nvSpPr>
        <p:spPr>
          <a:xfrm>
            <a:off x="720000" y="1152475"/>
            <a:ext cx="3859500" cy="3416400"/>
          </a:xfrm>
          <a:prstGeom prst="rect">
            <a:avLst/>
          </a:prstGeom>
        </p:spPr>
        <p:txBody>
          <a:bodyPr spcFirstLastPara="1" wrap="square" lIns="91425" tIns="0" rIns="91425" bIns="1800000" anchor="t" anchorCtr="0">
            <a:noAutofit/>
          </a:bodyPr>
          <a:lstStyle/>
          <a:p>
            <a:pPr marL="0" lvl="0" indent="0" algn="l" rtl="0">
              <a:spcBef>
                <a:spcPts val="0"/>
              </a:spcBef>
              <a:spcAft>
                <a:spcPts val="0"/>
              </a:spcAft>
              <a:buNone/>
            </a:pPr>
            <a:r>
              <a:rPr lang="en"/>
              <a:t>Here’s an assortment of alternative resources whose style fits the one of this template:</a:t>
            </a:r>
            <a:endParaRPr/>
          </a:p>
          <a:p>
            <a:pPr marL="0" lvl="0" indent="0" algn="l" rtl="0">
              <a:spcBef>
                <a:spcPts val="0"/>
              </a:spcBef>
              <a:spcAft>
                <a:spcPts val="0"/>
              </a:spcAft>
              <a:buNone/>
            </a:pPr>
            <a:endParaRPr/>
          </a:p>
          <a:p>
            <a:pPr marL="0" lvl="0" indent="0" algn="l" rtl="0">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3"/>
              </a:rPr>
              <a:t>Street signs closeup</a:t>
            </a:r>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4"/>
              </a:rPr>
              <a:t>Single vertical tire on road</a:t>
            </a:r>
            <a:endParaRPr/>
          </a:p>
          <a:p>
            <a:pPr marL="457200" marR="50800" lvl="0" indent="0" algn="l" rtl="0">
              <a:spcBef>
                <a:spcPts val="0"/>
              </a:spcBef>
              <a:spcAft>
                <a:spcPts val="0"/>
              </a:spcAft>
              <a:buNone/>
            </a:pPr>
            <a:endParaRPr>
              <a:latin typeface="Jost"/>
              <a:ea typeface="Jost"/>
              <a:cs typeface="Jost"/>
              <a:sym typeface="Jost"/>
            </a:endParaRPr>
          </a:p>
          <a:p>
            <a:pPr marL="0" lvl="0" indent="0" algn="l" rtl="0">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5"/>
              </a:rPr>
              <a:t>Formula 1 racing car collection </a:t>
            </a:r>
            <a:endParaRPr/>
          </a:p>
        </p:txBody>
      </p:sp>
      <p:pic>
        <p:nvPicPr>
          <p:cNvPr id="1945" name="Google Shape;1945;p58"/>
          <p:cNvPicPr preferRelativeResize="0"/>
          <p:nvPr/>
        </p:nvPicPr>
        <p:blipFill rotWithShape="1">
          <a:blip r:embed="rId6">
            <a:alphaModFix/>
          </a:blip>
          <a:srcRect t="2371" b="2381"/>
          <a:stretch/>
        </p:blipFill>
        <p:spPr>
          <a:xfrm>
            <a:off x="4490986" y="1152475"/>
            <a:ext cx="3933016" cy="1150342"/>
          </a:xfrm>
          <a:prstGeom prst="rect">
            <a:avLst/>
          </a:prstGeom>
          <a:noFill/>
          <a:ln>
            <a:noFill/>
          </a:ln>
        </p:spPr>
      </p:pic>
      <p:pic>
        <p:nvPicPr>
          <p:cNvPr id="1946" name="Google Shape;1946;p58"/>
          <p:cNvPicPr preferRelativeResize="0"/>
          <p:nvPr/>
        </p:nvPicPr>
        <p:blipFill rotWithShape="1">
          <a:blip r:embed="rId7">
            <a:alphaModFix/>
          </a:blip>
          <a:srcRect t="2381" b="2371"/>
          <a:stretch/>
        </p:blipFill>
        <p:spPr>
          <a:xfrm>
            <a:off x="4490986" y="2302816"/>
            <a:ext cx="3933016" cy="1150342"/>
          </a:xfrm>
          <a:prstGeom prst="rect">
            <a:avLst/>
          </a:prstGeom>
          <a:noFill/>
          <a:ln>
            <a:noFill/>
          </a:ln>
        </p:spPr>
      </p:pic>
      <p:pic>
        <p:nvPicPr>
          <p:cNvPr id="1947" name="Google Shape;1947;p58"/>
          <p:cNvPicPr preferRelativeResize="0"/>
          <p:nvPr/>
        </p:nvPicPr>
        <p:blipFill rotWithShape="1">
          <a:blip r:embed="rId8">
            <a:alphaModFix/>
          </a:blip>
          <a:srcRect t="2381" b="2371"/>
          <a:stretch/>
        </p:blipFill>
        <p:spPr>
          <a:xfrm>
            <a:off x="4490986" y="3453158"/>
            <a:ext cx="3933016" cy="1150342"/>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951"/>
        <p:cNvGrpSpPr/>
        <p:nvPr/>
      </p:nvGrpSpPr>
      <p:grpSpPr>
        <a:xfrm>
          <a:off x="0" y="0"/>
          <a:ext cx="0" cy="0"/>
          <a:chOff x="0" y="0"/>
          <a:chExt cx="0" cy="0"/>
        </a:xfrm>
      </p:grpSpPr>
      <p:sp>
        <p:nvSpPr>
          <p:cNvPr id="1952" name="Google Shape;1952;p5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 RESOURCES</a:t>
            </a:r>
            <a:endParaRPr/>
          </a:p>
        </p:txBody>
      </p:sp>
      <p:sp>
        <p:nvSpPr>
          <p:cNvPr id="1953" name="Google Shape;1953;p59"/>
          <p:cNvSpPr txBox="1">
            <a:spLocks noGrp="1"/>
          </p:cNvSpPr>
          <p:nvPr>
            <p:ph type="body" idx="1"/>
          </p:nvPr>
        </p:nvSpPr>
        <p:spPr>
          <a:xfrm>
            <a:off x="720000" y="1152475"/>
            <a:ext cx="3859500" cy="3416400"/>
          </a:xfrm>
          <a:prstGeom prst="rect">
            <a:avLst/>
          </a:prstGeom>
        </p:spPr>
        <p:txBody>
          <a:bodyPr spcFirstLastPara="1" wrap="square" lIns="91425" tIns="0" rIns="90000" bIns="0" anchor="t" anchorCtr="0">
            <a:noAutofit/>
          </a:bodyPr>
          <a:lstStyle/>
          <a:p>
            <a:pPr marL="0" lvl="0" indent="0" algn="l" rtl="0">
              <a:lnSpc>
                <a:spcPct val="100000"/>
              </a:lnSpc>
              <a:spcBef>
                <a:spcPts val="0"/>
              </a:spcBef>
              <a:spcAft>
                <a:spcPts val="0"/>
              </a:spcAft>
              <a:buNone/>
            </a:pPr>
            <a:r>
              <a:rPr lang="en"/>
              <a:t>Did you like the resources on this template? Get them for free at our other websites:</a:t>
            </a:r>
            <a:endParaRPr/>
          </a:p>
          <a:p>
            <a:pPr marL="0" lvl="0" indent="0" algn="l" rtl="0">
              <a:lnSpc>
                <a:spcPct val="100000"/>
              </a:lnSpc>
              <a:spcBef>
                <a:spcPts val="0"/>
              </a:spcBef>
              <a:spcAft>
                <a:spcPts val="0"/>
              </a:spcAft>
              <a:buNone/>
            </a:pPr>
            <a:endParaRPr/>
          </a:p>
          <a:p>
            <a:pPr marL="0" lvl="0" indent="0" algn="l" rtl="0">
              <a:lnSpc>
                <a:spcPct val="100000"/>
              </a:lnSpc>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3"/>
              </a:rPr>
              <a:t>Multiplek alined tires on road</a:t>
            </a:r>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4"/>
              </a:rPr>
              <a:t>Single vertical tire on asphalt</a:t>
            </a:r>
            <a:endParaRPr>
              <a:latin typeface="Krona One"/>
              <a:ea typeface="Krona One"/>
              <a:cs typeface="Krona One"/>
              <a:sym typeface="Krona One"/>
            </a:endParaRPr>
          </a:p>
          <a:p>
            <a:pPr marL="356400" marR="50800" lvl="0" indent="0" algn="l" rtl="0">
              <a:lnSpc>
                <a:spcPct val="100000"/>
              </a:lnSpc>
              <a:spcBef>
                <a:spcPts val="0"/>
              </a:spcBef>
              <a:spcAft>
                <a:spcPts val="0"/>
              </a:spcAft>
              <a:buNone/>
            </a:pPr>
            <a:endParaRPr>
              <a:latin typeface="Krona One"/>
              <a:ea typeface="Krona One"/>
              <a:cs typeface="Krona One"/>
              <a:sym typeface="Krona One"/>
            </a:endParaRPr>
          </a:p>
          <a:p>
            <a:pPr marL="0" lvl="0" indent="0" algn="l" rtl="0">
              <a:lnSpc>
                <a:spcPct val="100000"/>
              </a:lnSpc>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5"/>
              </a:rPr>
              <a:t>Formula 1 racing car set</a:t>
            </a:r>
            <a:endParaRPr/>
          </a:p>
          <a:p>
            <a:pPr marL="0" lvl="0" indent="0" algn="l" rtl="0">
              <a:spcBef>
                <a:spcPts val="0"/>
              </a:spcBef>
              <a:spcAft>
                <a:spcPts val="0"/>
              </a:spcAft>
              <a:buClr>
                <a:schemeClr val="dk1"/>
              </a:buClr>
              <a:buSzPts val="1100"/>
              <a:buFont typeface="Arial"/>
              <a:buNone/>
            </a:pPr>
            <a:endParaRPr sz="1800">
              <a:latin typeface="Krona One"/>
              <a:ea typeface="Krona One"/>
              <a:cs typeface="Krona One"/>
              <a:sym typeface="Krona One"/>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60"/>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3">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4">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59" name="Google Shape;1959;p6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a:t>
            </a:r>
            <a:endParaRPr/>
          </a:p>
        </p:txBody>
      </p:sp>
      <p:sp>
        <p:nvSpPr>
          <p:cNvPr id="1960" name="Google Shape;1960;p60"/>
          <p:cNvSpPr txBox="1"/>
          <p:nvPr/>
        </p:nvSpPr>
        <p:spPr>
          <a:xfrm>
            <a:off x="1048350" y="902900"/>
            <a:ext cx="7047300" cy="26865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rgbClr val="000000"/>
              </a:buClr>
              <a:buSzPts val="1100"/>
              <a:buFont typeface="Arial"/>
              <a:buNone/>
            </a:pPr>
            <a:r>
              <a:rPr lang="en" sz="1000">
                <a:solidFill>
                  <a:srgbClr val="FFFFFF"/>
                </a:solidFill>
              </a:rPr>
              <a:t>If you have a free account, in order to use this template, you must credit </a:t>
            </a:r>
            <a:r>
              <a:rPr lang="en" sz="1000" b="1" u="sng">
                <a:solidFill>
                  <a:srgbClr val="869FB2"/>
                </a:solidFill>
                <a:hlinkClick r:id="rId5">
                  <a:extLst>
                    <a:ext uri="{A12FA001-AC4F-418D-AE19-62706E023703}">
                      <ahyp:hlinkClr xmlns:ahyp="http://schemas.microsoft.com/office/drawing/2018/hyperlinkcolor" val="tx"/>
                    </a:ext>
                  </a:extLst>
                </a:hlinkClick>
              </a:rPr>
              <a:t>Slidesgo</a:t>
            </a:r>
            <a:r>
              <a:rPr lang="en" sz="1000">
                <a:solidFill>
                  <a:srgbClr val="435D74"/>
                </a:solidFill>
              </a:rPr>
              <a:t> </a:t>
            </a:r>
            <a:r>
              <a:rPr lang="en" sz="1000">
                <a:solidFill>
                  <a:srgbClr val="FFFFFF"/>
                </a:solidFill>
              </a:rPr>
              <a:t>by keeping the </a:t>
            </a:r>
            <a:r>
              <a:rPr lang="en" sz="1000" b="1" u="sng">
                <a:solidFill>
                  <a:schemeClr val="hlink"/>
                </a:solidFill>
                <a:hlinkClick r:id="rId6" action="ppaction://hlinksldjump"/>
              </a:rPr>
              <a:t>Thanks</a:t>
            </a:r>
            <a:r>
              <a:rPr lang="en" sz="1000">
                <a:solidFill>
                  <a:srgbClr val="869FB2"/>
                </a:solidFill>
              </a:rPr>
              <a:t> </a:t>
            </a:r>
            <a:r>
              <a:rPr lang="en" sz="1000">
                <a:solidFill>
                  <a:srgbClr val="FFFFFF"/>
                </a:solidFill>
              </a:rPr>
              <a:t>slide. Please refer to the next slide to read the instructions for premium user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As a Free user, you are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Modify this templat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Use it for both personal and commercial project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You are not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Sublicense, sell or rent any of Slidesgo Content (or a modified version of Slidesgo Content).</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Distribute Slidesgo Content unless it has been expressly authorized by Slidesgo.</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Include Slidesgo Content in an online or offline database or fil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Offer Slidesgo templates (or modified versions of Slidesgo templates) for download.</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Acquire the copyright of Slidesgo Content.</a:t>
            </a:r>
            <a:endParaRPr sz="1000">
              <a:solidFill>
                <a:srgbClr val="FFFFFF"/>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p61"/>
          <p:cNvSpPr txBox="1"/>
          <p:nvPr/>
        </p:nvSpPr>
        <p:spPr>
          <a:xfrm>
            <a:off x="1048350" y="902900"/>
            <a:ext cx="7047300" cy="39297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chemeClr val="dk1"/>
              </a:buClr>
              <a:buSzPts val="1100"/>
              <a:buFont typeface="Arial"/>
              <a:buNone/>
            </a:pPr>
            <a:r>
              <a:rPr lang="en" sz="1000">
                <a:solidFill>
                  <a:schemeClr val="lt1"/>
                </a:solidFill>
              </a:rPr>
              <a:t>As a Premium user, you can use this template without attributing </a:t>
            </a:r>
            <a:r>
              <a:rPr lang="en" sz="1000" b="1" u="sng">
                <a:solidFill>
                  <a:schemeClr val="hlink"/>
                </a:solidFill>
                <a:hlinkClick r:id="rId3"/>
              </a:rPr>
              <a:t>Slidesgo</a:t>
            </a:r>
            <a:r>
              <a:rPr lang="en" sz="1000">
                <a:solidFill>
                  <a:schemeClr val="lt1"/>
                </a:solidFill>
              </a:rPr>
              <a:t> or keeping the "</a:t>
            </a:r>
            <a:r>
              <a:rPr lang="en" sz="1000" u="sng">
                <a:solidFill>
                  <a:schemeClr val="hlink"/>
                </a:solidFill>
                <a:hlinkClick r:id="rId4" action="ppaction://hlinksldjump"/>
              </a:rPr>
              <a:t>Thanks</a:t>
            </a:r>
            <a:r>
              <a:rPr lang="en" sz="1000">
                <a:solidFill>
                  <a:schemeClr val="lt1"/>
                </a:solidFill>
              </a:rPr>
              <a:t>" slide.</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Modify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it for both personal and commercial purpose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Hide or delete the “Thanks” slide and the mention to Slidesgo in the credit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Share this template in an editable format with people who are not part of your team.</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not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Sublicense, sell or rent this Slidesgo Template (or a modified version of this Slidesgo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any of the elements that are part of this Slidesgo Template in an isolated and separated way from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Register any of the elements that are part of this template as a trademark or logo, or register it as a work in an intellectual property registry or similar.</a:t>
            </a: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p:txBody>
      </p:sp>
      <p:sp>
        <p:nvSpPr>
          <p:cNvPr id="1966" name="Google Shape;1966;p61"/>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5">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6">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67" name="Google Shape;1967;p6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 (premium users)</a:t>
            </a:r>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p62"/>
          <p:cNvSpPr txBox="1"/>
          <p:nvPr/>
        </p:nvSpPr>
        <p:spPr>
          <a:xfrm>
            <a:off x="1068100" y="1087849"/>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This presentation has been made using the following fonts:</a:t>
            </a:r>
            <a:endParaRPr sz="1100">
              <a:solidFill>
                <a:srgbClr val="FFFFFF"/>
              </a:solidFill>
            </a:endParaRPr>
          </a:p>
          <a:p>
            <a:pPr marL="0" lvl="0" indent="0" algn="l" rtl="0">
              <a:lnSpc>
                <a:spcPct val="115000"/>
              </a:lnSpc>
              <a:spcBef>
                <a:spcPts val="0"/>
              </a:spcBef>
              <a:spcAft>
                <a:spcPts val="0"/>
              </a:spcAft>
              <a:buNone/>
            </a:pPr>
            <a:endParaRPr sz="1300">
              <a:solidFill>
                <a:srgbClr val="435D74"/>
              </a:solidFill>
            </a:endParaRPr>
          </a:p>
        </p:txBody>
      </p:sp>
      <p:sp>
        <p:nvSpPr>
          <p:cNvPr id="1973" name="Google Shape;1973;p62"/>
          <p:cNvSpPr txBox="1"/>
          <p:nvPr/>
        </p:nvSpPr>
        <p:spPr>
          <a:xfrm>
            <a:off x="1068100" y="1610422"/>
            <a:ext cx="7047300" cy="12549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b="1">
                <a:solidFill>
                  <a:schemeClr val="lt1"/>
                </a:solidFill>
              </a:rPr>
              <a:t>Krona One</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3">
                  <a:extLst>
                    <a:ext uri="{A12FA001-AC4F-418D-AE19-62706E023703}">
                      <ahyp:hlinkClr xmlns:ahyp="http://schemas.microsoft.com/office/drawing/2018/hyperlinkcolor" val="tx"/>
                    </a:ext>
                  </a:extLst>
                </a:hlinkClick>
              </a:rPr>
              <a:t>https://fonts.google.com/specimen/Krona+One</a:t>
            </a:r>
            <a:r>
              <a:rPr lang="en" sz="1100">
                <a:solidFill>
                  <a:schemeClr val="lt1"/>
                </a:solidFill>
              </a:rPr>
              <a:t>)</a:t>
            </a:r>
            <a:endParaRPr sz="1100">
              <a:solidFill>
                <a:schemeClr val="lt1"/>
              </a:solidFill>
            </a:endParaRPr>
          </a:p>
          <a:p>
            <a:pPr marL="0" lvl="0" indent="0" algn="ctr" rtl="0">
              <a:lnSpc>
                <a:spcPct val="115000"/>
              </a:lnSpc>
              <a:spcBef>
                <a:spcPts val="0"/>
              </a:spcBef>
              <a:spcAft>
                <a:spcPts val="0"/>
              </a:spcAft>
              <a:buNone/>
            </a:pPr>
            <a:endParaRPr sz="800">
              <a:solidFill>
                <a:schemeClr val="lt1"/>
              </a:solidFill>
            </a:endParaRPr>
          </a:p>
          <a:p>
            <a:pPr marL="0" lvl="0" indent="0" algn="ctr" rtl="0">
              <a:lnSpc>
                <a:spcPct val="115000"/>
              </a:lnSpc>
              <a:spcBef>
                <a:spcPts val="0"/>
              </a:spcBef>
              <a:spcAft>
                <a:spcPts val="0"/>
              </a:spcAft>
              <a:buNone/>
            </a:pPr>
            <a:r>
              <a:rPr lang="en" sz="1100" b="1">
                <a:solidFill>
                  <a:schemeClr val="lt1"/>
                </a:solidFill>
              </a:rPr>
              <a:t>Jost</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4">
                  <a:extLst>
                    <a:ext uri="{A12FA001-AC4F-418D-AE19-62706E023703}">
                      <ahyp:hlinkClr xmlns:ahyp="http://schemas.microsoft.com/office/drawing/2018/hyperlinkcolor" val="tx"/>
                    </a:ext>
                  </a:extLst>
                </a:hlinkClick>
              </a:rPr>
              <a:t>https://fonts.google.com/specimen/Jost</a:t>
            </a:r>
            <a:r>
              <a:rPr lang="en" sz="1100">
                <a:solidFill>
                  <a:schemeClr val="lt1"/>
                </a:solidFill>
              </a:rPr>
              <a:t>)</a:t>
            </a:r>
            <a:endParaRPr sz="1100">
              <a:solidFill>
                <a:schemeClr val="lt1"/>
              </a:solidFill>
            </a:endParaRPr>
          </a:p>
        </p:txBody>
      </p:sp>
      <p:sp>
        <p:nvSpPr>
          <p:cNvPr id="1974" name="Google Shape;1974;p62"/>
          <p:cNvSpPr/>
          <p:nvPr/>
        </p:nvSpPr>
        <p:spPr>
          <a:xfrm>
            <a:off x="2603313"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62"/>
          <p:cNvSpPr/>
          <p:nvPr/>
        </p:nvSpPr>
        <p:spPr>
          <a:xfrm>
            <a:off x="3665132" y="2988225"/>
            <a:ext cx="791400" cy="754200"/>
          </a:xfrm>
          <a:prstGeom prst="roundRect">
            <a:avLst>
              <a:gd name="adj" fmla="val 16667"/>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62"/>
          <p:cNvSpPr/>
          <p:nvPr/>
        </p:nvSpPr>
        <p:spPr>
          <a:xfrm>
            <a:off x="4726952" y="2988225"/>
            <a:ext cx="791400" cy="754200"/>
          </a:xfrm>
          <a:prstGeom prst="roundRect">
            <a:avLst>
              <a:gd name="adj" fmla="val 16667"/>
            </a:avLst>
          </a:prstGeom>
          <a:solidFill>
            <a:schemeClr val="dk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62"/>
          <p:cNvSpPr txBox="1"/>
          <p:nvPr/>
        </p:nvSpPr>
        <p:spPr>
          <a:xfrm>
            <a:off x="260331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0000</a:t>
            </a:r>
            <a:endParaRPr sz="1000">
              <a:solidFill>
                <a:srgbClr val="FFFFFF"/>
              </a:solidFill>
            </a:endParaRPr>
          </a:p>
        </p:txBody>
      </p:sp>
      <p:sp>
        <p:nvSpPr>
          <p:cNvPr id="1978" name="Google Shape;1978;p62"/>
          <p:cNvSpPr txBox="1"/>
          <p:nvPr/>
        </p:nvSpPr>
        <p:spPr>
          <a:xfrm>
            <a:off x="366513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chemeClr val="dk2"/>
                </a:solidFill>
              </a:rPr>
              <a:t>#ffffff</a:t>
            </a:r>
            <a:endParaRPr sz="1000">
              <a:solidFill>
                <a:schemeClr val="dk2"/>
              </a:solidFill>
            </a:endParaRPr>
          </a:p>
        </p:txBody>
      </p:sp>
      <p:sp>
        <p:nvSpPr>
          <p:cNvPr id="1979" name="Google Shape;1979;p62"/>
          <p:cNvSpPr txBox="1"/>
          <p:nvPr/>
        </p:nvSpPr>
        <p:spPr>
          <a:xfrm>
            <a:off x="472696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cccccc</a:t>
            </a:r>
            <a:endParaRPr sz="1000">
              <a:solidFill>
                <a:srgbClr val="FFFFFF"/>
              </a:solidFill>
            </a:endParaRPr>
          </a:p>
        </p:txBody>
      </p:sp>
      <p:sp>
        <p:nvSpPr>
          <p:cNvPr id="1980" name="Google Shape;1980;p62"/>
          <p:cNvSpPr/>
          <p:nvPr/>
        </p:nvSpPr>
        <p:spPr>
          <a:xfrm>
            <a:off x="5788788"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62"/>
          <p:cNvSpPr txBox="1"/>
          <p:nvPr/>
        </p:nvSpPr>
        <p:spPr>
          <a:xfrm>
            <a:off x="578878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1e1e1e</a:t>
            </a:r>
            <a:endParaRPr sz="1000">
              <a:solidFill>
                <a:srgbClr val="FFFFFF"/>
              </a:solidFill>
            </a:endParaRPr>
          </a:p>
        </p:txBody>
      </p:sp>
      <p:sp>
        <p:nvSpPr>
          <p:cNvPr id="1982" name="Google Shape;1982;p62"/>
          <p:cNvSpPr/>
          <p:nvPr/>
        </p:nvSpPr>
        <p:spPr>
          <a:xfrm>
            <a:off x="3665138" y="3919325"/>
            <a:ext cx="791400" cy="754200"/>
          </a:xfrm>
          <a:prstGeom prst="roundRect">
            <a:avLst>
              <a:gd name="adj" fmla="val 16667"/>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62"/>
          <p:cNvSpPr/>
          <p:nvPr/>
        </p:nvSpPr>
        <p:spPr>
          <a:xfrm>
            <a:off x="4726957" y="3919325"/>
            <a:ext cx="791400" cy="754200"/>
          </a:xfrm>
          <a:prstGeom prst="roundRect">
            <a:avLst>
              <a:gd name="adj" fmla="val 16667"/>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62"/>
          <p:cNvSpPr/>
          <p:nvPr/>
        </p:nvSpPr>
        <p:spPr>
          <a:xfrm>
            <a:off x="5788777" y="3919325"/>
            <a:ext cx="791400" cy="754200"/>
          </a:xfrm>
          <a:prstGeom prst="roundRect">
            <a:avLst>
              <a:gd name="adj" fmla="val 16667"/>
            </a:avLst>
          </a:prstGeom>
          <a:solidFill>
            <a:schemeClr val="accent4"/>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62"/>
          <p:cNvSpPr txBox="1"/>
          <p:nvPr/>
        </p:nvSpPr>
        <p:spPr>
          <a:xfrm>
            <a:off x="366513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a700</a:t>
            </a:r>
            <a:endParaRPr sz="1000">
              <a:solidFill>
                <a:srgbClr val="FFFFFF"/>
              </a:solidFill>
            </a:endParaRPr>
          </a:p>
        </p:txBody>
      </p:sp>
      <p:sp>
        <p:nvSpPr>
          <p:cNvPr id="1986" name="Google Shape;1986;p62"/>
          <p:cNvSpPr txBox="1"/>
          <p:nvPr/>
        </p:nvSpPr>
        <p:spPr>
          <a:xfrm>
            <a:off x="472696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3a8ba0</a:t>
            </a:r>
            <a:endParaRPr sz="1000">
              <a:solidFill>
                <a:srgbClr val="FFFFFF"/>
              </a:solidFill>
            </a:endParaRPr>
          </a:p>
        </p:txBody>
      </p:sp>
      <p:sp>
        <p:nvSpPr>
          <p:cNvPr id="1987" name="Google Shape;1987;p62"/>
          <p:cNvSpPr txBox="1"/>
          <p:nvPr/>
        </p:nvSpPr>
        <p:spPr>
          <a:xfrm>
            <a:off x="578878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93c47d</a:t>
            </a:r>
            <a:endParaRPr sz="1000">
              <a:solidFill>
                <a:srgbClr val="FFFFFF"/>
              </a:solidFill>
            </a:endParaRPr>
          </a:p>
        </p:txBody>
      </p:sp>
      <p:sp>
        <p:nvSpPr>
          <p:cNvPr id="1988" name="Google Shape;1988;p62"/>
          <p:cNvSpPr/>
          <p:nvPr/>
        </p:nvSpPr>
        <p:spPr>
          <a:xfrm>
            <a:off x="2603313" y="3919325"/>
            <a:ext cx="791400" cy="754200"/>
          </a:xfrm>
          <a:prstGeom prst="roundRect">
            <a:avLst>
              <a:gd name="adj" fmla="val 16667"/>
            </a:avLst>
          </a:prstGeom>
          <a:solidFill>
            <a:schemeClr val="accen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62"/>
          <p:cNvSpPr txBox="1"/>
          <p:nvPr/>
        </p:nvSpPr>
        <p:spPr>
          <a:xfrm>
            <a:off x="260331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dc2525</a:t>
            </a:r>
            <a:endParaRPr sz="1000">
              <a:solidFill>
                <a:srgbClr val="FFFFFF"/>
              </a:solidFill>
            </a:endParaRPr>
          </a:p>
        </p:txBody>
      </p:sp>
      <p:sp>
        <p:nvSpPr>
          <p:cNvPr id="1990" name="Google Shape;1990;p62"/>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Fonts &amp; colors used</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extLst>
              <p:ext uri="{D42A27DB-BD31-4B8C-83A1-F6EECF244321}">
                <p14:modId xmlns:p14="http://schemas.microsoft.com/office/powerpoint/2010/main" val="113274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912B4063-BB3E-007C-3407-DC5D98EB0962}"/>
              </a:ext>
            </a:extLst>
          </p:cNvPr>
          <p:cNvSpPr/>
          <p:nvPr/>
        </p:nvSpPr>
        <p:spPr>
          <a:xfrm>
            <a:off x="2064124" y="1781735"/>
            <a:ext cx="2077570" cy="15800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Where did we get it?</a:t>
            </a:r>
          </a:p>
          <a:p>
            <a:pPr algn="ctr"/>
            <a:r>
              <a:rPr lang="en-GB" dirty="0"/>
              <a:t>What do we see? </a:t>
            </a:r>
          </a:p>
          <a:p>
            <a:pPr algn="ctr"/>
            <a:r>
              <a:rPr lang="en-GB" dirty="0"/>
              <a:t>Preprocessing</a:t>
            </a:r>
          </a:p>
          <a:p>
            <a:pPr algn="ctr"/>
            <a:endParaRPr lang="en-GB" dirty="0"/>
          </a:p>
          <a:p>
            <a:pPr algn="ctr"/>
            <a:endParaRPr lang="en-GB" dirty="0"/>
          </a:p>
        </p:txBody>
      </p:sp>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DATA (</a:t>
            </a:r>
            <a:r>
              <a:rPr lang="en-GB" sz="2000" dirty="0" err="1"/>
              <a:t>Bolormaa</a:t>
            </a:r>
            <a:r>
              <a:rPr lang="en-GB" sz="2000" dirty="0"/>
              <a:t>) </a:t>
            </a:r>
            <a:endParaRPr lang="en-AT" sz="2000" dirty="0"/>
          </a:p>
        </p:txBody>
      </p:sp>
      <p:grpSp>
        <p:nvGrpSpPr>
          <p:cNvPr id="4" name="Google Shape;2269;p64">
            <a:extLst>
              <a:ext uri="{FF2B5EF4-FFF2-40B4-BE49-F238E27FC236}">
                <a16:creationId xmlns:a16="http://schemas.microsoft.com/office/drawing/2014/main" id="{69F1436A-17F9-0810-59AA-8DF6AB771A0C}"/>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5" name="Google Shape;2270;p64">
              <a:extLst>
                <a:ext uri="{FF2B5EF4-FFF2-40B4-BE49-F238E27FC236}">
                  <a16:creationId xmlns:a16="http://schemas.microsoft.com/office/drawing/2014/main" id="{EE700EED-4DC7-8F43-F415-52DF59119C2E}"/>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6" name="Google Shape;2271;p64">
              <a:extLst>
                <a:ext uri="{FF2B5EF4-FFF2-40B4-BE49-F238E27FC236}">
                  <a16:creationId xmlns:a16="http://schemas.microsoft.com/office/drawing/2014/main" id="{69AC0E08-B85A-D332-3134-ADD27690F8AD}"/>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2;p64">
              <a:extLst>
                <a:ext uri="{FF2B5EF4-FFF2-40B4-BE49-F238E27FC236}">
                  <a16:creationId xmlns:a16="http://schemas.microsoft.com/office/drawing/2014/main" id="{F0E02CB8-EC69-68BD-7F8F-302E614C81C5}"/>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3;p64">
              <a:extLst>
                <a:ext uri="{FF2B5EF4-FFF2-40B4-BE49-F238E27FC236}">
                  <a16:creationId xmlns:a16="http://schemas.microsoft.com/office/drawing/2014/main" id="{BF0CF3B9-FE9A-3B77-F0C6-96DC3EDCD9C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9" name="Picture 2" descr="Zivil- und Zivilverfahrensrecht - WU (Wirtschaftsuniversität Wien)">
            <a:extLst>
              <a:ext uri="{FF2B5EF4-FFF2-40B4-BE49-F238E27FC236}">
                <a16:creationId xmlns:a16="http://schemas.microsoft.com/office/drawing/2014/main" id="{44E887ED-8A2E-DFA3-4F25-8C91508C3F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048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994"/>
        <p:cNvGrpSpPr/>
        <p:nvPr/>
      </p:nvGrpSpPr>
      <p:grpSpPr>
        <a:xfrm>
          <a:off x="0" y="0"/>
          <a:ext cx="0" cy="0"/>
          <a:chOff x="0" y="0"/>
          <a:chExt cx="0" cy="0"/>
        </a:xfrm>
      </p:grpSpPr>
      <p:sp>
        <p:nvSpPr>
          <p:cNvPr id="1995" name="Google Shape;1995;p63"/>
          <p:cNvSpPr txBox="1"/>
          <p:nvPr/>
        </p:nvSpPr>
        <p:spPr>
          <a:xfrm>
            <a:off x="1252425" y="1086401"/>
            <a:ext cx="6630900" cy="8526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Create your Story with our illustrated concepts. Choose the style you like the most, edit its colors, pick the background and layers you want to show and bring them to life with the animator panel! It will boost your presentation. Check out</a:t>
            </a:r>
            <a:r>
              <a:rPr lang="en" sz="1100">
                <a:solidFill>
                  <a:srgbClr val="869FB2"/>
                </a:solidFill>
              </a:rPr>
              <a:t> </a:t>
            </a:r>
            <a:r>
              <a:rPr lang="en" sz="1100">
                <a:solidFill>
                  <a:srgbClr val="869FB2"/>
                </a:solidFill>
                <a:uFill>
                  <a:noFill/>
                </a:uFill>
                <a:hlinkClick r:id="rId3">
                  <a:extLst>
                    <a:ext uri="{A12FA001-AC4F-418D-AE19-62706E023703}">
                      <ahyp:hlinkClr xmlns:ahyp="http://schemas.microsoft.com/office/drawing/2018/hyperlinkcolor" val="tx"/>
                    </a:ext>
                  </a:extLst>
                </a:hlinkClick>
              </a:rPr>
              <a:t>How it works.</a:t>
            </a:r>
            <a:endParaRPr sz="1100">
              <a:solidFill>
                <a:srgbClr val="869FB2"/>
              </a:solidFill>
            </a:endParaRPr>
          </a:p>
        </p:txBody>
      </p:sp>
      <p:sp>
        <p:nvSpPr>
          <p:cNvPr id="1996" name="Google Shape;1996;p63"/>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solidFill>
                  <a:schemeClr val="lt1"/>
                </a:solidFill>
              </a:rPr>
              <a:t>Storyset</a:t>
            </a:r>
            <a:endParaRPr/>
          </a:p>
        </p:txBody>
      </p:sp>
      <p:pic>
        <p:nvPicPr>
          <p:cNvPr id="1997" name="Google Shape;1997;p63"/>
          <p:cNvPicPr preferRelativeResize="0"/>
          <p:nvPr/>
        </p:nvPicPr>
        <p:blipFill rotWithShape="1">
          <a:blip r:embed="rId4">
            <a:alphaModFix/>
          </a:blip>
          <a:srcRect t="16547" b="16540"/>
          <a:stretch/>
        </p:blipFill>
        <p:spPr>
          <a:xfrm>
            <a:off x="510820" y="2688639"/>
            <a:ext cx="1606720" cy="1075075"/>
          </a:xfrm>
          <a:prstGeom prst="rect">
            <a:avLst/>
          </a:prstGeom>
          <a:noFill/>
          <a:ln>
            <a:noFill/>
          </a:ln>
        </p:spPr>
      </p:pic>
      <p:sp>
        <p:nvSpPr>
          <p:cNvPr id="1998" name="Google Shape;1998;p63">
            <a:hlinkClick r:id="rId5"/>
          </p:cNvPr>
          <p:cNvSpPr txBox="1"/>
          <p:nvPr/>
        </p:nvSpPr>
        <p:spPr>
          <a:xfrm>
            <a:off x="678041"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5">
                  <a:extLst>
                    <a:ext uri="{A12FA001-AC4F-418D-AE19-62706E023703}">
                      <ahyp:hlinkClr xmlns:ahyp="http://schemas.microsoft.com/office/drawing/2018/hyperlinkcolor" val="tx"/>
                    </a:ext>
                  </a:extLst>
                </a:hlinkClick>
              </a:rPr>
              <a:t>Pana</a:t>
            </a:r>
            <a:endParaRPr>
              <a:solidFill>
                <a:srgbClr val="869FB2"/>
              </a:solidFill>
            </a:endParaRPr>
          </a:p>
        </p:txBody>
      </p:sp>
      <p:sp>
        <p:nvSpPr>
          <p:cNvPr id="1999" name="Google Shape;1999;p63">
            <a:hlinkClick r:id="rId6"/>
          </p:cNvPr>
          <p:cNvSpPr txBox="1"/>
          <p:nvPr/>
        </p:nvSpPr>
        <p:spPr>
          <a:xfrm>
            <a:off x="2289219"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6">
                  <a:extLst>
                    <a:ext uri="{A12FA001-AC4F-418D-AE19-62706E023703}">
                      <ahyp:hlinkClr xmlns:ahyp="http://schemas.microsoft.com/office/drawing/2018/hyperlinkcolor" val="tx"/>
                    </a:ext>
                  </a:extLst>
                </a:hlinkClick>
              </a:rPr>
              <a:t>Amico</a:t>
            </a:r>
            <a:endParaRPr>
              <a:solidFill>
                <a:srgbClr val="869FB2"/>
              </a:solidFill>
            </a:endParaRPr>
          </a:p>
        </p:txBody>
      </p:sp>
      <p:sp>
        <p:nvSpPr>
          <p:cNvPr id="2000" name="Google Shape;2000;p63">
            <a:hlinkClick r:id="rId7"/>
          </p:cNvPr>
          <p:cNvSpPr txBox="1"/>
          <p:nvPr/>
        </p:nvSpPr>
        <p:spPr>
          <a:xfrm>
            <a:off x="3900404"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7">
                  <a:extLst>
                    <a:ext uri="{A12FA001-AC4F-418D-AE19-62706E023703}">
                      <ahyp:hlinkClr xmlns:ahyp="http://schemas.microsoft.com/office/drawing/2018/hyperlinkcolor" val="tx"/>
                    </a:ext>
                  </a:extLst>
                </a:hlinkClick>
              </a:rPr>
              <a:t>Bro</a:t>
            </a:r>
            <a:endParaRPr>
              <a:solidFill>
                <a:srgbClr val="869FB2"/>
              </a:solidFill>
            </a:endParaRPr>
          </a:p>
        </p:txBody>
      </p:sp>
      <p:sp>
        <p:nvSpPr>
          <p:cNvPr id="2001" name="Google Shape;2001;p63">
            <a:hlinkClick r:id="rId8"/>
          </p:cNvPr>
          <p:cNvSpPr txBox="1"/>
          <p:nvPr/>
        </p:nvSpPr>
        <p:spPr>
          <a:xfrm>
            <a:off x="5511563"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8">
                  <a:extLst>
                    <a:ext uri="{A12FA001-AC4F-418D-AE19-62706E023703}">
                      <ahyp:hlinkClr xmlns:ahyp="http://schemas.microsoft.com/office/drawing/2018/hyperlinkcolor" val="tx"/>
                    </a:ext>
                  </a:extLst>
                </a:hlinkClick>
              </a:rPr>
              <a:t>Rafiki</a:t>
            </a:r>
            <a:endParaRPr>
              <a:solidFill>
                <a:srgbClr val="869FB2"/>
              </a:solidFill>
            </a:endParaRPr>
          </a:p>
        </p:txBody>
      </p:sp>
      <p:pic>
        <p:nvPicPr>
          <p:cNvPr id="2002" name="Google Shape;2002;p63"/>
          <p:cNvPicPr preferRelativeResize="0"/>
          <p:nvPr/>
        </p:nvPicPr>
        <p:blipFill rotWithShape="1">
          <a:blip r:embed="rId9">
            <a:alphaModFix/>
          </a:blip>
          <a:srcRect/>
          <a:stretch/>
        </p:blipFill>
        <p:spPr>
          <a:xfrm>
            <a:off x="2255077" y="2410850"/>
            <a:ext cx="1340595" cy="1340605"/>
          </a:xfrm>
          <a:prstGeom prst="rect">
            <a:avLst/>
          </a:prstGeom>
          <a:noFill/>
          <a:ln>
            <a:noFill/>
          </a:ln>
        </p:spPr>
      </p:pic>
      <p:pic>
        <p:nvPicPr>
          <p:cNvPr id="2003" name="Google Shape;2003;p63"/>
          <p:cNvPicPr preferRelativeResize="0"/>
          <p:nvPr/>
        </p:nvPicPr>
        <p:blipFill rotWithShape="1">
          <a:blip r:embed="rId10">
            <a:alphaModFix/>
          </a:blip>
          <a:srcRect t="6377" b="6377"/>
          <a:stretch/>
        </p:blipFill>
        <p:spPr>
          <a:xfrm>
            <a:off x="3774275" y="2532512"/>
            <a:ext cx="1448305" cy="1263590"/>
          </a:xfrm>
          <a:prstGeom prst="rect">
            <a:avLst/>
          </a:prstGeom>
          <a:noFill/>
          <a:ln>
            <a:noFill/>
          </a:ln>
        </p:spPr>
      </p:pic>
      <p:pic>
        <p:nvPicPr>
          <p:cNvPr id="2004" name="Google Shape;2004;p63"/>
          <p:cNvPicPr preferRelativeResize="0"/>
          <p:nvPr/>
        </p:nvPicPr>
        <p:blipFill rotWithShape="1">
          <a:blip r:embed="rId11">
            <a:alphaModFix/>
          </a:blip>
          <a:srcRect t="9256" b="9256"/>
          <a:stretch/>
        </p:blipFill>
        <p:spPr>
          <a:xfrm>
            <a:off x="5347337" y="2581527"/>
            <a:ext cx="1448285" cy="1180165"/>
          </a:xfrm>
          <a:prstGeom prst="rect">
            <a:avLst/>
          </a:prstGeom>
          <a:noFill/>
          <a:ln>
            <a:noFill/>
          </a:ln>
        </p:spPr>
      </p:pic>
      <p:pic>
        <p:nvPicPr>
          <p:cNvPr id="2005" name="Google Shape;2005;p63"/>
          <p:cNvPicPr preferRelativeResize="0"/>
          <p:nvPr/>
        </p:nvPicPr>
        <p:blipFill rotWithShape="1">
          <a:blip r:embed="rId12">
            <a:alphaModFix/>
          </a:blip>
          <a:srcRect t="14837" b="14844"/>
          <a:stretch/>
        </p:blipFill>
        <p:spPr>
          <a:xfrm>
            <a:off x="6836257" y="2523903"/>
            <a:ext cx="1796925" cy="1263600"/>
          </a:xfrm>
          <a:prstGeom prst="rect">
            <a:avLst/>
          </a:prstGeom>
          <a:noFill/>
          <a:ln>
            <a:noFill/>
          </a:ln>
        </p:spPr>
      </p:pic>
      <p:sp>
        <p:nvSpPr>
          <p:cNvPr id="2006" name="Google Shape;2006;p63">
            <a:hlinkClick r:id="rId13"/>
          </p:cNvPr>
          <p:cNvSpPr txBox="1"/>
          <p:nvPr/>
        </p:nvSpPr>
        <p:spPr>
          <a:xfrm>
            <a:off x="7122738"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13">
                  <a:extLst>
                    <a:ext uri="{A12FA001-AC4F-418D-AE19-62706E023703}">
                      <ahyp:hlinkClr xmlns:ahyp="http://schemas.microsoft.com/office/drawing/2018/hyperlinkcolor" val="tx"/>
                    </a:ext>
                  </a:extLst>
                </a:hlinkClick>
              </a:rPr>
              <a:t>Cuate</a:t>
            </a:r>
            <a:endParaRPr>
              <a:solidFill>
                <a:srgbClr val="869FB2"/>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10"/>
        <p:cNvGrpSpPr/>
        <p:nvPr/>
      </p:nvGrpSpPr>
      <p:grpSpPr>
        <a:xfrm>
          <a:off x="0" y="0"/>
          <a:ext cx="0" cy="0"/>
          <a:chOff x="0" y="0"/>
          <a:chExt cx="0" cy="0"/>
        </a:xfrm>
      </p:grpSpPr>
      <p:sp>
        <p:nvSpPr>
          <p:cNvPr id="2011" name="Google Shape;2011;p64"/>
          <p:cNvSpPr txBox="1"/>
          <p:nvPr/>
        </p:nvSpPr>
        <p:spPr>
          <a:xfrm>
            <a:off x="1068100" y="1221875"/>
            <a:ext cx="7047300" cy="482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 easily</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resources without losing quality. To</a:t>
            </a:r>
            <a:r>
              <a:rPr lang="en" sz="1100">
                <a:solidFill>
                  <a:srgbClr val="435D74"/>
                </a:solidFill>
              </a:rPr>
              <a:t> </a:t>
            </a:r>
            <a:r>
              <a:rPr lang="en" sz="1100">
                <a:solidFill>
                  <a:srgbClr val="869FB2"/>
                </a:solidFill>
              </a:rPr>
              <a:t>change the color</a:t>
            </a:r>
            <a:r>
              <a:rPr lang="en" sz="1100">
                <a:solidFill>
                  <a:srgbClr val="FFFFFF"/>
                </a:solidFill>
              </a:rPr>
              <a:t>, just ungroup the resource and click on the object you want to change. Then, click on the paint bucket and select the color you want. Group the resource again when you’re done. You can also look for more </a:t>
            </a:r>
            <a:r>
              <a:rPr lang="en" sz="1100">
                <a:solidFill>
                  <a:srgbClr val="869FB2"/>
                </a:solidFill>
                <a:uFill>
                  <a:noFill/>
                </a:uFill>
                <a:hlinkClick r:id="rId3">
                  <a:extLst>
                    <a:ext uri="{A12FA001-AC4F-418D-AE19-62706E023703}">
                      <ahyp:hlinkClr xmlns:ahyp="http://schemas.microsoft.com/office/drawing/2018/hyperlinkcolor" val="tx"/>
                    </a:ext>
                  </a:extLst>
                </a:hlinkClick>
              </a:rPr>
              <a:t>infographics</a:t>
            </a:r>
            <a:r>
              <a:rPr lang="en" sz="1100">
                <a:solidFill>
                  <a:srgbClr val="FFFFFF"/>
                </a:solidFill>
              </a:rPr>
              <a:t> on Slidesgo.</a:t>
            </a:r>
            <a:endParaRPr sz="1100">
              <a:solidFill>
                <a:srgbClr val="FFFFFF"/>
              </a:solidFill>
            </a:endParaRPr>
          </a:p>
        </p:txBody>
      </p:sp>
      <p:sp>
        <p:nvSpPr>
          <p:cNvPr id="2012" name="Google Shape;2012;p64"/>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Use our editable graphic resources...</a:t>
            </a:r>
            <a:endParaRPr/>
          </a:p>
        </p:txBody>
      </p:sp>
      <p:grpSp>
        <p:nvGrpSpPr>
          <p:cNvPr id="2013" name="Google Shape;2013;p64"/>
          <p:cNvGrpSpPr/>
          <p:nvPr/>
        </p:nvGrpSpPr>
        <p:grpSpPr>
          <a:xfrm>
            <a:off x="5082708" y="3095784"/>
            <a:ext cx="442841" cy="514271"/>
            <a:chOff x="4727025" y="1332775"/>
            <a:chExt cx="59900" cy="69625"/>
          </a:xfrm>
        </p:grpSpPr>
        <p:sp>
          <p:nvSpPr>
            <p:cNvPr id="2014" name="Google Shape;2014;p64"/>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64"/>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16" name="Google Shape;2016;p64"/>
          <p:cNvGrpSpPr/>
          <p:nvPr/>
        </p:nvGrpSpPr>
        <p:grpSpPr>
          <a:xfrm>
            <a:off x="5758025" y="2343272"/>
            <a:ext cx="500909" cy="500899"/>
            <a:chOff x="4820425" y="1329900"/>
            <a:chExt cx="70175" cy="70350"/>
          </a:xfrm>
        </p:grpSpPr>
        <p:sp>
          <p:nvSpPr>
            <p:cNvPr id="2017" name="Google Shape;2017;p64"/>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64"/>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64"/>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64"/>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1" name="Google Shape;2021;p64"/>
          <p:cNvGrpSpPr/>
          <p:nvPr/>
        </p:nvGrpSpPr>
        <p:grpSpPr>
          <a:xfrm>
            <a:off x="6410648" y="2355062"/>
            <a:ext cx="538135" cy="493119"/>
            <a:chOff x="4903200" y="1331525"/>
            <a:chExt cx="73575" cy="67425"/>
          </a:xfrm>
        </p:grpSpPr>
        <p:sp>
          <p:nvSpPr>
            <p:cNvPr id="2022" name="Google Shape;2022;p64"/>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solidFill>
              <a:srgbClr val="A5B7C6"/>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23" name="Google Shape;2023;p64"/>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4" name="Google Shape;2024;p64"/>
          <p:cNvGrpSpPr/>
          <p:nvPr/>
        </p:nvGrpSpPr>
        <p:grpSpPr>
          <a:xfrm>
            <a:off x="5670599" y="3097040"/>
            <a:ext cx="544563" cy="511895"/>
            <a:chOff x="4815575" y="1416800"/>
            <a:chExt cx="73750" cy="71400"/>
          </a:xfrm>
        </p:grpSpPr>
        <p:sp>
          <p:nvSpPr>
            <p:cNvPr id="2025" name="Google Shape;2025;p64"/>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64"/>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64"/>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8" name="Google Shape;2028;p64"/>
          <p:cNvGrpSpPr/>
          <p:nvPr/>
        </p:nvGrpSpPr>
        <p:grpSpPr>
          <a:xfrm>
            <a:off x="6367224" y="3096746"/>
            <a:ext cx="602914" cy="512477"/>
            <a:chOff x="4902475" y="1418875"/>
            <a:chExt cx="74500" cy="63775"/>
          </a:xfrm>
        </p:grpSpPr>
        <p:sp>
          <p:nvSpPr>
            <p:cNvPr id="2029" name="Google Shape;2029;p64"/>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64"/>
            <p:cNvSpPr/>
            <p:nvPr/>
          </p:nvSpPr>
          <p:spPr>
            <a:xfrm>
              <a:off x="4916811"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1" name="Google Shape;2031;p64"/>
          <p:cNvGrpSpPr/>
          <p:nvPr/>
        </p:nvGrpSpPr>
        <p:grpSpPr>
          <a:xfrm>
            <a:off x="5783096" y="3835985"/>
            <a:ext cx="515391" cy="525699"/>
            <a:chOff x="4818100" y="1507675"/>
            <a:chExt cx="71225" cy="71625"/>
          </a:xfrm>
        </p:grpSpPr>
        <p:sp>
          <p:nvSpPr>
            <p:cNvPr id="2032" name="Google Shape;2032;p64"/>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64"/>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64"/>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64"/>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6" name="Google Shape;2036;p64"/>
          <p:cNvGrpSpPr/>
          <p:nvPr/>
        </p:nvGrpSpPr>
        <p:grpSpPr>
          <a:xfrm>
            <a:off x="5121199" y="3857517"/>
            <a:ext cx="522956" cy="489869"/>
            <a:chOff x="4721450" y="1509475"/>
            <a:chExt cx="79350" cy="74325"/>
          </a:xfrm>
        </p:grpSpPr>
        <p:sp>
          <p:nvSpPr>
            <p:cNvPr id="2037" name="Google Shape;2037;p64"/>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64"/>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64"/>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64"/>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1" name="Google Shape;2041;p64"/>
          <p:cNvGrpSpPr/>
          <p:nvPr/>
        </p:nvGrpSpPr>
        <p:grpSpPr>
          <a:xfrm>
            <a:off x="6444441" y="3837269"/>
            <a:ext cx="525704" cy="535436"/>
            <a:chOff x="4906800" y="1507500"/>
            <a:chExt cx="70350" cy="71075"/>
          </a:xfrm>
        </p:grpSpPr>
        <p:sp>
          <p:nvSpPr>
            <p:cNvPr id="2042" name="Google Shape;2042;p64"/>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64"/>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64"/>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64"/>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64"/>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7" name="Google Shape;2047;p64"/>
          <p:cNvGrpSpPr/>
          <p:nvPr/>
        </p:nvGrpSpPr>
        <p:grpSpPr>
          <a:xfrm>
            <a:off x="4477263" y="2343250"/>
            <a:ext cx="508054" cy="508095"/>
            <a:chOff x="3736598" y="2170606"/>
            <a:chExt cx="404889" cy="404889"/>
          </a:xfrm>
        </p:grpSpPr>
        <p:sp>
          <p:nvSpPr>
            <p:cNvPr id="2048" name="Google Shape;2048;p64"/>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64"/>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64"/>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64"/>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2" name="Google Shape;2052;p64"/>
          <p:cNvGrpSpPr/>
          <p:nvPr/>
        </p:nvGrpSpPr>
        <p:grpSpPr>
          <a:xfrm>
            <a:off x="3765303" y="2343345"/>
            <a:ext cx="575790" cy="507904"/>
            <a:chOff x="3161917" y="2170682"/>
            <a:chExt cx="458870" cy="404737"/>
          </a:xfrm>
        </p:grpSpPr>
        <p:sp>
          <p:nvSpPr>
            <p:cNvPr id="2053" name="Google Shape;2053;p64"/>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solidFill>
              <a:srgbClr val="374957"/>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54" name="Google Shape;2054;p64"/>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64"/>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6" name="Google Shape;2056;p64"/>
          <p:cNvGrpSpPr/>
          <p:nvPr/>
        </p:nvGrpSpPr>
        <p:grpSpPr>
          <a:xfrm>
            <a:off x="3792833" y="3103717"/>
            <a:ext cx="520730" cy="498567"/>
            <a:chOff x="3179914" y="2889488"/>
            <a:chExt cx="422876" cy="404911"/>
          </a:xfrm>
        </p:grpSpPr>
        <p:sp>
          <p:nvSpPr>
            <p:cNvPr id="2057" name="Google Shape;2057;p64"/>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64"/>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64"/>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64"/>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64"/>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64"/>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63" name="Google Shape;2063;p64"/>
          <p:cNvGrpSpPr/>
          <p:nvPr/>
        </p:nvGrpSpPr>
        <p:grpSpPr>
          <a:xfrm>
            <a:off x="4421513" y="3103677"/>
            <a:ext cx="516145" cy="498648"/>
            <a:chOff x="3729467" y="2889422"/>
            <a:chExt cx="419153" cy="404977"/>
          </a:xfrm>
        </p:grpSpPr>
        <p:sp>
          <p:nvSpPr>
            <p:cNvPr id="2064" name="Google Shape;2064;p64"/>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64"/>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64"/>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64"/>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64"/>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64"/>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64"/>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71" name="Google Shape;2071;p64"/>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64"/>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64"/>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64"/>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75" name="Google Shape;2075;p64"/>
          <p:cNvGrpSpPr/>
          <p:nvPr/>
        </p:nvGrpSpPr>
        <p:grpSpPr>
          <a:xfrm>
            <a:off x="7141841" y="2550562"/>
            <a:ext cx="166473" cy="141497"/>
            <a:chOff x="4660325" y="1866850"/>
            <a:chExt cx="68350" cy="58100"/>
          </a:xfrm>
        </p:grpSpPr>
        <p:sp>
          <p:nvSpPr>
            <p:cNvPr id="2076" name="Google Shape;2076;p64"/>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64"/>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78" name="Google Shape;2078;p64"/>
          <p:cNvGrpSpPr/>
          <p:nvPr/>
        </p:nvGrpSpPr>
        <p:grpSpPr>
          <a:xfrm>
            <a:off x="7451186" y="2576286"/>
            <a:ext cx="162515" cy="90049"/>
            <a:chOff x="4791775" y="1877500"/>
            <a:chExt cx="66725" cy="36975"/>
          </a:xfrm>
        </p:grpSpPr>
        <p:sp>
          <p:nvSpPr>
            <p:cNvPr id="2079" name="Google Shape;2079;p64"/>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64"/>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1" name="Google Shape;2081;p64"/>
          <p:cNvGrpSpPr/>
          <p:nvPr/>
        </p:nvGrpSpPr>
        <p:grpSpPr>
          <a:xfrm>
            <a:off x="7772899" y="2576286"/>
            <a:ext cx="144979" cy="90049"/>
            <a:chOff x="4923925" y="1877500"/>
            <a:chExt cx="59525" cy="36975"/>
          </a:xfrm>
        </p:grpSpPr>
        <p:sp>
          <p:nvSpPr>
            <p:cNvPr id="2082" name="Google Shape;2082;p64"/>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64"/>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4" name="Google Shape;2084;p64"/>
          <p:cNvGrpSpPr/>
          <p:nvPr/>
        </p:nvGrpSpPr>
        <p:grpSpPr>
          <a:xfrm>
            <a:off x="8067390" y="2558477"/>
            <a:ext cx="141447" cy="125667"/>
            <a:chOff x="5058450" y="1870100"/>
            <a:chExt cx="58075" cy="51600"/>
          </a:xfrm>
        </p:grpSpPr>
        <p:sp>
          <p:nvSpPr>
            <p:cNvPr id="2085" name="Google Shape;2085;p64"/>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64"/>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7" name="Google Shape;2087;p64"/>
          <p:cNvGrpSpPr/>
          <p:nvPr/>
        </p:nvGrpSpPr>
        <p:grpSpPr>
          <a:xfrm>
            <a:off x="7481905" y="2980885"/>
            <a:ext cx="101077" cy="107645"/>
            <a:chOff x="4811425" y="2065025"/>
            <a:chExt cx="41500" cy="44200"/>
          </a:xfrm>
        </p:grpSpPr>
        <p:sp>
          <p:nvSpPr>
            <p:cNvPr id="2088" name="Google Shape;2088;p64"/>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64"/>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0" name="Google Shape;2090;p64"/>
          <p:cNvGrpSpPr/>
          <p:nvPr/>
        </p:nvGrpSpPr>
        <p:grpSpPr>
          <a:xfrm>
            <a:off x="7774342" y="2981098"/>
            <a:ext cx="120867" cy="107218"/>
            <a:chOff x="4929875" y="2065025"/>
            <a:chExt cx="49625" cy="44025"/>
          </a:xfrm>
        </p:grpSpPr>
        <p:sp>
          <p:nvSpPr>
            <p:cNvPr id="2091" name="Google Shape;2091;p64"/>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64"/>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3" name="Google Shape;2093;p64"/>
          <p:cNvGrpSpPr/>
          <p:nvPr/>
        </p:nvGrpSpPr>
        <p:grpSpPr>
          <a:xfrm>
            <a:off x="8103011" y="2984112"/>
            <a:ext cx="70206" cy="101191"/>
            <a:chOff x="5083925" y="2066350"/>
            <a:chExt cx="28825" cy="41550"/>
          </a:xfrm>
        </p:grpSpPr>
        <p:sp>
          <p:nvSpPr>
            <p:cNvPr id="2094" name="Google Shape;2094;p64"/>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64"/>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6" name="Google Shape;2096;p64"/>
          <p:cNvGrpSpPr/>
          <p:nvPr/>
        </p:nvGrpSpPr>
        <p:grpSpPr>
          <a:xfrm>
            <a:off x="7134565" y="2999759"/>
            <a:ext cx="181026" cy="69896"/>
            <a:chOff x="4659775" y="2072775"/>
            <a:chExt cx="74325" cy="28700"/>
          </a:xfrm>
        </p:grpSpPr>
        <p:sp>
          <p:nvSpPr>
            <p:cNvPr id="2097" name="Google Shape;2097;p64"/>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64"/>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64"/>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0" name="Google Shape;2100;p64"/>
          <p:cNvGrpSpPr/>
          <p:nvPr/>
        </p:nvGrpSpPr>
        <p:grpSpPr>
          <a:xfrm>
            <a:off x="8054421" y="2790324"/>
            <a:ext cx="167387" cy="89197"/>
            <a:chOff x="4662475" y="1976500"/>
            <a:chExt cx="68725" cy="36625"/>
          </a:xfrm>
        </p:grpSpPr>
        <p:sp>
          <p:nvSpPr>
            <p:cNvPr id="2101" name="Google Shape;2101;p64"/>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64"/>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64"/>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4" name="Google Shape;2104;p64"/>
          <p:cNvGrpSpPr/>
          <p:nvPr/>
        </p:nvGrpSpPr>
        <p:grpSpPr>
          <a:xfrm>
            <a:off x="7751326" y="2793764"/>
            <a:ext cx="166899" cy="82317"/>
            <a:chOff x="4920150" y="1977875"/>
            <a:chExt cx="68525" cy="33800"/>
          </a:xfrm>
        </p:grpSpPr>
        <p:sp>
          <p:nvSpPr>
            <p:cNvPr id="2105" name="Google Shape;2105;p64"/>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64"/>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64"/>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8" name="Google Shape;2108;p64"/>
          <p:cNvGrpSpPr/>
          <p:nvPr/>
        </p:nvGrpSpPr>
        <p:grpSpPr>
          <a:xfrm>
            <a:off x="7162483" y="3197682"/>
            <a:ext cx="125190" cy="127859"/>
            <a:chOff x="4676550" y="2160575"/>
            <a:chExt cx="51400" cy="52500"/>
          </a:xfrm>
        </p:grpSpPr>
        <p:sp>
          <p:nvSpPr>
            <p:cNvPr id="2109" name="Google Shape;2109;p64"/>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64"/>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64"/>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12" name="Google Shape;2112;p64"/>
          <p:cNvGrpSpPr/>
          <p:nvPr/>
        </p:nvGrpSpPr>
        <p:grpSpPr>
          <a:xfrm>
            <a:off x="7459741" y="3204714"/>
            <a:ext cx="145405" cy="113794"/>
            <a:chOff x="4768325" y="2163475"/>
            <a:chExt cx="59700" cy="46725"/>
          </a:xfrm>
        </p:grpSpPr>
        <p:sp>
          <p:nvSpPr>
            <p:cNvPr id="2113" name="Google Shape;2113;p64"/>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64"/>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15" name="Google Shape;2115;p64"/>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64"/>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64"/>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64"/>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64"/>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64"/>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21" name="Google Shape;2121;p64"/>
          <p:cNvGrpSpPr/>
          <p:nvPr/>
        </p:nvGrpSpPr>
        <p:grpSpPr>
          <a:xfrm>
            <a:off x="7476059" y="3459808"/>
            <a:ext cx="112768" cy="106853"/>
            <a:chOff x="4768575" y="2253950"/>
            <a:chExt cx="46300" cy="43875"/>
          </a:xfrm>
        </p:grpSpPr>
        <p:sp>
          <p:nvSpPr>
            <p:cNvPr id="2122" name="Google Shape;2122;p64"/>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64"/>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4" name="Google Shape;2124;p64"/>
          <p:cNvGrpSpPr/>
          <p:nvPr/>
        </p:nvGrpSpPr>
        <p:grpSpPr>
          <a:xfrm>
            <a:off x="7775682" y="3948834"/>
            <a:ext cx="118187" cy="146246"/>
            <a:chOff x="4960900" y="2433225"/>
            <a:chExt cx="48525" cy="60050"/>
          </a:xfrm>
        </p:grpSpPr>
        <p:sp>
          <p:nvSpPr>
            <p:cNvPr id="2125" name="Google Shape;2125;p64"/>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64"/>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7" name="Google Shape;2127;p64"/>
          <p:cNvGrpSpPr/>
          <p:nvPr/>
        </p:nvGrpSpPr>
        <p:grpSpPr>
          <a:xfrm>
            <a:off x="7464247" y="4212895"/>
            <a:ext cx="136394" cy="143810"/>
            <a:chOff x="4854075" y="2527625"/>
            <a:chExt cx="56000" cy="59050"/>
          </a:xfrm>
        </p:grpSpPr>
        <p:sp>
          <p:nvSpPr>
            <p:cNvPr id="2128" name="Google Shape;2128;p64"/>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64"/>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30" name="Google Shape;2130;p64"/>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64"/>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64"/>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33" name="Google Shape;2133;p64"/>
          <p:cNvGrpSpPr/>
          <p:nvPr/>
        </p:nvGrpSpPr>
        <p:grpSpPr>
          <a:xfrm>
            <a:off x="8088458" y="3676639"/>
            <a:ext cx="99312" cy="160797"/>
            <a:chOff x="5059700" y="2334775"/>
            <a:chExt cx="40775" cy="66025"/>
          </a:xfrm>
        </p:grpSpPr>
        <p:sp>
          <p:nvSpPr>
            <p:cNvPr id="2134" name="Google Shape;2134;p64"/>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64"/>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64"/>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64"/>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64"/>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64"/>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64"/>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64"/>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64"/>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3" name="Google Shape;2143;p64"/>
          <p:cNvGrpSpPr/>
          <p:nvPr/>
        </p:nvGrpSpPr>
        <p:grpSpPr>
          <a:xfrm>
            <a:off x="8045622" y="3941771"/>
            <a:ext cx="184984" cy="160371"/>
            <a:chOff x="5037700" y="2430325"/>
            <a:chExt cx="75950" cy="65850"/>
          </a:xfrm>
        </p:grpSpPr>
        <p:sp>
          <p:nvSpPr>
            <p:cNvPr id="2144" name="Google Shape;2144;p64"/>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64"/>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6" name="Google Shape;2146;p64"/>
          <p:cNvGrpSpPr/>
          <p:nvPr/>
        </p:nvGrpSpPr>
        <p:grpSpPr>
          <a:xfrm>
            <a:off x="7465128" y="3708223"/>
            <a:ext cx="173014" cy="97629"/>
            <a:chOff x="4756975" y="2341800"/>
            <a:chExt cx="91975" cy="51925"/>
          </a:xfrm>
        </p:grpSpPr>
        <p:sp>
          <p:nvSpPr>
            <p:cNvPr id="2147" name="Google Shape;2147;p64"/>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64"/>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64"/>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64"/>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64"/>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64"/>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64"/>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64"/>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64"/>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64"/>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64"/>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64"/>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64"/>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64"/>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64"/>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64"/>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64"/>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64"/>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64"/>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64"/>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67" name="Google Shape;2167;p64"/>
          <p:cNvGrpSpPr/>
          <p:nvPr/>
        </p:nvGrpSpPr>
        <p:grpSpPr>
          <a:xfrm>
            <a:off x="7732065" y="4196920"/>
            <a:ext cx="212497" cy="175761"/>
            <a:chOff x="4943575" y="2516350"/>
            <a:chExt cx="98675" cy="81700"/>
          </a:xfrm>
        </p:grpSpPr>
        <p:sp>
          <p:nvSpPr>
            <p:cNvPr id="2168" name="Google Shape;2168;p64"/>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64"/>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64"/>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64"/>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64"/>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64"/>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64"/>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64"/>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64"/>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64"/>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64"/>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64"/>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64"/>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64"/>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64"/>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64"/>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64"/>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64"/>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64"/>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64"/>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64"/>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64"/>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64"/>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64"/>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64"/>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64"/>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64"/>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64"/>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64"/>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64"/>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64"/>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64"/>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64"/>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64"/>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64"/>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64"/>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64"/>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64"/>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64"/>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64"/>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64"/>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64"/>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64"/>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64"/>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64"/>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64"/>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64"/>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64"/>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64"/>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64"/>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64"/>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64"/>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64"/>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64"/>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64"/>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64"/>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64"/>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64"/>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64"/>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64"/>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64"/>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64"/>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64"/>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64"/>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64"/>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64"/>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64"/>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64"/>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64"/>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64"/>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64"/>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64"/>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64"/>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64"/>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64"/>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64"/>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64"/>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64"/>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6" name="Google Shape;2246;p64"/>
          <p:cNvGrpSpPr/>
          <p:nvPr/>
        </p:nvGrpSpPr>
        <p:grpSpPr>
          <a:xfrm>
            <a:off x="1990126" y="3423163"/>
            <a:ext cx="965351" cy="134611"/>
            <a:chOff x="4411970" y="2962952"/>
            <a:chExt cx="706544" cy="104212"/>
          </a:xfrm>
        </p:grpSpPr>
        <p:sp>
          <p:nvSpPr>
            <p:cNvPr id="2247" name="Google Shape;2247;p64"/>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64"/>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solidFill>
              <a:srgbClr val="CCD6D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64"/>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64"/>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solidFill>
              <a:srgbClr val="E0E7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1" name="Google Shape;2251;p64"/>
          <p:cNvGrpSpPr/>
          <p:nvPr/>
        </p:nvGrpSpPr>
        <p:grpSpPr>
          <a:xfrm>
            <a:off x="1990126" y="3012077"/>
            <a:ext cx="960158" cy="289172"/>
            <a:chOff x="4411970" y="2726085"/>
            <a:chExt cx="643107" cy="193659"/>
          </a:xfrm>
        </p:grpSpPr>
        <p:sp>
          <p:nvSpPr>
            <p:cNvPr id="2252" name="Google Shape;2252;p64"/>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64"/>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64"/>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5" name="Google Shape;2255;p64"/>
          <p:cNvGrpSpPr/>
          <p:nvPr/>
        </p:nvGrpSpPr>
        <p:grpSpPr>
          <a:xfrm>
            <a:off x="993018" y="3278187"/>
            <a:ext cx="833173" cy="259209"/>
            <a:chOff x="4411970" y="4340222"/>
            <a:chExt cx="779467" cy="242683"/>
          </a:xfrm>
        </p:grpSpPr>
        <p:sp>
          <p:nvSpPr>
            <p:cNvPr id="2256" name="Google Shape;2256;p64"/>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64"/>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64"/>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9" name="Google Shape;2259;p64"/>
          <p:cNvGrpSpPr/>
          <p:nvPr/>
        </p:nvGrpSpPr>
        <p:grpSpPr>
          <a:xfrm>
            <a:off x="1990126" y="2673933"/>
            <a:ext cx="965160" cy="216230"/>
            <a:chOff x="4411970" y="2468674"/>
            <a:chExt cx="747317" cy="167425"/>
          </a:xfrm>
        </p:grpSpPr>
        <p:sp>
          <p:nvSpPr>
            <p:cNvPr id="2260" name="Google Shape;2260;p64"/>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64"/>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2" name="Google Shape;2262;p64"/>
          <p:cNvGrpSpPr/>
          <p:nvPr/>
        </p:nvGrpSpPr>
        <p:grpSpPr>
          <a:xfrm>
            <a:off x="988873" y="2578650"/>
            <a:ext cx="810451" cy="319148"/>
            <a:chOff x="4411970" y="3686602"/>
            <a:chExt cx="797845" cy="314215"/>
          </a:xfrm>
        </p:grpSpPr>
        <p:sp>
          <p:nvSpPr>
            <p:cNvPr id="2263" name="Google Shape;2263;p64"/>
            <p:cNvSpPr/>
            <p:nvPr/>
          </p:nvSpPr>
          <p:spPr>
            <a:xfrm>
              <a:off x="4411970" y="3780383"/>
              <a:ext cx="797845" cy="220435"/>
            </a:xfrm>
            <a:custGeom>
              <a:avLst/>
              <a:gdLst/>
              <a:ahLst/>
              <a:cxnLst/>
              <a:rect l="l" t="t" r="r" b="b"/>
              <a:pathLst>
                <a:path w="17670" h="4882" extrusionOk="0">
                  <a:moveTo>
                    <a:pt x="356" y="1"/>
                  </a:moveTo>
                  <a:cubicBezTo>
                    <a:pt x="159" y="1"/>
                    <a:pt x="1" y="161"/>
                    <a:pt x="1" y="356"/>
                  </a:cubicBezTo>
                  <a:lnTo>
                    <a:pt x="1" y="4881"/>
                  </a:lnTo>
                  <a:lnTo>
                    <a:pt x="17316" y="4881"/>
                  </a:lnTo>
                  <a:cubicBezTo>
                    <a:pt x="17511" y="4881"/>
                    <a:pt x="17670" y="4723"/>
                    <a:pt x="17670" y="4528"/>
                  </a:cubicBezTo>
                  <a:lnTo>
                    <a:pt x="17670"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64"/>
            <p:cNvSpPr/>
            <p:nvPr/>
          </p:nvSpPr>
          <p:spPr>
            <a:xfrm>
              <a:off x="4411970" y="3940447"/>
              <a:ext cx="60414" cy="60369"/>
            </a:xfrm>
            <a:custGeom>
              <a:avLst/>
              <a:gdLst/>
              <a:ahLst/>
              <a:cxnLst/>
              <a:rect l="l" t="t" r="r" b="b"/>
              <a:pathLst>
                <a:path w="1338" h="1337" extrusionOk="0">
                  <a:moveTo>
                    <a:pt x="1" y="1"/>
                  </a:moveTo>
                  <a:lnTo>
                    <a:pt x="1" y="1336"/>
                  </a:lnTo>
                  <a:lnTo>
                    <a:pt x="1338" y="1336"/>
                  </a:lnTo>
                  <a:lnTo>
                    <a:pt x="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64"/>
            <p:cNvSpPr/>
            <p:nvPr/>
          </p:nvSpPr>
          <p:spPr>
            <a:xfrm>
              <a:off x="4411970" y="3686602"/>
              <a:ext cx="228743" cy="228743"/>
            </a:xfrm>
            <a:custGeom>
              <a:avLst/>
              <a:gdLst/>
              <a:ahLst/>
              <a:cxnLst/>
              <a:rect l="l" t="t" r="r" b="b"/>
              <a:pathLst>
                <a:path w="5066" h="5066" extrusionOk="0">
                  <a:moveTo>
                    <a:pt x="2534" y="1"/>
                  </a:moveTo>
                  <a:cubicBezTo>
                    <a:pt x="1134" y="1"/>
                    <a:pt x="1" y="1134"/>
                    <a:pt x="1" y="2534"/>
                  </a:cubicBezTo>
                  <a:cubicBezTo>
                    <a:pt x="1" y="3932"/>
                    <a:pt x="1134" y="5066"/>
                    <a:pt x="2534" y="5066"/>
                  </a:cubicBezTo>
                  <a:cubicBezTo>
                    <a:pt x="3932" y="5066"/>
                    <a:pt x="5066" y="3932"/>
                    <a:pt x="5066" y="2534"/>
                  </a:cubicBezTo>
                  <a:cubicBezTo>
                    <a:pt x="5066" y="1134"/>
                    <a:pt x="3932" y="1"/>
                    <a:pt x="253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64"/>
            <p:cNvSpPr/>
            <p:nvPr/>
          </p:nvSpPr>
          <p:spPr>
            <a:xfrm>
              <a:off x="4442628" y="3717261"/>
              <a:ext cx="167425" cy="167425"/>
            </a:xfrm>
            <a:custGeom>
              <a:avLst/>
              <a:gdLst/>
              <a:ahLst/>
              <a:cxnLst/>
              <a:rect l="l" t="t" r="r" b="b"/>
              <a:pathLst>
                <a:path w="3708" h="3708" extrusionOk="0">
                  <a:moveTo>
                    <a:pt x="3708" y="1855"/>
                  </a:moveTo>
                  <a:cubicBezTo>
                    <a:pt x="3708" y="2878"/>
                    <a:pt x="2878" y="3708"/>
                    <a:pt x="1855" y="3708"/>
                  </a:cubicBezTo>
                  <a:cubicBezTo>
                    <a:pt x="832" y="3708"/>
                    <a:pt x="1" y="2878"/>
                    <a:pt x="1" y="1855"/>
                  </a:cubicBezTo>
                  <a:cubicBezTo>
                    <a:pt x="1" y="830"/>
                    <a:pt x="832" y="1"/>
                    <a:pt x="1855" y="1"/>
                  </a:cubicBezTo>
                  <a:cubicBezTo>
                    <a:pt x="2878" y="1"/>
                    <a:pt x="3708" y="830"/>
                    <a:pt x="3708" y="1855"/>
                  </a:cubicBezTo>
                  <a:close/>
                </a:path>
              </a:pathLst>
            </a:custGeom>
            <a:solidFill>
              <a:srgbClr val="222D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64"/>
            <p:cNvSpPr/>
            <p:nvPr/>
          </p:nvSpPr>
          <p:spPr>
            <a:xfrm>
              <a:off x="4455090" y="3729723"/>
              <a:ext cx="142546" cy="142546"/>
            </a:xfrm>
            <a:custGeom>
              <a:avLst/>
              <a:gdLst/>
              <a:ahLst/>
              <a:cxnLst/>
              <a:rect l="l" t="t" r="r" b="b"/>
              <a:pathLst>
                <a:path w="3157" h="3157" extrusionOk="0">
                  <a:moveTo>
                    <a:pt x="1579" y="0"/>
                  </a:moveTo>
                  <a:cubicBezTo>
                    <a:pt x="706" y="0"/>
                    <a:pt x="0" y="706"/>
                    <a:pt x="0" y="1579"/>
                  </a:cubicBezTo>
                  <a:cubicBezTo>
                    <a:pt x="0" y="2450"/>
                    <a:pt x="706" y="3156"/>
                    <a:pt x="1579" y="3156"/>
                  </a:cubicBezTo>
                  <a:cubicBezTo>
                    <a:pt x="2450" y="3156"/>
                    <a:pt x="3156" y="2450"/>
                    <a:pt x="3156" y="1579"/>
                  </a:cubicBezTo>
                  <a:cubicBezTo>
                    <a:pt x="3156" y="706"/>
                    <a:pt x="2450" y="0"/>
                    <a:pt x="157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68" name="Google Shape;2268;p64"/>
          <p:cNvSpPr/>
          <p:nvPr/>
        </p:nvSpPr>
        <p:spPr>
          <a:xfrm>
            <a:off x="981722" y="2987237"/>
            <a:ext cx="822545" cy="19583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69" name="Google Shape;2269;p64"/>
          <p:cNvGrpSpPr/>
          <p:nvPr/>
        </p:nvGrpSpPr>
        <p:grpSpPr>
          <a:xfrm>
            <a:off x="988970" y="2333174"/>
            <a:ext cx="1970333" cy="208784"/>
            <a:chOff x="6336019" y="3733725"/>
            <a:chExt cx="2566206" cy="351310"/>
          </a:xfrm>
        </p:grpSpPr>
        <p:sp>
          <p:nvSpPr>
            <p:cNvPr id="2270" name="Google Shape;2270;p64"/>
            <p:cNvSpPr/>
            <p:nvPr/>
          </p:nvSpPr>
          <p:spPr>
            <a:xfrm>
              <a:off x="6336019" y="3733735"/>
              <a:ext cx="1881300" cy="351300"/>
            </a:xfrm>
            <a:prstGeom prst="homePlate">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64"/>
            <p:cNvSpPr/>
            <p:nvPr/>
          </p:nvSpPr>
          <p:spPr>
            <a:xfrm>
              <a:off x="80985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64"/>
            <p:cNvSpPr/>
            <p:nvPr/>
          </p:nvSpPr>
          <p:spPr>
            <a:xfrm>
              <a:off x="83271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64"/>
            <p:cNvSpPr/>
            <p:nvPr/>
          </p:nvSpPr>
          <p:spPr>
            <a:xfrm>
              <a:off x="85557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4" name="Google Shape;2274;p64"/>
          <p:cNvGrpSpPr/>
          <p:nvPr/>
        </p:nvGrpSpPr>
        <p:grpSpPr>
          <a:xfrm>
            <a:off x="1990126" y="3940729"/>
            <a:ext cx="946551" cy="153200"/>
            <a:chOff x="4404545" y="3301592"/>
            <a:chExt cx="782403" cy="129272"/>
          </a:xfrm>
        </p:grpSpPr>
        <p:sp>
          <p:nvSpPr>
            <p:cNvPr id="2275" name="Google Shape;2275;p64"/>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64"/>
            <p:cNvSpPr/>
            <p:nvPr/>
          </p:nvSpPr>
          <p:spPr>
            <a:xfrm>
              <a:off x="4416034" y="3308320"/>
              <a:ext cx="120286" cy="11572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7" name="Google Shape;2277;p64"/>
          <p:cNvGrpSpPr/>
          <p:nvPr/>
        </p:nvGrpSpPr>
        <p:grpSpPr>
          <a:xfrm>
            <a:off x="1990126" y="3679688"/>
            <a:ext cx="962257" cy="139127"/>
            <a:chOff x="4411970" y="3131459"/>
            <a:chExt cx="710520" cy="117397"/>
          </a:xfrm>
        </p:grpSpPr>
        <p:sp>
          <p:nvSpPr>
            <p:cNvPr id="2278" name="Google Shape;2278;p64"/>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64"/>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80" name="Google Shape;2280;p64" descr="Timeline background shape"/>
          <p:cNvSpPr/>
          <p:nvPr/>
        </p:nvSpPr>
        <p:spPr>
          <a:xfrm>
            <a:off x="1990126" y="4215843"/>
            <a:ext cx="960300" cy="153000"/>
          </a:xfrm>
          <a:prstGeom prst="homePlate">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81" name="Google Shape;2281;p64"/>
          <p:cNvGrpSpPr/>
          <p:nvPr/>
        </p:nvGrpSpPr>
        <p:grpSpPr>
          <a:xfrm>
            <a:off x="990271" y="3614482"/>
            <a:ext cx="823838" cy="458988"/>
            <a:chOff x="4411970" y="1801825"/>
            <a:chExt cx="734586" cy="409262"/>
          </a:xfrm>
        </p:grpSpPr>
        <p:sp>
          <p:nvSpPr>
            <p:cNvPr id="2282" name="Google Shape;2282;p64"/>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64"/>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4" name="Google Shape;2284;p64"/>
          <p:cNvGrpSpPr/>
          <p:nvPr/>
        </p:nvGrpSpPr>
        <p:grpSpPr>
          <a:xfrm>
            <a:off x="990271" y="4162908"/>
            <a:ext cx="856348" cy="212039"/>
            <a:chOff x="4411970" y="2233974"/>
            <a:chExt cx="763574" cy="189068"/>
          </a:xfrm>
        </p:grpSpPr>
        <p:sp>
          <p:nvSpPr>
            <p:cNvPr id="2285" name="Google Shape;2285;p64"/>
            <p:cNvSpPr/>
            <p:nvPr/>
          </p:nvSpPr>
          <p:spPr>
            <a:xfrm>
              <a:off x="4411970" y="2278599"/>
              <a:ext cx="763574" cy="144443"/>
            </a:xfrm>
            <a:custGeom>
              <a:avLst/>
              <a:gdLst/>
              <a:ahLst/>
              <a:cxnLst/>
              <a:rect l="l" t="t" r="r" b="b"/>
              <a:pathLst>
                <a:path w="16911" h="3199" extrusionOk="0">
                  <a:moveTo>
                    <a:pt x="1" y="1"/>
                  </a:moveTo>
                  <a:lnTo>
                    <a:pt x="1" y="3198"/>
                  </a:lnTo>
                  <a:lnTo>
                    <a:pt x="16911" y="3198"/>
                  </a:lnTo>
                  <a:lnTo>
                    <a:pt x="1691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64"/>
            <p:cNvSpPr/>
            <p:nvPr/>
          </p:nvSpPr>
          <p:spPr>
            <a:xfrm>
              <a:off x="4411970" y="2233974"/>
              <a:ext cx="262291" cy="144443"/>
            </a:xfrm>
            <a:custGeom>
              <a:avLst/>
              <a:gdLst/>
              <a:ahLst/>
              <a:cxnLst/>
              <a:rect l="l" t="t" r="r" b="b"/>
              <a:pathLst>
                <a:path w="5809" h="3199" extrusionOk="0">
                  <a:moveTo>
                    <a:pt x="1" y="1"/>
                  </a:moveTo>
                  <a:lnTo>
                    <a:pt x="1" y="3198"/>
                  </a:lnTo>
                  <a:lnTo>
                    <a:pt x="5809" y="3198"/>
                  </a:lnTo>
                  <a:lnTo>
                    <a:pt x="4195"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7" name="Google Shape;2287;p64"/>
          <p:cNvGrpSpPr/>
          <p:nvPr/>
        </p:nvGrpSpPr>
        <p:grpSpPr>
          <a:xfrm>
            <a:off x="3100467" y="2338244"/>
            <a:ext cx="511602" cy="511602"/>
            <a:chOff x="5681300" y="2527788"/>
            <a:chExt cx="805800" cy="805800"/>
          </a:xfrm>
        </p:grpSpPr>
        <p:sp>
          <p:nvSpPr>
            <p:cNvPr id="2288" name="Google Shape;2288;p64"/>
            <p:cNvSpPr/>
            <p:nvPr/>
          </p:nvSpPr>
          <p:spPr>
            <a:xfrm>
              <a:off x="5681300" y="2527788"/>
              <a:ext cx="805800" cy="8058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64"/>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0" name="Google Shape;2290;p64"/>
          <p:cNvGrpSpPr/>
          <p:nvPr/>
        </p:nvGrpSpPr>
        <p:grpSpPr>
          <a:xfrm>
            <a:off x="3097662" y="3104827"/>
            <a:ext cx="513021" cy="512935"/>
            <a:chOff x="4049800" y="640400"/>
            <a:chExt cx="858900" cy="858900"/>
          </a:xfrm>
        </p:grpSpPr>
        <p:sp>
          <p:nvSpPr>
            <p:cNvPr id="2291" name="Google Shape;2291;p64"/>
            <p:cNvSpPr/>
            <p:nvPr/>
          </p:nvSpPr>
          <p:spPr>
            <a:xfrm>
              <a:off x="4049800" y="640400"/>
              <a:ext cx="858900" cy="858900"/>
            </a:xfrm>
            <a:prstGeom prst="donut">
              <a:avLst>
                <a:gd name="adj" fmla="val 25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64"/>
            <p:cNvSpPr/>
            <p:nvPr/>
          </p:nvSpPr>
          <p:spPr>
            <a:xfrm>
              <a:off x="4049800" y="640400"/>
              <a:ext cx="858900" cy="858900"/>
            </a:xfrm>
            <a:prstGeom prst="blockArc">
              <a:avLst>
                <a:gd name="adj1" fmla="val 7914150"/>
                <a:gd name="adj2" fmla="val 0"/>
                <a:gd name="adj3" fmla="val 25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3" name="Google Shape;2293;p64"/>
          <p:cNvGrpSpPr/>
          <p:nvPr/>
        </p:nvGrpSpPr>
        <p:grpSpPr>
          <a:xfrm>
            <a:off x="3014861" y="3756719"/>
            <a:ext cx="686489" cy="686585"/>
            <a:chOff x="5080188" y="927900"/>
            <a:chExt cx="961200" cy="961200"/>
          </a:xfrm>
        </p:grpSpPr>
        <p:sp>
          <p:nvSpPr>
            <p:cNvPr id="2294" name="Google Shape;2294;p64"/>
            <p:cNvSpPr/>
            <p:nvPr/>
          </p:nvSpPr>
          <p:spPr>
            <a:xfrm>
              <a:off x="5201900" y="1050116"/>
              <a:ext cx="716700" cy="716700"/>
            </a:xfrm>
            <a:prstGeom prst="donut">
              <a:avLst>
                <a:gd name="adj" fmla="val 4716"/>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64"/>
            <p:cNvSpPr/>
            <p:nvPr/>
          </p:nvSpPr>
          <p:spPr>
            <a:xfrm>
              <a:off x="5269594" y="1117818"/>
              <a:ext cx="581100" cy="581100"/>
            </a:xfrm>
            <a:prstGeom prst="donut">
              <a:avLst>
                <a:gd name="adj" fmla="val 5814"/>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64"/>
            <p:cNvSpPr/>
            <p:nvPr/>
          </p:nvSpPr>
          <p:spPr>
            <a:xfrm>
              <a:off x="5339279" y="1187526"/>
              <a:ext cx="441900" cy="441600"/>
            </a:xfrm>
            <a:prstGeom prst="donut">
              <a:avLst>
                <a:gd name="adj" fmla="val 7648"/>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64"/>
            <p:cNvSpPr/>
            <p:nvPr/>
          </p:nvSpPr>
          <p:spPr>
            <a:xfrm>
              <a:off x="5414892" y="1263155"/>
              <a:ext cx="290700" cy="290700"/>
            </a:xfrm>
            <a:prstGeom prst="donut">
              <a:avLst>
                <a:gd name="adj" fmla="val 10182"/>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64"/>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64"/>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64"/>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64"/>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2" name="Google Shape;2302;p64"/>
          <p:cNvGrpSpPr/>
          <p:nvPr/>
        </p:nvGrpSpPr>
        <p:grpSpPr>
          <a:xfrm>
            <a:off x="3798012" y="3849448"/>
            <a:ext cx="510373" cy="510937"/>
            <a:chOff x="7508249" y="1522825"/>
            <a:chExt cx="1326332" cy="1322987"/>
          </a:xfrm>
        </p:grpSpPr>
        <p:sp>
          <p:nvSpPr>
            <p:cNvPr id="2303" name="Google Shape;2303;p64"/>
            <p:cNvSpPr/>
            <p:nvPr/>
          </p:nvSpPr>
          <p:spPr>
            <a:xfrm>
              <a:off x="8036275" y="1522825"/>
              <a:ext cx="568251" cy="419545"/>
            </a:xfrm>
            <a:custGeom>
              <a:avLst/>
              <a:gdLst/>
              <a:ahLst/>
              <a:cxnLst/>
              <a:rect l="l" t="t" r="r" b="b"/>
              <a:pathLst>
                <a:path w="77683" h="57354" extrusionOk="0">
                  <a:moveTo>
                    <a:pt x="18272" y="0"/>
                  </a:moveTo>
                  <a:cubicBezTo>
                    <a:pt x="17902" y="0"/>
                    <a:pt x="17532" y="2"/>
                    <a:pt x="17161" y="7"/>
                  </a:cubicBezTo>
                  <a:cubicBezTo>
                    <a:pt x="11496" y="71"/>
                    <a:pt x="5756" y="673"/>
                    <a:pt x="1" y="1850"/>
                  </a:cubicBezTo>
                  <a:lnTo>
                    <a:pt x="9295" y="47323"/>
                  </a:lnTo>
                  <a:lnTo>
                    <a:pt x="9299" y="47323"/>
                  </a:lnTo>
                  <a:cubicBezTo>
                    <a:pt x="12272" y="46715"/>
                    <a:pt x="13499" y="46536"/>
                    <a:pt x="16407" y="46536"/>
                  </a:cubicBezTo>
                  <a:cubicBezTo>
                    <a:pt x="16418" y="46536"/>
                    <a:pt x="16429" y="46536"/>
                    <a:pt x="16440" y="46536"/>
                  </a:cubicBezTo>
                  <a:lnTo>
                    <a:pt x="18189" y="46511"/>
                  </a:lnTo>
                  <a:lnTo>
                    <a:pt x="18193" y="46511"/>
                  </a:lnTo>
                  <a:cubicBezTo>
                    <a:pt x="27852" y="46511"/>
                    <a:pt x="36781" y="49623"/>
                    <a:pt x="44036" y="54905"/>
                  </a:cubicBezTo>
                  <a:lnTo>
                    <a:pt x="44057" y="54878"/>
                  </a:lnTo>
                  <a:cubicBezTo>
                    <a:pt x="45130" y="55658"/>
                    <a:pt x="46165" y="56484"/>
                    <a:pt x="47159" y="57353"/>
                  </a:cubicBezTo>
                  <a:lnTo>
                    <a:pt x="77683" y="22389"/>
                  </a:lnTo>
                  <a:cubicBezTo>
                    <a:pt x="73099" y="18379"/>
                    <a:pt x="68099" y="14821"/>
                    <a:pt x="62744" y="11787"/>
                  </a:cubicBezTo>
                  <a:lnTo>
                    <a:pt x="62752" y="11772"/>
                  </a:lnTo>
                  <a:cubicBezTo>
                    <a:pt x="49514" y="4246"/>
                    <a:pt x="34283" y="0"/>
                    <a:pt x="18272"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64"/>
            <p:cNvSpPr/>
            <p:nvPr/>
          </p:nvSpPr>
          <p:spPr>
            <a:xfrm>
              <a:off x="8358375" y="1649762"/>
              <a:ext cx="456039" cy="463215"/>
            </a:xfrm>
            <a:custGeom>
              <a:avLst/>
              <a:gdLst/>
              <a:ahLst/>
              <a:cxnLst/>
              <a:rect l="l" t="t" r="r" b="b"/>
              <a:pathLst>
                <a:path w="62343" h="63324" extrusionOk="0">
                  <a:moveTo>
                    <a:pt x="27281" y="1"/>
                  </a:moveTo>
                  <a:lnTo>
                    <a:pt x="0" y="37551"/>
                  </a:lnTo>
                  <a:cubicBezTo>
                    <a:pt x="7426" y="42952"/>
                    <a:pt x="13092" y="50620"/>
                    <a:pt x="15988" y="59535"/>
                  </a:cubicBezTo>
                  <a:lnTo>
                    <a:pt x="16033" y="59519"/>
                  </a:lnTo>
                  <a:cubicBezTo>
                    <a:pt x="16439" y="60766"/>
                    <a:pt x="16790" y="62034"/>
                    <a:pt x="17084" y="63324"/>
                  </a:cubicBezTo>
                  <a:lnTo>
                    <a:pt x="62342" y="52975"/>
                  </a:lnTo>
                  <a:cubicBezTo>
                    <a:pt x="58048" y="34190"/>
                    <a:pt x="47853" y="17453"/>
                    <a:pt x="33650" y="5035"/>
                  </a:cubicBezTo>
                  <a:lnTo>
                    <a:pt x="33624" y="5063"/>
                  </a:lnTo>
                  <a:cubicBezTo>
                    <a:pt x="31588" y="3283"/>
                    <a:pt x="29473" y="1593"/>
                    <a:pt x="2728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64"/>
            <p:cNvSpPr/>
            <p:nvPr/>
          </p:nvSpPr>
          <p:spPr>
            <a:xfrm>
              <a:off x="8465584" y="1980292"/>
              <a:ext cx="368998" cy="464042"/>
            </a:xfrm>
            <a:custGeom>
              <a:avLst/>
              <a:gdLst/>
              <a:ahLst/>
              <a:cxnLst/>
              <a:rect l="l" t="t" r="r" b="b"/>
              <a:pathLst>
                <a:path w="50444" h="63437" extrusionOk="0">
                  <a:moveTo>
                    <a:pt x="45483" y="0"/>
                  </a:moveTo>
                  <a:lnTo>
                    <a:pt x="1331" y="14347"/>
                  </a:lnTo>
                  <a:cubicBezTo>
                    <a:pt x="2720" y="18628"/>
                    <a:pt x="3473" y="23193"/>
                    <a:pt x="3473" y="27937"/>
                  </a:cubicBezTo>
                  <a:cubicBezTo>
                    <a:pt x="3473" y="32680"/>
                    <a:pt x="2721" y="37247"/>
                    <a:pt x="1331" y="41526"/>
                  </a:cubicBezTo>
                  <a:lnTo>
                    <a:pt x="1331" y="41531"/>
                  </a:lnTo>
                  <a:lnTo>
                    <a:pt x="1373" y="41544"/>
                  </a:lnTo>
                  <a:cubicBezTo>
                    <a:pt x="968" y="42791"/>
                    <a:pt x="509" y="44013"/>
                    <a:pt x="1" y="45206"/>
                  </a:cubicBezTo>
                  <a:lnTo>
                    <a:pt x="1" y="45210"/>
                  </a:lnTo>
                  <a:lnTo>
                    <a:pt x="42698" y="63436"/>
                  </a:lnTo>
                  <a:cubicBezTo>
                    <a:pt x="46328" y="54928"/>
                    <a:pt x="48703" y="45713"/>
                    <a:pt x="49573" y="36003"/>
                  </a:cubicBezTo>
                  <a:cubicBezTo>
                    <a:pt x="50444" y="26293"/>
                    <a:pt x="49743" y="16805"/>
                    <a:pt x="47685" y="7787"/>
                  </a:cubicBezTo>
                  <a:lnTo>
                    <a:pt x="47630" y="7800"/>
                  </a:lnTo>
                  <a:cubicBezTo>
                    <a:pt x="47029" y="5154"/>
                    <a:pt x="46310" y="2552"/>
                    <a:pt x="4548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64"/>
            <p:cNvSpPr/>
            <p:nvPr/>
          </p:nvSpPr>
          <p:spPr>
            <a:xfrm>
              <a:off x="8334786" y="2284073"/>
              <a:ext cx="463522" cy="468043"/>
            </a:xfrm>
            <a:custGeom>
              <a:avLst/>
              <a:gdLst/>
              <a:ahLst/>
              <a:cxnLst/>
              <a:rect l="l" t="t" r="r" b="b"/>
              <a:pathLst>
                <a:path w="63366" h="63984" extrusionOk="0">
                  <a:moveTo>
                    <a:pt x="19213" y="1"/>
                  </a:moveTo>
                  <a:cubicBezTo>
                    <a:pt x="16318" y="8917"/>
                    <a:pt x="10652" y="16583"/>
                    <a:pt x="3228" y="21984"/>
                  </a:cubicBezTo>
                  <a:lnTo>
                    <a:pt x="3243" y="22007"/>
                  </a:lnTo>
                  <a:cubicBezTo>
                    <a:pt x="2194" y="22766"/>
                    <a:pt x="1113" y="23483"/>
                    <a:pt x="0" y="24149"/>
                  </a:cubicBezTo>
                  <a:lnTo>
                    <a:pt x="23817" y="63984"/>
                  </a:lnTo>
                  <a:cubicBezTo>
                    <a:pt x="40003" y="54290"/>
                    <a:pt x="53013" y="39632"/>
                    <a:pt x="60578" y="21909"/>
                  </a:cubicBezTo>
                  <a:lnTo>
                    <a:pt x="60578" y="21907"/>
                  </a:lnTo>
                  <a:lnTo>
                    <a:pt x="60533" y="21888"/>
                  </a:lnTo>
                  <a:cubicBezTo>
                    <a:pt x="61585" y="19427"/>
                    <a:pt x="62530" y="16912"/>
                    <a:pt x="63363" y="14345"/>
                  </a:cubicBezTo>
                  <a:lnTo>
                    <a:pt x="63363" y="14344"/>
                  </a:lnTo>
                  <a:lnTo>
                    <a:pt x="63365" y="14344"/>
                  </a:lnTo>
                  <a:lnTo>
                    <a:pt x="1921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64"/>
            <p:cNvSpPr/>
            <p:nvPr/>
          </p:nvSpPr>
          <p:spPr>
            <a:xfrm>
              <a:off x="8110685" y="2444876"/>
              <a:ext cx="447276" cy="400935"/>
            </a:xfrm>
            <a:custGeom>
              <a:avLst/>
              <a:gdLst/>
              <a:ahLst/>
              <a:cxnLst/>
              <a:rect l="l" t="t" r="r" b="b"/>
              <a:pathLst>
                <a:path w="61145" h="54810" extrusionOk="0">
                  <a:moveTo>
                    <a:pt x="33866" y="0"/>
                  </a:moveTo>
                  <a:cubicBezTo>
                    <a:pt x="26611" y="5284"/>
                    <a:pt x="17677" y="8398"/>
                    <a:pt x="8020" y="8398"/>
                  </a:cubicBezTo>
                  <a:lnTo>
                    <a:pt x="8016" y="8398"/>
                  </a:lnTo>
                  <a:lnTo>
                    <a:pt x="8016" y="8399"/>
                  </a:lnTo>
                  <a:cubicBezTo>
                    <a:pt x="6736" y="8396"/>
                    <a:pt x="5444" y="8338"/>
                    <a:pt x="4145" y="8221"/>
                  </a:cubicBezTo>
                  <a:lnTo>
                    <a:pt x="4142" y="8221"/>
                  </a:lnTo>
                  <a:lnTo>
                    <a:pt x="1" y="54444"/>
                  </a:lnTo>
                  <a:lnTo>
                    <a:pt x="3" y="54444"/>
                  </a:lnTo>
                  <a:cubicBezTo>
                    <a:pt x="2745" y="54689"/>
                    <a:pt x="5470" y="54810"/>
                    <a:pt x="8171" y="54810"/>
                  </a:cubicBezTo>
                  <a:cubicBezTo>
                    <a:pt x="24948" y="54810"/>
                    <a:pt x="40828" y="50164"/>
                    <a:pt x="54456" y="42000"/>
                  </a:cubicBezTo>
                  <a:lnTo>
                    <a:pt x="54445" y="41982"/>
                  </a:lnTo>
                  <a:cubicBezTo>
                    <a:pt x="56748" y="40604"/>
                    <a:pt x="58982" y="39124"/>
                    <a:pt x="61144" y="37550"/>
                  </a:cubicBezTo>
                  <a:lnTo>
                    <a:pt x="33866"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64"/>
            <p:cNvSpPr/>
            <p:nvPr/>
          </p:nvSpPr>
          <p:spPr>
            <a:xfrm>
              <a:off x="7734911" y="2426963"/>
              <a:ext cx="434445" cy="418813"/>
            </a:xfrm>
            <a:custGeom>
              <a:avLst/>
              <a:gdLst/>
              <a:ahLst/>
              <a:cxnLst/>
              <a:rect l="l" t="t" r="r" b="b"/>
              <a:pathLst>
                <a:path w="59391" h="57254" extrusionOk="0">
                  <a:moveTo>
                    <a:pt x="30519" y="1"/>
                  </a:moveTo>
                  <a:lnTo>
                    <a:pt x="1" y="34961"/>
                  </a:lnTo>
                  <a:cubicBezTo>
                    <a:pt x="2014" y="36723"/>
                    <a:pt x="4109" y="38397"/>
                    <a:pt x="6278" y="39979"/>
                  </a:cubicBezTo>
                  <a:lnTo>
                    <a:pt x="6266" y="39995"/>
                  </a:lnTo>
                  <a:cubicBezTo>
                    <a:pt x="21176" y="50851"/>
                    <a:pt x="39536" y="57253"/>
                    <a:pt x="59390" y="57253"/>
                  </a:cubicBezTo>
                  <a:lnTo>
                    <a:pt x="59390" y="10847"/>
                  </a:lnTo>
                  <a:cubicBezTo>
                    <a:pt x="58084" y="10847"/>
                    <a:pt x="56791" y="10791"/>
                    <a:pt x="55514" y="10678"/>
                  </a:cubicBezTo>
                  <a:lnTo>
                    <a:pt x="55514" y="10671"/>
                  </a:lnTo>
                  <a:cubicBezTo>
                    <a:pt x="45890" y="9810"/>
                    <a:pt x="37274" y="5908"/>
                    <a:pt x="3051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64"/>
            <p:cNvSpPr/>
            <p:nvPr/>
          </p:nvSpPr>
          <p:spPr>
            <a:xfrm>
              <a:off x="7525051" y="2256329"/>
              <a:ext cx="455242" cy="463215"/>
            </a:xfrm>
            <a:custGeom>
              <a:avLst/>
              <a:gdLst/>
              <a:ahLst/>
              <a:cxnLst/>
              <a:rect l="l" t="t" r="r" b="b"/>
              <a:pathLst>
                <a:path w="62234" h="63324" extrusionOk="0">
                  <a:moveTo>
                    <a:pt x="45259" y="0"/>
                  </a:moveTo>
                  <a:lnTo>
                    <a:pt x="0" y="10349"/>
                  </a:lnTo>
                  <a:cubicBezTo>
                    <a:pt x="602" y="12981"/>
                    <a:pt x="1320" y="15573"/>
                    <a:pt x="2148" y="18119"/>
                  </a:cubicBezTo>
                  <a:lnTo>
                    <a:pt x="2101" y="18136"/>
                  </a:lnTo>
                  <a:cubicBezTo>
                    <a:pt x="8054" y="36464"/>
                    <a:pt x="19701" y="52224"/>
                    <a:pt x="34955" y="63323"/>
                  </a:cubicBezTo>
                  <a:lnTo>
                    <a:pt x="62234" y="25777"/>
                  </a:lnTo>
                  <a:cubicBezTo>
                    <a:pt x="61184" y="25014"/>
                    <a:pt x="60169" y="24203"/>
                    <a:pt x="59191" y="23352"/>
                  </a:cubicBezTo>
                  <a:lnTo>
                    <a:pt x="59211" y="23327"/>
                  </a:lnTo>
                  <a:cubicBezTo>
                    <a:pt x="52302" y="17286"/>
                    <a:pt x="47344" y="9145"/>
                    <a:pt x="45259"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64"/>
            <p:cNvSpPr/>
            <p:nvPr/>
          </p:nvSpPr>
          <p:spPr>
            <a:xfrm>
              <a:off x="7508249" y="1924972"/>
              <a:ext cx="365633" cy="464042"/>
            </a:xfrm>
            <a:custGeom>
              <a:avLst/>
              <a:gdLst/>
              <a:ahLst/>
              <a:cxnLst/>
              <a:rect l="l" t="t" r="r" b="b"/>
              <a:pathLst>
                <a:path w="49984" h="63437" extrusionOk="0">
                  <a:moveTo>
                    <a:pt x="7285" y="1"/>
                  </a:moveTo>
                  <a:cubicBezTo>
                    <a:pt x="6231" y="2469"/>
                    <a:pt x="5284" y="4998"/>
                    <a:pt x="4449" y="7580"/>
                  </a:cubicBezTo>
                  <a:lnTo>
                    <a:pt x="4399" y="7563"/>
                  </a:lnTo>
                  <a:cubicBezTo>
                    <a:pt x="1543" y="16362"/>
                    <a:pt x="0" y="25750"/>
                    <a:pt x="0" y="35500"/>
                  </a:cubicBezTo>
                  <a:cubicBezTo>
                    <a:pt x="0" y="45248"/>
                    <a:pt x="1544" y="54639"/>
                    <a:pt x="4399" y="63437"/>
                  </a:cubicBezTo>
                  <a:lnTo>
                    <a:pt x="48589" y="49094"/>
                  </a:lnTo>
                  <a:cubicBezTo>
                    <a:pt x="48188" y="47857"/>
                    <a:pt x="47557" y="45303"/>
                    <a:pt x="47557" y="45303"/>
                  </a:cubicBezTo>
                  <a:cubicBezTo>
                    <a:pt x="46556" y="40915"/>
                    <a:pt x="46213" y="36301"/>
                    <a:pt x="46638" y="31576"/>
                  </a:cubicBezTo>
                  <a:cubicBezTo>
                    <a:pt x="47061" y="26851"/>
                    <a:pt x="48217" y="22370"/>
                    <a:pt x="49984" y="18231"/>
                  </a:cubicBezTo>
                  <a:lnTo>
                    <a:pt x="728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64"/>
            <p:cNvSpPr/>
            <p:nvPr/>
          </p:nvSpPr>
          <p:spPr>
            <a:xfrm>
              <a:off x="7540418" y="1617212"/>
              <a:ext cx="464261" cy="468058"/>
            </a:xfrm>
            <a:custGeom>
              <a:avLst/>
              <a:gdLst/>
              <a:ahLst/>
              <a:cxnLst/>
              <a:rect l="l" t="t" r="r" b="b"/>
              <a:pathLst>
                <a:path w="63467" h="63986" extrusionOk="0">
                  <a:moveTo>
                    <a:pt x="39644" y="0"/>
                  </a:moveTo>
                  <a:cubicBezTo>
                    <a:pt x="37320" y="1393"/>
                    <a:pt x="35061" y="2888"/>
                    <a:pt x="32875" y="4480"/>
                  </a:cubicBezTo>
                  <a:lnTo>
                    <a:pt x="32854" y="4452"/>
                  </a:lnTo>
                  <a:cubicBezTo>
                    <a:pt x="17600" y="15554"/>
                    <a:pt x="5953" y="31315"/>
                    <a:pt x="1" y="49638"/>
                  </a:cubicBezTo>
                  <a:lnTo>
                    <a:pt x="44153" y="63985"/>
                  </a:lnTo>
                  <a:cubicBezTo>
                    <a:pt x="44561" y="62727"/>
                    <a:pt x="45025" y="61492"/>
                    <a:pt x="45542" y="60287"/>
                  </a:cubicBezTo>
                  <a:lnTo>
                    <a:pt x="45586" y="60306"/>
                  </a:lnTo>
                  <a:cubicBezTo>
                    <a:pt x="49265" y="51684"/>
                    <a:pt x="55592" y="44553"/>
                    <a:pt x="63466" y="39836"/>
                  </a:cubicBezTo>
                  <a:lnTo>
                    <a:pt x="39644"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64"/>
            <p:cNvSpPr/>
            <p:nvPr/>
          </p:nvSpPr>
          <p:spPr>
            <a:xfrm>
              <a:off x="7780728" y="1524076"/>
              <a:ext cx="374828" cy="400379"/>
            </a:xfrm>
            <a:custGeom>
              <a:avLst/>
              <a:gdLst/>
              <a:ahLst/>
              <a:cxnLst/>
              <a:rect l="l" t="t" r="r" b="b"/>
              <a:pathLst>
                <a:path w="51241" h="54734" extrusionOk="0">
                  <a:moveTo>
                    <a:pt x="49286" y="0"/>
                  </a:moveTo>
                  <a:cubicBezTo>
                    <a:pt x="45747" y="149"/>
                    <a:pt x="42254" y="504"/>
                    <a:pt x="38820" y="1053"/>
                  </a:cubicBezTo>
                  <a:cubicBezTo>
                    <a:pt x="24474" y="3334"/>
                    <a:pt x="11256" y="8993"/>
                    <a:pt x="0" y="17185"/>
                  </a:cubicBezTo>
                  <a:lnTo>
                    <a:pt x="27281" y="54734"/>
                  </a:lnTo>
                  <a:cubicBezTo>
                    <a:pt x="27368" y="54663"/>
                    <a:pt x="27661" y="54495"/>
                    <a:pt x="28118" y="54252"/>
                  </a:cubicBezTo>
                  <a:cubicBezTo>
                    <a:pt x="33472" y="50543"/>
                    <a:pt x="39690" y="47993"/>
                    <a:pt x="46407" y="46962"/>
                  </a:cubicBezTo>
                  <a:cubicBezTo>
                    <a:pt x="47232" y="46770"/>
                    <a:pt x="47997" y="46633"/>
                    <a:pt x="48677" y="46563"/>
                  </a:cubicBezTo>
                  <a:lnTo>
                    <a:pt x="51241" y="46382"/>
                  </a:lnTo>
                  <a:lnTo>
                    <a:pt x="49286"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3" name="Google Shape;2313;p64"/>
          <p:cNvGrpSpPr/>
          <p:nvPr/>
        </p:nvGrpSpPr>
        <p:grpSpPr>
          <a:xfrm>
            <a:off x="4489605" y="3850853"/>
            <a:ext cx="492652" cy="503348"/>
            <a:chOff x="6039282" y="1042577"/>
            <a:chExt cx="734315" cy="731929"/>
          </a:xfrm>
        </p:grpSpPr>
        <p:sp>
          <p:nvSpPr>
            <p:cNvPr id="2314" name="Google Shape;2314;p64"/>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64"/>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64"/>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64"/>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64"/>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64"/>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64"/>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64"/>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64"/>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64"/>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64"/>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64"/>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64"/>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64"/>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64"/>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64"/>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64"/>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64"/>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64"/>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64"/>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64"/>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35" name="Google Shape;2335;p64"/>
          <p:cNvGrpSpPr/>
          <p:nvPr/>
        </p:nvGrpSpPr>
        <p:grpSpPr>
          <a:xfrm>
            <a:off x="5130019" y="2346894"/>
            <a:ext cx="483304" cy="504902"/>
            <a:chOff x="1825800" y="1651625"/>
            <a:chExt cx="568125" cy="591775"/>
          </a:xfrm>
        </p:grpSpPr>
        <p:sp>
          <p:nvSpPr>
            <p:cNvPr id="2336" name="Google Shape;2336;p64"/>
            <p:cNvSpPr/>
            <p:nvPr/>
          </p:nvSpPr>
          <p:spPr>
            <a:xfrm>
              <a:off x="1898925" y="1777225"/>
              <a:ext cx="370875" cy="370500"/>
            </a:xfrm>
            <a:custGeom>
              <a:avLst/>
              <a:gdLst/>
              <a:ahLst/>
              <a:cxnLst/>
              <a:rect l="l" t="t" r="r" b="b"/>
              <a:pathLst>
                <a:path w="14835" h="14820" extrusionOk="0">
                  <a:moveTo>
                    <a:pt x="7417" y="0"/>
                  </a:moveTo>
                  <a:cubicBezTo>
                    <a:pt x="3338" y="0"/>
                    <a:pt x="23" y="3300"/>
                    <a:pt x="9" y="7382"/>
                  </a:cubicBezTo>
                  <a:cubicBezTo>
                    <a:pt x="1" y="9347"/>
                    <a:pt x="774" y="11235"/>
                    <a:pt x="2160" y="12630"/>
                  </a:cubicBezTo>
                  <a:cubicBezTo>
                    <a:pt x="3543" y="14025"/>
                    <a:pt x="5425" y="14811"/>
                    <a:pt x="7391" y="14819"/>
                  </a:cubicBezTo>
                  <a:cubicBezTo>
                    <a:pt x="7399" y="14819"/>
                    <a:pt x="7407" y="14819"/>
                    <a:pt x="7415" y="14819"/>
                  </a:cubicBezTo>
                  <a:cubicBezTo>
                    <a:pt x="9371" y="14819"/>
                    <a:pt x="11248" y="14046"/>
                    <a:pt x="12637" y="12668"/>
                  </a:cubicBezTo>
                  <a:cubicBezTo>
                    <a:pt x="14032" y="11283"/>
                    <a:pt x="14820" y="9402"/>
                    <a:pt x="14826" y="7437"/>
                  </a:cubicBezTo>
                  <a:cubicBezTo>
                    <a:pt x="14834" y="5472"/>
                    <a:pt x="14061" y="3584"/>
                    <a:pt x="12675" y="2189"/>
                  </a:cubicBezTo>
                  <a:cubicBezTo>
                    <a:pt x="11292" y="795"/>
                    <a:pt x="9410" y="8"/>
                    <a:pt x="7444" y="0"/>
                  </a:cubicBezTo>
                  <a:cubicBezTo>
                    <a:pt x="7435" y="0"/>
                    <a:pt x="7426" y="0"/>
                    <a:pt x="741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64"/>
            <p:cNvSpPr/>
            <p:nvPr/>
          </p:nvSpPr>
          <p:spPr>
            <a:xfrm>
              <a:off x="2121325"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64"/>
            <p:cNvSpPr/>
            <p:nvPr/>
          </p:nvSpPr>
          <p:spPr>
            <a:xfrm>
              <a:off x="1825800" y="198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64"/>
            <p:cNvSpPr/>
            <p:nvPr/>
          </p:nvSpPr>
          <p:spPr>
            <a:xfrm>
              <a:off x="2121325" y="198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64"/>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64"/>
            <p:cNvSpPr/>
            <p:nvPr/>
          </p:nvSpPr>
          <p:spPr>
            <a:xfrm>
              <a:off x="1956875" y="1835225"/>
              <a:ext cx="254975" cy="254475"/>
            </a:xfrm>
            <a:custGeom>
              <a:avLst/>
              <a:gdLst/>
              <a:ahLst/>
              <a:cxnLst/>
              <a:rect l="l" t="t" r="r" b="b"/>
              <a:pathLst>
                <a:path w="10199" h="10179" extrusionOk="0">
                  <a:moveTo>
                    <a:pt x="5097" y="1"/>
                  </a:moveTo>
                  <a:cubicBezTo>
                    <a:pt x="2296" y="1"/>
                    <a:pt x="21" y="2267"/>
                    <a:pt x="10" y="5070"/>
                  </a:cubicBezTo>
                  <a:cubicBezTo>
                    <a:pt x="0" y="7882"/>
                    <a:pt x="2271" y="10169"/>
                    <a:pt x="5081" y="10179"/>
                  </a:cubicBezTo>
                  <a:cubicBezTo>
                    <a:pt x="5088" y="10179"/>
                    <a:pt x="5095" y="10179"/>
                    <a:pt x="5102" y="10179"/>
                  </a:cubicBezTo>
                  <a:cubicBezTo>
                    <a:pt x="7903" y="10179"/>
                    <a:pt x="10178" y="7912"/>
                    <a:pt x="10189" y="5109"/>
                  </a:cubicBezTo>
                  <a:cubicBezTo>
                    <a:pt x="10199" y="2297"/>
                    <a:pt x="7928" y="10"/>
                    <a:pt x="5118" y="1"/>
                  </a:cubicBezTo>
                  <a:cubicBezTo>
                    <a:pt x="5111" y="1"/>
                    <a:pt x="5104" y="1"/>
                    <a:pt x="5097" y="1"/>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42" name="Google Shape;2342;p64"/>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64"/>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64"/>
          <p:cNvSpPr/>
          <p:nvPr/>
        </p:nvSpPr>
        <p:spPr>
          <a:xfrm>
            <a:off x="7165978"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64"/>
          <p:cNvSpPr/>
          <p:nvPr/>
        </p:nvSpPr>
        <p:spPr>
          <a:xfrm flipH="1">
            <a:off x="7473344"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349"/>
        <p:cNvGrpSpPr/>
        <p:nvPr/>
      </p:nvGrpSpPr>
      <p:grpSpPr>
        <a:xfrm>
          <a:off x="0" y="0"/>
          <a:ext cx="0" cy="0"/>
          <a:chOff x="0" y="0"/>
          <a:chExt cx="0" cy="0"/>
        </a:xfrm>
      </p:grpSpPr>
      <p:grpSp>
        <p:nvGrpSpPr>
          <p:cNvPr id="2350" name="Google Shape;2350;p65"/>
          <p:cNvGrpSpPr/>
          <p:nvPr/>
        </p:nvGrpSpPr>
        <p:grpSpPr>
          <a:xfrm>
            <a:off x="722058" y="957091"/>
            <a:ext cx="2492868" cy="1379876"/>
            <a:chOff x="2654821" y="2311071"/>
            <a:chExt cx="2279715" cy="1262120"/>
          </a:xfrm>
        </p:grpSpPr>
        <p:grpSp>
          <p:nvGrpSpPr>
            <p:cNvPr id="2351" name="Google Shape;2351;p65"/>
            <p:cNvGrpSpPr/>
            <p:nvPr/>
          </p:nvGrpSpPr>
          <p:grpSpPr>
            <a:xfrm>
              <a:off x="4034269" y="2840745"/>
              <a:ext cx="40212" cy="36437"/>
              <a:chOff x="4293400" y="2574725"/>
              <a:chExt cx="84425" cy="80100"/>
            </a:xfrm>
          </p:grpSpPr>
          <p:sp>
            <p:nvSpPr>
              <p:cNvPr id="2352" name="Google Shape;2352;p65"/>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txBody>
              <a:bodyPr/>
              <a:lstStyle/>
              <a:p>
                <a:endParaRPr lang="en-AT"/>
              </a:p>
            </p:txBody>
          </p:sp>
          <p:sp>
            <p:nvSpPr>
              <p:cNvPr id="2353" name="Google Shape;2353;p65"/>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4" name="Google Shape;2354;p65"/>
            <p:cNvGrpSpPr/>
            <p:nvPr/>
          </p:nvGrpSpPr>
          <p:grpSpPr>
            <a:xfrm>
              <a:off x="3894606" y="2334874"/>
              <a:ext cx="913198" cy="518984"/>
              <a:chOff x="4000175" y="1462675"/>
              <a:chExt cx="1917275" cy="1140875"/>
            </a:xfrm>
          </p:grpSpPr>
          <p:sp>
            <p:nvSpPr>
              <p:cNvPr id="2355" name="Google Shape;2355;p65"/>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txBody>
              <a:bodyPr/>
              <a:lstStyle/>
              <a:p>
                <a:endParaRPr lang="en-AT"/>
              </a:p>
            </p:txBody>
          </p:sp>
          <p:grpSp>
            <p:nvGrpSpPr>
              <p:cNvPr id="2356" name="Google Shape;2356;p65"/>
              <p:cNvGrpSpPr/>
              <p:nvPr/>
            </p:nvGrpSpPr>
            <p:grpSpPr>
              <a:xfrm>
                <a:off x="4000175" y="1462675"/>
                <a:ext cx="1917275" cy="1140875"/>
                <a:chOff x="4000175" y="1462675"/>
                <a:chExt cx="1917275" cy="1140875"/>
              </a:xfrm>
            </p:grpSpPr>
            <p:sp>
              <p:nvSpPr>
                <p:cNvPr id="2357" name="Google Shape;2357;p65"/>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txBody>
                <a:bodyPr/>
                <a:lstStyle/>
                <a:p>
                  <a:endParaRPr lang="en-AT"/>
                </a:p>
              </p:txBody>
            </p:sp>
            <p:sp>
              <p:nvSpPr>
                <p:cNvPr id="2358" name="Google Shape;2358;p65"/>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65"/>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65"/>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65"/>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362" name="Google Shape;2362;p65"/>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63" name="Google Shape;2363;p65"/>
            <p:cNvGrpSpPr/>
            <p:nvPr/>
          </p:nvGrpSpPr>
          <p:grpSpPr>
            <a:xfrm>
              <a:off x="3875768" y="2846704"/>
              <a:ext cx="44796" cy="47366"/>
              <a:chOff x="3960625" y="2587825"/>
              <a:chExt cx="94050" cy="104125"/>
            </a:xfrm>
          </p:grpSpPr>
          <p:sp>
            <p:nvSpPr>
              <p:cNvPr id="2364" name="Google Shape;2364;p65"/>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txBody>
              <a:bodyPr/>
              <a:lstStyle/>
              <a:p>
                <a:endParaRPr lang="en-AT"/>
              </a:p>
            </p:txBody>
          </p:sp>
          <p:sp>
            <p:nvSpPr>
              <p:cNvPr id="2365" name="Google Shape;2365;p65"/>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66" name="Google Shape;2366;p65"/>
            <p:cNvGrpSpPr/>
            <p:nvPr/>
          </p:nvGrpSpPr>
          <p:grpSpPr>
            <a:xfrm>
              <a:off x="3782759" y="2807162"/>
              <a:ext cx="82686" cy="85487"/>
              <a:chOff x="3765350" y="2500900"/>
              <a:chExt cx="173600" cy="187925"/>
            </a:xfrm>
          </p:grpSpPr>
          <p:sp>
            <p:nvSpPr>
              <p:cNvPr id="2367" name="Google Shape;2367;p65"/>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txBody>
              <a:bodyPr/>
              <a:lstStyle/>
              <a:p>
                <a:endParaRPr lang="en-AT"/>
              </a:p>
            </p:txBody>
          </p:sp>
          <p:sp>
            <p:nvSpPr>
              <p:cNvPr id="2368" name="Google Shape;2368;p65"/>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65"/>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65"/>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65"/>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65"/>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3" name="Google Shape;2373;p65"/>
            <p:cNvGrpSpPr/>
            <p:nvPr/>
          </p:nvGrpSpPr>
          <p:grpSpPr>
            <a:xfrm>
              <a:off x="3775674" y="2798496"/>
              <a:ext cx="40545" cy="23564"/>
              <a:chOff x="3750475" y="2481850"/>
              <a:chExt cx="85125" cy="51800"/>
            </a:xfrm>
          </p:grpSpPr>
          <p:sp>
            <p:nvSpPr>
              <p:cNvPr id="2374" name="Google Shape;2374;p65"/>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65"/>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txBody>
              <a:bodyPr/>
              <a:lstStyle/>
              <a:p>
                <a:endParaRPr lang="en-AT"/>
              </a:p>
            </p:txBody>
          </p:sp>
        </p:grpSp>
        <p:grpSp>
          <p:nvGrpSpPr>
            <p:cNvPr id="2376" name="Google Shape;2376;p65"/>
            <p:cNvGrpSpPr/>
            <p:nvPr/>
          </p:nvGrpSpPr>
          <p:grpSpPr>
            <a:xfrm>
              <a:off x="3716946" y="2776024"/>
              <a:ext cx="81971" cy="76912"/>
              <a:chOff x="3627175" y="2432450"/>
              <a:chExt cx="172100" cy="169075"/>
            </a:xfrm>
          </p:grpSpPr>
          <p:sp>
            <p:nvSpPr>
              <p:cNvPr id="2377" name="Google Shape;2377;p65"/>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65"/>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txBody>
              <a:bodyPr/>
              <a:lstStyle/>
              <a:p>
                <a:endParaRPr lang="en-AT"/>
              </a:p>
            </p:txBody>
          </p:sp>
          <p:sp>
            <p:nvSpPr>
              <p:cNvPr id="2379" name="Google Shape;2379;p65"/>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txBody>
              <a:bodyPr/>
              <a:lstStyle/>
              <a:p>
                <a:endParaRPr lang="en-AT"/>
              </a:p>
            </p:txBody>
          </p:sp>
        </p:grpSp>
        <p:grpSp>
          <p:nvGrpSpPr>
            <p:cNvPr id="2380" name="Google Shape;2380;p65"/>
            <p:cNvGrpSpPr/>
            <p:nvPr/>
          </p:nvGrpSpPr>
          <p:grpSpPr>
            <a:xfrm>
              <a:off x="3685682" y="2845624"/>
              <a:ext cx="29311" cy="45055"/>
              <a:chOff x="3561536" y="2585450"/>
              <a:chExt cx="61539" cy="99045"/>
            </a:xfrm>
          </p:grpSpPr>
          <p:sp>
            <p:nvSpPr>
              <p:cNvPr id="2381" name="Google Shape;2381;p65"/>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65"/>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txBody>
              <a:bodyPr/>
              <a:lstStyle/>
              <a:p>
                <a:endParaRPr lang="en-AT"/>
              </a:p>
            </p:txBody>
          </p:sp>
        </p:grpSp>
        <p:grpSp>
          <p:nvGrpSpPr>
            <p:cNvPr id="2383" name="Google Shape;2383;p65"/>
            <p:cNvGrpSpPr/>
            <p:nvPr/>
          </p:nvGrpSpPr>
          <p:grpSpPr>
            <a:xfrm>
              <a:off x="3849905" y="2572252"/>
              <a:ext cx="74339" cy="119559"/>
              <a:chOff x="3906325" y="1984500"/>
              <a:chExt cx="156075" cy="262825"/>
            </a:xfrm>
          </p:grpSpPr>
          <p:sp>
            <p:nvSpPr>
              <p:cNvPr id="2384" name="Google Shape;2384;p65"/>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txBody>
              <a:bodyPr/>
              <a:lstStyle/>
              <a:p>
                <a:endParaRPr lang="en-AT"/>
              </a:p>
            </p:txBody>
          </p:sp>
          <p:sp>
            <p:nvSpPr>
              <p:cNvPr id="2385" name="Google Shape;2385;p65"/>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6" name="Google Shape;2386;p65"/>
            <p:cNvGrpSpPr/>
            <p:nvPr/>
          </p:nvGrpSpPr>
          <p:grpSpPr>
            <a:xfrm>
              <a:off x="2654821" y="2414345"/>
              <a:ext cx="667570" cy="558731"/>
              <a:chOff x="1397225" y="1637375"/>
              <a:chExt cx="1401575" cy="1228250"/>
            </a:xfrm>
          </p:grpSpPr>
          <p:sp>
            <p:nvSpPr>
              <p:cNvPr id="2387" name="Google Shape;2387;p65"/>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txBody>
              <a:bodyPr/>
              <a:lstStyle/>
              <a:p>
                <a:endParaRPr lang="en-AT"/>
              </a:p>
            </p:txBody>
          </p:sp>
          <p:grpSp>
            <p:nvGrpSpPr>
              <p:cNvPr id="2388" name="Google Shape;2388;p65"/>
              <p:cNvGrpSpPr/>
              <p:nvPr/>
            </p:nvGrpSpPr>
            <p:grpSpPr>
              <a:xfrm>
                <a:off x="1397225" y="1637375"/>
                <a:ext cx="1398775" cy="1228250"/>
                <a:chOff x="1397225" y="1637375"/>
                <a:chExt cx="1398775" cy="1228250"/>
              </a:xfrm>
            </p:grpSpPr>
            <p:sp>
              <p:nvSpPr>
                <p:cNvPr id="2389" name="Google Shape;2389;p65"/>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65"/>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91" name="Google Shape;2391;p65"/>
            <p:cNvGrpSpPr/>
            <p:nvPr/>
          </p:nvGrpSpPr>
          <p:grpSpPr>
            <a:xfrm>
              <a:off x="3230417" y="3103734"/>
              <a:ext cx="282982" cy="280332"/>
              <a:chOff x="2605700" y="3152850"/>
              <a:chExt cx="594125" cy="616250"/>
            </a:xfrm>
          </p:grpSpPr>
          <p:sp>
            <p:nvSpPr>
              <p:cNvPr id="2392" name="Google Shape;2392;p65"/>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txBody>
              <a:bodyPr/>
              <a:lstStyle/>
              <a:p>
                <a:endParaRPr lang="en-AT"/>
              </a:p>
            </p:txBody>
          </p:sp>
          <p:sp>
            <p:nvSpPr>
              <p:cNvPr id="2393" name="Google Shape;2393;p65"/>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2394" name="Google Shape;2394;p65"/>
            <p:cNvGrpSpPr/>
            <p:nvPr/>
          </p:nvGrpSpPr>
          <p:grpSpPr>
            <a:xfrm>
              <a:off x="3265985" y="3226989"/>
              <a:ext cx="87151" cy="346202"/>
              <a:chOff x="2680375" y="3423800"/>
              <a:chExt cx="182975" cy="761050"/>
            </a:xfrm>
          </p:grpSpPr>
          <p:sp>
            <p:nvSpPr>
              <p:cNvPr id="2395" name="Google Shape;2395;p65"/>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txBody>
              <a:bodyPr/>
              <a:lstStyle/>
              <a:p>
                <a:endParaRPr lang="en-AT"/>
              </a:p>
            </p:txBody>
          </p:sp>
          <p:sp>
            <p:nvSpPr>
              <p:cNvPr id="2396" name="Google Shape;2396;p65"/>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7" name="Google Shape;2397;p65"/>
            <p:cNvGrpSpPr/>
            <p:nvPr/>
          </p:nvGrpSpPr>
          <p:grpSpPr>
            <a:xfrm>
              <a:off x="3855466" y="3289811"/>
              <a:ext cx="112514" cy="94210"/>
              <a:chOff x="3918000" y="3561900"/>
              <a:chExt cx="236225" cy="207100"/>
            </a:xfrm>
          </p:grpSpPr>
          <p:sp>
            <p:nvSpPr>
              <p:cNvPr id="2398" name="Google Shape;2398;p65"/>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txBody>
              <a:bodyPr/>
              <a:lstStyle/>
              <a:p>
                <a:endParaRPr lang="en-AT"/>
              </a:p>
            </p:txBody>
          </p:sp>
          <p:sp>
            <p:nvSpPr>
              <p:cNvPr id="2399" name="Google Shape;2399;p65"/>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00" name="Google Shape;2400;p65"/>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65"/>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65"/>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2403" name="Google Shape;2403;p65"/>
            <p:cNvGrpSpPr/>
            <p:nvPr/>
          </p:nvGrpSpPr>
          <p:grpSpPr>
            <a:xfrm>
              <a:off x="2905224" y="2311071"/>
              <a:ext cx="596721" cy="528992"/>
              <a:chOff x="1922950" y="1410350"/>
              <a:chExt cx="1252825" cy="1162875"/>
            </a:xfrm>
          </p:grpSpPr>
          <p:sp>
            <p:nvSpPr>
              <p:cNvPr id="2404" name="Google Shape;2404;p65"/>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65"/>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65"/>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65"/>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65"/>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65"/>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65"/>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65"/>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65"/>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65"/>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65"/>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65"/>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65"/>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65"/>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65"/>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65"/>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2420" name="Google Shape;2420;p65"/>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65"/>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65"/>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65"/>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65"/>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65"/>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65"/>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65"/>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65"/>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65"/>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65"/>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65"/>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65"/>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65"/>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65"/>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65"/>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65"/>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65"/>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65"/>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65"/>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440" name="Google Shape;2440;p65"/>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41" name="Google Shape;2441;p65"/>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2" name="Google Shape;2442;p65"/>
            <p:cNvGrpSpPr/>
            <p:nvPr/>
          </p:nvGrpSpPr>
          <p:grpSpPr>
            <a:xfrm>
              <a:off x="3280929" y="3294542"/>
              <a:ext cx="109894" cy="272224"/>
              <a:chOff x="2711750" y="3572300"/>
              <a:chExt cx="230725" cy="598425"/>
            </a:xfrm>
          </p:grpSpPr>
          <p:sp>
            <p:nvSpPr>
              <p:cNvPr id="2443" name="Google Shape;2443;p65"/>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65"/>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45" name="Google Shape;2445;p65"/>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6" name="Google Shape;2446;p65"/>
            <p:cNvGrpSpPr/>
            <p:nvPr/>
          </p:nvGrpSpPr>
          <p:grpSpPr>
            <a:xfrm>
              <a:off x="3790439" y="2408636"/>
              <a:ext cx="73017" cy="75684"/>
              <a:chOff x="3781475" y="1624825"/>
              <a:chExt cx="153300" cy="166375"/>
            </a:xfrm>
          </p:grpSpPr>
          <p:sp>
            <p:nvSpPr>
              <p:cNvPr id="2447" name="Google Shape;2447;p65"/>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65"/>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65"/>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65"/>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51" name="Google Shape;2451;p65"/>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65"/>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65"/>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65"/>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65"/>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65"/>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65"/>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58" name="Google Shape;2458;p65"/>
            <p:cNvGrpSpPr/>
            <p:nvPr/>
          </p:nvGrpSpPr>
          <p:grpSpPr>
            <a:xfrm>
              <a:off x="4403342" y="3107749"/>
              <a:ext cx="316680" cy="101374"/>
              <a:chOff x="5068275" y="3161675"/>
              <a:chExt cx="664875" cy="222850"/>
            </a:xfrm>
          </p:grpSpPr>
          <p:sp>
            <p:nvSpPr>
              <p:cNvPr id="2459" name="Google Shape;2459;p65"/>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65"/>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65"/>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65"/>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63" name="Google Shape;2463;p65"/>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65"/>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65"/>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65"/>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65"/>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65"/>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65"/>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65"/>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65"/>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65"/>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65"/>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65"/>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65"/>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65"/>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65"/>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65"/>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65"/>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65"/>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65"/>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65"/>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65"/>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65"/>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65"/>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65"/>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65"/>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65"/>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65"/>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65"/>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65"/>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2" name="Google Shape;2492;p65"/>
            <p:cNvGrpSpPr/>
            <p:nvPr/>
          </p:nvGrpSpPr>
          <p:grpSpPr>
            <a:xfrm>
              <a:off x="3697513" y="2707266"/>
              <a:ext cx="59549" cy="79733"/>
              <a:chOff x="3586375" y="2281300"/>
              <a:chExt cx="125025" cy="175275"/>
            </a:xfrm>
          </p:grpSpPr>
          <p:sp>
            <p:nvSpPr>
              <p:cNvPr id="2493" name="Google Shape;2493;p65"/>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65"/>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95" name="Google Shape;2495;p65"/>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6" name="Google Shape;2496;p65"/>
            <p:cNvGrpSpPr/>
            <p:nvPr/>
          </p:nvGrpSpPr>
          <p:grpSpPr>
            <a:xfrm>
              <a:off x="4513224" y="3221724"/>
              <a:ext cx="274563" cy="280321"/>
              <a:chOff x="5298975" y="3412225"/>
              <a:chExt cx="576450" cy="616225"/>
            </a:xfrm>
          </p:grpSpPr>
          <p:sp>
            <p:nvSpPr>
              <p:cNvPr id="2497" name="Google Shape;2497;p65"/>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98" name="Google Shape;2498;p65"/>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99" name="Google Shape;2499;p65"/>
            <p:cNvGrpSpPr/>
            <p:nvPr/>
          </p:nvGrpSpPr>
          <p:grpSpPr>
            <a:xfrm>
              <a:off x="4824403" y="3421846"/>
              <a:ext cx="110132" cy="130647"/>
              <a:chOff x="5952300" y="3852150"/>
              <a:chExt cx="231225" cy="287200"/>
            </a:xfrm>
          </p:grpSpPr>
          <p:sp>
            <p:nvSpPr>
              <p:cNvPr id="2500" name="Google Shape;2500;p65"/>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65"/>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02" name="Google Shape;2502;p65"/>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65"/>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65"/>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65"/>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65"/>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65"/>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65"/>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65"/>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10" name="Google Shape;2510;p65"/>
            <p:cNvGrpSpPr/>
            <p:nvPr/>
          </p:nvGrpSpPr>
          <p:grpSpPr>
            <a:xfrm>
              <a:off x="4295710" y="3079670"/>
              <a:ext cx="14968" cy="27135"/>
              <a:chOff x="4842300" y="3099950"/>
              <a:chExt cx="31425" cy="59650"/>
            </a:xfrm>
          </p:grpSpPr>
          <p:sp>
            <p:nvSpPr>
              <p:cNvPr id="2511" name="Google Shape;2511;p65"/>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65"/>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65"/>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65"/>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15" name="Google Shape;2515;p65"/>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65"/>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65"/>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65"/>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65"/>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65"/>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65"/>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65"/>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23" name="Google Shape;2523;p65"/>
            <p:cNvGrpSpPr/>
            <p:nvPr/>
          </p:nvGrpSpPr>
          <p:grpSpPr>
            <a:xfrm>
              <a:off x="3831056" y="2816010"/>
              <a:ext cx="37378" cy="27612"/>
              <a:chOff x="3866750" y="2520350"/>
              <a:chExt cx="78475" cy="60700"/>
            </a:xfrm>
          </p:grpSpPr>
          <p:sp>
            <p:nvSpPr>
              <p:cNvPr id="2524" name="Google Shape;2524;p65"/>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65"/>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65"/>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65"/>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28" name="Google Shape;2528;p65"/>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65"/>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65"/>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65"/>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65"/>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65"/>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65"/>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65"/>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65"/>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65"/>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65"/>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65"/>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65"/>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65"/>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65"/>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65"/>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65"/>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45" name="Google Shape;2545;p65"/>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65"/>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65"/>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65"/>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65"/>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65"/>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65"/>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65"/>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65"/>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65"/>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65"/>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65"/>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57" name="Google Shape;2557;p65"/>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65"/>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65"/>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65"/>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65"/>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65"/>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65"/>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65"/>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65"/>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65"/>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65"/>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65"/>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65"/>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70" name="Google Shape;2570;p65"/>
            <p:cNvGrpSpPr/>
            <p:nvPr/>
          </p:nvGrpSpPr>
          <p:grpSpPr>
            <a:xfrm>
              <a:off x="3632736" y="3051591"/>
              <a:ext cx="63288" cy="45217"/>
              <a:chOff x="3450375" y="3038225"/>
              <a:chExt cx="132875" cy="99400"/>
            </a:xfrm>
          </p:grpSpPr>
          <p:sp>
            <p:nvSpPr>
              <p:cNvPr id="2571" name="Google Shape;2571;p65"/>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65"/>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73" name="Google Shape;2573;p65"/>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65"/>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65"/>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65"/>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65"/>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65"/>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65"/>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65"/>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65"/>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82" name="Google Shape;2582;p65"/>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65"/>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65"/>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65"/>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65"/>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65"/>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65"/>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65"/>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65"/>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65"/>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92" name="Google Shape;2592;p65"/>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65"/>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65"/>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65"/>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65"/>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65"/>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98" name="Google Shape;2598;p65"/>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65"/>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65"/>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65"/>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65"/>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65"/>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65"/>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65"/>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08" name="Google Shape;2608;p65"/>
          <p:cNvGrpSpPr/>
          <p:nvPr/>
        </p:nvGrpSpPr>
        <p:grpSpPr>
          <a:xfrm>
            <a:off x="719115" y="2852867"/>
            <a:ext cx="2622876" cy="1333540"/>
            <a:chOff x="238125" y="1038125"/>
            <a:chExt cx="7146800" cy="3633625"/>
          </a:xfrm>
        </p:grpSpPr>
        <p:sp>
          <p:nvSpPr>
            <p:cNvPr id="2609" name="Google Shape;2609;p65"/>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65"/>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65"/>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65"/>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65"/>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65"/>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65"/>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65"/>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65"/>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65"/>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65"/>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65"/>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65"/>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65"/>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65"/>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65"/>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65"/>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65"/>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65"/>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65"/>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65"/>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65"/>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65"/>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65"/>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65"/>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65"/>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65"/>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65"/>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65"/>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65"/>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65"/>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65"/>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65"/>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65"/>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65"/>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65"/>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65"/>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65"/>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65"/>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65"/>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65"/>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65"/>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65"/>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65"/>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65"/>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65"/>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65"/>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65"/>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65"/>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65"/>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65"/>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65"/>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65"/>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65"/>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65"/>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65"/>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65"/>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65"/>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65"/>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65"/>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65"/>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65"/>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65"/>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65"/>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65"/>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65"/>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65"/>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65"/>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65"/>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65"/>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65"/>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65"/>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65"/>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65"/>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65"/>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65"/>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65"/>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65"/>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65"/>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65"/>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65"/>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65"/>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65"/>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65"/>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65"/>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65"/>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65"/>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65"/>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65"/>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65"/>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65"/>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65"/>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65"/>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65"/>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65"/>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65"/>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65"/>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65"/>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65"/>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65"/>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65"/>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65"/>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65"/>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65"/>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65"/>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65"/>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65"/>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65"/>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65"/>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65"/>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65"/>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65"/>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65"/>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65"/>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65"/>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65"/>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65"/>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65"/>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65"/>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65"/>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65"/>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65"/>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65"/>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65"/>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65"/>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65"/>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65"/>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65"/>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65"/>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65"/>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65"/>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65"/>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65"/>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65"/>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65"/>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65"/>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65"/>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65"/>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65"/>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65"/>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65"/>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65"/>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65"/>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65"/>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65"/>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65"/>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65"/>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65"/>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65"/>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65"/>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65"/>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65"/>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65"/>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65"/>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65"/>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65"/>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65"/>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65"/>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65"/>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65"/>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65"/>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65"/>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65"/>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65"/>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65"/>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65"/>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65"/>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65"/>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65"/>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65"/>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65"/>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65"/>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65"/>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65"/>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65"/>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65"/>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65"/>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65"/>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65"/>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65"/>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65"/>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65"/>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65"/>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65"/>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65"/>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65"/>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65"/>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65"/>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65"/>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65"/>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65"/>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65"/>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65"/>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65"/>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65"/>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65"/>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65"/>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65"/>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65"/>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65"/>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65"/>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65"/>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65"/>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65"/>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65"/>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65"/>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65"/>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65"/>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65"/>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65"/>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65"/>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65"/>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65"/>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65"/>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65"/>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65"/>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65"/>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65"/>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65"/>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65"/>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65"/>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65"/>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65"/>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65"/>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65"/>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65"/>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65"/>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65"/>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65"/>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65"/>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65"/>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65"/>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65"/>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65"/>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65"/>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65"/>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65"/>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65"/>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65"/>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65"/>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65"/>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65"/>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65"/>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65"/>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65"/>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65"/>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65"/>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65"/>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65"/>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65"/>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65"/>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65"/>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65"/>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65"/>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65"/>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65"/>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65"/>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65"/>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65"/>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65"/>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65"/>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65"/>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65"/>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65"/>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65"/>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65"/>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65"/>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65"/>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65"/>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65"/>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65"/>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65"/>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65"/>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65"/>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65"/>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65"/>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65"/>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65"/>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65"/>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65"/>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65"/>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65"/>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65"/>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65"/>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65"/>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65"/>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65"/>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65"/>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65"/>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65"/>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65"/>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65"/>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65"/>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65"/>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65"/>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65"/>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65"/>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65"/>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65"/>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65"/>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65"/>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65"/>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65"/>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65"/>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65"/>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65"/>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65"/>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65"/>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65"/>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65"/>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65"/>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65"/>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65"/>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65"/>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65"/>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65"/>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65"/>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65"/>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65"/>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65"/>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65"/>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65"/>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65"/>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65"/>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65"/>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65"/>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65"/>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65"/>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65"/>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65"/>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65"/>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65"/>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65"/>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65"/>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65"/>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65"/>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65"/>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65"/>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65"/>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65"/>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65"/>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65"/>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65"/>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65"/>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65"/>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65"/>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65"/>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65"/>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65"/>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65"/>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65"/>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65"/>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65"/>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65"/>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65"/>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65"/>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65"/>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65"/>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65"/>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65"/>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65"/>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65"/>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65"/>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65"/>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65"/>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65"/>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65"/>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65"/>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65"/>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65"/>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65"/>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65"/>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65"/>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65"/>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65"/>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65"/>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65"/>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65"/>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65"/>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65"/>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65"/>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65"/>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65"/>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65"/>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65"/>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65"/>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65"/>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65"/>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65"/>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65"/>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65"/>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65"/>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65"/>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65"/>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65"/>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65"/>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65"/>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65"/>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65"/>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65"/>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65"/>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65"/>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65"/>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65"/>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65"/>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65"/>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65"/>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65"/>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65"/>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65"/>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65"/>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65"/>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65"/>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65"/>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65"/>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65"/>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65"/>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65"/>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65"/>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65"/>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65"/>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65"/>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65"/>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65"/>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65"/>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65"/>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65"/>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65"/>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65"/>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65"/>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65"/>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65"/>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65"/>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65"/>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65"/>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65"/>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65"/>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65"/>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65"/>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65"/>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65"/>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65"/>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65"/>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65"/>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65"/>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65"/>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65"/>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65"/>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65"/>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65"/>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65"/>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65"/>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65"/>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65"/>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65"/>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65"/>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65"/>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65"/>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65"/>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65"/>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65"/>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65"/>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65"/>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65"/>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65"/>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65"/>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65"/>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65"/>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65"/>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65"/>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65"/>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65"/>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65"/>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65"/>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65"/>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65"/>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65"/>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65"/>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65"/>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65"/>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65"/>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65"/>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65"/>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65"/>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65"/>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65"/>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65"/>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65"/>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65"/>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65"/>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65"/>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65"/>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65"/>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65"/>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65"/>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65"/>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65"/>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65"/>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65"/>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65"/>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65"/>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65"/>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65"/>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65"/>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65"/>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65"/>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65"/>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65"/>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65"/>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65"/>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65"/>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65"/>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65"/>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65"/>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65"/>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65"/>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65"/>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65"/>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65"/>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65"/>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65"/>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65"/>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65"/>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65"/>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65"/>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65"/>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65"/>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65"/>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65"/>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65"/>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65"/>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65"/>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65"/>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65"/>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65"/>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65"/>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65"/>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65"/>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65"/>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65"/>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65"/>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65"/>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65"/>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65"/>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65"/>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65"/>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65"/>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65"/>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65"/>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65"/>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65"/>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65"/>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65"/>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65"/>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65"/>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65"/>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65"/>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65"/>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65"/>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65"/>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65"/>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65"/>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65"/>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65"/>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65"/>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65"/>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65"/>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65"/>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65"/>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65"/>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65"/>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65"/>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65"/>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65"/>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65"/>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65"/>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65"/>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65"/>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65"/>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65"/>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65"/>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65"/>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65"/>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65"/>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65"/>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65"/>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65"/>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65"/>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65"/>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65"/>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65"/>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65"/>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65"/>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65"/>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65"/>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65"/>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65"/>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65"/>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65"/>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65"/>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65"/>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65"/>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65"/>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65"/>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65"/>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65"/>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65"/>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65"/>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65"/>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65"/>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65"/>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65"/>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65"/>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65"/>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65"/>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65"/>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65"/>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65"/>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65"/>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65"/>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65"/>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65"/>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65"/>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65"/>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65"/>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65"/>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65"/>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65"/>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65"/>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65"/>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65"/>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65"/>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65"/>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65"/>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65"/>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65"/>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65"/>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65"/>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65"/>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65"/>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65"/>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65"/>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65"/>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65"/>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65"/>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65"/>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65"/>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65"/>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65"/>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65"/>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65"/>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65"/>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65"/>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65"/>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65"/>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65"/>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65"/>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65"/>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65"/>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65"/>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65"/>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65"/>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65"/>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65"/>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65"/>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65"/>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65"/>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65"/>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65"/>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65"/>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65"/>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65"/>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65"/>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65"/>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65"/>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65"/>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65"/>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65"/>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65"/>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65"/>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65"/>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65"/>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65"/>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65"/>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65"/>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65"/>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65"/>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65"/>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65"/>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65"/>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65"/>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65"/>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65"/>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65"/>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65"/>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65"/>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65"/>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65"/>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65"/>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65"/>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65"/>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65"/>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65"/>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65"/>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65"/>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65"/>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65"/>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65"/>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65"/>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65"/>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65"/>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65"/>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65"/>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65"/>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65"/>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65"/>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65"/>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65"/>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65"/>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65"/>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65"/>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65"/>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65"/>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65"/>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65"/>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65"/>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65"/>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65"/>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65"/>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65"/>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65"/>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65"/>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65"/>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65"/>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65"/>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65"/>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65"/>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65"/>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65"/>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65"/>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65"/>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65"/>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65"/>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65"/>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65"/>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65"/>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65"/>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65"/>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65"/>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65"/>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65"/>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65"/>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65"/>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65"/>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65"/>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65"/>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65"/>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65"/>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65"/>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65"/>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65"/>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65"/>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65"/>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65"/>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65"/>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65"/>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65"/>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65"/>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65"/>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65"/>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65"/>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65"/>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65"/>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65"/>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65"/>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65"/>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65"/>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65"/>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65"/>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65"/>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65"/>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65"/>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65"/>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65"/>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65"/>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65"/>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65"/>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65"/>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65"/>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65"/>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65"/>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65"/>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65"/>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65"/>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65"/>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65"/>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65"/>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65"/>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65"/>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65"/>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65"/>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65"/>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65"/>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65"/>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65"/>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65"/>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65"/>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65"/>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65"/>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65"/>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65"/>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65"/>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65"/>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65"/>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65"/>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65"/>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65"/>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65"/>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65"/>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65"/>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65"/>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65"/>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65"/>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65"/>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65"/>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65"/>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65"/>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65"/>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65"/>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65"/>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65"/>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65"/>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65"/>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65"/>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65"/>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65"/>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65"/>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65"/>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65"/>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65"/>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65"/>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65"/>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65"/>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65"/>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65"/>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65"/>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65"/>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65"/>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65"/>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65"/>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65"/>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65"/>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65"/>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65"/>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65"/>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65"/>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65"/>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65"/>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65"/>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65"/>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65"/>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65"/>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65"/>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65"/>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65"/>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65"/>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65"/>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65"/>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65"/>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65"/>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65"/>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65"/>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65"/>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65"/>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65"/>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65"/>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65"/>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65"/>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65"/>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65"/>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65"/>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65"/>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65"/>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65"/>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65"/>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65"/>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65"/>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65"/>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65"/>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65"/>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65"/>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65"/>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65"/>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65"/>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65"/>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65"/>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65"/>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65"/>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65"/>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65"/>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65"/>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65"/>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65"/>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65"/>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65"/>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65"/>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65"/>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65"/>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65"/>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65"/>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65"/>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65"/>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65"/>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65"/>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65"/>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65"/>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65"/>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65"/>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65"/>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65"/>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65"/>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65"/>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65"/>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65"/>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65"/>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65"/>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65"/>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65"/>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65"/>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65"/>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65"/>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65"/>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65"/>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65"/>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65"/>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65"/>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65"/>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65"/>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65"/>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65"/>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65"/>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65"/>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65"/>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65"/>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65"/>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65"/>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65"/>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65"/>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65"/>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65"/>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65"/>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65"/>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65"/>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65"/>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65"/>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65"/>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65"/>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65"/>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65"/>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65"/>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65"/>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65"/>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65"/>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65"/>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65"/>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65"/>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65"/>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65"/>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65"/>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65"/>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65"/>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65"/>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65"/>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65"/>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65"/>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65"/>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65"/>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65"/>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65"/>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65"/>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65"/>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65"/>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65"/>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65"/>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65"/>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65"/>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65"/>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65"/>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65"/>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65"/>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65"/>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65"/>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65"/>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65"/>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65"/>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65"/>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65"/>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65"/>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65"/>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65"/>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65"/>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65"/>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65"/>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65"/>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65"/>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65"/>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65"/>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65"/>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65"/>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65"/>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65"/>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65"/>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65"/>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65"/>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65"/>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65"/>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65"/>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65"/>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65"/>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65"/>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65"/>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65"/>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65"/>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65"/>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65"/>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65"/>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65"/>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65"/>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65"/>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65"/>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65"/>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65"/>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65"/>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65"/>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65"/>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65"/>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65"/>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65"/>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65"/>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65"/>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65"/>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65"/>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65"/>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65"/>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65"/>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65"/>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65"/>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65"/>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65"/>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65"/>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65"/>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65"/>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65"/>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65"/>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65"/>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65"/>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65"/>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65"/>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65"/>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65"/>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65"/>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65"/>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65"/>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65"/>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65"/>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65"/>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65"/>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65"/>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65"/>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65"/>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65"/>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65"/>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65"/>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65"/>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65"/>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65"/>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65"/>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65"/>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65"/>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65"/>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65"/>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65"/>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65"/>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65"/>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65"/>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65"/>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65"/>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65"/>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65"/>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65"/>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65"/>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65"/>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65"/>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65"/>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65"/>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65"/>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65"/>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65"/>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65"/>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65"/>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65"/>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65"/>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65"/>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65"/>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65"/>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65"/>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65"/>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65"/>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65"/>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65"/>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65"/>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65"/>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65"/>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65"/>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65"/>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65"/>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65"/>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65"/>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65"/>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65"/>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65"/>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65"/>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65"/>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65"/>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65"/>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65"/>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65"/>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65"/>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65"/>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65"/>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65"/>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65"/>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65"/>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65"/>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65"/>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65"/>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65"/>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65"/>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65"/>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65"/>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65"/>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65"/>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65"/>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65"/>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65"/>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65"/>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65"/>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65"/>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65"/>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65"/>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65"/>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65"/>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65"/>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65"/>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65"/>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65"/>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65"/>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65"/>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65"/>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65"/>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65"/>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65"/>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65"/>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65"/>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65"/>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65"/>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65"/>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65"/>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65"/>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65"/>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65"/>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65"/>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65"/>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65"/>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65"/>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65"/>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65"/>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65"/>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65"/>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65"/>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65"/>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65"/>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65"/>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65"/>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65"/>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65"/>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65"/>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65"/>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65"/>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65"/>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65"/>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65"/>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65"/>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65"/>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65"/>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65"/>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65"/>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65"/>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65"/>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65"/>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65"/>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65"/>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65"/>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65"/>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65"/>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65"/>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65"/>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65"/>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65"/>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65"/>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65"/>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65"/>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65"/>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65"/>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65"/>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65"/>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65"/>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65"/>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65"/>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65"/>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65"/>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65"/>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65"/>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65"/>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65"/>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65"/>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65"/>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65"/>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65"/>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65"/>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65"/>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65"/>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65"/>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65"/>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65"/>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65"/>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65"/>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65"/>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65"/>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65"/>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65"/>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65"/>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65"/>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65"/>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65"/>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65"/>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65"/>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65"/>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65"/>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65"/>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65"/>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65"/>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65"/>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65"/>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65"/>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65"/>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65"/>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65"/>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65"/>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65"/>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65"/>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65"/>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65"/>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65"/>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65"/>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65"/>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65"/>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65"/>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65"/>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65"/>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65"/>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65"/>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65"/>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65"/>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65"/>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65"/>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65"/>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65"/>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65"/>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65"/>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65"/>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65"/>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65"/>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65"/>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65"/>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65"/>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65"/>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65"/>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65"/>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65"/>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65"/>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65"/>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65"/>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65"/>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65"/>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65"/>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65"/>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65"/>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65"/>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65"/>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65"/>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65"/>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65"/>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65"/>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65"/>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65"/>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65"/>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65"/>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65"/>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65"/>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65"/>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65"/>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65"/>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65"/>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65"/>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65"/>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65"/>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65"/>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65"/>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65"/>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65"/>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65"/>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65"/>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65"/>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65"/>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65"/>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65"/>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65"/>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65"/>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65"/>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65"/>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65"/>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65"/>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65"/>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65"/>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65"/>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65"/>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65"/>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65"/>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65"/>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65"/>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65"/>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65"/>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65"/>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65"/>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65"/>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65"/>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65"/>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65"/>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65"/>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65"/>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65"/>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65"/>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65"/>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65"/>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65"/>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65"/>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65"/>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65"/>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65"/>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65"/>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65"/>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65"/>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65"/>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65"/>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65"/>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65"/>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65"/>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65"/>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65"/>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65"/>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65"/>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65"/>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65"/>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65"/>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65"/>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65"/>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65"/>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65"/>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65"/>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65"/>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65"/>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65"/>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65"/>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65"/>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65"/>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65"/>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65"/>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65"/>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65"/>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65"/>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65"/>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65"/>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65"/>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65"/>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65"/>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65"/>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65"/>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65"/>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65"/>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65"/>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65"/>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65"/>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65"/>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65"/>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65"/>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65"/>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65"/>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65"/>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65"/>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65"/>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65"/>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65"/>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65"/>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65"/>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65"/>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65"/>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65"/>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65"/>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65"/>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65"/>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65"/>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65"/>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65"/>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65"/>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65"/>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65"/>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65"/>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65"/>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65"/>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65"/>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65"/>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65"/>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65"/>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65"/>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65"/>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65"/>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65"/>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65"/>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65"/>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65"/>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65"/>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65"/>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65"/>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65"/>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65"/>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65"/>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65"/>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65"/>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65"/>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65"/>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65"/>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65"/>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65"/>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65"/>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65"/>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65"/>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65"/>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65"/>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65"/>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65"/>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65"/>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65"/>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65"/>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65"/>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65"/>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65"/>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65"/>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65"/>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65"/>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65"/>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65"/>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65"/>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65"/>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65"/>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65"/>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65"/>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65"/>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65"/>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65"/>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65"/>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65"/>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65"/>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65"/>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65"/>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65"/>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65"/>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65"/>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65"/>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65"/>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65"/>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65"/>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65"/>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65"/>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65"/>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65"/>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65"/>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65"/>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65"/>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65"/>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65"/>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65"/>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65"/>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65"/>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65"/>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65"/>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65"/>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65"/>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65"/>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65"/>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65"/>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65"/>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65"/>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65"/>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65"/>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65"/>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65"/>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65"/>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65"/>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65"/>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65"/>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65"/>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65"/>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65"/>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65"/>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65"/>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65"/>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65"/>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65"/>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65"/>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65"/>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65"/>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65"/>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65"/>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65"/>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65"/>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65"/>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65"/>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65"/>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65"/>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65"/>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65"/>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65"/>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65"/>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65"/>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65"/>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65"/>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65"/>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65"/>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65"/>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65"/>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65"/>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65"/>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65"/>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65"/>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65"/>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65"/>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65"/>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65"/>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65"/>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65"/>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65"/>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65"/>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65"/>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65"/>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65"/>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65"/>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65"/>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65"/>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65"/>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65"/>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65"/>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81" name="Google Shape;4181;p65"/>
          <p:cNvGrpSpPr/>
          <p:nvPr/>
        </p:nvGrpSpPr>
        <p:grpSpPr>
          <a:xfrm>
            <a:off x="5834043" y="994977"/>
            <a:ext cx="2590840" cy="1380235"/>
            <a:chOff x="233350" y="949250"/>
            <a:chExt cx="7137300" cy="3802300"/>
          </a:xfrm>
        </p:grpSpPr>
        <p:sp>
          <p:nvSpPr>
            <p:cNvPr id="4182" name="Google Shape;4182;p65"/>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65"/>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65"/>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65"/>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65"/>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65"/>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65"/>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65"/>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65"/>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65"/>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65"/>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65"/>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65"/>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65"/>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65"/>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65"/>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65"/>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65"/>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65"/>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65"/>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65"/>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65"/>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65"/>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65"/>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65"/>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65"/>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65"/>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65"/>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65"/>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65"/>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65"/>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65"/>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65"/>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65"/>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65"/>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65"/>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65"/>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65"/>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65"/>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65"/>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65"/>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65"/>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65"/>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65"/>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65"/>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65"/>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65"/>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65"/>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65"/>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65"/>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65"/>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3" name="Google Shape;4233;p65"/>
          <p:cNvGrpSpPr/>
          <p:nvPr/>
        </p:nvGrpSpPr>
        <p:grpSpPr>
          <a:xfrm>
            <a:off x="7648472" y="3039750"/>
            <a:ext cx="104231" cy="320340"/>
            <a:chOff x="7564426" y="3224343"/>
            <a:chExt cx="119985" cy="368801"/>
          </a:xfrm>
        </p:grpSpPr>
        <p:sp>
          <p:nvSpPr>
            <p:cNvPr id="4234" name="Google Shape;4234;p65"/>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65"/>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6" name="Google Shape;4236;p65"/>
          <p:cNvGrpSpPr/>
          <p:nvPr/>
        </p:nvGrpSpPr>
        <p:grpSpPr>
          <a:xfrm>
            <a:off x="7347961" y="3033852"/>
            <a:ext cx="189489" cy="332132"/>
            <a:chOff x="8370831" y="3202002"/>
            <a:chExt cx="218129" cy="382376"/>
          </a:xfrm>
        </p:grpSpPr>
        <p:sp>
          <p:nvSpPr>
            <p:cNvPr id="4237" name="Google Shape;4237;p65"/>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solidFill>
              <a:srgbClr val="92A9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65"/>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9" name="Google Shape;4239;p65"/>
          <p:cNvGrpSpPr/>
          <p:nvPr/>
        </p:nvGrpSpPr>
        <p:grpSpPr>
          <a:xfrm>
            <a:off x="8071350" y="3444984"/>
            <a:ext cx="309429" cy="267000"/>
            <a:chOff x="6742064" y="3750480"/>
            <a:chExt cx="399315" cy="344560"/>
          </a:xfrm>
        </p:grpSpPr>
        <p:sp>
          <p:nvSpPr>
            <p:cNvPr id="4240" name="Google Shape;4240;p65"/>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65"/>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2" name="Google Shape;4242;p65"/>
          <p:cNvGrpSpPr/>
          <p:nvPr/>
        </p:nvGrpSpPr>
        <p:grpSpPr>
          <a:xfrm>
            <a:off x="7610369" y="3796031"/>
            <a:ext cx="180437" cy="281608"/>
            <a:chOff x="7248525" y="3739696"/>
            <a:chExt cx="230531" cy="359790"/>
          </a:xfrm>
        </p:grpSpPr>
        <p:sp>
          <p:nvSpPr>
            <p:cNvPr id="4243" name="Google Shape;4243;p65"/>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65"/>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5" name="Google Shape;4245;p65"/>
          <p:cNvGrpSpPr/>
          <p:nvPr/>
        </p:nvGrpSpPr>
        <p:grpSpPr>
          <a:xfrm>
            <a:off x="7856288" y="3439255"/>
            <a:ext cx="162896" cy="278710"/>
            <a:chOff x="7601242" y="3729267"/>
            <a:chExt cx="222566" cy="380803"/>
          </a:xfrm>
        </p:grpSpPr>
        <p:sp>
          <p:nvSpPr>
            <p:cNvPr id="4246" name="Google Shape;4246;p65"/>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65"/>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48" name="Google Shape;4248;p65"/>
          <p:cNvSpPr/>
          <p:nvPr/>
        </p:nvSpPr>
        <p:spPr>
          <a:xfrm>
            <a:off x="7822314" y="3051612"/>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solidFill>
            <a:srgbClr val="A5B7C6">
              <a:alpha val="723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49" name="Google Shape;4249;p65"/>
          <p:cNvGrpSpPr/>
          <p:nvPr/>
        </p:nvGrpSpPr>
        <p:grpSpPr>
          <a:xfrm>
            <a:off x="7345934" y="3440396"/>
            <a:ext cx="193543" cy="275990"/>
            <a:chOff x="8304647" y="3738687"/>
            <a:chExt cx="225076" cy="320956"/>
          </a:xfrm>
        </p:grpSpPr>
        <p:sp>
          <p:nvSpPr>
            <p:cNvPr id="4250" name="Google Shape;4250;p65"/>
            <p:cNvSpPr/>
            <p:nvPr/>
          </p:nvSpPr>
          <p:spPr>
            <a:xfrm>
              <a:off x="8335725"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65"/>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65"/>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53" name="Google Shape;4253;p65"/>
          <p:cNvGrpSpPr/>
          <p:nvPr/>
        </p:nvGrpSpPr>
        <p:grpSpPr>
          <a:xfrm>
            <a:off x="7618426" y="3440396"/>
            <a:ext cx="178492" cy="275990"/>
            <a:chOff x="8615101" y="3738687"/>
            <a:chExt cx="207573" cy="320956"/>
          </a:xfrm>
        </p:grpSpPr>
        <p:sp>
          <p:nvSpPr>
            <p:cNvPr id="4254" name="Google Shape;4254;p65"/>
            <p:cNvSpPr/>
            <p:nvPr/>
          </p:nvSpPr>
          <p:spPr>
            <a:xfrm>
              <a:off x="8646134"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65"/>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65"/>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7" name="Google Shape;4257;p65"/>
          <p:cNvSpPr/>
          <p:nvPr/>
        </p:nvSpPr>
        <p:spPr>
          <a:xfrm>
            <a:off x="8114866" y="3030279"/>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58" name="Google Shape;4258;p65"/>
          <p:cNvGrpSpPr/>
          <p:nvPr/>
        </p:nvGrpSpPr>
        <p:grpSpPr>
          <a:xfrm>
            <a:off x="6013131" y="3561884"/>
            <a:ext cx="557670" cy="511283"/>
            <a:chOff x="6015419" y="3716859"/>
            <a:chExt cx="557671" cy="511283"/>
          </a:xfrm>
        </p:grpSpPr>
        <p:sp>
          <p:nvSpPr>
            <p:cNvPr id="4259" name="Google Shape;4259;p65"/>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60" name="Google Shape;4260;p65"/>
            <p:cNvGrpSpPr/>
            <p:nvPr/>
          </p:nvGrpSpPr>
          <p:grpSpPr>
            <a:xfrm>
              <a:off x="6036094" y="3716980"/>
              <a:ext cx="529860" cy="510468"/>
              <a:chOff x="6036094" y="3716980"/>
              <a:chExt cx="529860" cy="510468"/>
            </a:xfrm>
          </p:grpSpPr>
          <p:sp>
            <p:nvSpPr>
              <p:cNvPr id="4261" name="Google Shape;4261;p65"/>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65"/>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65"/>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65"/>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65"/>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65"/>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65"/>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65"/>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65"/>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65"/>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71" name="Google Shape;4271;p65"/>
          <p:cNvGrpSpPr/>
          <p:nvPr/>
        </p:nvGrpSpPr>
        <p:grpSpPr>
          <a:xfrm>
            <a:off x="6642016" y="2918653"/>
            <a:ext cx="576302" cy="511871"/>
            <a:chOff x="6644304" y="3073628"/>
            <a:chExt cx="576302" cy="511871"/>
          </a:xfrm>
        </p:grpSpPr>
        <p:sp>
          <p:nvSpPr>
            <p:cNvPr id="4272" name="Google Shape;4272;p65"/>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73" name="Google Shape;4273;p65"/>
            <p:cNvGrpSpPr/>
            <p:nvPr/>
          </p:nvGrpSpPr>
          <p:grpSpPr>
            <a:xfrm>
              <a:off x="6712169" y="3085440"/>
              <a:ext cx="481622" cy="494913"/>
              <a:chOff x="6712169" y="3085440"/>
              <a:chExt cx="481622" cy="494913"/>
            </a:xfrm>
          </p:grpSpPr>
          <p:sp>
            <p:nvSpPr>
              <p:cNvPr id="4274" name="Google Shape;4274;p65"/>
              <p:cNvSpPr/>
              <p:nvPr/>
            </p:nvSpPr>
            <p:spPr>
              <a:xfrm>
                <a:off x="6712169" y="3085440"/>
                <a:ext cx="238757" cy="315615"/>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65"/>
              <p:cNvSpPr/>
              <p:nvPr/>
            </p:nvSpPr>
            <p:spPr>
              <a:xfrm>
                <a:off x="6913100" y="3367694"/>
                <a:ext cx="190537" cy="212659"/>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65"/>
              <p:cNvSpPr/>
              <p:nvPr/>
            </p:nvSpPr>
            <p:spPr>
              <a:xfrm>
                <a:off x="7135734" y="3186037"/>
                <a:ext cx="58058" cy="152383"/>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65"/>
              <p:cNvSpPr/>
              <p:nvPr/>
            </p:nvSpPr>
            <p:spPr>
              <a:xfrm>
                <a:off x="6870416" y="3332822"/>
                <a:ext cx="47510" cy="1168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65"/>
              <p:cNvSpPr/>
              <p:nvPr/>
            </p:nvSpPr>
            <p:spPr>
              <a:xfrm>
                <a:off x="6925590" y="3336277"/>
                <a:ext cx="38094" cy="14228"/>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9" name="Google Shape;4279;p65"/>
            <p:cNvSpPr/>
            <p:nvPr/>
          </p:nvSpPr>
          <p:spPr>
            <a:xfrm>
              <a:off x="6867451" y="3073651"/>
              <a:ext cx="102383" cy="56919"/>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65"/>
            <p:cNvSpPr/>
            <p:nvPr/>
          </p:nvSpPr>
          <p:spPr>
            <a:xfrm>
              <a:off x="7069097" y="3119476"/>
              <a:ext cx="78535" cy="76898"/>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65"/>
            <p:cNvSpPr/>
            <p:nvPr/>
          </p:nvSpPr>
          <p:spPr>
            <a:xfrm>
              <a:off x="6946266" y="3181844"/>
              <a:ext cx="21095" cy="14742"/>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82" name="Google Shape;4282;p65"/>
          <p:cNvSpPr/>
          <p:nvPr/>
        </p:nvSpPr>
        <p:spPr>
          <a:xfrm>
            <a:off x="6986051" y="2935281"/>
            <a:ext cx="24269" cy="11004"/>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3" name="Google Shape;4283;p65"/>
          <p:cNvGrpSpPr/>
          <p:nvPr/>
        </p:nvGrpSpPr>
        <p:grpSpPr>
          <a:xfrm>
            <a:off x="6649867" y="3561648"/>
            <a:ext cx="560631" cy="511352"/>
            <a:chOff x="6652154" y="3716623"/>
            <a:chExt cx="560631" cy="511352"/>
          </a:xfrm>
        </p:grpSpPr>
        <p:sp>
          <p:nvSpPr>
            <p:cNvPr id="4284" name="Google Shape;4284;p65"/>
            <p:cNvSpPr/>
            <p:nvPr/>
          </p:nvSpPr>
          <p:spPr>
            <a:xfrm>
              <a:off x="6652154" y="3716623"/>
              <a:ext cx="560631" cy="511352"/>
            </a:xfrm>
            <a:custGeom>
              <a:avLst/>
              <a:gdLst/>
              <a:ahLst/>
              <a:cxnLst/>
              <a:rect l="l" t="t" r="r" b="b"/>
              <a:pathLst>
                <a:path w="97163" h="88661" extrusionOk="0">
                  <a:moveTo>
                    <a:pt x="48942" y="1"/>
                  </a:moveTo>
                  <a:cubicBezTo>
                    <a:pt x="46560" y="1"/>
                    <a:pt x="44145" y="185"/>
                    <a:pt x="41715" y="565"/>
                  </a:cubicBezTo>
                  <a:cubicBezTo>
                    <a:pt x="16981" y="4433"/>
                    <a:pt x="0" y="27180"/>
                    <a:pt x="3779" y="51346"/>
                  </a:cubicBezTo>
                  <a:cubicBezTo>
                    <a:pt x="7187" y="73133"/>
                    <a:pt x="26312" y="88661"/>
                    <a:pt x="48182" y="88661"/>
                  </a:cubicBezTo>
                  <a:cubicBezTo>
                    <a:pt x="50571" y="88661"/>
                    <a:pt x="52993" y="88476"/>
                    <a:pt x="55431" y="88093"/>
                  </a:cubicBezTo>
                  <a:cubicBezTo>
                    <a:pt x="80165" y="84225"/>
                    <a:pt x="97163" y="61496"/>
                    <a:pt x="93366" y="37311"/>
                  </a:cubicBezTo>
                  <a:cubicBezTo>
                    <a:pt x="89958" y="15517"/>
                    <a:pt x="70820" y="1"/>
                    <a:pt x="489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5" name="Google Shape;4285;p65"/>
            <p:cNvGrpSpPr/>
            <p:nvPr/>
          </p:nvGrpSpPr>
          <p:grpSpPr>
            <a:xfrm>
              <a:off x="6669657" y="3716715"/>
              <a:ext cx="466779" cy="464290"/>
              <a:chOff x="6669657" y="3716715"/>
              <a:chExt cx="466779" cy="464290"/>
            </a:xfrm>
          </p:grpSpPr>
          <p:sp>
            <p:nvSpPr>
              <p:cNvPr id="4286" name="Google Shape;4286;p65"/>
              <p:cNvSpPr/>
              <p:nvPr/>
            </p:nvSpPr>
            <p:spPr>
              <a:xfrm>
                <a:off x="6669657" y="3716715"/>
                <a:ext cx="386382" cy="464290"/>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65"/>
              <p:cNvSpPr/>
              <p:nvPr/>
            </p:nvSpPr>
            <p:spPr>
              <a:xfrm>
                <a:off x="7010819" y="4061082"/>
                <a:ext cx="117645" cy="102137"/>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65"/>
              <p:cNvSpPr/>
              <p:nvPr/>
            </p:nvSpPr>
            <p:spPr>
              <a:xfrm>
                <a:off x="6995058" y="4000087"/>
                <a:ext cx="41059" cy="51071"/>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65"/>
              <p:cNvSpPr/>
              <p:nvPr/>
            </p:nvSpPr>
            <p:spPr>
              <a:xfrm>
                <a:off x="7078892" y="4018504"/>
                <a:ext cx="57544" cy="36030"/>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65"/>
              <p:cNvSpPr/>
              <p:nvPr/>
            </p:nvSpPr>
            <p:spPr>
              <a:xfrm>
                <a:off x="7051663" y="3806456"/>
                <a:ext cx="38503" cy="70819"/>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65"/>
              <p:cNvSpPr/>
              <p:nvPr/>
            </p:nvSpPr>
            <p:spPr>
              <a:xfrm>
                <a:off x="6984824" y="4061618"/>
                <a:ext cx="42081" cy="8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65"/>
              <p:cNvSpPr/>
              <p:nvPr/>
            </p:nvSpPr>
            <p:spPr>
              <a:xfrm>
                <a:off x="7035181" y="4030478"/>
                <a:ext cx="15469" cy="21703"/>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65"/>
              <p:cNvSpPr/>
              <p:nvPr/>
            </p:nvSpPr>
            <p:spPr>
              <a:xfrm>
                <a:off x="7045011" y="3983609"/>
                <a:ext cx="19047" cy="181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65"/>
              <p:cNvSpPr/>
              <p:nvPr/>
            </p:nvSpPr>
            <p:spPr>
              <a:xfrm>
                <a:off x="7034362" y="3943182"/>
                <a:ext cx="9734" cy="24570"/>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65"/>
              <p:cNvSpPr/>
              <p:nvPr/>
            </p:nvSpPr>
            <p:spPr>
              <a:xfrm>
                <a:off x="6724214" y="4015234"/>
                <a:ext cx="1131" cy="513"/>
              </a:xfrm>
              <a:custGeom>
                <a:avLst/>
                <a:gdLst/>
                <a:ahLst/>
                <a:cxnLst/>
                <a:rect l="l" t="t" r="r" b="b"/>
                <a:pathLst>
                  <a:path w="196" h="89" extrusionOk="0">
                    <a:moveTo>
                      <a:pt x="196" y="0"/>
                    </a:moveTo>
                    <a:lnTo>
                      <a:pt x="1" y="89"/>
                    </a:lnTo>
                    <a:lnTo>
                      <a:pt x="1" y="89"/>
                    </a:lnTo>
                    <a:lnTo>
                      <a:pt x="196" y="18"/>
                    </a:lnTo>
                    <a:lnTo>
                      <a:pt x="196"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65"/>
              <p:cNvSpPr/>
              <p:nvPr/>
            </p:nvSpPr>
            <p:spPr>
              <a:xfrm>
                <a:off x="7071623" y="3755083"/>
                <a:ext cx="16589" cy="16380"/>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65"/>
              <p:cNvSpPr/>
              <p:nvPr/>
            </p:nvSpPr>
            <p:spPr>
              <a:xfrm>
                <a:off x="6722575" y="4015741"/>
                <a:ext cx="1541" cy="727"/>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65"/>
              <p:cNvSpPr/>
              <p:nvPr/>
            </p:nvSpPr>
            <p:spPr>
              <a:xfrm>
                <a:off x="6772321" y="4116142"/>
                <a:ext cx="30927" cy="46769"/>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99" name="Google Shape;4299;p65"/>
          <p:cNvGrpSpPr/>
          <p:nvPr/>
        </p:nvGrpSpPr>
        <p:grpSpPr>
          <a:xfrm>
            <a:off x="7843958" y="3843056"/>
            <a:ext cx="187557" cy="187557"/>
            <a:chOff x="8565775" y="671075"/>
            <a:chExt cx="441000" cy="441000"/>
          </a:xfrm>
        </p:grpSpPr>
        <p:sp>
          <p:nvSpPr>
            <p:cNvPr id="4300" name="Google Shape;4300;p65"/>
            <p:cNvSpPr/>
            <p:nvPr/>
          </p:nvSpPr>
          <p:spPr>
            <a:xfrm>
              <a:off x="8565775" y="671075"/>
              <a:ext cx="441000" cy="441000"/>
            </a:xfrm>
            <a:prstGeom prst="ellipse">
              <a:avLst/>
            </a:prstGeom>
            <a:gradFill>
              <a:gsLst>
                <a:gs pos="0">
                  <a:srgbClr val="869FB1">
                    <a:alpha val="65920"/>
                  </a:srgbClr>
                </a:gs>
                <a:gs pos="100000">
                  <a:srgbClr val="FFFFFF">
                    <a:alpha val="0"/>
                    <a:alpha val="65920"/>
                  </a:srgbClr>
                </a:gs>
              </a:gsLst>
              <a:path path="circle">
                <a:fillToRect l="50000" t="50000" r="50000" b="50000"/>
              </a:path>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65"/>
            <p:cNvSpPr/>
            <p:nvPr/>
          </p:nvSpPr>
          <p:spPr>
            <a:xfrm>
              <a:off x="8706625" y="811925"/>
              <a:ext cx="159300" cy="159300"/>
            </a:xfrm>
            <a:prstGeom prst="ellipse">
              <a:avLst/>
            </a:pr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02" name="Google Shape;4302;p65"/>
          <p:cNvSpPr/>
          <p:nvPr/>
        </p:nvSpPr>
        <p:spPr>
          <a:xfrm>
            <a:off x="8145172" y="3838977"/>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65"/>
          <p:cNvSpPr/>
          <p:nvPr/>
        </p:nvSpPr>
        <p:spPr>
          <a:xfrm flipH="1">
            <a:off x="7353411" y="3805432"/>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4" name="Google Shape;4304;p65"/>
          <p:cNvGrpSpPr/>
          <p:nvPr/>
        </p:nvGrpSpPr>
        <p:grpSpPr>
          <a:xfrm>
            <a:off x="5997813" y="2921275"/>
            <a:ext cx="587871" cy="512373"/>
            <a:chOff x="6000100" y="3076250"/>
            <a:chExt cx="587871" cy="512373"/>
          </a:xfrm>
        </p:grpSpPr>
        <p:sp>
          <p:nvSpPr>
            <p:cNvPr id="4305" name="Google Shape;4305;p65"/>
            <p:cNvSpPr/>
            <p:nvPr/>
          </p:nvSpPr>
          <p:spPr>
            <a:xfrm>
              <a:off x="6000100" y="3076250"/>
              <a:ext cx="587871" cy="512373"/>
            </a:xfrm>
            <a:custGeom>
              <a:avLst/>
              <a:gdLst/>
              <a:ahLst/>
              <a:cxnLst/>
              <a:rect l="l" t="t" r="r" b="b"/>
              <a:pathLst>
                <a:path w="101884" h="88838" extrusionOk="0">
                  <a:moveTo>
                    <a:pt x="50272" y="0"/>
                  </a:moveTo>
                  <a:cubicBezTo>
                    <a:pt x="31897" y="0"/>
                    <a:pt x="14791" y="11087"/>
                    <a:pt x="8322" y="29000"/>
                  </a:cubicBezTo>
                  <a:cubicBezTo>
                    <a:pt x="1" y="51995"/>
                    <a:pt x="12332" y="77546"/>
                    <a:pt x="35878" y="86063"/>
                  </a:cubicBezTo>
                  <a:cubicBezTo>
                    <a:pt x="41078" y="87945"/>
                    <a:pt x="46391" y="88838"/>
                    <a:pt x="51602" y="88838"/>
                  </a:cubicBezTo>
                  <a:cubicBezTo>
                    <a:pt x="69970" y="88838"/>
                    <a:pt x="87079" y="77751"/>
                    <a:pt x="93562" y="59838"/>
                  </a:cubicBezTo>
                  <a:cubicBezTo>
                    <a:pt x="101883" y="36843"/>
                    <a:pt x="89534" y="11292"/>
                    <a:pt x="66006" y="2775"/>
                  </a:cubicBezTo>
                  <a:cubicBezTo>
                    <a:pt x="60802" y="893"/>
                    <a:pt x="55486" y="0"/>
                    <a:pt x="50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6" name="Google Shape;4306;p65"/>
            <p:cNvGrpSpPr/>
            <p:nvPr/>
          </p:nvGrpSpPr>
          <p:grpSpPr>
            <a:xfrm>
              <a:off x="6031360" y="3076713"/>
              <a:ext cx="539107" cy="480965"/>
              <a:chOff x="6031360" y="3076713"/>
              <a:chExt cx="539107" cy="480965"/>
            </a:xfrm>
          </p:grpSpPr>
          <p:sp>
            <p:nvSpPr>
              <p:cNvPr id="4307" name="Google Shape;4307;p65"/>
              <p:cNvSpPr/>
              <p:nvPr/>
            </p:nvSpPr>
            <p:spPr>
              <a:xfrm>
                <a:off x="6160232" y="3107767"/>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65"/>
              <p:cNvSpPr/>
              <p:nvPr/>
            </p:nvSpPr>
            <p:spPr>
              <a:xfrm>
                <a:off x="6031360" y="3319580"/>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65"/>
              <p:cNvSpPr/>
              <p:nvPr/>
            </p:nvSpPr>
            <p:spPr>
              <a:xfrm>
                <a:off x="6189159" y="3076713"/>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65"/>
              <p:cNvSpPr/>
              <p:nvPr/>
            </p:nvSpPr>
            <p:spPr>
              <a:xfrm>
                <a:off x="6350006" y="3503923"/>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65"/>
              <p:cNvSpPr/>
              <p:nvPr/>
            </p:nvSpPr>
            <p:spPr>
              <a:xfrm>
                <a:off x="6262180" y="3141947"/>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65"/>
              <p:cNvSpPr/>
              <p:nvPr/>
            </p:nvSpPr>
            <p:spPr>
              <a:xfrm>
                <a:off x="6251907" y="3101042"/>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65"/>
              <p:cNvSpPr/>
              <p:nvPr/>
            </p:nvSpPr>
            <p:spPr>
              <a:xfrm>
                <a:off x="6250613" y="3155645"/>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314" name="Google Shape;4314;p65"/>
          <p:cNvGrpSpPr/>
          <p:nvPr/>
        </p:nvGrpSpPr>
        <p:grpSpPr>
          <a:xfrm>
            <a:off x="3416804" y="902588"/>
            <a:ext cx="2310381" cy="1488888"/>
            <a:chOff x="229225" y="549050"/>
            <a:chExt cx="7161750" cy="4615275"/>
          </a:xfrm>
        </p:grpSpPr>
        <p:sp>
          <p:nvSpPr>
            <p:cNvPr id="4315" name="Google Shape;4315;p65"/>
            <p:cNvSpPr/>
            <p:nvPr/>
          </p:nvSpPr>
          <p:spPr>
            <a:xfrm>
              <a:off x="627425" y="2326500"/>
              <a:ext cx="1488625" cy="1368700"/>
            </a:xfrm>
            <a:custGeom>
              <a:avLst/>
              <a:gdLst/>
              <a:ahLst/>
              <a:cxnLst/>
              <a:rect l="l" t="t" r="r" b="b"/>
              <a:pathLst>
                <a:path w="59545" h="54748" extrusionOk="0">
                  <a:moveTo>
                    <a:pt x="5992" y="0"/>
                  </a:moveTo>
                  <a:cubicBezTo>
                    <a:pt x="5592" y="0"/>
                    <a:pt x="5194" y="84"/>
                    <a:pt x="4807" y="273"/>
                  </a:cubicBezTo>
                  <a:cubicBezTo>
                    <a:pt x="3416" y="951"/>
                    <a:pt x="2616" y="2256"/>
                    <a:pt x="1629" y="3414"/>
                  </a:cubicBezTo>
                  <a:cubicBezTo>
                    <a:pt x="852" y="4326"/>
                    <a:pt x="353" y="4825"/>
                    <a:pt x="1" y="5082"/>
                  </a:cubicBezTo>
                  <a:cubicBezTo>
                    <a:pt x="973" y="4476"/>
                    <a:pt x="1889" y="3789"/>
                    <a:pt x="2683" y="2859"/>
                  </a:cubicBezTo>
                  <a:cubicBezTo>
                    <a:pt x="3861" y="1479"/>
                    <a:pt x="4985" y="934"/>
                    <a:pt x="6056" y="934"/>
                  </a:cubicBezTo>
                  <a:cubicBezTo>
                    <a:pt x="8542" y="934"/>
                    <a:pt x="10743" y="3871"/>
                    <a:pt x="12680" y="6136"/>
                  </a:cubicBezTo>
                  <a:cubicBezTo>
                    <a:pt x="14851" y="8677"/>
                    <a:pt x="17660" y="9566"/>
                    <a:pt x="19112" y="12886"/>
                  </a:cubicBezTo>
                  <a:cubicBezTo>
                    <a:pt x="19886" y="14656"/>
                    <a:pt x="21431" y="16154"/>
                    <a:pt x="22490" y="17759"/>
                  </a:cubicBezTo>
                  <a:cubicBezTo>
                    <a:pt x="23507" y="19301"/>
                    <a:pt x="22210" y="21616"/>
                    <a:pt x="21901" y="23187"/>
                  </a:cubicBezTo>
                  <a:cubicBezTo>
                    <a:pt x="21566" y="24879"/>
                    <a:pt x="21916" y="26316"/>
                    <a:pt x="22776" y="27760"/>
                  </a:cubicBezTo>
                  <a:cubicBezTo>
                    <a:pt x="24514" y="30679"/>
                    <a:pt x="27294" y="32974"/>
                    <a:pt x="29136" y="35907"/>
                  </a:cubicBezTo>
                  <a:cubicBezTo>
                    <a:pt x="30216" y="37625"/>
                    <a:pt x="31619" y="39943"/>
                    <a:pt x="33709" y="40555"/>
                  </a:cubicBezTo>
                  <a:cubicBezTo>
                    <a:pt x="37012" y="41522"/>
                    <a:pt x="36839" y="43208"/>
                    <a:pt x="38490" y="45526"/>
                  </a:cubicBezTo>
                  <a:cubicBezTo>
                    <a:pt x="39359" y="46751"/>
                    <a:pt x="41187" y="47189"/>
                    <a:pt x="42538" y="47536"/>
                  </a:cubicBezTo>
                  <a:cubicBezTo>
                    <a:pt x="45670" y="48335"/>
                    <a:pt x="48040" y="48044"/>
                    <a:pt x="50679" y="50252"/>
                  </a:cubicBezTo>
                  <a:cubicBezTo>
                    <a:pt x="52448" y="51733"/>
                    <a:pt x="54940" y="54748"/>
                    <a:pt x="57473" y="54748"/>
                  </a:cubicBezTo>
                  <a:cubicBezTo>
                    <a:pt x="58135" y="54748"/>
                    <a:pt x="58800" y="54542"/>
                    <a:pt x="59455" y="54049"/>
                  </a:cubicBezTo>
                  <a:cubicBezTo>
                    <a:pt x="59544" y="53982"/>
                    <a:pt x="59491" y="53846"/>
                    <a:pt x="59403" y="53846"/>
                  </a:cubicBezTo>
                  <a:cubicBezTo>
                    <a:pt x="59385" y="53846"/>
                    <a:pt x="59366" y="53852"/>
                    <a:pt x="59346" y="53864"/>
                  </a:cubicBezTo>
                  <a:cubicBezTo>
                    <a:pt x="58755" y="54244"/>
                    <a:pt x="58163" y="54408"/>
                    <a:pt x="57572" y="54408"/>
                  </a:cubicBezTo>
                  <a:cubicBezTo>
                    <a:pt x="54047" y="54408"/>
                    <a:pt x="50535" y="48579"/>
                    <a:pt x="47269" y="47917"/>
                  </a:cubicBezTo>
                  <a:cubicBezTo>
                    <a:pt x="45419" y="47542"/>
                    <a:pt x="43551" y="47397"/>
                    <a:pt x="41712" y="46930"/>
                  </a:cubicBezTo>
                  <a:cubicBezTo>
                    <a:pt x="39192" y="46286"/>
                    <a:pt x="37838" y="44461"/>
                    <a:pt x="37933" y="41909"/>
                  </a:cubicBezTo>
                  <a:cubicBezTo>
                    <a:pt x="37933" y="41831"/>
                    <a:pt x="37890" y="41759"/>
                    <a:pt x="37823" y="41718"/>
                  </a:cubicBezTo>
                  <a:cubicBezTo>
                    <a:pt x="35210" y="39842"/>
                    <a:pt x="32422" y="39726"/>
                    <a:pt x="30285" y="36848"/>
                  </a:cubicBezTo>
                  <a:cubicBezTo>
                    <a:pt x="28562" y="34524"/>
                    <a:pt x="27280" y="32096"/>
                    <a:pt x="25270" y="29980"/>
                  </a:cubicBezTo>
                  <a:cubicBezTo>
                    <a:pt x="22199" y="26746"/>
                    <a:pt x="21708" y="24203"/>
                    <a:pt x="23307" y="20008"/>
                  </a:cubicBezTo>
                  <a:cubicBezTo>
                    <a:pt x="23853" y="18579"/>
                    <a:pt x="22929" y="17375"/>
                    <a:pt x="22063" y="16264"/>
                  </a:cubicBezTo>
                  <a:cubicBezTo>
                    <a:pt x="20565" y="14327"/>
                    <a:pt x="19600" y="11647"/>
                    <a:pt x="17969" y="9875"/>
                  </a:cubicBezTo>
                  <a:cubicBezTo>
                    <a:pt x="15969" y="7695"/>
                    <a:pt x="13347" y="6457"/>
                    <a:pt x="11563" y="4003"/>
                  </a:cubicBezTo>
                  <a:cubicBezTo>
                    <a:pt x="10516" y="2565"/>
                    <a:pt x="8210" y="0"/>
                    <a:pt x="5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65"/>
            <p:cNvSpPr/>
            <p:nvPr/>
          </p:nvSpPr>
          <p:spPr>
            <a:xfrm>
              <a:off x="229225" y="2394575"/>
              <a:ext cx="390500" cy="214975"/>
            </a:xfrm>
            <a:custGeom>
              <a:avLst/>
              <a:gdLst/>
              <a:ahLst/>
              <a:cxnLst/>
              <a:rect l="l" t="t" r="r" b="b"/>
              <a:pathLst>
                <a:path w="15620" h="8599" extrusionOk="0">
                  <a:moveTo>
                    <a:pt x="10697" y="0"/>
                  </a:moveTo>
                  <a:cubicBezTo>
                    <a:pt x="10637" y="0"/>
                    <a:pt x="10578" y="28"/>
                    <a:pt x="10538" y="93"/>
                  </a:cubicBezTo>
                  <a:cubicBezTo>
                    <a:pt x="8310" y="3760"/>
                    <a:pt x="4308" y="3234"/>
                    <a:pt x="1551" y="5832"/>
                  </a:cubicBezTo>
                  <a:cubicBezTo>
                    <a:pt x="1110" y="6251"/>
                    <a:pt x="1" y="7083"/>
                    <a:pt x="469" y="7888"/>
                  </a:cubicBezTo>
                  <a:cubicBezTo>
                    <a:pt x="766" y="8395"/>
                    <a:pt x="1409" y="8598"/>
                    <a:pt x="2237" y="8598"/>
                  </a:cubicBezTo>
                  <a:cubicBezTo>
                    <a:pt x="4937" y="8598"/>
                    <a:pt x="9598" y="6438"/>
                    <a:pt x="10637" y="5599"/>
                  </a:cubicBezTo>
                  <a:cubicBezTo>
                    <a:pt x="12224" y="4317"/>
                    <a:pt x="13988" y="3529"/>
                    <a:pt x="15620" y="2550"/>
                  </a:cubicBezTo>
                  <a:lnTo>
                    <a:pt x="15620" y="2550"/>
                  </a:lnTo>
                  <a:cubicBezTo>
                    <a:pt x="15532" y="2588"/>
                    <a:pt x="15458" y="2604"/>
                    <a:pt x="15393" y="2604"/>
                  </a:cubicBezTo>
                  <a:cubicBezTo>
                    <a:pt x="15081" y="2604"/>
                    <a:pt x="14984" y="2237"/>
                    <a:pt x="14587" y="2237"/>
                  </a:cubicBezTo>
                  <a:cubicBezTo>
                    <a:pt x="14382" y="2237"/>
                    <a:pt x="14098" y="2334"/>
                    <a:pt x="13662" y="2631"/>
                  </a:cubicBezTo>
                  <a:cubicBezTo>
                    <a:pt x="12184" y="3638"/>
                    <a:pt x="10966" y="4940"/>
                    <a:pt x="9387" y="5809"/>
                  </a:cubicBezTo>
                  <a:cubicBezTo>
                    <a:pt x="7854" y="6652"/>
                    <a:pt x="6052" y="7132"/>
                    <a:pt x="4375" y="7605"/>
                  </a:cubicBezTo>
                  <a:cubicBezTo>
                    <a:pt x="3510" y="7973"/>
                    <a:pt x="2866" y="8157"/>
                    <a:pt x="2443" y="8157"/>
                  </a:cubicBezTo>
                  <a:cubicBezTo>
                    <a:pt x="1498" y="8157"/>
                    <a:pt x="1657" y="7238"/>
                    <a:pt x="2920" y="5399"/>
                  </a:cubicBezTo>
                  <a:cubicBezTo>
                    <a:pt x="4274" y="4782"/>
                    <a:pt x="5642" y="4187"/>
                    <a:pt x="7019" y="3618"/>
                  </a:cubicBezTo>
                  <a:cubicBezTo>
                    <a:pt x="8751" y="2893"/>
                    <a:pt x="9932" y="1837"/>
                    <a:pt x="10870" y="289"/>
                  </a:cubicBezTo>
                  <a:cubicBezTo>
                    <a:pt x="10963" y="139"/>
                    <a:pt x="10830" y="0"/>
                    <a:pt x="10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65"/>
            <p:cNvSpPr/>
            <p:nvPr/>
          </p:nvSpPr>
          <p:spPr>
            <a:xfrm>
              <a:off x="619700" y="2453625"/>
              <a:ext cx="7750" cy="4700"/>
            </a:xfrm>
            <a:custGeom>
              <a:avLst/>
              <a:gdLst/>
              <a:ahLst/>
              <a:cxnLst/>
              <a:rect l="l" t="t" r="r" b="b"/>
              <a:pathLst>
                <a:path w="310" h="188" extrusionOk="0">
                  <a:moveTo>
                    <a:pt x="310" y="0"/>
                  </a:moveTo>
                  <a:lnTo>
                    <a:pt x="310" y="0"/>
                  </a:lnTo>
                  <a:cubicBezTo>
                    <a:pt x="208" y="64"/>
                    <a:pt x="105" y="127"/>
                    <a:pt x="1" y="188"/>
                  </a:cubicBezTo>
                  <a:cubicBezTo>
                    <a:pt x="110" y="136"/>
                    <a:pt x="214" y="72"/>
                    <a:pt x="3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65"/>
            <p:cNvSpPr/>
            <p:nvPr/>
          </p:nvSpPr>
          <p:spPr>
            <a:xfrm>
              <a:off x="485900" y="2399275"/>
              <a:ext cx="75" cy="175"/>
            </a:xfrm>
            <a:custGeom>
              <a:avLst/>
              <a:gdLst/>
              <a:ahLst/>
              <a:cxnLst/>
              <a:rect l="l" t="t" r="r" b="b"/>
              <a:pathLst>
                <a:path w="3" h="7" extrusionOk="0">
                  <a:moveTo>
                    <a:pt x="0" y="0"/>
                  </a:moveTo>
                  <a:lnTo>
                    <a:pt x="0" y="6"/>
                  </a:lnTo>
                  <a:cubicBezTo>
                    <a:pt x="3" y="6"/>
                    <a:pt x="3"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65"/>
            <p:cNvSpPr/>
            <p:nvPr/>
          </p:nvSpPr>
          <p:spPr>
            <a:xfrm>
              <a:off x="485900" y="2399275"/>
              <a:ext cx="75" cy="175"/>
            </a:xfrm>
            <a:custGeom>
              <a:avLst/>
              <a:gdLst/>
              <a:ahLst/>
              <a:cxnLst/>
              <a:rect l="l" t="t" r="r" b="b"/>
              <a:pathLst>
                <a:path w="3" h="7" fill="none" extrusionOk="0">
                  <a:moveTo>
                    <a:pt x="0" y="6"/>
                  </a:moveTo>
                  <a:cubicBezTo>
                    <a:pt x="3" y="6"/>
                    <a:pt x="3" y="0"/>
                    <a:pt x="0" y="0"/>
                  </a:cubicBezTo>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65"/>
            <p:cNvSpPr/>
            <p:nvPr/>
          </p:nvSpPr>
          <p:spPr>
            <a:xfrm>
              <a:off x="974450" y="2255775"/>
              <a:ext cx="21025" cy="28625"/>
            </a:xfrm>
            <a:custGeom>
              <a:avLst/>
              <a:gdLst/>
              <a:ahLst/>
              <a:cxnLst/>
              <a:rect l="l" t="t" r="r" b="b"/>
              <a:pathLst>
                <a:path w="841" h="1145" extrusionOk="0">
                  <a:moveTo>
                    <a:pt x="840" y="1"/>
                  </a:moveTo>
                  <a:lnTo>
                    <a:pt x="840" y="1"/>
                  </a:lnTo>
                  <a:cubicBezTo>
                    <a:pt x="560" y="382"/>
                    <a:pt x="277" y="763"/>
                    <a:pt x="0" y="1144"/>
                  </a:cubicBezTo>
                  <a:cubicBezTo>
                    <a:pt x="136" y="980"/>
                    <a:pt x="269" y="812"/>
                    <a:pt x="399" y="642"/>
                  </a:cubicBezTo>
                  <a:cubicBezTo>
                    <a:pt x="546" y="422"/>
                    <a:pt x="693" y="209"/>
                    <a:pt x="8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65"/>
            <p:cNvSpPr/>
            <p:nvPr/>
          </p:nvSpPr>
          <p:spPr>
            <a:xfrm>
              <a:off x="277475" y="1782875"/>
              <a:ext cx="1282325" cy="813425"/>
            </a:xfrm>
            <a:custGeom>
              <a:avLst/>
              <a:gdLst/>
              <a:ahLst/>
              <a:cxnLst/>
              <a:rect l="l" t="t" r="r" b="b"/>
              <a:pathLst>
                <a:path w="51293" h="32537" extrusionOk="0">
                  <a:moveTo>
                    <a:pt x="11877" y="434"/>
                  </a:moveTo>
                  <a:lnTo>
                    <a:pt x="11877" y="434"/>
                  </a:lnTo>
                  <a:cubicBezTo>
                    <a:pt x="12001" y="437"/>
                    <a:pt x="12122" y="455"/>
                    <a:pt x="12243" y="463"/>
                  </a:cubicBezTo>
                  <a:cubicBezTo>
                    <a:pt x="11524" y="1147"/>
                    <a:pt x="10742" y="1765"/>
                    <a:pt x="9934" y="2351"/>
                  </a:cubicBezTo>
                  <a:cubicBezTo>
                    <a:pt x="10095" y="2149"/>
                    <a:pt x="10214" y="1999"/>
                    <a:pt x="10263" y="1939"/>
                  </a:cubicBezTo>
                  <a:cubicBezTo>
                    <a:pt x="10788" y="1462"/>
                    <a:pt x="11314" y="1000"/>
                    <a:pt x="11842" y="587"/>
                  </a:cubicBezTo>
                  <a:cubicBezTo>
                    <a:pt x="11894" y="544"/>
                    <a:pt x="11894" y="489"/>
                    <a:pt x="11877" y="434"/>
                  </a:cubicBezTo>
                  <a:close/>
                  <a:moveTo>
                    <a:pt x="13814" y="729"/>
                  </a:moveTo>
                  <a:cubicBezTo>
                    <a:pt x="13918" y="758"/>
                    <a:pt x="14016" y="792"/>
                    <a:pt x="14117" y="827"/>
                  </a:cubicBezTo>
                  <a:cubicBezTo>
                    <a:pt x="13300" y="1399"/>
                    <a:pt x="12503" y="2034"/>
                    <a:pt x="11721" y="2704"/>
                  </a:cubicBezTo>
                  <a:cubicBezTo>
                    <a:pt x="12411" y="2071"/>
                    <a:pt x="13095" y="1439"/>
                    <a:pt x="13782" y="801"/>
                  </a:cubicBezTo>
                  <a:cubicBezTo>
                    <a:pt x="13799" y="781"/>
                    <a:pt x="13811" y="755"/>
                    <a:pt x="13814" y="729"/>
                  </a:cubicBezTo>
                  <a:close/>
                  <a:moveTo>
                    <a:pt x="33552" y="2467"/>
                  </a:moveTo>
                  <a:lnTo>
                    <a:pt x="33552" y="2467"/>
                  </a:lnTo>
                  <a:cubicBezTo>
                    <a:pt x="33694" y="2490"/>
                    <a:pt x="33832" y="2522"/>
                    <a:pt x="33971" y="2551"/>
                  </a:cubicBezTo>
                  <a:cubicBezTo>
                    <a:pt x="33437" y="3082"/>
                    <a:pt x="32926" y="3636"/>
                    <a:pt x="32423" y="4199"/>
                  </a:cubicBezTo>
                  <a:cubicBezTo>
                    <a:pt x="32807" y="3682"/>
                    <a:pt x="33186" y="3157"/>
                    <a:pt x="33541" y="2605"/>
                  </a:cubicBezTo>
                  <a:cubicBezTo>
                    <a:pt x="33567" y="2565"/>
                    <a:pt x="33572" y="2513"/>
                    <a:pt x="33552" y="2467"/>
                  </a:cubicBezTo>
                  <a:close/>
                  <a:moveTo>
                    <a:pt x="11597" y="1523"/>
                  </a:moveTo>
                  <a:cubicBezTo>
                    <a:pt x="11132" y="1910"/>
                    <a:pt x="10139" y="2741"/>
                    <a:pt x="9919" y="2940"/>
                  </a:cubicBezTo>
                  <a:cubicBezTo>
                    <a:pt x="9391" y="3431"/>
                    <a:pt x="8851" y="3899"/>
                    <a:pt x="8317" y="4364"/>
                  </a:cubicBezTo>
                  <a:cubicBezTo>
                    <a:pt x="8499" y="4141"/>
                    <a:pt x="8799" y="3769"/>
                    <a:pt x="9117" y="3376"/>
                  </a:cubicBezTo>
                  <a:cubicBezTo>
                    <a:pt x="9140" y="3356"/>
                    <a:pt x="9166" y="3339"/>
                    <a:pt x="9192" y="3321"/>
                  </a:cubicBezTo>
                  <a:cubicBezTo>
                    <a:pt x="9757" y="2932"/>
                    <a:pt x="10511" y="2424"/>
                    <a:pt x="11042" y="1982"/>
                  </a:cubicBezTo>
                  <a:lnTo>
                    <a:pt x="11597" y="1523"/>
                  </a:lnTo>
                  <a:close/>
                  <a:moveTo>
                    <a:pt x="33099" y="2553"/>
                  </a:moveTo>
                  <a:lnTo>
                    <a:pt x="33099" y="2553"/>
                  </a:lnTo>
                  <a:cubicBezTo>
                    <a:pt x="32227" y="3365"/>
                    <a:pt x="31398" y="4219"/>
                    <a:pt x="30607" y="5111"/>
                  </a:cubicBezTo>
                  <a:cubicBezTo>
                    <a:pt x="31095" y="4465"/>
                    <a:pt x="31520" y="3769"/>
                    <a:pt x="31820" y="2992"/>
                  </a:cubicBezTo>
                  <a:cubicBezTo>
                    <a:pt x="31832" y="2963"/>
                    <a:pt x="31832" y="2929"/>
                    <a:pt x="31820" y="2900"/>
                  </a:cubicBezTo>
                  <a:cubicBezTo>
                    <a:pt x="32239" y="2758"/>
                    <a:pt x="32666" y="2643"/>
                    <a:pt x="33099" y="2553"/>
                  </a:cubicBezTo>
                  <a:close/>
                  <a:moveTo>
                    <a:pt x="18328" y="3141"/>
                  </a:moveTo>
                  <a:lnTo>
                    <a:pt x="18328" y="3141"/>
                  </a:lnTo>
                  <a:cubicBezTo>
                    <a:pt x="18504" y="3256"/>
                    <a:pt x="18679" y="3371"/>
                    <a:pt x="18854" y="3483"/>
                  </a:cubicBezTo>
                  <a:cubicBezTo>
                    <a:pt x="18118" y="3991"/>
                    <a:pt x="17428" y="4560"/>
                    <a:pt x="16790" y="5186"/>
                  </a:cubicBezTo>
                  <a:cubicBezTo>
                    <a:pt x="17324" y="4505"/>
                    <a:pt x="17838" y="3825"/>
                    <a:pt x="18328" y="3141"/>
                  </a:cubicBezTo>
                  <a:close/>
                  <a:moveTo>
                    <a:pt x="9345" y="781"/>
                  </a:moveTo>
                  <a:lnTo>
                    <a:pt x="9345" y="781"/>
                  </a:lnTo>
                  <a:cubicBezTo>
                    <a:pt x="7592" y="2227"/>
                    <a:pt x="5799" y="3581"/>
                    <a:pt x="4284" y="5256"/>
                  </a:cubicBezTo>
                  <a:cubicBezTo>
                    <a:pt x="4982" y="3064"/>
                    <a:pt x="7012" y="1448"/>
                    <a:pt x="9345" y="781"/>
                  </a:cubicBezTo>
                  <a:close/>
                  <a:moveTo>
                    <a:pt x="19980" y="4164"/>
                  </a:moveTo>
                  <a:cubicBezTo>
                    <a:pt x="20229" y="4306"/>
                    <a:pt x="20477" y="4439"/>
                    <a:pt x="20731" y="4566"/>
                  </a:cubicBezTo>
                  <a:cubicBezTo>
                    <a:pt x="20258" y="4716"/>
                    <a:pt x="19767" y="5120"/>
                    <a:pt x="19308" y="5582"/>
                  </a:cubicBezTo>
                  <a:cubicBezTo>
                    <a:pt x="19611" y="5149"/>
                    <a:pt x="19799" y="4745"/>
                    <a:pt x="19749" y="4430"/>
                  </a:cubicBezTo>
                  <a:cubicBezTo>
                    <a:pt x="19813" y="4375"/>
                    <a:pt x="19871" y="4317"/>
                    <a:pt x="19934" y="4263"/>
                  </a:cubicBezTo>
                  <a:cubicBezTo>
                    <a:pt x="19960" y="4237"/>
                    <a:pt x="19977" y="4202"/>
                    <a:pt x="19980" y="4164"/>
                  </a:cubicBezTo>
                  <a:close/>
                  <a:moveTo>
                    <a:pt x="11493" y="446"/>
                  </a:moveTo>
                  <a:lnTo>
                    <a:pt x="11493" y="446"/>
                  </a:lnTo>
                  <a:cubicBezTo>
                    <a:pt x="11106" y="743"/>
                    <a:pt x="10739" y="1064"/>
                    <a:pt x="10396" y="1407"/>
                  </a:cubicBezTo>
                  <a:cubicBezTo>
                    <a:pt x="9789" y="1761"/>
                    <a:pt x="8270" y="3050"/>
                    <a:pt x="8271" y="3050"/>
                  </a:cubicBezTo>
                  <a:cubicBezTo>
                    <a:pt x="8271" y="3050"/>
                    <a:pt x="8271" y="3050"/>
                    <a:pt x="8271" y="3050"/>
                  </a:cubicBezTo>
                  <a:lnTo>
                    <a:pt x="8271" y="3050"/>
                  </a:lnTo>
                  <a:cubicBezTo>
                    <a:pt x="7583" y="3633"/>
                    <a:pt x="4587" y="6182"/>
                    <a:pt x="4258" y="6182"/>
                  </a:cubicBezTo>
                  <a:cubicBezTo>
                    <a:pt x="4124" y="6182"/>
                    <a:pt x="4431" y="5760"/>
                    <a:pt x="5514" y="4615"/>
                  </a:cubicBezTo>
                  <a:cubicBezTo>
                    <a:pt x="6917" y="3131"/>
                    <a:pt x="8704" y="2083"/>
                    <a:pt x="10113" y="590"/>
                  </a:cubicBezTo>
                  <a:cubicBezTo>
                    <a:pt x="10569" y="507"/>
                    <a:pt x="11031" y="457"/>
                    <a:pt x="11493" y="446"/>
                  </a:cubicBezTo>
                  <a:close/>
                  <a:moveTo>
                    <a:pt x="21236" y="4794"/>
                  </a:moveTo>
                  <a:cubicBezTo>
                    <a:pt x="21473" y="4895"/>
                    <a:pt x="21713" y="4987"/>
                    <a:pt x="21958" y="5071"/>
                  </a:cubicBezTo>
                  <a:cubicBezTo>
                    <a:pt x="21343" y="5426"/>
                    <a:pt x="20748" y="5813"/>
                    <a:pt x="20180" y="6237"/>
                  </a:cubicBezTo>
                  <a:cubicBezTo>
                    <a:pt x="20538" y="5761"/>
                    <a:pt x="20901" y="5290"/>
                    <a:pt x="21236" y="4794"/>
                  </a:cubicBezTo>
                  <a:close/>
                  <a:moveTo>
                    <a:pt x="38151" y="4089"/>
                  </a:moveTo>
                  <a:cubicBezTo>
                    <a:pt x="38327" y="4179"/>
                    <a:pt x="38503" y="4265"/>
                    <a:pt x="38677" y="4355"/>
                  </a:cubicBezTo>
                  <a:cubicBezTo>
                    <a:pt x="37891" y="5146"/>
                    <a:pt x="37123" y="5963"/>
                    <a:pt x="36367" y="6794"/>
                  </a:cubicBezTo>
                  <a:cubicBezTo>
                    <a:pt x="36953" y="5865"/>
                    <a:pt x="37545" y="4961"/>
                    <a:pt x="38148" y="4101"/>
                  </a:cubicBezTo>
                  <a:cubicBezTo>
                    <a:pt x="38151" y="4098"/>
                    <a:pt x="38148" y="4095"/>
                    <a:pt x="38151" y="4089"/>
                  </a:cubicBezTo>
                  <a:close/>
                  <a:moveTo>
                    <a:pt x="38957" y="4502"/>
                  </a:moveTo>
                  <a:cubicBezTo>
                    <a:pt x="39144" y="4600"/>
                    <a:pt x="39335" y="4698"/>
                    <a:pt x="39520" y="4800"/>
                  </a:cubicBezTo>
                  <a:cubicBezTo>
                    <a:pt x="38769" y="5481"/>
                    <a:pt x="38056" y="6203"/>
                    <a:pt x="37386" y="6965"/>
                  </a:cubicBezTo>
                  <a:cubicBezTo>
                    <a:pt x="37912" y="6122"/>
                    <a:pt x="38434" y="5299"/>
                    <a:pt x="38957" y="4502"/>
                  </a:cubicBezTo>
                  <a:close/>
                  <a:moveTo>
                    <a:pt x="8106" y="4055"/>
                  </a:moveTo>
                  <a:lnTo>
                    <a:pt x="8106" y="4055"/>
                  </a:lnTo>
                  <a:cubicBezTo>
                    <a:pt x="7809" y="4407"/>
                    <a:pt x="7509" y="4756"/>
                    <a:pt x="7188" y="5094"/>
                  </a:cubicBezTo>
                  <a:cubicBezTo>
                    <a:pt x="6949" y="5344"/>
                    <a:pt x="4827" y="7325"/>
                    <a:pt x="4569" y="7325"/>
                  </a:cubicBezTo>
                  <a:cubicBezTo>
                    <a:pt x="4497" y="7325"/>
                    <a:pt x="4573" y="7168"/>
                    <a:pt x="4881" y="6768"/>
                  </a:cubicBezTo>
                  <a:cubicBezTo>
                    <a:pt x="5118" y="6471"/>
                    <a:pt x="5375" y="6188"/>
                    <a:pt x="5655" y="5928"/>
                  </a:cubicBezTo>
                  <a:cubicBezTo>
                    <a:pt x="6256" y="5498"/>
                    <a:pt x="6842" y="5025"/>
                    <a:pt x="7416" y="4525"/>
                  </a:cubicBezTo>
                  <a:cubicBezTo>
                    <a:pt x="7644" y="4366"/>
                    <a:pt x="7875" y="4208"/>
                    <a:pt x="8106" y="4055"/>
                  </a:cubicBezTo>
                  <a:close/>
                  <a:moveTo>
                    <a:pt x="40472" y="5302"/>
                  </a:moveTo>
                  <a:lnTo>
                    <a:pt x="40472" y="5302"/>
                  </a:lnTo>
                  <a:cubicBezTo>
                    <a:pt x="40712" y="5429"/>
                    <a:pt x="40952" y="5559"/>
                    <a:pt x="41194" y="5686"/>
                  </a:cubicBezTo>
                  <a:cubicBezTo>
                    <a:pt x="40596" y="6231"/>
                    <a:pt x="40060" y="6829"/>
                    <a:pt x="39549" y="7450"/>
                  </a:cubicBezTo>
                  <a:cubicBezTo>
                    <a:pt x="39918" y="6812"/>
                    <a:pt x="40262" y="6159"/>
                    <a:pt x="40539" y="5466"/>
                  </a:cubicBezTo>
                  <a:cubicBezTo>
                    <a:pt x="40568" y="5400"/>
                    <a:pt x="40527" y="5337"/>
                    <a:pt x="40472" y="5302"/>
                  </a:cubicBezTo>
                  <a:close/>
                  <a:moveTo>
                    <a:pt x="12624" y="492"/>
                  </a:moveTo>
                  <a:cubicBezTo>
                    <a:pt x="12907" y="527"/>
                    <a:pt x="13187" y="576"/>
                    <a:pt x="13464" y="645"/>
                  </a:cubicBezTo>
                  <a:cubicBezTo>
                    <a:pt x="12688" y="1321"/>
                    <a:pt x="11952" y="2028"/>
                    <a:pt x="11227" y="2753"/>
                  </a:cubicBezTo>
                  <a:cubicBezTo>
                    <a:pt x="10878" y="3050"/>
                    <a:pt x="10569" y="3321"/>
                    <a:pt x="10442" y="3437"/>
                  </a:cubicBezTo>
                  <a:cubicBezTo>
                    <a:pt x="9414" y="4378"/>
                    <a:pt x="8366" y="5299"/>
                    <a:pt x="7312" y="6211"/>
                  </a:cubicBezTo>
                  <a:cubicBezTo>
                    <a:pt x="6438" y="6972"/>
                    <a:pt x="5536" y="7689"/>
                    <a:pt x="5385" y="7689"/>
                  </a:cubicBezTo>
                  <a:cubicBezTo>
                    <a:pt x="5279" y="7689"/>
                    <a:pt x="5548" y="7330"/>
                    <a:pt x="6469" y="6376"/>
                  </a:cubicBezTo>
                  <a:cubicBezTo>
                    <a:pt x="8438" y="4332"/>
                    <a:pt x="10794" y="2810"/>
                    <a:pt x="12593" y="582"/>
                  </a:cubicBezTo>
                  <a:cubicBezTo>
                    <a:pt x="12613" y="556"/>
                    <a:pt x="12621" y="524"/>
                    <a:pt x="12624" y="492"/>
                  </a:cubicBezTo>
                  <a:close/>
                  <a:moveTo>
                    <a:pt x="32609" y="3487"/>
                  </a:moveTo>
                  <a:cubicBezTo>
                    <a:pt x="32663" y="3487"/>
                    <a:pt x="32190" y="4108"/>
                    <a:pt x="30659" y="5946"/>
                  </a:cubicBezTo>
                  <a:cubicBezTo>
                    <a:pt x="30033" y="6696"/>
                    <a:pt x="29363" y="7412"/>
                    <a:pt x="28682" y="8120"/>
                  </a:cubicBezTo>
                  <a:cubicBezTo>
                    <a:pt x="29233" y="7407"/>
                    <a:pt x="29788" y="6693"/>
                    <a:pt x="30345" y="5983"/>
                  </a:cubicBezTo>
                  <a:cubicBezTo>
                    <a:pt x="30860" y="5329"/>
                    <a:pt x="32516" y="3487"/>
                    <a:pt x="32609" y="3487"/>
                  </a:cubicBezTo>
                  <a:close/>
                  <a:moveTo>
                    <a:pt x="15096" y="1217"/>
                  </a:moveTo>
                  <a:cubicBezTo>
                    <a:pt x="15422" y="1367"/>
                    <a:pt x="15745" y="1534"/>
                    <a:pt x="16063" y="1716"/>
                  </a:cubicBezTo>
                  <a:lnTo>
                    <a:pt x="16054" y="1716"/>
                  </a:lnTo>
                  <a:cubicBezTo>
                    <a:pt x="14131" y="3044"/>
                    <a:pt x="12673" y="4762"/>
                    <a:pt x="11034" y="6408"/>
                  </a:cubicBezTo>
                  <a:cubicBezTo>
                    <a:pt x="10442" y="7002"/>
                    <a:pt x="9838" y="7577"/>
                    <a:pt x="9229" y="8148"/>
                  </a:cubicBezTo>
                  <a:cubicBezTo>
                    <a:pt x="11239" y="5865"/>
                    <a:pt x="13378" y="3760"/>
                    <a:pt x="15096" y="1217"/>
                  </a:cubicBezTo>
                  <a:close/>
                  <a:moveTo>
                    <a:pt x="16517" y="2708"/>
                  </a:moveTo>
                  <a:cubicBezTo>
                    <a:pt x="16768" y="2708"/>
                    <a:pt x="14815" y="4967"/>
                    <a:pt x="14411" y="5368"/>
                  </a:cubicBezTo>
                  <a:cubicBezTo>
                    <a:pt x="13311" y="6462"/>
                    <a:pt x="12090" y="7441"/>
                    <a:pt x="10956" y="8501"/>
                  </a:cubicBezTo>
                  <a:lnTo>
                    <a:pt x="10953" y="8504"/>
                  </a:lnTo>
                  <a:cubicBezTo>
                    <a:pt x="12451" y="6754"/>
                    <a:pt x="13906" y="4950"/>
                    <a:pt x="15624" y="3402"/>
                  </a:cubicBezTo>
                  <a:cubicBezTo>
                    <a:pt x="16177" y="2904"/>
                    <a:pt x="16443" y="2708"/>
                    <a:pt x="16517" y="2708"/>
                  </a:cubicBezTo>
                  <a:close/>
                  <a:moveTo>
                    <a:pt x="5537" y="6985"/>
                  </a:moveTo>
                  <a:lnTo>
                    <a:pt x="5537" y="6985"/>
                  </a:lnTo>
                  <a:cubicBezTo>
                    <a:pt x="5078" y="7482"/>
                    <a:pt x="4656" y="8013"/>
                    <a:pt x="4269" y="8573"/>
                  </a:cubicBezTo>
                  <a:cubicBezTo>
                    <a:pt x="4229" y="8423"/>
                    <a:pt x="4194" y="8275"/>
                    <a:pt x="4162" y="8128"/>
                  </a:cubicBezTo>
                  <a:cubicBezTo>
                    <a:pt x="4624" y="7750"/>
                    <a:pt x="5081" y="7369"/>
                    <a:pt x="5537" y="6985"/>
                  </a:cubicBezTo>
                  <a:close/>
                  <a:moveTo>
                    <a:pt x="41503" y="5839"/>
                  </a:moveTo>
                  <a:cubicBezTo>
                    <a:pt x="42089" y="6128"/>
                    <a:pt x="42692" y="6376"/>
                    <a:pt x="43310" y="6584"/>
                  </a:cubicBezTo>
                  <a:cubicBezTo>
                    <a:pt x="42571" y="7288"/>
                    <a:pt x="41873" y="8021"/>
                    <a:pt x="41214" y="8789"/>
                  </a:cubicBezTo>
                  <a:cubicBezTo>
                    <a:pt x="41659" y="8076"/>
                    <a:pt x="42063" y="7337"/>
                    <a:pt x="42381" y="6549"/>
                  </a:cubicBezTo>
                  <a:cubicBezTo>
                    <a:pt x="42424" y="6437"/>
                    <a:pt x="42321" y="6351"/>
                    <a:pt x="42220" y="6351"/>
                  </a:cubicBezTo>
                  <a:cubicBezTo>
                    <a:pt x="42181" y="6351"/>
                    <a:pt x="42142" y="6364"/>
                    <a:pt x="42112" y="6393"/>
                  </a:cubicBezTo>
                  <a:cubicBezTo>
                    <a:pt x="41434" y="7063"/>
                    <a:pt x="40793" y="7770"/>
                    <a:pt x="40189" y="8509"/>
                  </a:cubicBezTo>
                  <a:cubicBezTo>
                    <a:pt x="40689" y="7637"/>
                    <a:pt x="41142" y="6754"/>
                    <a:pt x="41503" y="5839"/>
                  </a:cubicBezTo>
                  <a:close/>
                  <a:moveTo>
                    <a:pt x="35383" y="2914"/>
                  </a:moveTo>
                  <a:cubicBezTo>
                    <a:pt x="36237" y="3191"/>
                    <a:pt x="37060" y="3564"/>
                    <a:pt x="37874" y="3959"/>
                  </a:cubicBezTo>
                  <a:cubicBezTo>
                    <a:pt x="36523" y="5126"/>
                    <a:pt x="35256" y="6439"/>
                    <a:pt x="34046" y="7842"/>
                  </a:cubicBezTo>
                  <a:cubicBezTo>
                    <a:pt x="34967" y="6477"/>
                    <a:pt x="35873" y="5094"/>
                    <a:pt x="36731" y="3662"/>
                  </a:cubicBezTo>
                  <a:cubicBezTo>
                    <a:pt x="36787" y="3568"/>
                    <a:pt x="36709" y="3470"/>
                    <a:pt x="36618" y="3470"/>
                  </a:cubicBezTo>
                  <a:cubicBezTo>
                    <a:pt x="36597" y="3470"/>
                    <a:pt x="36575" y="3475"/>
                    <a:pt x="36555" y="3486"/>
                  </a:cubicBezTo>
                  <a:cubicBezTo>
                    <a:pt x="36130" y="3717"/>
                    <a:pt x="35746" y="4014"/>
                    <a:pt x="35414" y="4364"/>
                  </a:cubicBezTo>
                  <a:cubicBezTo>
                    <a:pt x="35582" y="4014"/>
                    <a:pt x="35761" y="3665"/>
                    <a:pt x="35905" y="3313"/>
                  </a:cubicBezTo>
                  <a:cubicBezTo>
                    <a:pt x="35947" y="3209"/>
                    <a:pt x="35847" y="3124"/>
                    <a:pt x="35752" y="3124"/>
                  </a:cubicBezTo>
                  <a:cubicBezTo>
                    <a:pt x="35715" y="3124"/>
                    <a:pt x="35678" y="3137"/>
                    <a:pt x="35651" y="3165"/>
                  </a:cubicBezTo>
                  <a:cubicBezTo>
                    <a:pt x="33676" y="5261"/>
                    <a:pt x="31817" y="7493"/>
                    <a:pt x="30016" y="9783"/>
                  </a:cubicBezTo>
                  <a:cubicBezTo>
                    <a:pt x="31465" y="7562"/>
                    <a:pt x="33292" y="4011"/>
                    <a:pt x="35313" y="2998"/>
                  </a:cubicBezTo>
                  <a:cubicBezTo>
                    <a:pt x="35345" y="2981"/>
                    <a:pt x="35371" y="2949"/>
                    <a:pt x="35383" y="2914"/>
                  </a:cubicBezTo>
                  <a:close/>
                  <a:moveTo>
                    <a:pt x="8551" y="5542"/>
                  </a:moveTo>
                  <a:lnTo>
                    <a:pt x="8551" y="5542"/>
                  </a:lnTo>
                  <a:cubicBezTo>
                    <a:pt x="8256" y="5859"/>
                    <a:pt x="7962" y="6174"/>
                    <a:pt x="7670" y="6491"/>
                  </a:cubicBezTo>
                  <a:cubicBezTo>
                    <a:pt x="6492" y="7655"/>
                    <a:pt x="5326" y="8812"/>
                    <a:pt x="4151" y="9904"/>
                  </a:cubicBezTo>
                  <a:cubicBezTo>
                    <a:pt x="4290" y="9580"/>
                    <a:pt x="4376" y="9289"/>
                    <a:pt x="4367" y="9041"/>
                  </a:cubicBezTo>
                  <a:cubicBezTo>
                    <a:pt x="5797" y="7912"/>
                    <a:pt x="7182" y="6737"/>
                    <a:pt x="8551" y="5542"/>
                  </a:cubicBezTo>
                  <a:close/>
                  <a:moveTo>
                    <a:pt x="28465" y="5063"/>
                  </a:moveTo>
                  <a:cubicBezTo>
                    <a:pt x="28540" y="5063"/>
                    <a:pt x="28546" y="5140"/>
                    <a:pt x="28500" y="5264"/>
                  </a:cubicBezTo>
                  <a:cubicBezTo>
                    <a:pt x="27839" y="5946"/>
                    <a:pt x="27218" y="6665"/>
                    <a:pt x="26641" y="7421"/>
                  </a:cubicBezTo>
                  <a:cubicBezTo>
                    <a:pt x="25321" y="8680"/>
                    <a:pt x="23970" y="9878"/>
                    <a:pt x="22677" y="11165"/>
                  </a:cubicBezTo>
                  <a:cubicBezTo>
                    <a:pt x="22966" y="10790"/>
                    <a:pt x="23254" y="10415"/>
                    <a:pt x="23549" y="10048"/>
                  </a:cubicBezTo>
                  <a:cubicBezTo>
                    <a:pt x="24984" y="8573"/>
                    <a:pt x="26401" y="7083"/>
                    <a:pt x="27752" y="5547"/>
                  </a:cubicBezTo>
                  <a:cubicBezTo>
                    <a:pt x="28141" y="5201"/>
                    <a:pt x="28365" y="5063"/>
                    <a:pt x="28465" y="5063"/>
                  </a:cubicBezTo>
                  <a:close/>
                  <a:moveTo>
                    <a:pt x="22183" y="6180"/>
                  </a:moveTo>
                  <a:cubicBezTo>
                    <a:pt x="21386" y="7753"/>
                    <a:pt x="19611" y="9104"/>
                    <a:pt x="18384" y="10360"/>
                  </a:cubicBezTo>
                  <a:cubicBezTo>
                    <a:pt x="18084" y="10666"/>
                    <a:pt x="17795" y="10984"/>
                    <a:pt x="17503" y="11298"/>
                  </a:cubicBezTo>
                  <a:cubicBezTo>
                    <a:pt x="17723" y="11041"/>
                    <a:pt x="17948" y="10787"/>
                    <a:pt x="18164" y="10524"/>
                  </a:cubicBezTo>
                  <a:cubicBezTo>
                    <a:pt x="19184" y="9280"/>
                    <a:pt x="21519" y="7487"/>
                    <a:pt x="22183" y="6180"/>
                  </a:cubicBezTo>
                  <a:close/>
                  <a:moveTo>
                    <a:pt x="22839" y="7063"/>
                  </a:moveTo>
                  <a:lnTo>
                    <a:pt x="22839" y="7063"/>
                  </a:lnTo>
                  <a:cubicBezTo>
                    <a:pt x="21638" y="8561"/>
                    <a:pt x="20203" y="9970"/>
                    <a:pt x="18765" y="11336"/>
                  </a:cubicBezTo>
                  <a:lnTo>
                    <a:pt x="18765" y="11336"/>
                  </a:lnTo>
                  <a:cubicBezTo>
                    <a:pt x="20102" y="9884"/>
                    <a:pt x="21456" y="8454"/>
                    <a:pt x="22839" y="7063"/>
                  </a:cubicBezTo>
                  <a:close/>
                  <a:moveTo>
                    <a:pt x="29092" y="4055"/>
                  </a:moveTo>
                  <a:lnTo>
                    <a:pt x="29092" y="4055"/>
                  </a:lnTo>
                  <a:cubicBezTo>
                    <a:pt x="28910" y="4205"/>
                    <a:pt x="28722" y="4349"/>
                    <a:pt x="28543" y="4499"/>
                  </a:cubicBezTo>
                  <a:cubicBezTo>
                    <a:pt x="28518" y="4452"/>
                    <a:pt x="28470" y="4426"/>
                    <a:pt x="28422" y="4426"/>
                  </a:cubicBezTo>
                  <a:cubicBezTo>
                    <a:pt x="28388" y="4426"/>
                    <a:pt x="28354" y="4439"/>
                    <a:pt x="28327" y="4465"/>
                  </a:cubicBezTo>
                  <a:cubicBezTo>
                    <a:pt x="25812" y="6523"/>
                    <a:pt x="23427" y="8951"/>
                    <a:pt x="21115" y="11443"/>
                  </a:cubicBezTo>
                  <a:lnTo>
                    <a:pt x="21115" y="11443"/>
                  </a:lnTo>
                  <a:cubicBezTo>
                    <a:pt x="22873" y="9528"/>
                    <a:pt x="24565" y="7562"/>
                    <a:pt x="25991" y="5406"/>
                  </a:cubicBezTo>
                  <a:cubicBezTo>
                    <a:pt x="26023" y="5360"/>
                    <a:pt x="26023" y="5299"/>
                    <a:pt x="25991" y="5250"/>
                  </a:cubicBezTo>
                  <a:cubicBezTo>
                    <a:pt x="27077" y="4996"/>
                    <a:pt x="28078" y="4534"/>
                    <a:pt x="29092" y="4055"/>
                  </a:cubicBezTo>
                  <a:close/>
                  <a:moveTo>
                    <a:pt x="39768" y="4929"/>
                  </a:moveTo>
                  <a:lnTo>
                    <a:pt x="39768" y="4929"/>
                  </a:lnTo>
                  <a:cubicBezTo>
                    <a:pt x="39998" y="5053"/>
                    <a:pt x="40228" y="5171"/>
                    <a:pt x="40457" y="5294"/>
                  </a:cubicBezTo>
                  <a:lnTo>
                    <a:pt x="40457" y="5294"/>
                  </a:lnTo>
                  <a:cubicBezTo>
                    <a:pt x="40433" y="5281"/>
                    <a:pt x="40405" y="5274"/>
                    <a:pt x="40378" y="5274"/>
                  </a:cubicBezTo>
                  <a:cubicBezTo>
                    <a:pt x="40343" y="5274"/>
                    <a:pt x="40309" y="5287"/>
                    <a:pt x="40285" y="5319"/>
                  </a:cubicBezTo>
                  <a:cubicBezTo>
                    <a:pt x="38648" y="7424"/>
                    <a:pt x="37074" y="9578"/>
                    <a:pt x="35504" y="11731"/>
                  </a:cubicBezTo>
                  <a:cubicBezTo>
                    <a:pt x="37017" y="9508"/>
                    <a:pt x="38451" y="7242"/>
                    <a:pt x="39765" y="4961"/>
                  </a:cubicBezTo>
                  <a:cubicBezTo>
                    <a:pt x="39771" y="4950"/>
                    <a:pt x="39765" y="4941"/>
                    <a:pt x="39768" y="4929"/>
                  </a:cubicBezTo>
                  <a:close/>
                  <a:moveTo>
                    <a:pt x="24530" y="6379"/>
                  </a:moveTo>
                  <a:cubicBezTo>
                    <a:pt x="24650" y="6379"/>
                    <a:pt x="21572" y="10289"/>
                    <a:pt x="21086" y="10793"/>
                  </a:cubicBezTo>
                  <a:cubicBezTo>
                    <a:pt x="20754" y="11139"/>
                    <a:pt x="20428" y="11486"/>
                    <a:pt x="20102" y="11835"/>
                  </a:cubicBezTo>
                  <a:cubicBezTo>
                    <a:pt x="20566" y="11290"/>
                    <a:pt x="21023" y="10738"/>
                    <a:pt x="21450" y="10169"/>
                  </a:cubicBezTo>
                  <a:cubicBezTo>
                    <a:pt x="22365" y="8951"/>
                    <a:pt x="23266" y="7733"/>
                    <a:pt x="24296" y="6607"/>
                  </a:cubicBezTo>
                  <a:cubicBezTo>
                    <a:pt x="24441" y="6449"/>
                    <a:pt x="24514" y="6379"/>
                    <a:pt x="24530" y="6379"/>
                  </a:cubicBezTo>
                  <a:close/>
                  <a:moveTo>
                    <a:pt x="35282" y="4813"/>
                  </a:moveTo>
                  <a:cubicBezTo>
                    <a:pt x="35377" y="4813"/>
                    <a:pt x="33831" y="7827"/>
                    <a:pt x="33737" y="7975"/>
                  </a:cubicBezTo>
                  <a:cubicBezTo>
                    <a:pt x="33471" y="8388"/>
                    <a:pt x="33191" y="8792"/>
                    <a:pt x="32911" y="9196"/>
                  </a:cubicBezTo>
                  <a:cubicBezTo>
                    <a:pt x="32172" y="10112"/>
                    <a:pt x="31453" y="11053"/>
                    <a:pt x="30749" y="12011"/>
                  </a:cubicBezTo>
                  <a:cubicBezTo>
                    <a:pt x="30864" y="11835"/>
                    <a:pt x="30971" y="11650"/>
                    <a:pt x="31090" y="11480"/>
                  </a:cubicBezTo>
                  <a:cubicBezTo>
                    <a:pt x="32097" y="10011"/>
                    <a:pt x="33021" y="8527"/>
                    <a:pt x="33930" y="7014"/>
                  </a:cubicBezTo>
                  <a:cubicBezTo>
                    <a:pt x="34170" y="6639"/>
                    <a:pt x="34392" y="6260"/>
                    <a:pt x="34612" y="5882"/>
                  </a:cubicBezTo>
                  <a:cubicBezTo>
                    <a:pt x="34646" y="5822"/>
                    <a:pt x="34681" y="5767"/>
                    <a:pt x="34716" y="5709"/>
                  </a:cubicBezTo>
                  <a:cubicBezTo>
                    <a:pt x="35091" y="5065"/>
                    <a:pt x="35255" y="4813"/>
                    <a:pt x="35282" y="4813"/>
                  </a:cubicBezTo>
                  <a:close/>
                  <a:moveTo>
                    <a:pt x="8429" y="7438"/>
                  </a:moveTo>
                  <a:lnTo>
                    <a:pt x="8429" y="7438"/>
                  </a:lnTo>
                  <a:cubicBezTo>
                    <a:pt x="7506" y="8498"/>
                    <a:pt x="6570" y="9552"/>
                    <a:pt x="5563" y="10539"/>
                  </a:cubicBezTo>
                  <a:cubicBezTo>
                    <a:pt x="4438" y="11641"/>
                    <a:pt x="3992" y="12059"/>
                    <a:pt x="3963" y="12059"/>
                  </a:cubicBezTo>
                  <a:cubicBezTo>
                    <a:pt x="3878" y="12059"/>
                    <a:pt x="7167" y="8675"/>
                    <a:pt x="7789" y="8071"/>
                  </a:cubicBezTo>
                  <a:cubicBezTo>
                    <a:pt x="8002" y="7863"/>
                    <a:pt x="8213" y="7649"/>
                    <a:pt x="8429" y="7438"/>
                  </a:cubicBezTo>
                  <a:close/>
                  <a:moveTo>
                    <a:pt x="13144" y="1921"/>
                  </a:moveTo>
                  <a:cubicBezTo>
                    <a:pt x="13171" y="1921"/>
                    <a:pt x="10818" y="4559"/>
                    <a:pt x="10528" y="4860"/>
                  </a:cubicBezTo>
                  <a:cubicBezTo>
                    <a:pt x="8083" y="7395"/>
                    <a:pt x="5482" y="9768"/>
                    <a:pt x="3057" y="12323"/>
                  </a:cubicBezTo>
                  <a:cubicBezTo>
                    <a:pt x="3169" y="11841"/>
                    <a:pt x="3449" y="11298"/>
                    <a:pt x="3724" y="10773"/>
                  </a:cubicBezTo>
                  <a:lnTo>
                    <a:pt x="3724" y="10770"/>
                  </a:lnTo>
                  <a:cubicBezTo>
                    <a:pt x="4206" y="10366"/>
                    <a:pt x="4673" y="9950"/>
                    <a:pt x="5130" y="9526"/>
                  </a:cubicBezTo>
                  <a:cubicBezTo>
                    <a:pt x="6371" y="8429"/>
                    <a:pt x="7633" y="7360"/>
                    <a:pt x="8871" y="6260"/>
                  </a:cubicBezTo>
                  <a:cubicBezTo>
                    <a:pt x="10176" y="5106"/>
                    <a:pt x="11363" y="3855"/>
                    <a:pt x="12535" y="2574"/>
                  </a:cubicBezTo>
                  <a:cubicBezTo>
                    <a:pt x="12962" y="2107"/>
                    <a:pt x="13137" y="1921"/>
                    <a:pt x="13144" y="1921"/>
                  </a:cubicBezTo>
                  <a:close/>
                  <a:moveTo>
                    <a:pt x="16302" y="1852"/>
                  </a:moveTo>
                  <a:cubicBezTo>
                    <a:pt x="16467" y="1947"/>
                    <a:pt x="16629" y="2045"/>
                    <a:pt x="16790" y="2146"/>
                  </a:cubicBezTo>
                  <a:cubicBezTo>
                    <a:pt x="13089" y="4727"/>
                    <a:pt x="10722" y="8657"/>
                    <a:pt x="7485" y="11754"/>
                  </a:cubicBezTo>
                  <a:cubicBezTo>
                    <a:pt x="6459" y="12735"/>
                    <a:pt x="6019" y="13111"/>
                    <a:pt x="5946" y="13111"/>
                  </a:cubicBezTo>
                  <a:cubicBezTo>
                    <a:pt x="5729" y="13111"/>
                    <a:pt x="8813" y="9739"/>
                    <a:pt x="9356" y="9150"/>
                  </a:cubicBezTo>
                  <a:cubicBezTo>
                    <a:pt x="11623" y="6705"/>
                    <a:pt x="14172" y="4603"/>
                    <a:pt x="16271" y="1996"/>
                  </a:cubicBezTo>
                  <a:cubicBezTo>
                    <a:pt x="16299" y="1956"/>
                    <a:pt x="16311" y="1904"/>
                    <a:pt x="16302" y="1855"/>
                  </a:cubicBezTo>
                  <a:lnTo>
                    <a:pt x="16302" y="1852"/>
                  </a:lnTo>
                  <a:close/>
                  <a:moveTo>
                    <a:pt x="38847" y="7685"/>
                  </a:moveTo>
                  <a:cubicBezTo>
                    <a:pt x="38877" y="7685"/>
                    <a:pt x="36215" y="11407"/>
                    <a:pt x="35862" y="11844"/>
                  </a:cubicBezTo>
                  <a:cubicBezTo>
                    <a:pt x="35449" y="12349"/>
                    <a:pt x="35056" y="12872"/>
                    <a:pt x="34661" y="13388"/>
                  </a:cubicBezTo>
                  <a:cubicBezTo>
                    <a:pt x="35963" y="11604"/>
                    <a:pt x="37259" y="9811"/>
                    <a:pt x="38578" y="8036"/>
                  </a:cubicBezTo>
                  <a:cubicBezTo>
                    <a:pt x="38761" y="7790"/>
                    <a:pt x="38842" y="7685"/>
                    <a:pt x="38847" y="7685"/>
                  </a:cubicBezTo>
                  <a:close/>
                  <a:moveTo>
                    <a:pt x="13960" y="2085"/>
                  </a:moveTo>
                  <a:cubicBezTo>
                    <a:pt x="14178" y="2085"/>
                    <a:pt x="11694" y="4989"/>
                    <a:pt x="11334" y="5386"/>
                  </a:cubicBezTo>
                  <a:cubicBezTo>
                    <a:pt x="9948" y="6919"/>
                    <a:pt x="8574" y="8452"/>
                    <a:pt x="7226" y="10011"/>
                  </a:cubicBezTo>
                  <a:cubicBezTo>
                    <a:pt x="6025" y="11131"/>
                    <a:pt x="4838" y="12265"/>
                    <a:pt x="3735" y="13495"/>
                  </a:cubicBezTo>
                  <a:cubicBezTo>
                    <a:pt x="3695" y="13541"/>
                    <a:pt x="3686" y="13605"/>
                    <a:pt x="3706" y="13663"/>
                  </a:cubicBezTo>
                  <a:cubicBezTo>
                    <a:pt x="3276" y="13492"/>
                    <a:pt x="3074" y="13230"/>
                    <a:pt x="3022" y="12909"/>
                  </a:cubicBezTo>
                  <a:cubicBezTo>
                    <a:pt x="6420" y="10646"/>
                    <a:pt x="8811" y="7444"/>
                    <a:pt x="11507" y="4424"/>
                  </a:cubicBezTo>
                  <a:cubicBezTo>
                    <a:pt x="12047" y="3830"/>
                    <a:pt x="12613" y="3264"/>
                    <a:pt x="13207" y="2721"/>
                  </a:cubicBezTo>
                  <a:cubicBezTo>
                    <a:pt x="13680" y="2268"/>
                    <a:pt x="13905" y="2085"/>
                    <a:pt x="13960" y="2085"/>
                  </a:cubicBezTo>
                  <a:close/>
                  <a:moveTo>
                    <a:pt x="15072" y="2758"/>
                  </a:moveTo>
                  <a:cubicBezTo>
                    <a:pt x="15144" y="2758"/>
                    <a:pt x="13384" y="4726"/>
                    <a:pt x="13190" y="4927"/>
                  </a:cubicBezTo>
                  <a:cubicBezTo>
                    <a:pt x="12197" y="5946"/>
                    <a:pt x="11135" y="6910"/>
                    <a:pt x="10110" y="7900"/>
                  </a:cubicBezTo>
                  <a:cubicBezTo>
                    <a:pt x="8207" y="9736"/>
                    <a:pt x="6553" y="11815"/>
                    <a:pt x="4702" y="13709"/>
                  </a:cubicBezTo>
                  <a:cubicBezTo>
                    <a:pt x="4665" y="13746"/>
                    <a:pt x="4650" y="13801"/>
                    <a:pt x="4665" y="13856"/>
                  </a:cubicBezTo>
                  <a:cubicBezTo>
                    <a:pt x="4431" y="13839"/>
                    <a:pt x="4200" y="13804"/>
                    <a:pt x="3972" y="13746"/>
                  </a:cubicBezTo>
                  <a:cubicBezTo>
                    <a:pt x="5363" y="12713"/>
                    <a:pt x="6472" y="11425"/>
                    <a:pt x="7566" y="10106"/>
                  </a:cubicBezTo>
                  <a:cubicBezTo>
                    <a:pt x="7742" y="9944"/>
                    <a:pt x="7918" y="9780"/>
                    <a:pt x="8092" y="9618"/>
                  </a:cubicBezTo>
                  <a:cubicBezTo>
                    <a:pt x="10182" y="7684"/>
                    <a:pt x="12180" y="5715"/>
                    <a:pt x="14154" y="3665"/>
                  </a:cubicBezTo>
                  <a:cubicBezTo>
                    <a:pt x="14791" y="3005"/>
                    <a:pt x="15047" y="2758"/>
                    <a:pt x="15072" y="2758"/>
                  </a:cubicBezTo>
                  <a:close/>
                  <a:moveTo>
                    <a:pt x="7474" y="12115"/>
                  </a:moveTo>
                  <a:lnTo>
                    <a:pt x="7474" y="12115"/>
                  </a:lnTo>
                  <a:cubicBezTo>
                    <a:pt x="6980" y="12678"/>
                    <a:pt x="6501" y="13256"/>
                    <a:pt x="6039" y="13839"/>
                  </a:cubicBezTo>
                  <a:cubicBezTo>
                    <a:pt x="5719" y="13862"/>
                    <a:pt x="5430" y="13874"/>
                    <a:pt x="5169" y="13874"/>
                  </a:cubicBezTo>
                  <a:cubicBezTo>
                    <a:pt x="5140" y="13874"/>
                    <a:pt x="5112" y="13874"/>
                    <a:pt x="5083" y="13873"/>
                  </a:cubicBezTo>
                  <a:cubicBezTo>
                    <a:pt x="5950" y="13357"/>
                    <a:pt x="6732" y="12759"/>
                    <a:pt x="7474" y="12115"/>
                  </a:cubicBezTo>
                  <a:close/>
                  <a:moveTo>
                    <a:pt x="17255" y="2441"/>
                  </a:moveTo>
                  <a:cubicBezTo>
                    <a:pt x="17486" y="2588"/>
                    <a:pt x="17714" y="2738"/>
                    <a:pt x="17945" y="2888"/>
                  </a:cubicBezTo>
                  <a:cubicBezTo>
                    <a:pt x="15869" y="4609"/>
                    <a:pt x="13964" y="6474"/>
                    <a:pt x="12090" y="8411"/>
                  </a:cubicBezTo>
                  <a:cubicBezTo>
                    <a:pt x="11103" y="9433"/>
                    <a:pt x="10121" y="10461"/>
                    <a:pt x="9125" y="11477"/>
                  </a:cubicBezTo>
                  <a:cubicBezTo>
                    <a:pt x="8828" y="11780"/>
                    <a:pt x="6625" y="14032"/>
                    <a:pt x="6250" y="14266"/>
                  </a:cubicBezTo>
                  <a:cubicBezTo>
                    <a:pt x="6238" y="14252"/>
                    <a:pt x="6227" y="14237"/>
                    <a:pt x="6212" y="14226"/>
                  </a:cubicBezTo>
                  <a:cubicBezTo>
                    <a:pt x="6253" y="14159"/>
                    <a:pt x="6296" y="14096"/>
                    <a:pt x="6345" y="14032"/>
                  </a:cubicBezTo>
                  <a:lnTo>
                    <a:pt x="6391" y="14029"/>
                  </a:lnTo>
                  <a:cubicBezTo>
                    <a:pt x="6463" y="14018"/>
                    <a:pt x="6478" y="13943"/>
                    <a:pt x="6458" y="13885"/>
                  </a:cubicBezTo>
                  <a:cubicBezTo>
                    <a:pt x="6541" y="13775"/>
                    <a:pt x="6648" y="13642"/>
                    <a:pt x="6778" y="13487"/>
                  </a:cubicBezTo>
                  <a:cubicBezTo>
                    <a:pt x="9968" y="9627"/>
                    <a:pt x="14645" y="6722"/>
                    <a:pt x="17255" y="2441"/>
                  </a:cubicBezTo>
                  <a:close/>
                  <a:moveTo>
                    <a:pt x="19400" y="4748"/>
                  </a:moveTo>
                  <a:lnTo>
                    <a:pt x="19400" y="4748"/>
                  </a:lnTo>
                  <a:cubicBezTo>
                    <a:pt x="19106" y="5654"/>
                    <a:pt x="16946" y="7528"/>
                    <a:pt x="16522" y="7993"/>
                  </a:cubicBezTo>
                  <a:cubicBezTo>
                    <a:pt x="14928" y="9742"/>
                    <a:pt x="13297" y="11454"/>
                    <a:pt x="11674" y="13175"/>
                  </a:cubicBezTo>
                  <a:cubicBezTo>
                    <a:pt x="11181" y="13700"/>
                    <a:pt x="10664" y="14223"/>
                    <a:pt x="10144" y="14751"/>
                  </a:cubicBezTo>
                  <a:cubicBezTo>
                    <a:pt x="13095" y="11287"/>
                    <a:pt x="15979" y="7770"/>
                    <a:pt x="19400" y="4748"/>
                  </a:cubicBezTo>
                  <a:close/>
                  <a:moveTo>
                    <a:pt x="20035" y="5595"/>
                  </a:moveTo>
                  <a:lnTo>
                    <a:pt x="20035" y="5595"/>
                  </a:lnTo>
                  <a:cubicBezTo>
                    <a:pt x="19660" y="5937"/>
                    <a:pt x="19004" y="6827"/>
                    <a:pt x="18297" y="7770"/>
                  </a:cubicBezTo>
                  <a:cubicBezTo>
                    <a:pt x="16617" y="9286"/>
                    <a:pt x="15084" y="11041"/>
                    <a:pt x="13606" y="12857"/>
                  </a:cubicBezTo>
                  <a:cubicBezTo>
                    <a:pt x="13043" y="13383"/>
                    <a:pt x="12483" y="13905"/>
                    <a:pt x="11923" y="14431"/>
                  </a:cubicBezTo>
                  <a:cubicBezTo>
                    <a:pt x="11729" y="14612"/>
                    <a:pt x="11539" y="14800"/>
                    <a:pt x="11345" y="14982"/>
                  </a:cubicBezTo>
                  <a:cubicBezTo>
                    <a:pt x="14092" y="11733"/>
                    <a:pt x="16871" y="8450"/>
                    <a:pt x="20035" y="5595"/>
                  </a:cubicBezTo>
                  <a:close/>
                  <a:moveTo>
                    <a:pt x="43095" y="7399"/>
                  </a:moveTo>
                  <a:cubicBezTo>
                    <a:pt x="43114" y="7399"/>
                    <a:pt x="43114" y="7423"/>
                    <a:pt x="43088" y="7476"/>
                  </a:cubicBezTo>
                  <a:cubicBezTo>
                    <a:pt x="41748" y="10230"/>
                    <a:pt x="38913" y="12638"/>
                    <a:pt x="36944" y="15164"/>
                  </a:cubicBezTo>
                  <a:cubicBezTo>
                    <a:pt x="37196" y="14765"/>
                    <a:pt x="37444" y="14367"/>
                    <a:pt x="37698" y="13972"/>
                  </a:cubicBezTo>
                  <a:cubicBezTo>
                    <a:pt x="38711" y="12384"/>
                    <a:pt x="39823" y="10880"/>
                    <a:pt x="41004" y="9410"/>
                  </a:cubicBezTo>
                  <a:lnTo>
                    <a:pt x="41004" y="9410"/>
                  </a:lnTo>
                  <a:cubicBezTo>
                    <a:pt x="41001" y="9413"/>
                    <a:pt x="41000" y="9415"/>
                    <a:pt x="41001" y="9415"/>
                  </a:cubicBezTo>
                  <a:cubicBezTo>
                    <a:pt x="41016" y="9415"/>
                    <a:pt x="42914" y="7399"/>
                    <a:pt x="43095" y="7399"/>
                  </a:cubicBezTo>
                  <a:close/>
                  <a:moveTo>
                    <a:pt x="37289" y="4570"/>
                  </a:moveTo>
                  <a:cubicBezTo>
                    <a:pt x="37379" y="4570"/>
                    <a:pt x="36232" y="6345"/>
                    <a:pt x="35937" y="6780"/>
                  </a:cubicBezTo>
                  <a:cubicBezTo>
                    <a:pt x="35504" y="7415"/>
                    <a:pt x="35088" y="8056"/>
                    <a:pt x="34667" y="8697"/>
                  </a:cubicBezTo>
                  <a:cubicBezTo>
                    <a:pt x="33304" y="10268"/>
                    <a:pt x="31979" y="11873"/>
                    <a:pt x="30688" y="13478"/>
                  </a:cubicBezTo>
                  <a:cubicBezTo>
                    <a:pt x="29883" y="14474"/>
                    <a:pt x="29043" y="15479"/>
                    <a:pt x="28211" y="16498"/>
                  </a:cubicBezTo>
                  <a:cubicBezTo>
                    <a:pt x="28598" y="15966"/>
                    <a:pt x="28985" y="15435"/>
                    <a:pt x="29378" y="14913"/>
                  </a:cubicBezTo>
                  <a:cubicBezTo>
                    <a:pt x="31321" y="12323"/>
                    <a:pt x="33411" y="9852"/>
                    <a:pt x="35296" y="7219"/>
                  </a:cubicBezTo>
                  <a:cubicBezTo>
                    <a:pt x="36725" y="5222"/>
                    <a:pt x="37235" y="4570"/>
                    <a:pt x="37289" y="4570"/>
                  </a:cubicBezTo>
                  <a:close/>
                  <a:moveTo>
                    <a:pt x="20053" y="12597"/>
                  </a:moveTo>
                  <a:lnTo>
                    <a:pt x="20053" y="12597"/>
                  </a:lnTo>
                  <a:cubicBezTo>
                    <a:pt x="18395" y="14402"/>
                    <a:pt x="16770" y="16218"/>
                    <a:pt x="15153" y="17933"/>
                  </a:cubicBezTo>
                  <a:lnTo>
                    <a:pt x="15153" y="17935"/>
                  </a:lnTo>
                  <a:cubicBezTo>
                    <a:pt x="15104" y="17987"/>
                    <a:pt x="15055" y="18039"/>
                    <a:pt x="15003" y="18091"/>
                  </a:cubicBezTo>
                  <a:cubicBezTo>
                    <a:pt x="16617" y="16212"/>
                    <a:pt x="18346" y="14410"/>
                    <a:pt x="20053" y="12597"/>
                  </a:cubicBezTo>
                  <a:close/>
                  <a:moveTo>
                    <a:pt x="17446" y="3783"/>
                  </a:moveTo>
                  <a:cubicBezTo>
                    <a:pt x="13499" y="9349"/>
                    <a:pt x="8288" y="13946"/>
                    <a:pt x="3753" y="19018"/>
                  </a:cubicBezTo>
                  <a:cubicBezTo>
                    <a:pt x="3767" y="18911"/>
                    <a:pt x="3781" y="18804"/>
                    <a:pt x="3807" y="18695"/>
                  </a:cubicBezTo>
                  <a:cubicBezTo>
                    <a:pt x="4148" y="17269"/>
                    <a:pt x="5410" y="16065"/>
                    <a:pt x="6117" y="14754"/>
                  </a:cubicBezTo>
                  <a:cubicBezTo>
                    <a:pt x="7947" y="13152"/>
                    <a:pt x="9665" y="11448"/>
                    <a:pt x="11357" y="9690"/>
                  </a:cubicBezTo>
                  <a:cubicBezTo>
                    <a:pt x="13181" y="7799"/>
                    <a:pt x="15993" y="5827"/>
                    <a:pt x="17446" y="3783"/>
                  </a:cubicBezTo>
                  <a:close/>
                  <a:moveTo>
                    <a:pt x="19212" y="3708"/>
                  </a:moveTo>
                  <a:cubicBezTo>
                    <a:pt x="19371" y="3809"/>
                    <a:pt x="19533" y="3907"/>
                    <a:pt x="19695" y="4003"/>
                  </a:cubicBezTo>
                  <a:cubicBezTo>
                    <a:pt x="19689" y="4006"/>
                    <a:pt x="19686" y="4003"/>
                    <a:pt x="19680" y="4009"/>
                  </a:cubicBezTo>
                  <a:cubicBezTo>
                    <a:pt x="14165" y="8704"/>
                    <a:pt x="10109" y="14743"/>
                    <a:pt x="5040" y="19875"/>
                  </a:cubicBezTo>
                  <a:lnTo>
                    <a:pt x="5040" y="19875"/>
                  </a:lnTo>
                  <a:cubicBezTo>
                    <a:pt x="7502" y="17382"/>
                    <a:pt x="9537" y="14550"/>
                    <a:pt x="11871" y="11936"/>
                  </a:cubicBezTo>
                  <a:cubicBezTo>
                    <a:pt x="14328" y="9185"/>
                    <a:pt x="16952" y="6627"/>
                    <a:pt x="19212" y="3708"/>
                  </a:cubicBezTo>
                  <a:close/>
                  <a:moveTo>
                    <a:pt x="25451" y="5365"/>
                  </a:moveTo>
                  <a:lnTo>
                    <a:pt x="25451" y="5365"/>
                  </a:lnTo>
                  <a:cubicBezTo>
                    <a:pt x="22916" y="6881"/>
                    <a:pt x="21378" y="9791"/>
                    <a:pt x="19403" y="11910"/>
                  </a:cubicBezTo>
                  <a:cubicBezTo>
                    <a:pt x="16779" y="14722"/>
                    <a:pt x="14342" y="17686"/>
                    <a:pt x="11755" y="20524"/>
                  </a:cubicBezTo>
                  <a:lnTo>
                    <a:pt x="11755" y="20524"/>
                  </a:lnTo>
                  <a:cubicBezTo>
                    <a:pt x="13132" y="18548"/>
                    <a:pt x="14386" y="16474"/>
                    <a:pt x="15956" y="14618"/>
                  </a:cubicBezTo>
                  <a:cubicBezTo>
                    <a:pt x="18407" y="11728"/>
                    <a:pt x="22071" y="9225"/>
                    <a:pt x="23996" y="5920"/>
                  </a:cubicBezTo>
                  <a:cubicBezTo>
                    <a:pt x="24146" y="5770"/>
                    <a:pt x="24294" y="5617"/>
                    <a:pt x="24447" y="5472"/>
                  </a:cubicBezTo>
                  <a:cubicBezTo>
                    <a:pt x="24784" y="5461"/>
                    <a:pt x="25119" y="5426"/>
                    <a:pt x="25451" y="5365"/>
                  </a:cubicBezTo>
                  <a:close/>
                  <a:moveTo>
                    <a:pt x="34392" y="2634"/>
                  </a:moveTo>
                  <a:cubicBezTo>
                    <a:pt x="34586" y="2680"/>
                    <a:pt x="34773" y="2735"/>
                    <a:pt x="34961" y="2790"/>
                  </a:cubicBezTo>
                  <a:cubicBezTo>
                    <a:pt x="33636" y="3596"/>
                    <a:pt x="32383" y="5960"/>
                    <a:pt x="31523" y="7118"/>
                  </a:cubicBezTo>
                  <a:cubicBezTo>
                    <a:pt x="29279" y="10141"/>
                    <a:pt x="27149" y="13247"/>
                    <a:pt x="24929" y="16287"/>
                  </a:cubicBezTo>
                  <a:cubicBezTo>
                    <a:pt x="24181" y="17315"/>
                    <a:pt x="21886" y="20124"/>
                    <a:pt x="21401" y="20779"/>
                  </a:cubicBezTo>
                  <a:cubicBezTo>
                    <a:pt x="23003" y="18614"/>
                    <a:pt x="24455" y="16339"/>
                    <a:pt x="25835" y="14029"/>
                  </a:cubicBezTo>
                  <a:cubicBezTo>
                    <a:pt x="28298" y="9910"/>
                    <a:pt x="32140" y="6812"/>
                    <a:pt x="34392" y="2634"/>
                  </a:cubicBezTo>
                  <a:close/>
                  <a:moveTo>
                    <a:pt x="17438" y="5317"/>
                  </a:moveTo>
                  <a:cubicBezTo>
                    <a:pt x="17460" y="5317"/>
                    <a:pt x="17420" y="5380"/>
                    <a:pt x="17298" y="5527"/>
                  </a:cubicBezTo>
                  <a:cubicBezTo>
                    <a:pt x="12979" y="10735"/>
                    <a:pt x="8173" y="15479"/>
                    <a:pt x="4021" y="20854"/>
                  </a:cubicBezTo>
                  <a:cubicBezTo>
                    <a:pt x="4001" y="20883"/>
                    <a:pt x="3992" y="20921"/>
                    <a:pt x="3998" y="20958"/>
                  </a:cubicBezTo>
                  <a:cubicBezTo>
                    <a:pt x="3822" y="20537"/>
                    <a:pt x="3724" y="20086"/>
                    <a:pt x="3709" y="19633"/>
                  </a:cubicBezTo>
                  <a:cubicBezTo>
                    <a:pt x="6261" y="17179"/>
                    <a:pt x="8712" y="14638"/>
                    <a:pt x="11109" y="12031"/>
                  </a:cubicBezTo>
                  <a:cubicBezTo>
                    <a:pt x="12416" y="10608"/>
                    <a:pt x="13724" y="9179"/>
                    <a:pt x="14948" y="7681"/>
                  </a:cubicBezTo>
                  <a:cubicBezTo>
                    <a:pt x="15223" y="7347"/>
                    <a:pt x="17315" y="5317"/>
                    <a:pt x="17438" y="5317"/>
                  </a:cubicBezTo>
                  <a:close/>
                  <a:moveTo>
                    <a:pt x="14521" y="14179"/>
                  </a:moveTo>
                  <a:lnTo>
                    <a:pt x="14521" y="14179"/>
                  </a:lnTo>
                  <a:cubicBezTo>
                    <a:pt x="12419" y="16599"/>
                    <a:pt x="10320" y="19006"/>
                    <a:pt x="7994" y="21221"/>
                  </a:cubicBezTo>
                  <a:cubicBezTo>
                    <a:pt x="10072" y="19160"/>
                    <a:pt x="12197" y="16541"/>
                    <a:pt x="14290" y="14419"/>
                  </a:cubicBezTo>
                  <a:cubicBezTo>
                    <a:pt x="14368" y="14341"/>
                    <a:pt x="14443" y="14260"/>
                    <a:pt x="14521" y="14179"/>
                  </a:cubicBezTo>
                  <a:close/>
                  <a:moveTo>
                    <a:pt x="29661" y="6214"/>
                  </a:moveTo>
                  <a:lnTo>
                    <a:pt x="29661" y="6214"/>
                  </a:lnTo>
                  <a:cubicBezTo>
                    <a:pt x="28439" y="7672"/>
                    <a:pt x="27282" y="9194"/>
                    <a:pt x="26141" y="10718"/>
                  </a:cubicBezTo>
                  <a:cubicBezTo>
                    <a:pt x="25925" y="10943"/>
                    <a:pt x="25702" y="11165"/>
                    <a:pt x="25486" y="11393"/>
                  </a:cubicBezTo>
                  <a:cubicBezTo>
                    <a:pt x="24094" y="12869"/>
                    <a:pt x="22977" y="14523"/>
                    <a:pt x="21915" y="16215"/>
                  </a:cubicBezTo>
                  <a:cubicBezTo>
                    <a:pt x="20688" y="17751"/>
                    <a:pt x="19449" y="19275"/>
                    <a:pt x="18179" y="20779"/>
                  </a:cubicBezTo>
                  <a:cubicBezTo>
                    <a:pt x="18009" y="20978"/>
                    <a:pt x="17832" y="21169"/>
                    <a:pt x="17659" y="21368"/>
                  </a:cubicBezTo>
                  <a:cubicBezTo>
                    <a:pt x="20370" y="17722"/>
                    <a:pt x="22778" y="13793"/>
                    <a:pt x="25639" y="10288"/>
                  </a:cubicBezTo>
                  <a:cubicBezTo>
                    <a:pt x="26831" y="8830"/>
                    <a:pt x="28361" y="7603"/>
                    <a:pt x="29661" y="6214"/>
                  </a:cubicBezTo>
                  <a:close/>
                  <a:moveTo>
                    <a:pt x="31404" y="10507"/>
                  </a:moveTo>
                  <a:cubicBezTo>
                    <a:pt x="30527" y="11812"/>
                    <a:pt x="29626" y="13105"/>
                    <a:pt x="28734" y="14405"/>
                  </a:cubicBezTo>
                  <a:cubicBezTo>
                    <a:pt x="28445" y="14823"/>
                    <a:pt x="28182" y="15250"/>
                    <a:pt x="27923" y="15681"/>
                  </a:cubicBezTo>
                  <a:cubicBezTo>
                    <a:pt x="26863" y="17020"/>
                    <a:pt x="25798" y="18357"/>
                    <a:pt x="24689" y="19656"/>
                  </a:cubicBezTo>
                  <a:cubicBezTo>
                    <a:pt x="24144" y="20298"/>
                    <a:pt x="22870" y="21427"/>
                    <a:pt x="22565" y="21427"/>
                  </a:cubicBezTo>
                  <a:cubicBezTo>
                    <a:pt x="22340" y="21427"/>
                    <a:pt x="22640" y="20815"/>
                    <a:pt x="24141" y="18949"/>
                  </a:cubicBezTo>
                  <a:cubicBezTo>
                    <a:pt x="25033" y="17837"/>
                    <a:pt x="26037" y="16801"/>
                    <a:pt x="26973" y="15724"/>
                  </a:cubicBezTo>
                  <a:cubicBezTo>
                    <a:pt x="28376" y="14107"/>
                    <a:pt x="29938" y="12349"/>
                    <a:pt x="31404" y="10507"/>
                  </a:cubicBezTo>
                  <a:close/>
                  <a:moveTo>
                    <a:pt x="15708" y="9401"/>
                  </a:moveTo>
                  <a:cubicBezTo>
                    <a:pt x="14074" y="11188"/>
                    <a:pt x="12517" y="13059"/>
                    <a:pt x="10956" y="14893"/>
                  </a:cubicBezTo>
                  <a:cubicBezTo>
                    <a:pt x="10090" y="15912"/>
                    <a:pt x="9232" y="16937"/>
                    <a:pt x="8369" y="17956"/>
                  </a:cubicBezTo>
                  <a:cubicBezTo>
                    <a:pt x="7950" y="18403"/>
                    <a:pt x="7546" y="18862"/>
                    <a:pt x="7142" y="19324"/>
                  </a:cubicBezTo>
                  <a:cubicBezTo>
                    <a:pt x="6530" y="19965"/>
                    <a:pt x="5883" y="20563"/>
                    <a:pt x="5153" y="21079"/>
                  </a:cubicBezTo>
                  <a:cubicBezTo>
                    <a:pt x="4806" y="21422"/>
                    <a:pt x="4616" y="21593"/>
                    <a:pt x="4584" y="21593"/>
                  </a:cubicBezTo>
                  <a:cubicBezTo>
                    <a:pt x="4552" y="21593"/>
                    <a:pt x="4677" y="21423"/>
                    <a:pt x="4959" y="21082"/>
                  </a:cubicBezTo>
                  <a:cubicBezTo>
                    <a:pt x="5924" y="19847"/>
                    <a:pt x="7024" y="18700"/>
                    <a:pt x="8086" y="17546"/>
                  </a:cubicBezTo>
                  <a:cubicBezTo>
                    <a:pt x="10606" y="14812"/>
                    <a:pt x="13179" y="12127"/>
                    <a:pt x="15708" y="9401"/>
                  </a:cubicBezTo>
                  <a:close/>
                  <a:moveTo>
                    <a:pt x="12053" y="14794"/>
                  </a:moveTo>
                  <a:lnTo>
                    <a:pt x="12053" y="14794"/>
                  </a:lnTo>
                  <a:cubicBezTo>
                    <a:pt x="10243" y="17069"/>
                    <a:pt x="8455" y="19330"/>
                    <a:pt x="6504" y="21209"/>
                  </a:cubicBezTo>
                  <a:cubicBezTo>
                    <a:pt x="5963" y="21589"/>
                    <a:pt x="5639" y="21779"/>
                    <a:pt x="5529" y="21779"/>
                  </a:cubicBezTo>
                  <a:cubicBezTo>
                    <a:pt x="5353" y="21779"/>
                    <a:pt x="5730" y="21292"/>
                    <a:pt x="6651" y="20326"/>
                  </a:cubicBezTo>
                  <a:cubicBezTo>
                    <a:pt x="7656" y="19451"/>
                    <a:pt x="8545" y="18429"/>
                    <a:pt x="9397" y="17378"/>
                  </a:cubicBezTo>
                  <a:lnTo>
                    <a:pt x="9521" y="17248"/>
                  </a:lnTo>
                  <a:cubicBezTo>
                    <a:pt x="10344" y="16408"/>
                    <a:pt x="11192" y="15597"/>
                    <a:pt x="12053" y="14794"/>
                  </a:cubicBezTo>
                  <a:close/>
                  <a:moveTo>
                    <a:pt x="29871" y="7239"/>
                  </a:moveTo>
                  <a:cubicBezTo>
                    <a:pt x="26089" y="12092"/>
                    <a:pt x="22859" y="17462"/>
                    <a:pt x="18603" y="21865"/>
                  </a:cubicBezTo>
                  <a:cubicBezTo>
                    <a:pt x="20506" y="19893"/>
                    <a:pt x="21857" y="17344"/>
                    <a:pt x="23381" y="14936"/>
                  </a:cubicBezTo>
                  <a:cubicBezTo>
                    <a:pt x="24574" y="13423"/>
                    <a:pt x="25760" y="11899"/>
                    <a:pt x="26935" y="10371"/>
                  </a:cubicBezTo>
                  <a:cubicBezTo>
                    <a:pt x="27917" y="9318"/>
                    <a:pt x="28910" y="8290"/>
                    <a:pt x="29871" y="7239"/>
                  </a:cubicBezTo>
                  <a:close/>
                  <a:moveTo>
                    <a:pt x="5713" y="21056"/>
                  </a:moveTo>
                  <a:lnTo>
                    <a:pt x="5713" y="21056"/>
                  </a:lnTo>
                  <a:cubicBezTo>
                    <a:pt x="5407" y="21449"/>
                    <a:pt x="5104" y="21842"/>
                    <a:pt x="4812" y="22249"/>
                  </a:cubicBezTo>
                  <a:cubicBezTo>
                    <a:pt x="4694" y="22107"/>
                    <a:pt x="4581" y="21960"/>
                    <a:pt x="4477" y="21807"/>
                  </a:cubicBezTo>
                  <a:cubicBezTo>
                    <a:pt x="4907" y="21587"/>
                    <a:pt x="5320" y="21336"/>
                    <a:pt x="5713" y="21056"/>
                  </a:cubicBezTo>
                  <a:close/>
                  <a:moveTo>
                    <a:pt x="32943" y="11333"/>
                  </a:moveTo>
                  <a:cubicBezTo>
                    <a:pt x="32689" y="11728"/>
                    <a:pt x="32432" y="12121"/>
                    <a:pt x="32178" y="12517"/>
                  </a:cubicBezTo>
                  <a:cubicBezTo>
                    <a:pt x="30307" y="15378"/>
                    <a:pt x="28315" y="18155"/>
                    <a:pt x="26205" y="20854"/>
                  </a:cubicBezTo>
                  <a:cubicBezTo>
                    <a:pt x="25889" y="21257"/>
                    <a:pt x="24779" y="22414"/>
                    <a:pt x="24526" y="22414"/>
                  </a:cubicBezTo>
                  <a:cubicBezTo>
                    <a:pt x="24384" y="22414"/>
                    <a:pt x="24513" y="22050"/>
                    <a:pt x="25203" y="20981"/>
                  </a:cubicBezTo>
                  <a:cubicBezTo>
                    <a:pt x="25252" y="20903"/>
                    <a:pt x="25316" y="20828"/>
                    <a:pt x="25368" y="20750"/>
                  </a:cubicBezTo>
                  <a:cubicBezTo>
                    <a:pt x="25642" y="20398"/>
                    <a:pt x="25899" y="20028"/>
                    <a:pt x="26153" y="19656"/>
                  </a:cubicBezTo>
                  <a:cubicBezTo>
                    <a:pt x="27097" y="18438"/>
                    <a:pt x="28168" y="17269"/>
                    <a:pt x="29098" y="16065"/>
                  </a:cubicBezTo>
                  <a:cubicBezTo>
                    <a:pt x="30348" y="14448"/>
                    <a:pt x="31638" y="12886"/>
                    <a:pt x="32943" y="11333"/>
                  </a:cubicBezTo>
                  <a:close/>
                  <a:moveTo>
                    <a:pt x="22992" y="5342"/>
                  </a:moveTo>
                  <a:cubicBezTo>
                    <a:pt x="23127" y="5368"/>
                    <a:pt x="23263" y="5403"/>
                    <a:pt x="23401" y="5420"/>
                  </a:cubicBezTo>
                  <a:cubicBezTo>
                    <a:pt x="23586" y="5443"/>
                    <a:pt x="23762" y="5452"/>
                    <a:pt x="23938" y="5464"/>
                  </a:cubicBezTo>
                  <a:cubicBezTo>
                    <a:pt x="21785" y="7571"/>
                    <a:pt x="19850" y="9933"/>
                    <a:pt x="17850" y="12208"/>
                  </a:cubicBezTo>
                  <a:cubicBezTo>
                    <a:pt x="17096" y="12926"/>
                    <a:pt x="16363" y="13634"/>
                    <a:pt x="15685" y="14344"/>
                  </a:cubicBezTo>
                  <a:cubicBezTo>
                    <a:pt x="15136" y="14930"/>
                    <a:pt x="14625" y="15551"/>
                    <a:pt x="14154" y="16200"/>
                  </a:cubicBezTo>
                  <a:cubicBezTo>
                    <a:pt x="13505" y="16885"/>
                    <a:pt x="12864" y="17575"/>
                    <a:pt x="12211" y="18256"/>
                  </a:cubicBezTo>
                  <a:cubicBezTo>
                    <a:pt x="11490" y="19006"/>
                    <a:pt x="10765" y="19754"/>
                    <a:pt x="10038" y="20499"/>
                  </a:cubicBezTo>
                  <a:cubicBezTo>
                    <a:pt x="9964" y="20572"/>
                    <a:pt x="8039" y="22810"/>
                    <a:pt x="7971" y="22810"/>
                  </a:cubicBezTo>
                  <a:cubicBezTo>
                    <a:pt x="7950" y="22810"/>
                    <a:pt x="8102" y="22603"/>
                    <a:pt x="8531" y="22064"/>
                  </a:cubicBezTo>
                  <a:cubicBezTo>
                    <a:pt x="11062" y="18882"/>
                    <a:pt x="13981" y="15900"/>
                    <a:pt x="16686" y="12863"/>
                  </a:cubicBezTo>
                  <a:cubicBezTo>
                    <a:pt x="18811" y="10475"/>
                    <a:pt x="21519" y="8290"/>
                    <a:pt x="22983" y="5412"/>
                  </a:cubicBezTo>
                  <a:cubicBezTo>
                    <a:pt x="22989" y="5388"/>
                    <a:pt x="22992" y="5365"/>
                    <a:pt x="22992" y="5342"/>
                  </a:cubicBezTo>
                  <a:close/>
                  <a:moveTo>
                    <a:pt x="16608" y="19087"/>
                  </a:moveTo>
                  <a:lnTo>
                    <a:pt x="16608" y="19087"/>
                  </a:lnTo>
                  <a:cubicBezTo>
                    <a:pt x="15713" y="20375"/>
                    <a:pt x="14810" y="21657"/>
                    <a:pt x="13871" y="22913"/>
                  </a:cubicBezTo>
                  <a:cubicBezTo>
                    <a:pt x="14735" y="21605"/>
                    <a:pt x="15656" y="20335"/>
                    <a:pt x="16608" y="19087"/>
                  </a:cubicBezTo>
                  <a:close/>
                  <a:moveTo>
                    <a:pt x="21192" y="5840"/>
                  </a:moveTo>
                  <a:cubicBezTo>
                    <a:pt x="21454" y="5840"/>
                    <a:pt x="19325" y="8486"/>
                    <a:pt x="18649" y="9274"/>
                  </a:cubicBezTo>
                  <a:cubicBezTo>
                    <a:pt x="17194" y="10978"/>
                    <a:pt x="15604" y="12568"/>
                    <a:pt x="14036" y="14165"/>
                  </a:cubicBezTo>
                  <a:cubicBezTo>
                    <a:pt x="11204" y="17046"/>
                    <a:pt x="8383" y="19901"/>
                    <a:pt x="5883" y="23083"/>
                  </a:cubicBezTo>
                  <a:cubicBezTo>
                    <a:pt x="5851" y="23123"/>
                    <a:pt x="5837" y="23175"/>
                    <a:pt x="5843" y="23227"/>
                  </a:cubicBezTo>
                  <a:cubicBezTo>
                    <a:pt x="5597" y="23034"/>
                    <a:pt x="5366" y="22826"/>
                    <a:pt x="5147" y="22604"/>
                  </a:cubicBezTo>
                  <a:cubicBezTo>
                    <a:pt x="7806" y="20871"/>
                    <a:pt x="9599" y="18247"/>
                    <a:pt x="11735" y="15938"/>
                  </a:cubicBezTo>
                  <a:cubicBezTo>
                    <a:pt x="14388" y="13071"/>
                    <a:pt x="16865" y="10048"/>
                    <a:pt x="19611" y="7271"/>
                  </a:cubicBezTo>
                  <a:cubicBezTo>
                    <a:pt x="20637" y="6231"/>
                    <a:pt x="21092" y="5840"/>
                    <a:pt x="21192" y="5840"/>
                  </a:cubicBezTo>
                  <a:close/>
                  <a:moveTo>
                    <a:pt x="10875" y="18845"/>
                  </a:moveTo>
                  <a:lnTo>
                    <a:pt x="10875" y="18845"/>
                  </a:lnTo>
                  <a:cubicBezTo>
                    <a:pt x="9420" y="20447"/>
                    <a:pt x="7985" y="22067"/>
                    <a:pt x="6738" y="23834"/>
                  </a:cubicBezTo>
                  <a:cubicBezTo>
                    <a:pt x="6501" y="23692"/>
                    <a:pt x="6270" y="23539"/>
                    <a:pt x="6045" y="23375"/>
                  </a:cubicBezTo>
                  <a:cubicBezTo>
                    <a:pt x="6079" y="23372"/>
                    <a:pt x="6114" y="23357"/>
                    <a:pt x="6140" y="23337"/>
                  </a:cubicBezTo>
                  <a:cubicBezTo>
                    <a:pt x="7838" y="21945"/>
                    <a:pt x="9388" y="20427"/>
                    <a:pt x="10875" y="18845"/>
                  </a:cubicBezTo>
                  <a:close/>
                  <a:moveTo>
                    <a:pt x="13421" y="17245"/>
                  </a:moveTo>
                  <a:lnTo>
                    <a:pt x="13421" y="17245"/>
                  </a:lnTo>
                  <a:cubicBezTo>
                    <a:pt x="12526" y="18579"/>
                    <a:pt x="11700" y="19971"/>
                    <a:pt x="10808" y="21273"/>
                  </a:cubicBezTo>
                  <a:cubicBezTo>
                    <a:pt x="10549" y="21651"/>
                    <a:pt x="10320" y="21980"/>
                    <a:pt x="10127" y="22269"/>
                  </a:cubicBezTo>
                  <a:cubicBezTo>
                    <a:pt x="9477" y="22944"/>
                    <a:pt x="8822" y="23614"/>
                    <a:pt x="8141" y="24264"/>
                  </a:cubicBezTo>
                  <a:cubicBezTo>
                    <a:pt x="8031" y="24371"/>
                    <a:pt x="8100" y="24503"/>
                    <a:pt x="8207" y="24555"/>
                  </a:cubicBezTo>
                  <a:cubicBezTo>
                    <a:pt x="7817" y="24405"/>
                    <a:pt x="7439" y="24232"/>
                    <a:pt x="7075" y="24033"/>
                  </a:cubicBezTo>
                  <a:cubicBezTo>
                    <a:pt x="9249" y="21842"/>
                    <a:pt x="11342" y="19552"/>
                    <a:pt x="13421" y="17245"/>
                  </a:cubicBezTo>
                  <a:close/>
                  <a:moveTo>
                    <a:pt x="36996" y="11067"/>
                  </a:moveTo>
                  <a:lnTo>
                    <a:pt x="36996" y="11067"/>
                  </a:lnTo>
                  <a:cubicBezTo>
                    <a:pt x="35928" y="12765"/>
                    <a:pt x="34900" y="14491"/>
                    <a:pt x="33685" y="16053"/>
                  </a:cubicBezTo>
                  <a:cubicBezTo>
                    <a:pt x="31375" y="19017"/>
                    <a:pt x="28916" y="22122"/>
                    <a:pt x="26790" y="25026"/>
                  </a:cubicBezTo>
                  <a:lnTo>
                    <a:pt x="26790" y="25026"/>
                  </a:lnTo>
                  <a:cubicBezTo>
                    <a:pt x="29341" y="21490"/>
                    <a:pt x="31718" y="17889"/>
                    <a:pt x="34349" y="14387"/>
                  </a:cubicBezTo>
                  <a:cubicBezTo>
                    <a:pt x="35192" y="13267"/>
                    <a:pt x="36110" y="12176"/>
                    <a:pt x="36996" y="11067"/>
                  </a:cubicBezTo>
                  <a:close/>
                  <a:moveTo>
                    <a:pt x="38197" y="12736"/>
                  </a:moveTo>
                  <a:lnTo>
                    <a:pt x="38197" y="12736"/>
                  </a:lnTo>
                  <a:cubicBezTo>
                    <a:pt x="34988" y="17396"/>
                    <a:pt x="32331" y="22480"/>
                    <a:pt x="28403" y="26629"/>
                  </a:cubicBezTo>
                  <a:lnTo>
                    <a:pt x="28403" y="26629"/>
                  </a:lnTo>
                  <a:cubicBezTo>
                    <a:pt x="31159" y="23716"/>
                    <a:pt x="33241" y="19230"/>
                    <a:pt x="35634" y="15912"/>
                  </a:cubicBezTo>
                  <a:cubicBezTo>
                    <a:pt x="36422" y="14815"/>
                    <a:pt x="37314" y="13778"/>
                    <a:pt x="38197" y="12736"/>
                  </a:cubicBezTo>
                  <a:close/>
                  <a:moveTo>
                    <a:pt x="31860" y="23903"/>
                  </a:moveTo>
                  <a:cubicBezTo>
                    <a:pt x="31297" y="24980"/>
                    <a:pt x="30642" y="26007"/>
                    <a:pt x="29900" y="26969"/>
                  </a:cubicBezTo>
                  <a:cubicBezTo>
                    <a:pt x="30033" y="25895"/>
                    <a:pt x="30527" y="25040"/>
                    <a:pt x="31378" y="24402"/>
                  </a:cubicBezTo>
                  <a:cubicBezTo>
                    <a:pt x="31546" y="24241"/>
                    <a:pt x="31699" y="24067"/>
                    <a:pt x="31860" y="23903"/>
                  </a:cubicBezTo>
                  <a:close/>
                  <a:moveTo>
                    <a:pt x="25272" y="9269"/>
                  </a:moveTo>
                  <a:lnTo>
                    <a:pt x="25272" y="9269"/>
                  </a:lnTo>
                  <a:cubicBezTo>
                    <a:pt x="24695" y="10080"/>
                    <a:pt x="24126" y="10900"/>
                    <a:pt x="23540" y="11699"/>
                  </a:cubicBezTo>
                  <a:cubicBezTo>
                    <a:pt x="19954" y="16599"/>
                    <a:pt x="15809" y="21042"/>
                    <a:pt x="12142" y="25875"/>
                  </a:cubicBezTo>
                  <a:cubicBezTo>
                    <a:pt x="11476" y="26754"/>
                    <a:pt x="11194" y="27094"/>
                    <a:pt x="11156" y="27094"/>
                  </a:cubicBezTo>
                  <a:cubicBezTo>
                    <a:pt x="11105" y="27094"/>
                    <a:pt x="11484" y="26496"/>
                    <a:pt x="11963" y="25768"/>
                  </a:cubicBezTo>
                  <a:cubicBezTo>
                    <a:pt x="15046" y="22176"/>
                    <a:pt x="17645" y="18152"/>
                    <a:pt x="20405" y="14260"/>
                  </a:cubicBezTo>
                  <a:lnTo>
                    <a:pt x="20405" y="14257"/>
                  </a:lnTo>
                  <a:cubicBezTo>
                    <a:pt x="21840" y="12439"/>
                    <a:pt x="23569" y="10862"/>
                    <a:pt x="25272" y="9269"/>
                  </a:cubicBezTo>
                  <a:close/>
                  <a:moveTo>
                    <a:pt x="9114" y="24766"/>
                  </a:moveTo>
                  <a:cubicBezTo>
                    <a:pt x="8848" y="25113"/>
                    <a:pt x="8580" y="25462"/>
                    <a:pt x="8320" y="25820"/>
                  </a:cubicBezTo>
                  <a:cubicBezTo>
                    <a:pt x="7612" y="26781"/>
                    <a:pt x="6911" y="27734"/>
                    <a:pt x="6180" y="28664"/>
                  </a:cubicBezTo>
                  <a:cubicBezTo>
                    <a:pt x="7032" y="27327"/>
                    <a:pt x="8034" y="26025"/>
                    <a:pt x="9114" y="24766"/>
                  </a:cubicBezTo>
                  <a:close/>
                  <a:moveTo>
                    <a:pt x="21560" y="12092"/>
                  </a:moveTo>
                  <a:cubicBezTo>
                    <a:pt x="21161" y="12620"/>
                    <a:pt x="20769" y="13152"/>
                    <a:pt x="20382" y="13689"/>
                  </a:cubicBezTo>
                  <a:cubicBezTo>
                    <a:pt x="17281" y="17323"/>
                    <a:pt x="14382" y="21241"/>
                    <a:pt x="11943" y="25367"/>
                  </a:cubicBezTo>
                  <a:cubicBezTo>
                    <a:pt x="11366" y="26068"/>
                    <a:pt x="10779" y="26758"/>
                    <a:pt x="10167" y="27425"/>
                  </a:cubicBezTo>
                  <a:cubicBezTo>
                    <a:pt x="9293" y="28378"/>
                    <a:pt x="8320" y="29229"/>
                    <a:pt x="7341" y="30072"/>
                  </a:cubicBezTo>
                  <a:cubicBezTo>
                    <a:pt x="6932" y="30425"/>
                    <a:pt x="6725" y="30569"/>
                    <a:pt x="6660" y="30569"/>
                  </a:cubicBezTo>
                  <a:cubicBezTo>
                    <a:pt x="6376" y="30569"/>
                    <a:pt x="8779" y="27840"/>
                    <a:pt x="8785" y="27840"/>
                  </a:cubicBezTo>
                  <a:lnTo>
                    <a:pt x="8785" y="27840"/>
                  </a:lnTo>
                  <a:cubicBezTo>
                    <a:pt x="8785" y="27840"/>
                    <a:pt x="8785" y="27840"/>
                    <a:pt x="8785" y="27841"/>
                  </a:cubicBezTo>
                  <a:cubicBezTo>
                    <a:pt x="10598" y="25626"/>
                    <a:pt x="12200" y="23273"/>
                    <a:pt x="13857" y="20944"/>
                  </a:cubicBezTo>
                  <a:cubicBezTo>
                    <a:pt x="16120" y="17762"/>
                    <a:pt x="18817" y="14907"/>
                    <a:pt x="21560" y="12092"/>
                  </a:cubicBezTo>
                  <a:close/>
                  <a:moveTo>
                    <a:pt x="11328" y="1"/>
                  </a:moveTo>
                  <a:cubicBezTo>
                    <a:pt x="8630" y="1"/>
                    <a:pt x="6960" y="1767"/>
                    <a:pt x="4281" y="4020"/>
                  </a:cubicBezTo>
                  <a:cubicBezTo>
                    <a:pt x="3314" y="4831"/>
                    <a:pt x="2439" y="5593"/>
                    <a:pt x="2808" y="6927"/>
                  </a:cubicBezTo>
                  <a:cubicBezTo>
                    <a:pt x="3441" y="9225"/>
                    <a:pt x="3614" y="9552"/>
                    <a:pt x="2396" y="11627"/>
                  </a:cubicBezTo>
                  <a:cubicBezTo>
                    <a:pt x="1241" y="13602"/>
                    <a:pt x="3998" y="14073"/>
                    <a:pt x="5618" y="14073"/>
                  </a:cubicBezTo>
                  <a:cubicBezTo>
                    <a:pt x="5703" y="14073"/>
                    <a:pt x="5785" y="14072"/>
                    <a:pt x="5863" y="14070"/>
                  </a:cubicBezTo>
                  <a:lnTo>
                    <a:pt x="5863" y="14070"/>
                  </a:lnTo>
                  <a:cubicBezTo>
                    <a:pt x="5531" y="14497"/>
                    <a:pt x="5196" y="14924"/>
                    <a:pt x="4887" y="15360"/>
                  </a:cubicBezTo>
                  <a:cubicBezTo>
                    <a:pt x="4791" y="15494"/>
                    <a:pt x="4918" y="15619"/>
                    <a:pt x="5050" y="15619"/>
                  </a:cubicBezTo>
                  <a:cubicBezTo>
                    <a:pt x="5092" y="15619"/>
                    <a:pt x="5134" y="15606"/>
                    <a:pt x="5170" y="15577"/>
                  </a:cubicBezTo>
                  <a:cubicBezTo>
                    <a:pt x="5199" y="15551"/>
                    <a:pt x="5228" y="15522"/>
                    <a:pt x="5260" y="15496"/>
                  </a:cubicBezTo>
                  <a:lnTo>
                    <a:pt x="5260" y="15496"/>
                  </a:lnTo>
                  <a:cubicBezTo>
                    <a:pt x="4391" y="16740"/>
                    <a:pt x="3282" y="18103"/>
                    <a:pt x="3302" y="19512"/>
                  </a:cubicBezTo>
                  <a:cubicBezTo>
                    <a:pt x="3299" y="19515"/>
                    <a:pt x="3296" y="19517"/>
                    <a:pt x="3293" y="19520"/>
                  </a:cubicBezTo>
                  <a:cubicBezTo>
                    <a:pt x="3221" y="19601"/>
                    <a:pt x="3233" y="19725"/>
                    <a:pt x="3319" y="19789"/>
                  </a:cubicBezTo>
                  <a:cubicBezTo>
                    <a:pt x="3328" y="19878"/>
                    <a:pt x="3343" y="19968"/>
                    <a:pt x="3360" y="20054"/>
                  </a:cubicBezTo>
                  <a:cubicBezTo>
                    <a:pt x="3582" y="20996"/>
                    <a:pt x="4035" y="21801"/>
                    <a:pt x="4633" y="22480"/>
                  </a:cubicBezTo>
                  <a:cubicBezTo>
                    <a:pt x="4610" y="22511"/>
                    <a:pt x="4584" y="22543"/>
                    <a:pt x="4561" y="22578"/>
                  </a:cubicBezTo>
                  <a:cubicBezTo>
                    <a:pt x="4473" y="22703"/>
                    <a:pt x="4597" y="22852"/>
                    <a:pt x="4728" y="22852"/>
                  </a:cubicBezTo>
                  <a:cubicBezTo>
                    <a:pt x="4756" y="22852"/>
                    <a:pt x="4785" y="22845"/>
                    <a:pt x="4812" y="22829"/>
                  </a:cubicBezTo>
                  <a:cubicBezTo>
                    <a:pt x="4850" y="22809"/>
                    <a:pt x="4878" y="22783"/>
                    <a:pt x="4913" y="22760"/>
                  </a:cubicBezTo>
                  <a:cubicBezTo>
                    <a:pt x="5450" y="23288"/>
                    <a:pt x="6062" y="23733"/>
                    <a:pt x="6735" y="24073"/>
                  </a:cubicBezTo>
                  <a:cubicBezTo>
                    <a:pt x="6771" y="24117"/>
                    <a:pt x="6827" y="24146"/>
                    <a:pt x="6885" y="24146"/>
                  </a:cubicBezTo>
                  <a:cubicBezTo>
                    <a:pt x="6888" y="24146"/>
                    <a:pt x="6891" y="24145"/>
                    <a:pt x="6894" y="24145"/>
                  </a:cubicBezTo>
                  <a:cubicBezTo>
                    <a:pt x="7353" y="24371"/>
                    <a:pt x="7832" y="24558"/>
                    <a:pt x="8323" y="24705"/>
                  </a:cubicBezTo>
                  <a:cubicBezTo>
                    <a:pt x="8328" y="24707"/>
                    <a:pt x="8333" y="24708"/>
                    <a:pt x="8338" y="24708"/>
                  </a:cubicBezTo>
                  <a:cubicBezTo>
                    <a:pt x="8390" y="24708"/>
                    <a:pt x="8404" y="24631"/>
                    <a:pt x="8349" y="24607"/>
                  </a:cubicBezTo>
                  <a:cubicBezTo>
                    <a:pt x="8326" y="24599"/>
                    <a:pt x="8300" y="24587"/>
                    <a:pt x="8274" y="24578"/>
                  </a:cubicBezTo>
                  <a:lnTo>
                    <a:pt x="8274" y="24578"/>
                  </a:lnTo>
                  <a:cubicBezTo>
                    <a:pt x="8277" y="24579"/>
                    <a:pt x="8281" y="24579"/>
                    <a:pt x="8285" y="24579"/>
                  </a:cubicBezTo>
                  <a:cubicBezTo>
                    <a:pt x="8332" y="24579"/>
                    <a:pt x="8377" y="24561"/>
                    <a:pt x="8412" y="24526"/>
                  </a:cubicBezTo>
                  <a:cubicBezTo>
                    <a:pt x="8793" y="24171"/>
                    <a:pt x="9157" y="23802"/>
                    <a:pt x="9503" y="23418"/>
                  </a:cubicBezTo>
                  <a:cubicBezTo>
                    <a:pt x="9685" y="23285"/>
                    <a:pt x="10084" y="22895"/>
                    <a:pt x="10762" y="22205"/>
                  </a:cubicBezTo>
                  <a:cubicBezTo>
                    <a:pt x="12324" y="20612"/>
                    <a:pt x="13773" y="18903"/>
                    <a:pt x="15237" y="17219"/>
                  </a:cubicBezTo>
                  <a:cubicBezTo>
                    <a:pt x="15265" y="17183"/>
                    <a:pt x="15298" y="17150"/>
                    <a:pt x="15328" y="17114"/>
                  </a:cubicBezTo>
                  <a:lnTo>
                    <a:pt x="15328" y="17114"/>
                  </a:lnTo>
                  <a:cubicBezTo>
                    <a:pt x="14882" y="17638"/>
                    <a:pt x="14436" y="18159"/>
                    <a:pt x="13996" y="18692"/>
                  </a:cubicBezTo>
                  <a:cubicBezTo>
                    <a:pt x="13141" y="19722"/>
                    <a:pt x="12289" y="20759"/>
                    <a:pt x="11444" y="21795"/>
                  </a:cubicBezTo>
                  <a:cubicBezTo>
                    <a:pt x="9117" y="24258"/>
                    <a:pt x="6827" y="26894"/>
                    <a:pt x="5280" y="29763"/>
                  </a:cubicBezTo>
                  <a:cubicBezTo>
                    <a:pt x="4855" y="30266"/>
                    <a:pt x="4422" y="30762"/>
                    <a:pt x="3965" y="31245"/>
                  </a:cubicBezTo>
                  <a:lnTo>
                    <a:pt x="3965" y="31245"/>
                  </a:lnTo>
                  <a:cubicBezTo>
                    <a:pt x="4642" y="30526"/>
                    <a:pt x="5406" y="28683"/>
                    <a:pt x="5932" y="27705"/>
                  </a:cubicBezTo>
                  <a:cubicBezTo>
                    <a:pt x="5992" y="27593"/>
                    <a:pt x="5894" y="27467"/>
                    <a:pt x="5791" y="27467"/>
                  </a:cubicBezTo>
                  <a:cubicBezTo>
                    <a:pt x="5756" y="27467"/>
                    <a:pt x="5720" y="27482"/>
                    <a:pt x="5690" y="27517"/>
                  </a:cubicBezTo>
                  <a:cubicBezTo>
                    <a:pt x="4838" y="28485"/>
                    <a:pt x="4018" y="29475"/>
                    <a:pt x="3184" y="30459"/>
                  </a:cubicBezTo>
                  <a:cubicBezTo>
                    <a:pt x="2661" y="31077"/>
                    <a:pt x="2424" y="31317"/>
                    <a:pt x="2369" y="31317"/>
                  </a:cubicBezTo>
                  <a:cubicBezTo>
                    <a:pt x="2193" y="31317"/>
                    <a:pt x="3886" y="28860"/>
                    <a:pt x="4102" y="28461"/>
                  </a:cubicBezTo>
                  <a:cubicBezTo>
                    <a:pt x="4170" y="28336"/>
                    <a:pt x="4070" y="28230"/>
                    <a:pt x="3964" y="28230"/>
                  </a:cubicBezTo>
                  <a:cubicBezTo>
                    <a:pt x="3916" y="28230"/>
                    <a:pt x="3866" y="28252"/>
                    <a:pt x="3830" y="28303"/>
                  </a:cubicBezTo>
                  <a:cubicBezTo>
                    <a:pt x="3213" y="29686"/>
                    <a:pt x="2240" y="30676"/>
                    <a:pt x="909" y="31273"/>
                  </a:cubicBezTo>
                  <a:cubicBezTo>
                    <a:pt x="1405" y="30592"/>
                    <a:pt x="1890" y="29905"/>
                    <a:pt x="2367" y="29209"/>
                  </a:cubicBezTo>
                  <a:cubicBezTo>
                    <a:pt x="2443" y="29101"/>
                    <a:pt x="2343" y="28999"/>
                    <a:pt x="2240" y="28999"/>
                  </a:cubicBezTo>
                  <a:cubicBezTo>
                    <a:pt x="2195" y="28999"/>
                    <a:pt x="2150" y="29018"/>
                    <a:pt x="2118" y="29065"/>
                  </a:cubicBezTo>
                  <a:cubicBezTo>
                    <a:pt x="1356" y="30136"/>
                    <a:pt x="643" y="31109"/>
                    <a:pt x="54" y="32287"/>
                  </a:cubicBezTo>
                  <a:cubicBezTo>
                    <a:pt x="1" y="32396"/>
                    <a:pt x="84" y="32537"/>
                    <a:pt x="193" y="32537"/>
                  </a:cubicBezTo>
                  <a:cubicBezTo>
                    <a:pt x="220" y="32537"/>
                    <a:pt x="248" y="32528"/>
                    <a:pt x="277" y="32509"/>
                  </a:cubicBezTo>
                  <a:cubicBezTo>
                    <a:pt x="1388" y="31750"/>
                    <a:pt x="2300" y="30716"/>
                    <a:pt x="2728" y="30179"/>
                  </a:cubicBezTo>
                  <a:lnTo>
                    <a:pt x="2728" y="30179"/>
                  </a:lnTo>
                  <a:cubicBezTo>
                    <a:pt x="2474" y="30537"/>
                    <a:pt x="2032" y="31193"/>
                    <a:pt x="1342" y="32284"/>
                  </a:cubicBezTo>
                  <a:cubicBezTo>
                    <a:pt x="1259" y="32410"/>
                    <a:pt x="1373" y="32534"/>
                    <a:pt x="1493" y="32534"/>
                  </a:cubicBezTo>
                  <a:cubicBezTo>
                    <a:pt x="1533" y="32534"/>
                    <a:pt x="1573" y="32520"/>
                    <a:pt x="1607" y="32489"/>
                  </a:cubicBezTo>
                  <a:cubicBezTo>
                    <a:pt x="2894" y="31321"/>
                    <a:pt x="3973" y="30032"/>
                    <a:pt x="5074" y="28691"/>
                  </a:cubicBezTo>
                  <a:lnTo>
                    <a:pt x="5074" y="28691"/>
                  </a:lnTo>
                  <a:cubicBezTo>
                    <a:pt x="4236" y="29712"/>
                    <a:pt x="3578" y="31012"/>
                    <a:pt x="2944" y="32168"/>
                  </a:cubicBezTo>
                  <a:cubicBezTo>
                    <a:pt x="2866" y="32311"/>
                    <a:pt x="2981" y="32444"/>
                    <a:pt x="3109" y="32444"/>
                  </a:cubicBezTo>
                  <a:cubicBezTo>
                    <a:pt x="3152" y="32444"/>
                    <a:pt x="3196" y="32428"/>
                    <a:pt x="3236" y="32394"/>
                  </a:cubicBezTo>
                  <a:cubicBezTo>
                    <a:pt x="3727" y="31963"/>
                    <a:pt x="4194" y="31507"/>
                    <a:pt x="4656" y="31040"/>
                  </a:cubicBezTo>
                  <a:lnTo>
                    <a:pt x="4656" y="31040"/>
                  </a:lnTo>
                  <a:cubicBezTo>
                    <a:pt x="4575" y="31224"/>
                    <a:pt x="4489" y="31406"/>
                    <a:pt x="4414" y="31591"/>
                  </a:cubicBezTo>
                  <a:cubicBezTo>
                    <a:pt x="4386" y="31659"/>
                    <a:pt x="4441" y="31703"/>
                    <a:pt x="4499" y="31703"/>
                  </a:cubicBezTo>
                  <a:cubicBezTo>
                    <a:pt x="4537" y="31703"/>
                    <a:pt x="4577" y="31684"/>
                    <a:pt x="4596" y="31640"/>
                  </a:cubicBezTo>
                  <a:cubicBezTo>
                    <a:pt x="4743" y="31294"/>
                    <a:pt x="4902" y="30950"/>
                    <a:pt x="5072" y="30606"/>
                  </a:cubicBezTo>
                  <a:cubicBezTo>
                    <a:pt x="7947" y="27595"/>
                    <a:pt x="10349" y="24004"/>
                    <a:pt x="12887" y="20695"/>
                  </a:cubicBezTo>
                  <a:cubicBezTo>
                    <a:pt x="14146" y="19411"/>
                    <a:pt x="15387" y="18169"/>
                    <a:pt x="16507" y="16977"/>
                  </a:cubicBezTo>
                  <a:cubicBezTo>
                    <a:pt x="18419" y="14947"/>
                    <a:pt x="20411" y="13004"/>
                    <a:pt x="22371" y="11035"/>
                  </a:cubicBezTo>
                  <a:lnTo>
                    <a:pt x="22371" y="11035"/>
                  </a:lnTo>
                  <a:lnTo>
                    <a:pt x="22354" y="11056"/>
                  </a:lnTo>
                  <a:cubicBezTo>
                    <a:pt x="20387" y="13042"/>
                    <a:pt x="18407" y="15017"/>
                    <a:pt x="16551" y="17090"/>
                  </a:cubicBezTo>
                  <a:cubicBezTo>
                    <a:pt x="12466" y="21648"/>
                    <a:pt x="9160" y="26891"/>
                    <a:pt x="5260" y="31617"/>
                  </a:cubicBezTo>
                  <a:cubicBezTo>
                    <a:pt x="5175" y="31718"/>
                    <a:pt x="5249" y="31885"/>
                    <a:pt x="5363" y="31885"/>
                  </a:cubicBezTo>
                  <a:cubicBezTo>
                    <a:pt x="5388" y="31885"/>
                    <a:pt x="5416" y="31876"/>
                    <a:pt x="5444" y="31857"/>
                  </a:cubicBezTo>
                  <a:cubicBezTo>
                    <a:pt x="7598" y="30321"/>
                    <a:pt x="9480" y="28548"/>
                    <a:pt x="11204" y="26634"/>
                  </a:cubicBezTo>
                  <a:lnTo>
                    <a:pt x="11204" y="26634"/>
                  </a:lnTo>
                  <a:cubicBezTo>
                    <a:pt x="10855" y="27258"/>
                    <a:pt x="10511" y="27884"/>
                    <a:pt x="10182" y="28516"/>
                  </a:cubicBezTo>
                  <a:cubicBezTo>
                    <a:pt x="10114" y="28647"/>
                    <a:pt x="10216" y="28757"/>
                    <a:pt x="10326" y="28757"/>
                  </a:cubicBezTo>
                  <a:cubicBezTo>
                    <a:pt x="10376" y="28757"/>
                    <a:pt x="10427" y="28734"/>
                    <a:pt x="10465" y="28681"/>
                  </a:cubicBezTo>
                  <a:cubicBezTo>
                    <a:pt x="13669" y="24212"/>
                    <a:pt x="17307" y="20101"/>
                    <a:pt x="20780" y="15845"/>
                  </a:cubicBezTo>
                  <a:cubicBezTo>
                    <a:pt x="22856" y="13302"/>
                    <a:pt x="24660" y="10507"/>
                    <a:pt x="26687" y="7915"/>
                  </a:cubicBezTo>
                  <a:cubicBezTo>
                    <a:pt x="27784" y="6841"/>
                    <a:pt x="28818" y="5720"/>
                    <a:pt x="29718" y="4496"/>
                  </a:cubicBezTo>
                  <a:lnTo>
                    <a:pt x="29718" y="4496"/>
                  </a:lnTo>
                  <a:cubicBezTo>
                    <a:pt x="30281" y="5163"/>
                    <a:pt x="30128" y="5712"/>
                    <a:pt x="29259" y="6136"/>
                  </a:cubicBezTo>
                  <a:cubicBezTo>
                    <a:pt x="28460" y="7002"/>
                    <a:pt x="27567" y="7796"/>
                    <a:pt x="26722" y="8616"/>
                  </a:cubicBezTo>
                  <a:cubicBezTo>
                    <a:pt x="25408" y="9892"/>
                    <a:pt x="24273" y="11376"/>
                    <a:pt x="23173" y="12840"/>
                  </a:cubicBezTo>
                  <a:cubicBezTo>
                    <a:pt x="19726" y="17413"/>
                    <a:pt x="16761" y="22609"/>
                    <a:pt x="12682" y="26643"/>
                  </a:cubicBezTo>
                  <a:cubicBezTo>
                    <a:pt x="12557" y="26765"/>
                    <a:pt x="12675" y="26939"/>
                    <a:pt x="12810" y="26939"/>
                  </a:cubicBezTo>
                  <a:cubicBezTo>
                    <a:pt x="12849" y="26939"/>
                    <a:pt x="12891" y="26924"/>
                    <a:pt x="12927" y="26888"/>
                  </a:cubicBezTo>
                  <a:cubicBezTo>
                    <a:pt x="15595" y="24269"/>
                    <a:pt x="18058" y="21475"/>
                    <a:pt x="20431" y="18599"/>
                  </a:cubicBezTo>
                  <a:lnTo>
                    <a:pt x="20431" y="18599"/>
                  </a:lnTo>
                  <a:cubicBezTo>
                    <a:pt x="19565" y="19991"/>
                    <a:pt x="18670" y="21365"/>
                    <a:pt x="17630" y="22647"/>
                  </a:cubicBezTo>
                  <a:cubicBezTo>
                    <a:pt x="17513" y="22791"/>
                    <a:pt x="17621" y="22960"/>
                    <a:pt x="17762" y="22960"/>
                  </a:cubicBezTo>
                  <a:cubicBezTo>
                    <a:pt x="17805" y="22960"/>
                    <a:pt x="17850" y="22945"/>
                    <a:pt x="17893" y="22910"/>
                  </a:cubicBezTo>
                  <a:cubicBezTo>
                    <a:pt x="20771" y="20594"/>
                    <a:pt x="22680" y="17245"/>
                    <a:pt x="24995" y="14413"/>
                  </a:cubicBezTo>
                  <a:cubicBezTo>
                    <a:pt x="25394" y="13925"/>
                    <a:pt x="25775" y="13429"/>
                    <a:pt x="26161" y="12935"/>
                  </a:cubicBezTo>
                  <a:lnTo>
                    <a:pt x="26161" y="12935"/>
                  </a:lnTo>
                  <a:cubicBezTo>
                    <a:pt x="24279" y="15949"/>
                    <a:pt x="22452" y="19024"/>
                    <a:pt x="20105" y="21674"/>
                  </a:cubicBezTo>
                  <a:cubicBezTo>
                    <a:pt x="19980" y="21814"/>
                    <a:pt x="20100" y="21997"/>
                    <a:pt x="20244" y="21997"/>
                  </a:cubicBezTo>
                  <a:cubicBezTo>
                    <a:pt x="20287" y="21997"/>
                    <a:pt x="20332" y="21981"/>
                    <a:pt x="20373" y="21943"/>
                  </a:cubicBezTo>
                  <a:cubicBezTo>
                    <a:pt x="21124" y="21250"/>
                    <a:pt x="21822" y="20522"/>
                    <a:pt x="22498" y="19774"/>
                  </a:cubicBezTo>
                  <a:lnTo>
                    <a:pt x="22498" y="19774"/>
                  </a:lnTo>
                  <a:cubicBezTo>
                    <a:pt x="21941" y="20516"/>
                    <a:pt x="21383" y="21253"/>
                    <a:pt x="20821" y="21986"/>
                  </a:cubicBezTo>
                  <a:cubicBezTo>
                    <a:pt x="20781" y="22038"/>
                    <a:pt x="20839" y="22102"/>
                    <a:pt x="20892" y="22102"/>
                  </a:cubicBezTo>
                  <a:cubicBezTo>
                    <a:pt x="20909" y="22102"/>
                    <a:pt x="20926" y="22095"/>
                    <a:pt x="20939" y="22078"/>
                  </a:cubicBezTo>
                  <a:cubicBezTo>
                    <a:pt x="25662" y="16275"/>
                    <a:pt x="30033" y="10123"/>
                    <a:pt x="34874" y="4430"/>
                  </a:cubicBezTo>
                  <a:lnTo>
                    <a:pt x="34874" y="4430"/>
                  </a:lnTo>
                  <a:cubicBezTo>
                    <a:pt x="32646" y="7051"/>
                    <a:pt x="30628" y="10294"/>
                    <a:pt x="28578" y="13120"/>
                  </a:cubicBezTo>
                  <a:cubicBezTo>
                    <a:pt x="26340" y="16209"/>
                    <a:pt x="23422" y="18781"/>
                    <a:pt x="21623" y="22165"/>
                  </a:cubicBezTo>
                  <a:cubicBezTo>
                    <a:pt x="21567" y="22268"/>
                    <a:pt x="21647" y="22386"/>
                    <a:pt x="21748" y="22386"/>
                  </a:cubicBezTo>
                  <a:cubicBezTo>
                    <a:pt x="21772" y="22386"/>
                    <a:pt x="21797" y="22379"/>
                    <a:pt x="21822" y="22364"/>
                  </a:cubicBezTo>
                  <a:cubicBezTo>
                    <a:pt x="23817" y="21186"/>
                    <a:pt x="25330" y="19466"/>
                    <a:pt x="26753" y="17661"/>
                  </a:cubicBezTo>
                  <a:lnTo>
                    <a:pt x="26753" y="17661"/>
                  </a:lnTo>
                  <a:cubicBezTo>
                    <a:pt x="25457" y="19512"/>
                    <a:pt x="24164" y="21325"/>
                    <a:pt x="22830" y="22996"/>
                  </a:cubicBezTo>
                  <a:cubicBezTo>
                    <a:pt x="22739" y="23112"/>
                    <a:pt x="22824" y="23247"/>
                    <a:pt x="22936" y="23247"/>
                  </a:cubicBezTo>
                  <a:cubicBezTo>
                    <a:pt x="22969" y="23247"/>
                    <a:pt x="23004" y="23235"/>
                    <a:pt x="23038" y="23207"/>
                  </a:cubicBezTo>
                  <a:cubicBezTo>
                    <a:pt x="23427" y="22878"/>
                    <a:pt x="23797" y="22532"/>
                    <a:pt x="24146" y="22162"/>
                  </a:cubicBezTo>
                  <a:lnTo>
                    <a:pt x="24146" y="22162"/>
                  </a:lnTo>
                  <a:cubicBezTo>
                    <a:pt x="23901" y="22586"/>
                    <a:pt x="23667" y="23019"/>
                    <a:pt x="23451" y="23455"/>
                  </a:cubicBezTo>
                  <a:cubicBezTo>
                    <a:pt x="23404" y="23552"/>
                    <a:pt x="23478" y="23688"/>
                    <a:pt x="23578" y="23688"/>
                  </a:cubicBezTo>
                  <a:cubicBezTo>
                    <a:pt x="23603" y="23688"/>
                    <a:pt x="23629" y="23680"/>
                    <a:pt x="23656" y="23660"/>
                  </a:cubicBezTo>
                  <a:cubicBezTo>
                    <a:pt x="28552" y="20034"/>
                    <a:pt x="31907" y="14058"/>
                    <a:pt x="35232" y="8622"/>
                  </a:cubicBezTo>
                  <a:cubicBezTo>
                    <a:pt x="35440" y="8374"/>
                    <a:pt x="35648" y="8131"/>
                    <a:pt x="35853" y="7883"/>
                  </a:cubicBezTo>
                  <a:lnTo>
                    <a:pt x="35853" y="7883"/>
                  </a:lnTo>
                  <a:cubicBezTo>
                    <a:pt x="35828" y="7913"/>
                    <a:pt x="35816" y="7926"/>
                    <a:pt x="35816" y="7926"/>
                  </a:cubicBezTo>
                  <a:cubicBezTo>
                    <a:pt x="35809" y="7926"/>
                    <a:pt x="37809" y="5484"/>
                    <a:pt x="37928" y="5484"/>
                  </a:cubicBezTo>
                  <a:cubicBezTo>
                    <a:pt x="37949" y="5484"/>
                    <a:pt x="37909" y="5564"/>
                    <a:pt x="37785" y="5752"/>
                  </a:cubicBezTo>
                  <a:cubicBezTo>
                    <a:pt x="36803" y="7242"/>
                    <a:pt x="35813" y="8723"/>
                    <a:pt x="34814" y="10201"/>
                  </a:cubicBezTo>
                  <a:lnTo>
                    <a:pt x="34776" y="10256"/>
                  </a:lnTo>
                  <a:cubicBezTo>
                    <a:pt x="33818" y="11578"/>
                    <a:pt x="32900" y="12944"/>
                    <a:pt x="31985" y="14309"/>
                  </a:cubicBezTo>
                  <a:cubicBezTo>
                    <a:pt x="30942" y="15793"/>
                    <a:pt x="29894" y="17271"/>
                    <a:pt x="28838" y="18747"/>
                  </a:cubicBezTo>
                  <a:cubicBezTo>
                    <a:pt x="28800" y="18802"/>
                    <a:pt x="28760" y="18859"/>
                    <a:pt x="28719" y="18917"/>
                  </a:cubicBezTo>
                  <a:cubicBezTo>
                    <a:pt x="29155" y="18328"/>
                    <a:pt x="29594" y="17742"/>
                    <a:pt x="30042" y="17162"/>
                  </a:cubicBezTo>
                  <a:lnTo>
                    <a:pt x="30042" y="17162"/>
                  </a:lnTo>
                  <a:cubicBezTo>
                    <a:pt x="29470" y="17979"/>
                    <a:pt x="28881" y="18776"/>
                    <a:pt x="28278" y="19558"/>
                  </a:cubicBezTo>
                  <a:cubicBezTo>
                    <a:pt x="27305" y="21004"/>
                    <a:pt x="26271" y="22630"/>
                    <a:pt x="24995" y="23681"/>
                  </a:cubicBezTo>
                  <a:cubicBezTo>
                    <a:pt x="26049" y="22812"/>
                    <a:pt x="26849" y="21495"/>
                    <a:pt x="27642" y="20386"/>
                  </a:cubicBezTo>
                  <a:cubicBezTo>
                    <a:pt x="27720" y="20280"/>
                    <a:pt x="27801" y="20170"/>
                    <a:pt x="27879" y="20063"/>
                  </a:cubicBezTo>
                  <a:lnTo>
                    <a:pt x="27879" y="20063"/>
                  </a:lnTo>
                  <a:cubicBezTo>
                    <a:pt x="26644" y="21608"/>
                    <a:pt x="25313" y="23051"/>
                    <a:pt x="23800" y="24293"/>
                  </a:cubicBezTo>
                  <a:cubicBezTo>
                    <a:pt x="23695" y="24378"/>
                    <a:pt x="23794" y="24546"/>
                    <a:pt x="23905" y="24546"/>
                  </a:cubicBezTo>
                  <a:cubicBezTo>
                    <a:pt x="23929" y="24546"/>
                    <a:pt x="23953" y="24538"/>
                    <a:pt x="23976" y="24521"/>
                  </a:cubicBezTo>
                  <a:cubicBezTo>
                    <a:pt x="28335" y="21201"/>
                    <a:pt x="31705" y="16151"/>
                    <a:pt x="34788" y="11180"/>
                  </a:cubicBezTo>
                  <a:cubicBezTo>
                    <a:pt x="35406" y="10438"/>
                    <a:pt x="34950" y="11056"/>
                    <a:pt x="35931" y="9751"/>
                  </a:cubicBezTo>
                  <a:cubicBezTo>
                    <a:pt x="36224" y="9364"/>
                    <a:pt x="38672" y="5974"/>
                    <a:pt x="38816" y="5974"/>
                  </a:cubicBezTo>
                  <a:cubicBezTo>
                    <a:pt x="38839" y="5974"/>
                    <a:pt x="38801" y="6064"/>
                    <a:pt x="38682" y="6272"/>
                  </a:cubicBezTo>
                  <a:cubicBezTo>
                    <a:pt x="34814" y="13053"/>
                    <a:pt x="29788" y="19494"/>
                    <a:pt x="24553" y="25263"/>
                  </a:cubicBezTo>
                  <a:cubicBezTo>
                    <a:pt x="24456" y="25369"/>
                    <a:pt x="24551" y="25514"/>
                    <a:pt x="24662" y="25514"/>
                  </a:cubicBezTo>
                  <a:cubicBezTo>
                    <a:pt x="24696" y="25514"/>
                    <a:pt x="24730" y="25501"/>
                    <a:pt x="24761" y="25470"/>
                  </a:cubicBezTo>
                  <a:cubicBezTo>
                    <a:pt x="26693" y="23513"/>
                    <a:pt x="28474" y="21440"/>
                    <a:pt x="30177" y="19307"/>
                  </a:cubicBezTo>
                  <a:lnTo>
                    <a:pt x="30177" y="19307"/>
                  </a:lnTo>
                  <a:cubicBezTo>
                    <a:pt x="28653" y="21637"/>
                    <a:pt x="27313" y="24105"/>
                    <a:pt x="25408" y="26114"/>
                  </a:cubicBezTo>
                  <a:cubicBezTo>
                    <a:pt x="25299" y="26230"/>
                    <a:pt x="25403" y="26385"/>
                    <a:pt x="25525" y="26385"/>
                  </a:cubicBezTo>
                  <a:cubicBezTo>
                    <a:pt x="25561" y="26385"/>
                    <a:pt x="25599" y="26372"/>
                    <a:pt x="25633" y="26339"/>
                  </a:cubicBezTo>
                  <a:cubicBezTo>
                    <a:pt x="30844" y="21325"/>
                    <a:pt x="35030" y="14904"/>
                    <a:pt x="38899" y="8824"/>
                  </a:cubicBezTo>
                  <a:cubicBezTo>
                    <a:pt x="39997" y="7100"/>
                    <a:pt x="40461" y="6501"/>
                    <a:pt x="40567" y="6501"/>
                  </a:cubicBezTo>
                  <a:cubicBezTo>
                    <a:pt x="40772" y="6501"/>
                    <a:pt x="39658" y="8712"/>
                    <a:pt x="39185" y="9401"/>
                  </a:cubicBezTo>
                  <a:cubicBezTo>
                    <a:pt x="38021" y="11093"/>
                    <a:pt x="36722" y="12684"/>
                    <a:pt x="35570" y="14387"/>
                  </a:cubicBezTo>
                  <a:cubicBezTo>
                    <a:pt x="34831" y="15481"/>
                    <a:pt x="34112" y="16587"/>
                    <a:pt x="33393" y="17690"/>
                  </a:cubicBezTo>
                  <a:cubicBezTo>
                    <a:pt x="30965" y="20638"/>
                    <a:pt x="28107" y="23600"/>
                    <a:pt x="26453" y="26900"/>
                  </a:cubicBezTo>
                  <a:cubicBezTo>
                    <a:pt x="26391" y="27024"/>
                    <a:pt x="26488" y="27152"/>
                    <a:pt x="26601" y="27152"/>
                  </a:cubicBezTo>
                  <a:cubicBezTo>
                    <a:pt x="26639" y="27152"/>
                    <a:pt x="26680" y="27137"/>
                    <a:pt x="26716" y="27102"/>
                  </a:cubicBezTo>
                  <a:cubicBezTo>
                    <a:pt x="28003" y="25837"/>
                    <a:pt x="29155" y="24440"/>
                    <a:pt x="30238" y="22985"/>
                  </a:cubicBezTo>
                  <a:lnTo>
                    <a:pt x="30238" y="22985"/>
                  </a:lnTo>
                  <a:cubicBezTo>
                    <a:pt x="29236" y="24550"/>
                    <a:pt x="28260" y="26114"/>
                    <a:pt x="27325" y="27659"/>
                  </a:cubicBezTo>
                  <a:cubicBezTo>
                    <a:pt x="27256" y="27775"/>
                    <a:pt x="27356" y="27890"/>
                    <a:pt x="27464" y="27890"/>
                  </a:cubicBezTo>
                  <a:cubicBezTo>
                    <a:pt x="27501" y="27890"/>
                    <a:pt x="27538" y="27877"/>
                    <a:pt x="27570" y="27846"/>
                  </a:cubicBezTo>
                  <a:cubicBezTo>
                    <a:pt x="30021" y="25534"/>
                    <a:pt x="31979" y="22878"/>
                    <a:pt x="33803" y="20112"/>
                  </a:cubicBezTo>
                  <a:lnTo>
                    <a:pt x="33803" y="20112"/>
                  </a:lnTo>
                  <a:cubicBezTo>
                    <a:pt x="33448" y="20759"/>
                    <a:pt x="33108" y="21414"/>
                    <a:pt x="32776" y="22081"/>
                  </a:cubicBezTo>
                  <a:cubicBezTo>
                    <a:pt x="31012" y="24030"/>
                    <a:pt x="29196" y="25976"/>
                    <a:pt x="28272" y="28340"/>
                  </a:cubicBezTo>
                  <a:cubicBezTo>
                    <a:pt x="28228" y="28448"/>
                    <a:pt x="28334" y="28550"/>
                    <a:pt x="28436" y="28550"/>
                  </a:cubicBezTo>
                  <a:cubicBezTo>
                    <a:pt x="28462" y="28550"/>
                    <a:pt x="28488" y="28543"/>
                    <a:pt x="28511" y="28528"/>
                  </a:cubicBezTo>
                  <a:cubicBezTo>
                    <a:pt x="30509" y="27208"/>
                    <a:pt x="31658" y="25170"/>
                    <a:pt x="32677" y="23057"/>
                  </a:cubicBezTo>
                  <a:cubicBezTo>
                    <a:pt x="32845" y="22875"/>
                    <a:pt x="33024" y="22705"/>
                    <a:pt x="33188" y="22523"/>
                  </a:cubicBezTo>
                  <a:cubicBezTo>
                    <a:pt x="34895" y="20707"/>
                    <a:pt x="36153" y="18380"/>
                    <a:pt x="37574" y="16348"/>
                  </a:cubicBezTo>
                  <a:cubicBezTo>
                    <a:pt x="39739" y="13253"/>
                    <a:pt x="42164" y="10348"/>
                    <a:pt x="44309" y="7239"/>
                  </a:cubicBezTo>
                  <a:cubicBezTo>
                    <a:pt x="44394" y="7114"/>
                    <a:pt x="44278" y="6994"/>
                    <a:pt x="44159" y="6994"/>
                  </a:cubicBezTo>
                  <a:cubicBezTo>
                    <a:pt x="44108" y="6994"/>
                    <a:pt x="44057" y="7016"/>
                    <a:pt x="44020" y="7069"/>
                  </a:cubicBezTo>
                  <a:cubicBezTo>
                    <a:pt x="41272" y="11050"/>
                    <a:pt x="38223" y="14806"/>
                    <a:pt x="35486" y="18796"/>
                  </a:cubicBezTo>
                  <a:cubicBezTo>
                    <a:pt x="34915" y="19630"/>
                    <a:pt x="34248" y="20427"/>
                    <a:pt x="33555" y="21212"/>
                  </a:cubicBezTo>
                  <a:cubicBezTo>
                    <a:pt x="33723" y="20860"/>
                    <a:pt x="33893" y="20511"/>
                    <a:pt x="34066" y="20167"/>
                  </a:cubicBezTo>
                  <a:cubicBezTo>
                    <a:pt x="36621" y="15178"/>
                    <a:pt x="41263" y="11636"/>
                    <a:pt x="43790" y="6734"/>
                  </a:cubicBezTo>
                  <a:cubicBezTo>
                    <a:pt x="45805" y="7366"/>
                    <a:pt x="47944" y="7733"/>
                    <a:pt x="49910" y="8408"/>
                  </a:cubicBezTo>
                  <a:cubicBezTo>
                    <a:pt x="49927" y="8414"/>
                    <a:pt x="49944" y="8417"/>
                    <a:pt x="49962" y="8417"/>
                  </a:cubicBezTo>
                  <a:cubicBezTo>
                    <a:pt x="50042" y="8417"/>
                    <a:pt x="50120" y="8357"/>
                    <a:pt x="50141" y="8278"/>
                  </a:cubicBezTo>
                  <a:cubicBezTo>
                    <a:pt x="51293" y="4101"/>
                    <a:pt x="45617" y="6702"/>
                    <a:pt x="44191" y="3760"/>
                  </a:cubicBezTo>
                  <a:cubicBezTo>
                    <a:pt x="44160" y="3706"/>
                    <a:pt x="44102" y="3676"/>
                    <a:pt x="44043" y="3676"/>
                  </a:cubicBezTo>
                  <a:cubicBezTo>
                    <a:pt x="44014" y="3676"/>
                    <a:pt x="43984" y="3683"/>
                    <a:pt x="43957" y="3700"/>
                  </a:cubicBezTo>
                  <a:cubicBezTo>
                    <a:pt x="43634" y="3913"/>
                    <a:pt x="43688" y="3850"/>
                    <a:pt x="43504" y="4190"/>
                  </a:cubicBezTo>
                  <a:cubicBezTo>
                    <a:pt x="43449" y="4290"/>
                    <a:pt x="43514" y="4424"/>
                    <a:pt x="43636" y="4424"/>
                  </a:cubicBezTo>
                  <a:cubicBezTo>
                    <a:pt x="43637" y="4424"/>
                    <a:pt x="43638" y="4424"/>
                    <a:pt x="43639" y="4424"/>
                  </a:cubicBezTo>
                  <a:lnTo>
                    <a:pt x="43824" y="4421"/>
                  </a:lnTo>
                  <a:cubicBezTo>
                    <a:pt x="43974" y="4416"/>
                    <a:pt x="44015" y="4185"/>
                    <a:pt x="43862" y="4153"/>
                  </a:cubicBezTo>
                  <a:lnTo>
                    <a:pt x="43862" y="4153"/>
                  </a:lnTo>
                  <a:cubicBezTo>
                    <a:pt x="44376" y="4257"/>
                    <a:pt x="44881" y="5409"/>
                    <a:pt x="45562" y="5608"/>
                  </a:cubicBezTo>
                  <a:cubicBezTo>
                    <a:pt x="46131" y="5775"/>
                    <a:pt x="46662" y="5862"/>
                    <a:pt x="47248" y="5917"/>
                  </a:cubicBezTo>
                  <a:cubicBezTo>
                    <a:pt x="47609" y="5940"/>
                    <a:pt x="47970" y="5960"/>
                    <a:pt x="48331" y="5980"/>
                  </a:cubicBezTo>
                  <a:cubicBezTo>
                    <a:pt x="48445" y="5968"/>
                    <a:pt x="48550" y="5962"/>
                    <a:pt x="48646" y="5962"/>
                  </a:cubicBezTo>
                  <a:cubicBezTo>
                    <a:pt x="49543" y="5962"/>
                    <a:pt x="49591" y="6514"/>
                    <a:pt x="48787" y="7623"/>
                  </a:cubicBezTo>
                  <a:cubicBezTo>
                    <a:pt x="45325" y="6422"/>
                    <a:pt x="42063" y="5715"/>
                    <a:pt x="38746" y="4020"/>
                  </a:cubicBezTo>
                  <a:cubicBezTo>
                    <a:pt x="37623" y="3446"/>
                    <a:pt x="36480" y="2995"/>
                    <a:pt x="35290" y="2689"/>
                  </a:cubicBezTo>
                  <a:cubicBezTo>
                    <a:pt x="35276" y="2680"/>
                    <a:pt x="35258" y="2678"/>
                    <a:pt x="35241" y="2675"/>
                  </a:cubicBezTo>
                  <a:cubicBezTo>
                    <a:pt x="34970" y="2605"/>
                    <a:pt x="34695" y="2548"/>
                    <a:pt x="34421" y="2493"/>
                  </a:cubicBezTo>
                  <a:cubicBezTo>
                    <a:pt x="34407" y="2404"/>
                    <a:pt x="34327" y="2333"/>
                    <a:pt x="34239" y="2333"/>
                  </a:cubicBezTo>
                  <a:cubicBezTo>
                    <a:pt x="34198" y="2333"/>
                    <a:pt x="34156" y="2349"/>
                    <a:pt x="34118" y="2386"/>
                  </a:cubicBezTo>
                  <a:cubicBezTo>
                    <a:pt x="34104" y="2403"/>
                    <a:pt x="34089" y="2421"/>
                    <a:pt x="34072" y="2435"/>
                  </a:cubicBezTo>
                  <a:cubicBezTo>
                    <a:pt x="33876" y="2403"/>
                    <a:pt x="33682" y="2360"/>
                    <a:pt x="33480" y="2337"/>
                  </a:cubicBezTo>
                  <a:cubicBezTo>
                    <a:pt x="33483" y="2239"/>
                    <a:pt x="33415" y="2126"/>
                    <a:pt x="33292" y="2126"/>
                  </a:cubicBezTo>
                  <a:cubicBezTo>
                    <a:pt x="33281" y="2126"/>
                    <a:pt x="33270" y="2127"/>
                    <a:pt x="33258" y="2129"/>
                  </a:cubicBezTo>
                  <a:cubicBezTo>
                    <a:pt x="32233" y="2305"/>
                    <a:pt x="31286" y="2683"/>
                    <a:pt x="30362" y="3111"/>
                  </a:cubicBezTo>
                  <a:cubicBezTo>
                    <a:pt x="30333" y="3111"/>
                    <a:pt x="30307" y="3116"/>
                    <a:pt x="30287" y="3131"/>
                  </a:cubicBezTo>
                  <a:cubicBezTo>
                    <a:pt x="30270" y="3142"/>
                    <a:pt x="30255" y="3157"/>
                    <a:pt x="30238" y="3168"/>
                  </a:cubicBezTo>
                  <a:cubicBezTo>
                    <a:pt x="28405" y="4029"/>
                    <a:pt x="26649" y="5077"/>
                    <a:pt x="24545" y="5192"/>
                  </a:cubicBezTo>
                  <a:cubicBezTo>
                    <a:pt x="24535" y="5193"/>
                    <a:pt x="24525" y="5193"/>
                    <a:pt x="24516" y="5193"/>
                  </a:cubicBezTo>
                  <a:cubicBezTo>
                    <a:pt x="24497" y="5193"/>
                    <a:pt x="24477" y="5192"/>
                    <a:pt x="24458" y="5192"/>
                  </a:cubicBezTo>
                  <a:cubicBezTo>
                    <a:pt x="24422" y="5155"/>
                    <a:pt x="24374" y="5136"/>
                    <a:pt x="24326" y="5136"/>
                  </a:cubicBezTo>
                  <a:cubicBezTo>
                    <a:pt x="24281" y="5136"/>
                    <a:pt x="24236" y="5153"/>
                    <a:pt x="24201" y="5186"/>
                  </a:cubicBezTo>
                  <a:lnTo>
                    <a:pt x="24198" y="5192"/>
                  </a:lnTo>
                  <a:cubicBezTo>
                    <a:pt x="22466" y="5175"/>
                    <a:pt x="20858" y="4352"/>
                    <a:pt x="19299" y="3382"/>
                  </a:cubicBezTo>
                  <a:cubicBezTo>
                    <a:pt x="19270" y="3344"/>
                    <a:pt x="19227" y="3319"/>
                    <a:pt x="19181" y="3310"/>
                  </a:cubicBezTo>
                  <a:cubicBezTo>
                    <a:pt x="18958" y="3168"/>
                    <a:pt x="18736" y="3027"/>
                    <a:pt x="18517" y="2885"/>
                  </a:cubicBezTo>
                  <a:cubicBezTo>
                    <a:pt x="18531" y="2865"/>
                    <a:pt x="18546" y="2845"/>
                    <a:pt x="18560" y="2825"/>
                  </a:cubicBezTo>
                  <a:cubicBezTo>
                    <a:pt x="18656" y="2687"/>
                    <a:pt x="18529" y="2564"/>
                    <a:pt x="18397" y="2564"/>
                  </a:cubicBezTo>
                  <a:cubicBezTo>
                    <a:pt x="18355" y="2564"/>
                    <a:pt x="18313" y="2577"/>
                    <a:pt x="18277" y="2605"/>
                  </a:cubicBezTo>
                  <a:cubicBezTo>
                    <a:pt x="18248" y="2629"/>
                    <a:pt x="18222" y="2654"/>
                    <a:pt x="18193" y="2678"/>
                  </a:cubicBezTo>
                  <a:cubicBezTo>
                    <a:pt x="17933" y="2510"/>
                    <a:pt x="17677" y="2343"/>
                    <a:pt x="17417" y="2178"/>
                  </a:cubicBezTo>
                  <a:cubicBezTo>
                    <a:pt x="17437" y="2141"/>
                    <a:pt x="17463" y="2106"/>
                    <a:pt x="17483" y="2068"/>
                  </a:cubicBezTo>
                  <a:cubicBezTo>
                    <a:pt x="17553" y="1947"/>
                    <a:pt x="17451" y="1795"/>
                    <a:pt x="17327" y="1795"/>
                  </a:cubicBezTo>
                  <a:cubicBezTo>
                    <a:pt x="17298" y="1795"/>
                    <a:pt x="17267" y="1804"/>
                    <a:pt x="17238" y="1823"/>
                  </a:cubicBezTo>
                  <a:cubicBezTo>
                    <a:pt x="17174" y="1863"/>
                    <a:pt x="17119" y="1913"/>
                    <a:pt x="17059" y="1953"/>
                  </a:cubicBezTo>
                  <a:cubicBezTo>
                    <a:pt x="16340" y="1505"/>
                    <a:pt x="15621" y="1101"/>
                    <a:pt x="14902" y="813"/>
                  </a:cubicBezTo>
                  <a:cubicBezTo>
                    <a:pt x="13495" y="249"/>
                    <a:pt x="12339" y="1"/>
                    <a:pt x="113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65"/>
            <p:cNvSpPr/>
            <p:nvPr/>
          </p:nvSpPr>
          <p:spPr>
            <a:xfrm>
              <a:off x="1982300" y="2504500"/>
              <a:ext cx="64825" cy="112625"/>
            </a:xfrm>
            <a:custGeom>
              <a:avLst/>
              <a:gdLst/>
              <a:ahLst/>
              <a:cxnLst/>
              <a:rect l="l" t="t" r="r" b="b"/>
              <a:pathLst>
                <a:path w="2593" h="4505" extrusionOk="0">
                  <a:moveTo>
                    <a:pt x="0" y="1"/>
                  </a:moveTo>
                  <a:lnTo>
                    <a:pt x="0" y="1"/>
                  </a:lnTo>
                  <a:cubicBezTo>
                    <a:pt x="67" y="463"/>
                    <a:pt x="125" y="922"/>
                    <a:pt x="197" y="1369"/>
                  </a:cubicBezTo>
                  <a:cubicBezTo>
                    <a:pt x="425" y="2833"/>
                    <a:pt x="1040" y="3722"/>
                    <a:pt x="2275" y="4478"/>
                  </a:cubicBezTo>
                  <a:cubicBezTo>
                    <a:pt x="2305" y="4496"/>
                    <a:pt x="2333" y="4504"/>
                    <a:pt x="2360" y="4504"/>
                  </a:cubicBezTo>
                  <a:cubicBezTo>
                    <a:pt x="2501" y="4504"/>
                    <a:pt x="2593" y="4290"/>
                    <a:pt x="2443" y="4195"/>
                  </a:cubicBezTo>
                  <a:cubicBezTo>
                    <a:pt x="927" y="3243"/>
                    <a:pt x="399" y="166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65"/>
            <p:cNvSpPr/>
            <p:nvPr/>
          </p:nvSpPr>
          <p:spPr>
            <a:xfrm>
              <a:off x="1965925" y="2438400"/>
              <a:ext cx="16400" cy="66125"/>
            </a:xfrm>
            <a:custGeom>
              <a:avLst/>
              <a:gdLst/>
              <a:ahLst/>
              <a:cxnLst/>
              <a:rect l="l" t="t" r="r" b="b"/>
              <a:pathLst>
                <a:path w="656" h="2645" extrusionOk="0">
                  <a:moveTo>
                    <a:pt x="0" y="0"/>
                  </a:moveTo>
                  <a:lnTo>
                    <a:pt x="0" y="0"/>
                  </a:lnTo>
                  <a:cubicBezTo>
                    <a:pt x="263" y="858"/>
                    <a:pt x="445" y="1761"/>
                    <a:pt x="655" y="2645"/>
                  </a:cubicBezTo>
                  <a:cubicBezTo>
                    <a:pt x="525" y="1738"/>
                    <a:pt x="358" y="83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65"/>
            <p:cNvSpPr/>
            <p:nvPr/>
          </p:nvSpPr>
          <p:spPr>
            <a:xfrm>
              <a:off x="1646825" y="2096200"/>
              <a:ext cx="445350" cy="351225"/>
            </a:xfrm>
            <a:custGeom>
              <a:avLst/>
              <a:gdLst/>
              <a:ahLst/>
              <a:cxnLst/>
              <a:rect l="l" t="t" r="r" b="b"/>
              <a:pathLst>
                <a:path w="17814" h="14049" extrusionOk="0">
                  <a:moveTo>
                    <a:pt x="14905" y="1"/>
                  </a:moveTo>
                  <a:cubicBezTo>
                    <a:pt x="14856" y="1"/>
                    <a:pt x="14804" y="43"/>
                    <a:pt x="14825" y="96"/>
                  </a:cubicBezTo>
                  <a:cubicBezTo>
                    <a:pt x="15383" y="1444"/>
                    <a:pt x="15165" y="4172"/>
                    <a:pt x="13744" y="4172"/>
                  </a:cubicBezTo>
                  <a:cubicBezTo>
                    <a:pt x="13466" y="4172"/>
                    <a:pt x="13142" y="4068"/>
                    <a:pt x="12770" y="3829"/>
                  </a:cubicBezTo>
                  <a:cubicBezTo>
                    <a:pt x="11886" y="3260"/>
                    <a:pt x="11136" y="2637"/>
                    <a:pt x="10128" y="2322"/>
                  </a:cubicBezTo>
                  <a:cubicBezTo>
                    <a:pt x="10111" y="2316"/>
                    <a:pt x="10095" y="2314"/>
                    <a:pt x="10079" y="2314"/>
                  </a:cubicBezTo>
                  <a:cubicBezTo>
                    <a:pt x="10004" y="2314"/>
                    <a:pt x="9946" y="2371"/>
                    <a:pt x="9917" y="2440"/>
                  </a:cubicBezTo>
                  <a:cubicBezTo>
                    <a:pt x="8916" y="4868"/>
                    <a:pt x="1" y="10772"/>
                    <a:pt x="5616" y="14026"/>
                  </a:cubicBezTo>
                  <a:cubicBezTo>
                    <a:pt x="5642" y="14041"/>
                    <a:pt x="5670" y="14048"/>
                    <a:pt x="5698" y="14048"/>
                  </a:cubicBezTo>
                  <a:cubicBezTo>
                    <a:pt x="5771" y="14048"/>
                    <a:pt x="5841" y="14000"/>
                    <a:pt x="5864" y="13925"/>
                  </a:cubicBezTo>
                  <a:cubicBezTo>
                    <a:pt x="6325" y="12116"/>
                    <a:pt x="7798" y="11147"/>
                    <a:pt x="9301" y="11147"/>
                  </a:cubicBezTo>
                  <a:cubicBezTo>
                    <a:pt x="10415" y="11147"/>
                    <a:pt x="11545" y="11679"/>
                    <a:pt x="12293" y="12793"/>
                  </a:cubicBezTo>
                  <a:cubicBezTo>
                    <a:pt x="12481" y="13076"/>
                    <a:pt x="12637" y="13376"/>
                    <a:pt x="12767" y="13688"/>
                  </a:cubicBezTo>
                  <a:cubicBezTo>
                    <a:pt x="12262" y="12037"/>
                    <a:pt x="11430" y="10576"/>
                    <a:pt x="9360" y="9877"/>
                  </a:cubicBezTo>
                  <a:cubicBezTo>
                    <a:pt x="9169" y="9813"/>
                    <a:pt x="8983" y="9784"/>
                    <a:pt x="8801" y="9784"/>
                  </a:cubicBezTo>
                  <a:cubicBezTo>
                    <a:pt x="8010" y="9784"/>
                    <a:pt x="7314" y="10328"/>
                    <a:pt x="6765" y="10859"/>
                  </a:cubicBezTo>
                  <a:cubicBezTo>
                    <a:pt x="6338" y="11275"/>
                    <a:pt x="6058" y="12123"/>
                    <a:pt x="5844" y="12640"/>
                  </a:cubicBezTo>
                  <a:cubicBezTo>
                    <a:pt x="4158" y="12504"/>
                    <a:pt x="3736" y="11514"/>
                    <a:pt x="4571" y="9672"/>
                  </a:cubicBezTo>
                  <a:cubicBezTo>
                    <a:pt x="5015" y="8252"/>
                    <a:pt x="5861" y="7094"/>
                    <a:pt x="7108" y="6199"/>
                  </a:cubicBezTo>
                  <a:cubicBezTo>
                    <a:pt x="8076" y="5466"/>
                    <a:pt x="9282" y="4868"/>
                    <a:pt x="9779" y="3667"/>
                  </a:cubicBezTo>
                  <a:cubicBezTo>
                    <a:pt x="9933" y="3293"/>
                    <a:pt x="10198" y="3147"/>
                    <a:pt x="10530" y="3147"/>
                  </a:cubicBezTo>
                  <a:cubicBezTo>
                    <a:pt x="11743" y="3147"/>
                    <a:pt x="13853" y="5099"/>
                    <a:pt x="14739" y="5099"/>
                  </a:cubicBezTo>
                  <a:cubicBezTo>
                    <a:pt x="17813" y="5099"/>
                    <a:pt x="15510" y="1135"/>
                    <a:pt x="14967" y="38"/>
                  </a:cubicBezTo>
                  <a:cubicBezTo>
                    <a:pt x="14954" y="12"/>
                    <a:pt x="14930" y="1"/>
                    <a:pt x="14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65"/>
            <p:cNvSpPr/>
            <p:nvPr/>
          </p:nvSpPr>
          <p:spPr>
            <a:xfrm>
              <a:off x="2029925" y="2223150"/>
              <a:ext cx="265325" cy="386075"/>
            </a:xfrm>
            <a:custGeom>
              <a:avLst/>
              <a:gdLst/>
              <a:ahLst/>
              <a:cxnLst/>
              <a:rect l="l" t="t" r="r" b="b"/>
              <a:pathLst>
                <a:path w="10613" h="15443" extrusionOk="0">
                  <a:moveTo>
                    <a:pt x="4356" y="1"/>
                  </a:moveTo>
                  <a:cubicBezTo>
                    <a:pt x="3578" y="1"/>
                    <a:pt x="2813" y="172"/>
                    <a:pt x="2120" y="550"/>
                  </a:cubicBezTo>
                  <a:cubicBezTo>
                    <a:pt x="2068" y="578"/>
                    <a:pt x="2036" y="633"/>
                    <a:pt x="2036" y="694"/>
                  </a:cubicBezTo>
                  <a:cubicBezTo>
                    <a:pt x="2178" y="1944"/>
                    <a:pt x="1193" y="3708"/>
                    <a:pt x="1606" y="4900"/>
                  </a:cubicBezTo>
                  <a:cubicBezTo>
                    <a:pt x="2215" y="6653"/>
                    <a:pt x="3927" y="7998"/>
                    <a:pt x="2986" y="10175"/>
                  </a:cubicBezTo>
                  <a:cubicBezTo>
                    <a:pt x="2157" y="12095"/>
                    <a:pt x="99" y="13120"/>
                    <a:pt x="1037" y="15392"/>
                  </a:cubicBezTo>
                  <a:cubicBezTo>
                    <a:pt x="1051" y="15427"/>
                    <a:pt x="1082" y="15443"/>
                    <a:pt x="1112" y="15443"/>
                  </a:cubicBezTo>
                  <a:cubicBezTo>
                    <a:pt x="1159" y="15443"/>
                    <a:pt x="1204" y="15407"/>
                    <a:pt x="1184" y="15351"/>
                  </a:cubicBezTo>
                  <a:cubicBezTo>
                    <a:pt x="1" y="12040"/>
                    <a:pt x="4964" y="10550"/>
                    <a:pt x="3110" y="7019"/>
                  </a:cubicBezTo>
                  <a:cubicBezTo>
                    <a:pt x="2003" y="4915"/>
                    <a:pt x="1291" y="301"/>
                    <a:pt x="4621" y="301"/>
                  </a:cubicBezTo>
                  <a:cubicBezTo>
                    <a:pt x="4799" y="301"/>
                    <a:pt x="4989" y="314"/>
                    <a:pt x="5192" y="342"/>
                  </a:cubicBezTo>
                  <a:cubicBezTo>
                    <a:pt x="7646" y="680"/>
                    <a:pt x="10247" y="3185"/>
                    <a:pt x="10137" y="5732"/>
                  </a:cubicBezTo>
                  <a:cubicBezTo>
                    <a:pt x="10133" y="5843"/>
                    <a:pt x="10217" y="5898"/>
                    <a:pt x="10304" y="5898"/>
                  </a:cubicBezTo>
                  <a:cubicBezTo>
                    <a:pt x="10390" y="5898"/>
                    <a:pt x="10479" y="5843"/>
                    <a:pt x="10484" y="5732"/>
                  </a:cubicBezTo>
                  <a:cubicBezTo>
                    <a:pt x="10612" y="2607"/>
                    <a:pt x="7390" y="1"/>
                    <a:pt x="4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65"/>
            <p:cNvSpPr/>
            <p:nvPr/>
          </p:nvSpPr>
          <p:spPr>
            <a:xfrm>
              <a:off x="2287025" y="2324375"/>
              <a:ext cx="290100" cy="308650"/>
            </a:xfrm>
            <a:custGeom>
              <a:avLst/>
              <a:gdLst/>
              <a:ahLst/>
              <a:cxnLst/>
              <a:rect l="l" t="t" r="r" b="b"/>
              <a:pathLst>
                <a:path w="11604" h="12346" extrusionOk="0">
                  <a:moveTo>
                    <a:pt x="2880" y="0"/>
                  </a:moveTo>
                  <a:cubicBezTo>
                    <a:pt x="1456" y="0"/>
                    <a:pt x="1" y="1150"/>
                    <a:pt x="659" y="1931"/>
                  </a:cubicBezTo>
                  <a:cubicBezTo>
                    <a:pt x="666" y="1940"/>
                    <a:pt x="674" y="1943"/>
                    <a:pt x="682" y="1943"/>
                  </a:cubicBezTo>
                  <a:cubicBezTo>
                    <a:pt x="707" y="1943"/>
                    <a:pt x="729" y="1911"/>
                    <a:pt x="716" y="1885"/>
                  </a:cubicBezTo>
                  <a:cubicBezTo>
                    <a:pt x="844" y="903"/>
                    <a:pt x="1265" y="412"/>
                    <a:pt x="1980" y="412"/>
                  </a:cubicBezTo>
                  <a:cubicBezTo>
                    <a:pt x="2621" y="412"/>
                    <a:pt x="3498" y="806"/>
                    <a:pt x="4611" y="1593"/>
                  </a:cubicBezTo>
                  <a:cubicBezTo>
                    <a:pt x="4799" y="2052"/>
                    <a:pt x="4923" y="2549"/>
                    <a:pt x="5090" y="3017"/>
                  </a:cubicBezTo>
                  <a:cubicBezTo>
                    <a:pt x="5338" y="3724"/>
                    <a:pt x="5806" y="4298"/>
                    <a:pt x="6280" y="4867"/>
                  </a:cubicBezTo>
                  <a:cubicBezTo>
                    <a:pt x="8101" y="7064"/>
                    <a:pt x="11465" y="8851"/>
                    <a:pt x="10838" y="12160"/>
                  </a:cubicBezTo>
                  <a:cubicBezTo>
                    <a:pt x="10817" y="12273"/>
                    <a:pt x="10905" y="12346"/>
                    <a:pt x="10991" y="12346"/>
                  </a:cubicBezTo>
                  <a:cubicBezTo>
                    <a:pt x="11047" y="12346"/>
                    <a:pt x="11102" y="12314"/>
                    <a:pt x="11124" y="12241"/>
                  </a:cubicBezTo>
                  <a:cubicBezTo>
                    <a:pt x="11603" y="10635"/>
                    <a:pt x="10925" y="9365"/>
                    <a:pt x="9940" y="8115"/>
                  </a:cubicBezTo>
                  <a:cubicBezTo>
                    <a:pt x="8090" y="5771"/>
                    <a:pt x="5939" y="4463"/>
                    <a:pt x="4926" y="1507"/>
                  </a:cubicBezTo>
                  <a:cubicBezTo>
                    <a:pt x="4547" y="399"/>
                    <a:pt x="3719" y="0"/>
                    <a:pt x="28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65"/>
            <p:cNvSpPr/>
            <p:nvPr/>
          </p:nvSpPr>
          <p:spPr>
            <a:xfrm>
              <a:off x="2000425" y="3668900"/>
              <a:ext cx="255750" cy="503975"/>
            </a:xfrm>
            <a:custGeom>
              <a:avLst/>
              <a:gdLst/>
              <a:ahLst/>
              <a:cxnLst/>
              <a:rect l="l" t="t" r="r" b="b"/>
              <a:pathLst>
                <a:path w="10230" h="20159" extrusionOk="0">
                  <a:moveTo>
                    <a:pt x="5137" y="0"/>
                  </a:moveTo>
                  <a:cubicBezTo>
                    <a:pt x="5120" y="0"/>
                    <a:pt x="5104" y="9"/>
                    <a:pt x="5098" y="30"/>
                  </a:cubicBezTo>
                  <a:cubicBezTo>
                    <a:pt x="4157" y="2406"/>
                    <a:pt x="3199" y="4239"/>
                    <a:pt x="1732" y="6352"/>
                  </a:cubicBezTo>
                  <a:cubicBezTo>
                    <a:pt x="1132" y="7215"/>
                    <a:pt x="1045" y="9144"/>
                    <a:pt x="1683" y="9998"/>
                  </a:cubicBezTo>
                  <a:cubicBezTo>
                    <a:pt x="3057" y="11846"/>
                    <a:pt x="3323" y="14404"/>
                    <a:pt x="4535" y="16127"/>
                  </a:cubicBezTo>
                  <a:cubicBezTo>
                    <a:pt x="5913" y="18082"/>
                    <a:pt x="7778" y="19014"/>
                    <a:pt x="9865" y="20135"/>
                  </a:cubicBezTo>
                  <a:cubicBezTo>
                    <a:pt x="9895" y="20151"/>
                    <a:pt x="9925" y="20158"/>
                    <a:pt x="9954" y="20158"/>
                  </a:cubicBezTo>
                  <a:cubicBezTo>
                    <a:pt x="10119" y="20158"/>
                    <a:pt x="10229" y="19913"/>
                    <a:pt x="10050" y="19817"/>
                  </a:cubicBezTo>
                  <a:cubicBezTo>
                    <a:pt x="7220" y="18296"/>
                    <a:pt x="5425" y="17646"/>
                    <a:pt x="4498" y="13627"/>
                  </a:cubicBezTo>
                  <a:cubicBezTo>
                    <a:pt x="4215" y="12406"/>
                    <a:pt x="3949" y="11881"/>
                    <a:pt x="3086" y="10994"/>
                  </a:cubicBezTo>
                  <a:cubicBezTo>
                    <a:pt x="0" y="7819"/>
                    <a:pt x="2564" y="6023"/>
                    <a:pt x="4111" y="3913"/>
                  </a:cubicBezTo>
                  <a:cubicBezTo>
                    <a:pt x="4974" y="2738"/>
                    <a:pt x="4925" y="1441"/>
                    <a:pt x="5179" y="53"/>
                  </a:cubicBezTo>
                  <a:cubicBezTo>
                    <a:pt x="5188" y="21"/>
                    <a:pt x="5162" y="0"/>
                    <a:pt x="51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65"/>
            <p:cNvSpPr/>
            <p:nvPr/>
          </p:nvSpPr>
          <p:spPr>
            <a:xfrm>
              <a:off x="2105800" y="4171775"/>
              <a:ext cx="307475" cy="989675"/>
            </a:xfrm>
            <a:custGeom>
              <a:avLst/>
              <a:gdLst/>
              <a:ahLst/>
              <a:cxnLst/>
              <a:rect l="l" t="t" r="r" b="b"/>
              <a:pathLst>
                <a:path w="12299" h="39587" extrusionOk="0">
                  <a:moveTo>
                    <a:pt x="6182" y="0"/>
                  </a:moveTo>
                  <a:cubicBezTo>
                    <a:pt x="6141" y="0"/>
                    <a:pt x="6100" y="27"/>
                    <a:pt x="6097" y="80"/>
                  </a:cubicBezTo>
                  <a:cubicBezTo>
                    <a:pt x="5586" y="10621"/>
                    <a:pt x="0" y="20861"/>
                    <a:pt x="2344" y="31436"/>
                  </a:cubicBezTo>
                  <a:cubicBezTo>
                    <a:pt x="3197" y="35281"/>
                    <a:pt x="5317" y="39586"/>
                    <a:pt x="8757" y="39586"/>
                  </a:cubicBezTo>
                  <a:cubicBezTo>
                    <a:pt x="9777" y="39586"/>
                    <a:pt x="10914" y="39207"/>
                    <a:pt x="12169" y="38324"/>
                  </a:cubicBezTo>
                  <a:cubicBezTo>
                    <a:pt x="12298" y="38236"/>
                    <a:pt x="12220" y="38045"/>
                    <a:pt x="12099" y="38045"/>
                  </a:cubicBezTo>
                  <a:cubicBezTo>
                    <a:pt x="12074" y="38045"/>
                    <a:pt x="12048" y="38052"/>
                    <a:pt x="12022" y="38070"/>
                  </a:cubicBezTo>
                  <a:cubicBezTo>
                    <a:pt x="10779" y="38909"/>
                    <a:pt x="9675" y="39272"/>
                    <a:pt x="8698" y="39272"/>
                  </a:cubicBezTo>
                  <a:cubicBezTo>
                    <a:pt x="3795" y="39272"/>
                    <a:pt x="2075" y="30121"/>
                    <a:pt x="1972" y="25844"/>
                  </a:cubicBezTo>
                  <a:cubicBezTo>
                    <a:pt x="1764" y="17157"/>
                    <a:pt x="6239" y="8863"/>
                    <a:pt x="6262" y="80"/>
                  </a:cubicBezTo>
                  <a:cubicBezTo>
                    <a:pt x="6262" y="27"/>
                    <a:pt x="6222" y="0"/>
                    <a:pt x="6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65"/>
            <p:cNvSpPr/>
            <p:nvPr/>
          </p:nvSpPr>
          <p:spPr>
            <a:xfrm>
              <a:off x="2271275" y="4054625"/>
              <a:ext cx="651325" cy="1046350"/>
            </a:xfrm>
            <a:custGeom>
              <a:avLst/>
              <a:gdLst/>
              <a:ahLst/>
              <a:cxnLst/>
              <a:rect l="l" t="t" r="r" b="b"/>
              <a:pathLst>
                <a:path w="26053" h="41854" extrusionOk="0">
                  <a:moveTo>
                    <a:pt x="25847" y="1"/>
                  </a:moveTo>
                  <a:cubicBezTo>
                    <a:pt x="25779" y="1"/>
                    <a:pt x="25712" y="37"/>
                    <a:pt x="25687" y="121"/>
                  </a:cubicBezTo>
                  <a:cubicBezTo>
                    <a:pt x="24722" y="3227"/>
                    <a:pt x="24272" y="6247"/>
                    <a:pt x="21474" y="8381"/>
                  </a:cubicBezTo>
                  <a:cubicBezTo>
                    <a:pt x="20034" y="9475"/>
                    <a:pt x="18622" y="10049"/>
                    <a:pt x="17407" y="11438"/>
                  </a:cubicBezTo>
                  <a:cubicBezTo>
                    <a:pt x="16209" y="12807"/>
                    <a:pt x="15709" y="15041"/>
                    <a:pt x="14918" y="16620"/>
                  </a:cubicBezTo>
                  <a:cubicBezTo>
                    <a:pt x="13934" y="18583"/>
                    <a:pt x="12040" y="19389"/>
                    <a:pt x="10478" y="20723"/>
                  </a:cubicBezTo>
                  <a:cubicBezTo>
                    <a:pt x="10442" y="20752"/>
                    <a:pt x="10476" y="20808"/>
                    <a:pt x="10516" y="20808"/>
                  </a:cubicBezTo>
                  <a:cubicBezTo>
                    <a:pt x="10525" y="20808"/>
                    <a:pt x="10533" y="20806"/>
                    <a:pt x="10541" y="20801"/>
                  </a:cubicBezTo>
                  <a:cubicBezTo>
                    <a:pt x="10556" y="20792"/>
                    <a:pt x="10573" y="20780"/>
                    <a:pt x="10588" y="20772"/>
                  </a:cubicBezTo>
                  <a:lnTo>
                    <a:pt x="10588" y="20772"/>
                  </a:lnTo>
                  <a:cubicBezTo>
                    <a:pt x="10651" y="23676"/>
                    <a:pt x="8411" y="24404"/>
                    <a:pt x="6687" y="25914"/>
                  </a:cubicBezTo>
                  <a:cubicBezTo>
                    <a:pt x="4715" y="27637"/>
                    <a:pt x="4496" y="30287"/>
                    <a:pt x="2117" y="31806"/>
                  </a:cubicBezTo>
                  <a:cubicBezTo>
                    <a:pt x="2045" y="31855"/>
                    <a:pt x="2016" y="31968"/>
                    <a:pt x="2088" y="32031"/>
                  </a:cubicBezTo>
                  <a:cubicBezTo>
                    <a:pt x="4020" y="33746"/>
                    <a:pt x="3367" y="33122"/>
                    <a:pt x="2423" y="34422"/>
                  </a:cubicBezTo>
                  <a:cubicBezTo>
                    <a:pt x="1675" y="35455"/>
                    <a:pt x="1436" y="36474"/>
                    <a:pt x="1395" y="37736"/>
                  </a:cubicBezTo>
                  <a:cubicBezTo>
                    <a:pt x="1323" y="39918"/>
                    <a:pt x="2715" y="41604"/>
                    <a:pt x="4819" y="41853"/>
                  </a:cubicBezTo>
                  <a:cubicBezTo>
                    <a:pt x="4822" y="41853"/>
                    <a:pt x="4824" y="41853"/>
                    <a:pt x="4827" y="41853"/>
                  </a:cubicBezTo>
                  <a:cubicBezTo>
                    <a:pt x="4892" y="41853"/>
                    <a:pt x="4904" y="41740"/>
                    <a:pt x="4837" y="41726"/>
                  </a:cubicBezTo>
                  <a:cubicBezTo>
                    <a:pt x="1459" y="41027"/>
                    <a:pt x="1" y="34664"/>
                    <a:pt x="4199" y="33821"/>
                  </a:cubicBezTo>
                  <a:cubicBezTo>
                    <a:pt x="4303" y="33798"/>
                    <a:pt x="4340" y="33651"/>
                    <a:pt x="4262" y="33581"/>
                  </a:cubicBezTo>
                  <a:cubicBezTo>
                    <a:pt x="168" y="29938"/>
                    <a:pt x="11009" y="25102"/>
                    <a:pt x="10879" y="20757"/>
                  </a:cubicBezTo>
                  <a:cubicBezTo>
                    <a:pt x="10879" y="20705"/>
                    <a:pt x="10845" y="20659"/>
                    <a:pt x="10795" y="20639"/>
                  </a:cubicBezTo>
                  <a:cubicBezTo>
                    <a:pt x="12164" y="19784"/>
                    <a:pt x="13397" y="18976"/>
                    <a:pt x="14517" y="17781"/>
                  </a:cubicBezTo>
                  <a:cubicBezTo>
                    <a:pt x="16324" y="15847"/>
                    <a:pt x="16564" y="12899"/>
                    <a:pt x="18348" y="10875"/>
                  </a:cubicBezTo>
                  <a:cubicBezTo>
                    <a:pt x="19713" y="9328"/>
                    <a:pt x="22110" y="8932"/>
                    <a:pt x="23319" y="7183"/>
                  </a:cubicBezTo>
                  <a:cubicBezTo>
                    <a:pt x="24777" y="5081"/>
                    <a:pt x="25265" y="2627"/>
                    <a:pt x="26013" y="211"/>
                  </a:cubicBezTo>
                  <a:cubicBezTo>
                    <a:pt x="26053" y="84"/>
                    <a:pt x="25950" y="1"/>
                    <a:pt x="258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65"/>
            <p:cNvSpPr/>
            <p:nvPr/>
          </p:nvSpPr>
          <p:spPr>
            <a:xfrm>
              <a:off x="1583375" y="3415625"/>
              <a:ext cx="27825" cy="21875"/>
            </a:xfrm>
            <a:custGeom>
              <a:avLst/>
              <a:gdLst/>
              <a:ahLst/>
              <a:cxnLst/>
              <a:rect l="l" t="t" r="r" b="b"/>
              <a:pathLst>
                <a:path w="1113" h="875" extrusionOk="0">
                  <a:moveTo>
                    <a:pt x="1082" y="1"/>
                  </a:moveTo>
                  <a:cubicBezTo>
                    <a:pt x="1078" y="1"/>
                    <a:pt x="1073" y="2"/>
                    <a:pt x="1069" y="4"/>
                  </a:cubicBezTo>
                  <a:cubicBezTo>
                    <a:pt x="347" y="379"/>
                    <a:pt x="662" y="154"/>
                    <a:pt x="59" y="734"/>
                  </a:cubicBezTo>
                  <a:cubicBezTo>
                    <a:pt x="1" y="792"/>
                    <a:pt x="56" y="874"/>
                    <a:pt x="120" y="874"/>
                  </a:cubicBezTo>
                  <a:cubicBezTo>
                    <a:pt x="139" y="874"/>
                    <a:pt x="159" y="867"/>
                    <a:pt x="177" y="850"/>
                  </a:cubicBezTo>
                  <a:cubicBezTo>
                    <a:pt x="445" y="599"/>
                    <a:pt x="769" y="316"/>
                    <a:pt x="1112" y="16"/>
                  </a:cubicBezTo>
                  <a:cubicBezTo>
                    <a:pt x="1104" y="9"/>
                    <a:pt x="1093" y="1"/>
                    <a:pt x="10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65"/>
            <p:cNvSpPr/>
            <p:nvPr/>
          </p:nvSpPr>
          <p:spPr>
            <a:xfrm>
              <a:off x="1611100" y="3392825"/>
              <a:ext cx="26300" cy="24650"/>
            </a:xfrm>
            <a:custGeom>
              <a:avLst/>
              <a:gdLst/>
              <a:ahLst/>
              <a:cxnLst/>
              <a:rect l="l" t="t" r="r" b="b"/>
              <a:pathLst>
                <a:path w="1052" h="986" extrusionOk="0">
                  <a:moveTo>
                    <a:pt x="1051" y="1"/>
                  </a:moveTo>
                  <a:cubicBezTo>
                    <a:pt x="690" y="327"/>
                    <a:pt x="338" y="633"/>
                    <a:pt x="3" y="928"/>
                  </a:cubicBezTo>
                  <a:cubicBezTo>
                    <a:pt x="18" y="945"/>
                    <a:pt x="26" y="968"/>
                    <a:pt x="1" y="985"/>
                  </a:cubicBezTo>
                  <a:cubicBezTo>
                    <a:pt x="315" y="792"/>
                    <a:pt x="673" y="440"/>
                    <a:pt x="10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65"/>
            <p:cNvSpPr/>
            <p:nvPr/>
          </p:nvSpPr>
          <p:spPr>
            <a:xfrm>
              <a:off x="2233600" y="3828000"/>
              <a:ext cx="18275" cy="19275"/>
            </a:xfrm>
            <a:custGeom>
              <a:avLst/>
              <a:gdLst/>
              <a:ahLst/>
              <a:cxnLst/>
              <a:rect l="l" t="t" r="r" b="b"/>
              <a:pathLst>
                <a:path w="731" h="771" extrusionOk="0">
                  <a:moveTo>
                    <a:pt x="731" y="0"/>
                  </a:moveTo>
                  <a:lnTo>
                    <a:pt x="731" y="0"/>
                  </a:lnTo>
                  <a:cubicBezTo>
                    <a:pt x="488" y="257"/>
                    <a:pt x="246" y="514"/>
                    <a:pt x="1" y="770"/>
                  </a:cubicBezTo>
                  <a:cubicBezTo>
                    <a:pt x="246" y="517"/>
                    <a:pt x="488" y="257"/>
                    <a:pt x="7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65"/>
            <p:cNvSpPr/>
            <p:nvPr/>
          </p:nvSpPr>
          <p:spPr>
            <a:xfrm>
              <a:off x="2564525" y="3930825"/>
              <a:ext cx="88525" cy="91100"/>
            </a:xfrm>
            <a:custGeom>
              <a:avLst/>
              <a:gdLst/>
              <a:ahLst/>
              <a:cxnLst/>
              <a:rect l="l" t="t" r="r" b="b"/>
              <a:pathLst>
                <a:path w="3541" h="3644" extrusionOk="0">
                  <a:moveTo>
                    <a:pt x="3540" y="1"/>
                  </a:moveTo>
                  <a:lnTo>
                    <a:pt x="3540" y="1"/>
                  </a:lnTo>
                  <a:cubicBezTo>
                    <a:pt x="2565" y="858"/>
                    <a:pt x="1568" y="1707"/>
                    <a:pt x="754" y="2714"/>
                  </a:cubicBezTo>
                  <a:cubicBezTo>
                    <a:pt x="500" y="3023"/>
                    <a:pt x="252" y="3335"/>
                    <a:pt x="1" y="3644"/>
                  </a:cubicBezTo>
                  <a:cubicBezTo>
                    <a:pt x="1187" y="2429"/>
                    <a:pt x="2394" y="1239"/>
                    <a:pt x="3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65"/>
            <p:cNvSpPr/>
            <p:nvPr/>
          </p:nvSpPr>
          <p:spPr>
            <a:xfrm>
              <a:off x="1589325" y="3178675"/>
              <a:ext cx="1345850" cy="1985650"/>
            </a:xfrm>
            <a:custGeom>
              <a:avLst/>
              <a:gdLst/>
              <a:ahLst/>
              <a:cxnLst/>
              <a:rect l="l" t="t" r="r" b="b"/>
              <a:pathLst>
                <a:path w="53834" h="79426" extrusionOk="0">
                  <a:moveTo>
                    <a:pt x="11761" y="7120"/>
                  </a:moveTo>
                  <a:lnTo>
                    <a:pt x="11761" y="7120"/>
                  </a:lnTo>
                  <a:cubicBezTo>
                    <a:pt x="11141" y="7764"/>
                    <a:pt x="10523" y="8411"/>
                    <a:pt x="9908" y="9061"/>
                  </a:cubicBezTo>
                  <a:cubicBezTo>
                    <a:pt x="10101" y="8708"/>
                    <a:pt x="10295" y="8359"/>
                    <a:pt x="10474" y="7981"/>
                  </a:cubicBezTo>
                  <a:cubicBezTo>
                    <a:pt x="10485" y="7949"/>
                    <a:pt x="10488" y="7917"/>
                    <a:pt x="10482" y="7886"/>
                  </a:cubicBezTo>
                  <a:cubicBezTo>
                    <a:pt x="10950" y="7490"/>
                    <a:pt x="11383" y="7196"/>
                    <a:pt x="11761" y="7120"/>
                  </a:cubicBezTo>
                  <a:close/>
                  <a:moveTo>
                    <a:pt x="12197" y="7152"/>
                  </a:moveTo>
                  <a:cubicBezTo>
                    <a:pt x="12310" y="7198"/>
                    <a:pt x="12411" y="7268"/>
                    <a:pt x="12492" y="7360"/>
                  </a:cubicBezTo>
                  <a:lnTo>
                    <a:pt x="12489" y="7360"/>
                  </a:lnTo>
                  <a:cubicBezTo>
                    <a:pt x="11447" y="8371"/>
                    <a:pt x="10508" y="9453"/>
                    <a:pt x="9593" y="10562"/>
                  </a:cubicBezTo>
                  <a:cubicBezTo>
                    <a:pt x="10488" y="9456"/>
                    <a:pt x="11386" y="8319"/>
                    <a:pt x="12197" y="7152"/>
                  </a:cubicBezTo>
                  <a:close/>
                  <a:moveTo>
                    <a:pt x="4783" y="7161"/>
                  </a:moveTo>
                  <a:cubicBezTo>
                    <a:pt x="4893" y="8065"/>
                    <a:pt x="5485" y="8775"/>
                    <a:pt x="6380" y="9254"/>
                  </a:cubicBezTo>
                  <a:cubicBezTo>
                    <a:pt x="5548" y="10074"/>
                    <a:pt x="4743" y="10920"/>
                    <a:pt x="3917" y="11748"/>
                  </a:cubicBezTo>
                  <a:cubicBezTo>
                    <a:pt x="4726" y="10934"/>
                    <a:pt x="5150" y="10005"/>
                    <a:pt x="5626" y="8951"/>
                  </a:cubicBezTo>
                  <a:cubicBezTo>
                    <a:pt x="5682" y="8824"/>
                    <a:pt x="5594" y="8710"/>
                    <a:pt x="5485" y="8710"/>
                  </a:cubicBezTo>
                  <a:cubicBezTo>
                    <a:pt x="5447" y="8710"/>
                    <a:pt x="5407" y="8724"/>
                    <a:pt x="5369" y="8755"/>
                  </a:cubicBezTo>
                  <a:cubicBezTo>
                    <a:pt x="4319" y="9627"/>
                    <a:pt x="3316" y="10553"/>
                    <a:pt x="2365" y="11530"/>
                  </a:cubicBezTo>
                  <a:lnTo>
                    <a:pt x="2365" y="11530"/>
                  </a:lnTo>
                  <a:cubicBezTo>
                    <a:pt x="3389" y="10473"/>
                    <a:pt x="4254" y="9523"/>
                    <a:pt x="5087" y="8304"/>
                  </a:cubicBezTo>
                  <a:cubicBezTo>
                    <a:pt x="5170" y="8182"/>
                    <a:pt x="5056" y="8069"/>
                    <a:pt x="4939" y="8069"/>
                  </a:cubicBezTo>
                  <a:cubicBezTo>
                    <a:pt x="4902" y="8069"/>
                    <a:pt x="4864" y="8081"/>
                    <a:pt x="4832" y="8108"/>
                  </a:cubicBezTo>
                  <a:cubicBezTo>
                    <a:pt x="3831" y="8945"/>
                    <a:pt x="2543" y="10120"/>
                    <a:pt x="1790" y="10865"/>
                  </a:cubicBezTo>
                  <a:cubicBezTo>
                    <a:pt x="2976" y="9690"/>
                    <a:pt x="3946" y="8555"/>
                    <a:pt x="4783" y="7161"/>
                  </a:cubicBezTo>
                  <a:close/>
                  <a:moveTo>
                    <a:pt x="9094" y="8988"/>
                  </a:moveTo>
                  <a:lnTo>
                    <a:pt x="9094" y="8988"/>
                  </a:lnTo>
                  <a:cubicBezTo>
                    <a:pt x="8447" y="9699"/>
                    <a:pt x="7809" y="10415"/>
                    <a:pt x="7177" y="11145"/>
                  </a:cubicBezTo>
                  <a:cubicBezTo>
                    <a:pt x="6471" y="11964"/>
                    <a:pt x="6161" y="12269"/>
                    <a:pt x="6091" y="12269"/>
                  </a:cubicBezTo>
                  <a:cubicBezTo>
                    <a:pt x="5908" y="12269"/>
                    <a:pt x="7399" y="10137"/>
                    <a:pt x="7673" y="9707"/>
                  </a:cubicBezTo>
                  <a:cubicBezTo>
                    <a:pt x="7699" y="9661"/>
                    <a:pt x="7699" y="9609"/>
                    <a:pt x="7673" y="9563"/>
                  </a:cubicBezTo>
                  <a:cubicBezTo>
                    <a:pt x="8167" y="9511"/>
                    <a:pt x="8646" y="9283"/>
                    <a:pt x="9094" y="8988"/>
                  </a:cubicBezTo>
                  <a:close/>
                  <a:moveTo>
                    <a:pt x="6689" y="9407"/>
                  </a:moveTo>
                  <a:cubicBezTo>
                    <a:pt x="6712" y="9419"/>
                    <a:pt x="6732" y="9430"/>
                    <a:pt x="6758" y="9442"/>
                  </a:cubicBezTo>
                  <a:cubicBezTo>
                    <a:pt x="6949" y="9520"/>
                    <a:pt x="7154" y="9563"/>
                    <a:pt x="7361" y="9569"/>
                  </a:cubicBezTo>
                  <a:cubicBezTo>
                    <a:pt x="6513" y="10510"/>
                    <a:pt x="5667" y="11451"/>
                    <a:pt x="4795" y="12375"/>
                  </a:cubicBezTo>
                  <a:cubicBezTo>
                    <a:pt x="5522" y="11604"/>
                    <a:pt x="6137" y="10316"/>
                    <a:pt x="6689" y="9407"/>
                  </a:cubicBezTo>
                  <a:close/>
                  <a:moveTo>
                    <a:pt x="9308" y="12320"/>
                  </a:moveTo>
                  <a:cubicBezTo>
                    <a:pt x="9288" y="12342"/>
                    <a:pt x="9269" y="12364"/>
                    <a:pt x="9250" y="12386"/>
                  </a:cubicBezTo>
                  <a:cubicBezTo>
                    <a:pt x="9269" y="12364"/>
                    <a:pt x="9288" y="12342"/>
                    <a:pt x="9308" y="12320"/>
                  </a:cubicBezTo>
                  <a:close/>
                  <a:moveTo>
                    <a:pt x="12685" y="7623"/>
                  </a:moveTo>
                  <a:cubicBezTo>
                    <a:pt x="12803" y="7839"/>
                    <a:pt x="12910" y="8128"/>
                    <a:pt x="12994" y="8506"/>
                  </a:cubicBezTo>
                  <a:cubicBezTo>
                    <a:pt x="13104" y="8977"/>
                    <a:pt x="13086" y="9312"/>
                    <a:pt x="13014" y="9595"/>
                  </a:cubicBezTo>
                  <a:cubicBezTo>
                    <a:pt x="12985" y="9567"/>
                    <a:pt x="12949" y="9554"/>
                    <a:pt x="12914" y="9554"/>
                  </a:cubicBezTo>
                  <a:cubicBezTo>
                    <a:pt x="12871" y="9554"/>
                    <a:pt x="12829" y="9573"/>
                    <a:pt x="12801" y="9609"/>
                  </a:cubicBezTo>
                  <a:cubicBezTo>
                    <a:pt x="11833" y="10680"/>
                    <a:pt x="10734" y="12014"/>
                    <a:pt x="10035" y="13039"/>
                  </a:cubicBezTo>
                  <a:lnTo>
                    <a:pt x="10035" y="13036"/>
                  </a:lnTo>
                  <a:cubicBezTo>
                    <a:pt x="11037" y="11569"/>
                    <a:pt x="12082" y="10184"/>
                    <a:pt x="12954" y="8627"/>
                  </a:cubicBezTo>
                  <a:cubicBezTo>
                    <a:pt x="13020" y="8509"/>
                    <a:pt x="12918" y="8382"/>
                    <a:pt x="12807" y="8382"/>
                  </a:cubicBezTo>
                  <a:cubicBezTo>
                    <a:pt x="12769" y="8382"/>
                    <a:pt x="12730" y="8397"/>
                    <a:pt x="12697" y="8431"/>
                  </a:cubicBezTo>
                  <a:cubicBezTo>
                    <a:pt x="11770" y="9395"/>
                    <a:pt x="10928" y="10424"/>
                    <a:pt x="10065" y="11441"/>
                  </a:cubicBezTo>
                  <a:lnTo>
                    <a:pt x="10065" y="11441"/>
                  </a:lnTo>
                  <a:cubicBezTo>
                    <a:pt x="11067" y="10247"/>
                    <a:pt x="11942" y="9052"/>
                    <a:pt x="12685" y="7623"/>
                  </a:cubicBezTo>
                  <a:close/>
                  <a:moveTo>
                    <a:pt x="12347" y="11156"/>
                  </a:moveTo>
                  <a:cubicBezTo>
                    <a:pt x="12335" y="11270"/>
                    <a:pt x="12398" y="11389"/>
                    <a:pt x="12518" y="11512"/>
                  </a:cubicBezTo>
                  <a:cubicBezTo>
                    <a:pt x="11420" y="12648"/>
                    <a:pt x="11008" y="13093"/>
                    <a:pt x="10985" y="13093"/>
                  </a:cubicBezTo>
                  <a:cubicBezTo>
                    <a:pt x="10952" y="13093"/>
                    <a:pt x="11680" y="12221"/>
                    <a:pt x="12347" y="11156"/>
                  </a:cubicBezTo>
                  <a:close/>
                  <a:moveTo>
                    <a:pt x="12812" y="11753"/>
                  </a:moveTo>
                  <a:lnTo>
                    <a:pt x="12812" y="11753"/>
                  </a:lnTo>
                  <a:cubicBezTo>
                    <a:pt x="12946" y="11839"/>
                    <a:pt x="13081" y="11916"/>
                    <a:pt x="13225" y="11988"/>
                  </a:cubicBezTo>
                  <a:cubicBezTo>
                    <a:pt x="12318" y="13025"/>
                    <a:pt x="11983" y="13427"/>
                    <a:pt x="11949" y="13427"/>
                  </a:cubicBezTo>
                  <a:cubicBezTo>
                    <a:pt x="11902" y="13427"/>
                    <a:pt x="12424" y="12668"/>
                    <a:pt x="12812" y="11753"/>
                  </a:cubicBezTo>
                  <a:close/>
                  <a:moveTo>
                    <a:pt x="13505" y="12129"/>
                  </a:moveTo>
                  <a:cubicBezTo>
                    <a:pt x="13768" y="12251"/>
                    <a:pt x="14054" y="12366"/>
                    <a:pt x="14342" y="12476"/>
                  </a:cubicBezTo>
                  <a:cubicBezTo>
                    <a:pt x="13238" y="13481"/>
                    <a:pt x="12656" y="14171"/>
                    <a:pt x="12565" y="14171"/>
                  </a:cubicBezTo>
                  <a:cubicBezTo>
                    <a:pt x="12482" y="14171"/>
                    <a:pt x="12802" y="13604"/>
                    <a:pt x="13502" y="12190"/>
                  </a:cubicBezTo>
                  <a:lnTo>
                    <a:pt x="13499" y="12190"/>
                  </a:lnTo>
                  <a:cubicBezTo>
                    <a:pt x="13505" y="12170"/>
                    <a:pt x="13508" y="12150"/>
                    <a:pt x="13505" y="12129"/>
                  </a:cubicBezTo>
                  <a:close/>
                  <a:moveTo>
                    <a:pt x="14692" y="12603"/>
                  </a:moveTo>
                  <a:cubicBezTo>
                    <a:pt x="15182" y="12776"/>
                    <a:pt x="15650" y="12918"/>
                    <a:pt x="16005" y="13013"/>
                  </a:cubicBezTo>
                  <a:cubicBezTo>
                    <a:pt x="15973" y="13016"/>
                    <a:pt x="15942" y="13030"/>
                    <a:pt x="15921" y="13056"/>
                  </a:cubicBezTo>
                  <a:cubicBezTo>
                    <a:pt x="14855" y="14300"/>
                    <a:pt x="14198" y="15091"/>
                    <a:pt x="14116" y="15091"/>
                  </a:cubicBezTo>
                  <a:cubicBezTo>
                    <a:pt x="14046" y="15091"/>
                    <a:pt x="14415" y="14487"/>
                    <a:pt x="15335" y="13053"/>
                  </a:cubicBezTo>
                  <a:cubicBezTo>
                    <a:pt x="15416" y="12927"/>
                    <a:pt x="15295" y="12789"/>
                    <a:pt x="15173" y="12789"/>
                  </a:cubicBezTo>
                  <a:cubicBezTo>
                    <a:pt x="15133" y="12789"/>
                    <a:pt x="15092" y="12804"/>
                    <a:pt x="15058" y="12840"/>
                  </a:cubicBezTo>
                  <a:cubicBezTo>
                    <a:pt x="13912" y="14072"/>
                    <a:pt x="13332" y="14734"/>
                    <a:pt x="13279" y="14734"/>
                  </a:cubicBezTo>
                  <a:cubicBezTo>
                    <a:pt x="13226" y="14734"/>
                    <a:pt x="13708" y="14060"/>
                    <a:pt x="14686" y="12620"/>
                  </a:cubicBezTo>
                  <a:cubicBezTo>
                    <a:pt x="14692" y="12614"/>
                    <a:pt x="14686" y="12609"/>
                    <a:pt x="14692" y="12603"/>
                  </a:cubicBezTo>
                  <a:close/>
                  <a:moveTo>
                    <a:pt x="16909" y="14381"/>
                  </a:moveTo>
                  <a:cubicBezTo>
                    <a:pt x="16949" y="14609"/>
                    <a:pt x="17004" y="14837"/>
                    <a:pt x="17073" y="15060"/>
                  </a:cubicBezTo>
                  <a:cubicBezTo>
                    <a:pt x="17045" y="15066"/>
                    <a:pt x="17016" y="15080"/>
                    <a:pt x="16995" y="15100"/>
                  </a:cubicBezTo>
                  <a:cubicBezTo>
                    <a:pt x="16677" y="15495"/>
                    <a:pt x="15297" y="17216"/>
                    <a:pt x="15096" y="17216"/>
                  </a:cubicBezTo>
                  <a:cubicBezTo>
                    <a:pt x="15009" y="17216"/>
                    <a:pt x="15142" y="16895"/>
                    <a:pt x="15676" y="16007"/>
                  </a:cubicBezTo>
                  <a:cubicBezTo>
                    <a:pt x="15667" y="15940"/>
                    <a:pt x="15653" y="15874"/>
                    <a:pt x="15636" y="15810"/>
                  </a:cubicBezTo>
                  <a:cubicBezTo>
                    <a:pt x="16089" y="15360"/>
                    <a:pt x="16513" y="14881"/>
                    <a:pt x="16909" y="14381"/>
                  </a:cubicBezTo>
                  <a:close/>
                  <a:moveTo>
                    <a:pt x="17212" y="15444"/>
                  </a:moveTo>
                  <a:cubicBezTo>
                    <a:pt x="17264" y="15568"/>
                    <a:pt x="17322" y="15686"/>
                    <a:pt x="17388" y="15802"/>
                  </a:cubicBezTo>
                  <a:cubicBezTo>
                    <a:pt x="16695" y="16567"/>
                    <a:pt x="16297" y="17063"/>
                    <a:pt x="16124" y="17289"/>
                  </a:cubicBezTo>
                  <a:cubicBezTo>
                    <a:pt x="16305" y="17026"/>
                    <a:pt x="16701" y="16411"/>
                    <a:pt x="17212" y="15444"/>
                  </a:cubicBezTo>
                  <a:close/>
                  <a:moveTo>
                    <a:pt x="27835" y="15386"/>
                  </a:moveTo>
                  <a:cubicBezTo>
                    <a:pt x="27854" y="15386"/>
                    <a:pt x="27872" y="15386"/>
                    <a:pt x="27891" y="15386"/>
                  </a:cubicBezTo>
                  <a:cubicBezTo>
                    <a:pt x="27065" y="16001"/>
                    <a:pt x="26398" y="16760"/>
                    <a:pt x="25778" y="17566"/>
                  </a:cubicBezTo>
                  <a:cubicBezTo>
                    <a:pt x="26193" y="16884"/>
                    <a:pt x="26566" y="16177"/>
                    <a:pt x="26898" y="15449"/>
                  </a:cubicBezTo>
                  <a:cubicBezTo>
                    <a:pt x="27209" y="15409"/>
                    <a:pt x="27522" y="15386"/>
                    <a:pt x="27835" y="15386"/>
                  </a:cubicBezTo>
                  <a:close/>
                  <a:moveTo>
                    <a:pt x="17683" y="16220"/>
                  </a:moveTo>
                  <a:cubicBezTo>
                    <a:pt x="17838" y="16402"/>
                    <a:pt x="18020" y="16558"/>
                    <a:pt x="18225" y="16682"/>
                  </a:cubicBezTo>
                  <a:cubicBezTo>
                    <a:pt x="17465" y="17490"/>
                    <a:pt x="17132" y="17836"/>
                    <a:pt x="17052" y="17836"/>
                  </a:cubicBezTo>
                  <a:cubicBezTo>
                    <a:pt x="16942" y="17836"/>
                    <a:pt x="17297" y="17201"/>
                    <a:pt x="17683" y="16220"/>
                  </a:cubicBezTo>
                  <a:close/>
                  <a:moveTo>
                    <a:pt x="30899" y="16047"/>
                  </a:moveTo>
                  <a:cubicBezTo>
                    <a:pt x="31165" y="16137"/>
                    <a:pt x="31436" y="16232"/>
                    <a:pt x="31710" y="16333"/>
                  </a:cubicBezTo>
                  <a:cubicBezTo>
                    <a:pt x="30983" y="16919"/>
                    <a:pt x="30293" y="17554"/>
                    <a:pt x="29649" y="18235"/>
                  </a:cubicBezTo>
                  <a:cubicBezTo>
                    <a:pt x="30111" y="17534"/>
                    <a:pt x="30530" y="16803"/>
                    <a:pt x="30899" y="16047"/>
                  </a:cubicBezTo>
                  <a:close/>
                  <a:moveTo>
                    <a:pt x="18592" y="16867"/>
                  </a:moveTo>
                  <a:cubicBezTo>
                    <a:pt x="18690" y="16907"/>
                    <a:pt x="18791" y="16939"/>
                    <a:pt x="18892" y="16968"/>
                  </a:cubicBezTo>
                  <a:cubicBezTo>
                    <a:pt x="18047" y="17809"/>
                    <a:pt x="17614" y="18385"/>
                    <a:pt x="17611" y="18385"/>
                  </a:cubicBezTo>
                  <a:cubicBezTo>
                    <a:pt x="17609" y="18385"/>
                    <a:pt x="17932" y="17948"/>
                    <a:pt x="18592" y="16867"/>
                  </a:cubicBezTo>
                  <a:close/>
                  <a:moveTo>
                    <a:pt x="19400" y="17063"/>
                  </a:moveTo>
                  <a:cubicBezTo>
                    <a:pt x="19579" y="17084"/>
                    <a:pt x="19758" y="17094"/>
                    <a:pt x="19938" y="17094"/>
                  </a:cubicBezTo>
                  <a:cubicBezTo>
                    <a:pt x="19982" y="17094"/>
                    <a:pt x="20026" y="17093"/>
                    <a:pt x="20070" y="17092"/>
                  </a:cubicBezTo>
                  <a:lnTo>
                    <a:pt x="20070" y="17092"/>
                  </a:lnTo>
                  <a:cubicBezTo>
                    <a:pt x="19363" y="17840"/>
                    <a:pt x="18947" y="18357"/>
                    <a:pt x="18733" y="18651"/>
                  </a:cubicBezTo>
                  <a:cubicBezTo>
                    <a:pt x="18898" y="18354"/>
                    <a:pt x="19149" y="17823"/>
                    <a:pt x="19400" y="17063"/>
                  </a:cubicBezTo>
                  <a:close/>
                  <a:moveTo>
                    <a:pt x="32097" y="16474"/>
                  </a:moveTo>
                  <a:cubicBezTo>
                    <a:pt x="32242" y="16529"/>
                    <a:pt x="32386" y="16587"/>
                    <a:pt x="32530" y="16645"/>
                  </a:cubicBezTo>
                  <a:cubicBezTo>
                    <a:pt x="31523" y="17638"/>
                    <a:pt x="30605" y="18712"/>
                    <a:pt x="29718" y="19806"/>
                  </a:cubicBezTo>
                  <a:lnTo>
                    <a:pt x="29716" y="19806"/>
                  </a:lnTo>
                  <a:cubicBezTo>
                    <a:pt x="30515" y="18700"/>
                    <a:pt x="31309" y="17592"/>
                    <a:pt x="32097" y="16474"/>
                  </a:cubicBezTo>
                  <a:close/>
                  <a:moveTo>
                    <a:pt x="34502" y="17563"/>
                  </a:moveTo>
                  <a:cubicBezTo>
                    <a:pt x="34733" y="17690"/>
                    <a:pt x="34958" y="17823"/>
                    <a:pt x="35178" y="17964"/>
                  </a:cubicBezTo>
                  <a:cubicBezTo>
                    <a:pt x="34170" y="18544"/>
                    <a:pt x="33281" y="19260"/>
                    <a:pt x="32467" y="20057"/>
                  </a:cubicBezTo>
                  <a:cubicBezTo>
                    <a:pt x="33142" y="19220"/>
                    <a:pt x="33821" y="18388"/>
                    <a:pt x="34502" y="17563"/>
                  </a:cubicBezTo>
                  <a:close/>
                  <a:moveTo>
                    <a:pt x="26283" y="15559"/>
                  </a:moveTo>
                  <a:cubicBezTo>
                    <a:pt x="24767" y="17118"/>
                    <a:pt x="23474" y="18853"/>
                    <a:pt x="22048" y="20496"/>
                  </a:cubicBezTo>
                  <a:cubicBezTo>
                    <a:pt x="22628" y="19823"/>
                    <a:pt x="24141" y="17722"/>
                    <a:pt x="24808" y="16278"/>
                  </a:cubicBezTo>
                  <a:cubicBezTo>
                    <a:pt x="24866" y="16157"/>
                    <a:pt x="24773" y="16035"/>
                    <a:pt x="24664" y="16035"/>
                  </a:cubicBezTo>
                  <a:cubicBezTo>
                    <a:pt x="24627" y="16035"/>
                    <a:pt x="24589" y="16049"/>
                    <a:pt x="24554" y="16082"/>
                  </a:cubicBezTo>
                  <a:cubicBezTo>
                    <a:pt x="23797" y="16792"/>
                    <a:pt x="23139" y="17525"/>
                    <a:pt x="22487" y="18331"/>
                  </a:cubicBezTo>
                  <a:cubicBezTo>
                    <a:pt x="22057" y="18857"/>
                    <a:pt x="21853" y="19060"/>
                    <a:pt x="21793" y="19060"/>
                  </a:cubicBezTo>
                  <a:cubicBezTo>
                    <a:pt x="21611" y="19060"/>
                    <a:pt x="22774" y="17173"/>
                    <a:pt x="22928" y="16899"/>
                  </a:cubicBezTo>
                  <a:cubicBezTo>
                    <a:pt x="22976" y="16815"/>
                    <a:pt x="22905" y="16739"/>
                    <a:pt x="22832" y="16739"/>
                  </a:cubicBezTo>
                  <a:cubicBezTo>
                    <a:pt x="22799" y="16739"/>
                    <a:pt x="22766" y="16754"/>
                    <a:pt x="22743" y="16792"/>
                  </a:cubicBezTo>
                  <a:cubicBezTo>
                    <a:pt x="22738" y="16798"/>
                    <a:pt x="22735" y="16806"/>
                    <a:pt x="22732" y="16812"/>
                  </a:cubicBezTo>
                  <a:cubicBezTo>
                    <a:pt x="22697" y="16779"/>
                    <a:pt x="22654" y="16758"/>
                    <a:pt x="22609" y="16758"/>
                  </a:cubicBezTo>
                  <a:cubicBezTo>
                    <a:pt x="22568" y="16758"/>
                    <a:pt x="22526" y="16776"/>
                    <a:pt x="22489" y="16821"/>
                  </a:cubicBezTo>
                  <a:cubicBezTo>
                    <a:pt x="22046" y="17363"/>
                    <a:pt x="21336" y="18652"/>
                    <a:pt x="21231" y="18652"/>
                  </a:cubicBezTo>
                  <a:cubicBezTo>
                    <a:pt x="21174" y="18652"/>
                    <a:pt x="21293" y="18280"/>
                    <a:pt x="21721" y="17219"/>
                  </a:cubicBezTo>
                  <a:cubicBezTo>
                    <a:pt x="21775" y="17084"/>
                    <a:pt x="21656" y="16991"/>
                    <a:pt x="21539" y="16991"/>
                  </a:cubicBezTo>
                  <a:cubicBezTo>
                    <a:pt x="21493" y="16991"/>
                    <a:pt x="21448" y="17006"/>
                    <a:pt x="21413" y="17037"/>
                  </a:cubicBezTo>
                  <a:cubicBezTo>
                    <a:pt x="20307" y="18026"/>
                    <a:pt x="19823" y="18755"/>
                    <a:pt x="19732" y="18904"/>
                  </a:cubicBezTo>
                  <a:lnTo>
                    <a:pt x="19732" y="18904"/>
                  </a:lnTo>
                  <a:cubicBezTo>
                    <a:pt x="19799" y="18784"/>
                    <a:pt x="20066" y="18272"/>
                    <a:pt x="20428" y="17219"/>
                  </a:cubicBezTo>
                  <a:cubicBezTo>
                    <a:pt x="20443" y="17167"/>
                    <a:pt x="20434" y="17112"/>
                    <a:pt x="20399" y="17072"/>
                  </a:cubicBezTo>
                  <a:cubicBezTo>
                    <a:pt x="20956" y="17020"/>
                    <a:pt x="21508" y="16922"/>
                    <a:pt x="22051" y="16778"/>
                  </a:cubicBezTo>
                  <a:cubicBezTo>
                    <a:pt x="23465" y="16422"/>
                    <a:pt x="24863" y="15851"/>
                    <a:pt x="26283" y="15559"/>
                  </a:cubicBezTo>
                  <a:close/>
                  <a:moveTo>
                    <a:pt x="28723" y="16523"/>
                  </a:moveTo>
                  <a:cubicBezTo>
                    <a:pt x="28745" y="16523"/>
                    <a:pt x="28603" y="16792"/>
                    <a:pt x="28183" y="17514"/>
                  </a:cubicBezTo>
                  <a:lnTo>
                    <a:pt x="28185" y="17517"/>
                  </a:lnTo>
                  <a:cubicBezTo>
                    <a:pt x="27265" y="19096"/>
                    <a:pt x="26035" y="20505"/>
                    <a:pt x="24886" y="21934"/>
                  </a:cubicBezTo>
                  <a:cubicBezTo>
                    <a:pt x="25668" y="20834"/>
                    <a:pt x="26433" y="19742"/>
                    <a:pt x="27201" y="18738"/>
                  </a:cubicBezTo>
                  <a:cubicBezTo>
                    <a:pt x="27442" y="18421"/>
                    <a:pt x="28664" y="16523"/>
                    <a:pt x="28723" y="16523"/>
                  </a:cubicBezTo>
                  <a:close/>
                  <a:moveTo>
                    <a:pt x="35027" y="19757"/>
                  </a:moveTo>
                  <a:cubicBezTo>
                    <a:pt x="35073" y="19757"/>
                    <a:pt x="34147" y="20878"/>
                    <a:pt x="33509" y="21613"/>
                  </a:cubicBezTo>
                  <a:cubicBezTo>
                    <a:pt x="33157" y="21977"/>
                    <a:pt x="32816" y="22352"/>
                    <a:pt x="32490" y="22739"/>
                  </a:cubicBezTo>
                  <a:cubicBezTo>
                    <a:pt x="32190" y="23065"/>
                    <a:pt x="31884" y="23393"/>
                    <a:pt x="31586" y="23722"/>
                  </a:cubicBezTo>
                  <a:lnTo>
                    <a:pt x="31586" y="23722"/>
                  </a:lnTo>
                  <a:cubicBezTo>
                    <a:pt x="32440" y="22682"/>
                    <a:pt x="33289" y="21662"/>
                    <a:pt x="34147" y="20701"/>
                  </a:cubicBezTo>
                  <a:cubicBezTo>
                    <a:pt x="34758" y="20016"/>
                    <a:pt x="35005" y="19757"/>
                    <a:pt x="35027" y="19757"/>
                  </a:cubicBezTo>
                  <a:close/>
                  <a:moveTo>
                    <a:pt x="28429" y="23607"/>
                  </a:moveTo>
                  <a:lnTo>
                    <a:pt x="28429" y="23607"/>
                  </a:lnTo>
                  <a:cubicBezTo>
                    <a:pt x="28323" y="23750"/>
                    <a:pt x="28217" y="23892"/>
                    <a:pt x="28112" y="24035"/>
                  </a:cubicBezTo>
                  <a:lnTo>
                    <a:pt x="28112" y="24035"/>
                  </a:lnTo>
                  <a:cubicBezTo>
                    <a:pt x="28197" y="23922"/>
                    <a:pt x="28281" y="23809"/>
                    <a:pt x="28364" y="23695"/>
                  </a:cubicBezTo>
                  <a:cubicBezTo>
                    <a:pt x="28386" y="23665"/>
                    <a:pt x="28407" y="23636"/>
                    <a:pt x="28429" y="23607"/>
                  </a:cubicBezTo>
                  <a:close/>
                  <a:moveTo>
                    <a:pt x="30141" y="16890"/>
                  </a:moveTo>
                  <a:cubicBezTo>
                    <a:pt x="28459" y="18908"/>
                    <a:pt x="26575" y="21742"/>
                    <a:pt x="24666" y="23960"/>
                  </a:cubicBezTo>
                  <a:cubicBezTo>
                    <a:pt x="24533" y="24115"/>
                    <a:pt x="24400" y="24271"/>
                    <a:pt x="24268" y="24427"/>
                  </a:cubicBezTo>
                  <a:lnTo>
                    <a:pt x="24268" y="24427"/>
                  </a:lnTo>
                  <a:cubicBezTo>
                    <a:pt x="26238" y="21929"/>
                    <a:pt x="28099" y="19336"/>
                    <a:pt x="30141" y="16890"/>
                  </a:cubicBezTo>
                  <a:close/>
                  <a:moveTo>
                    <a:pt x="40836" y="23328"/>
                  </a:moveTo>
                  <a:cubicBezTo>
                    <a:pt x="41041" y="23357"/>
                    <a:pt x="41246" y="23397"/>
                    <a:pt x="41445" y="23452"/>
                  </a:cubicBezTo>
                  <a:cubicBezTo>
                    <a:pt x="40868" y="23943"/>
                    <a:pt x="40354" y="24489"/>
                    <a:pt x="39872" y="25063"/>
                  </a:cubicBezTo>
                  <a:cubicBezTo>
                    <a:pt x="40233" y="24561"/>
                    <a:pt x="40574" y="24047"/>
                    <a:pt x="40859" y="23496"/>
                  </a:cubicBezTo>
                  <a:cubicBezTo>
                    <a:pt x="40885" y="23441"/>
                    <a:pt x="40877" y="23374"/>
                    <a:pt x="40836" y="23328"/>
                  </a:cubicBezTo>
                  <a:close/>
                  <a:moveTo>
                    <a:pt x="34630" y="18645"/>
                  </a:moveTo>
                  <a:cubicBezTo>
                    <a:pt x="34743" y="18645"/>
                    <a:pt x="34589" y="18938"/>
                    <a:pt x="33971" y="19725"/>
                  </a:cubicBezTo>
                  <a:lnTo>
                    <a:pt x="33971" y="19728"/>
                  </a:lnTo>
                  <a:cubicBezTo>
                    <a:pt x="33024" y="20929"/>
                    <a:pt x="31849" y="21974"/>
                    <a:pt x="30816" y="23106"/>
                  </a:cubicBezTo>
                  <a:cubicBezTo>
                    <a:pt x="30030" y="23966"/>
                    <a:pt x="29219" y="24803"/>
                    <a:pt x="28399" y="25632"/>
                  </a:cubicBezTo>
                  <a:cubicBezTo>
                    <a:pt x="29513" y="24102"/>
                    <a:pt x="30593" y="22543"/>
                    <a:pt x="31823" y="21099"/>
                  </a:cubicBezTo>
                  <a:cubicBezTo>
                    <a:pt x="32167" y="20699"/>
                    <a:pt x="34330" y="18645"/>
                    <a:pt x="34630" y="18645"/>
                  </a:cubicBezTo>
                  <a:close/>
                  <a:moveTo>
                    <a:pt x="35657" y="20447"/>
                  </a:moveTo>
                  <a:cubicBezTo>
                    <a:pt x="35605" y="20537"/>
                    <a:pt x="35674" y="20614"/>
                    <a:pt x="35755" y="20629"/>
                  </a:cubicBezTo>
                  <a:cubicBezTo>
                    <a:pt x="34597" y="22459"/>
                    <a:pt x="32201" y="24310"/>
                    <a:pt x="30934" y="25664"/>
                  </a:cubicBezTo>
                  <a:cubicBezTo>
                    <a:pt x="30587" y="26030"/>
                    <a:pt x="30247" y="26403"/>
                    <a:pt x="29909" y="26772"/>
                  </a:cubicBezTo>
                  <a:cubicBezTo>
                    <a:pt x="30198" y="26325"/>
                    <a:pt x="30481" y="25874"/>
                    <a:pt x="30778" y="25433"/>
                  </a:cubicBezTo>
                  <a:cubicBezTo>
                    <a:pt x="31185" y="24826"/>
                    <a:pt x="31615" y="24240"/>
                    <a:pt x="32060" y="23666"/>
                  </a:cubicBezTo>
                  <a:lnTo>
                    <a:pt x="32060" y="23669"/>
                  </a:lnTo>
                  <a:cubicBezTo>
                    <a:pt x="32611" y="23088"/>
                    <a:pt x="33160" y="22508"/>
                    <a:pt x="33682" y="21908"/>
                  </a:cubicBezTo>
                  <a:cubicBezTo>
                    <a:pt x="34441" y="21357"/>
                    <a:pt x="35494" y="20728"/>
                    <a:pt x="35657" y="20447"/>
                  </a:cubicBezTo>
                  <a:close/>
                  <a:moveTo>
                    <a:pt x="46186" y="25459"/>
                  </a:moveTo>
                  <a:cubicBezTo>
                    <a:pt x="46325" y="25548"/>
                    <a:pt x="46454" y="25646"/>
                    <a:pt x="46579" y="25753"/>
                  </a:cubicBezTo>
                  <a:cubicBezTo>
                    <a:pt x="46177" y="26180"/>
                    <a:pt x="45785" y="26614"/>
                    <a:pt x="45386" y="27044"/>
                  </a:cubicBezTo>
                  <a:cubicBezTo>
                    <a:pt x="45718" y="26550"/>
                    <a:pt x="45987" y="26019"/>
                    <a:pt x="46186" y="25459"/>
                  </a:cubicBezTo>
                  <a:close/>
                  <a:moveTo>
                    <a:pt x="31064" y="17263"/>
                  </a:moveTo>
                  <a:cubicBezTo>
                    <a:pt x="31197" y="17263"/>
                    <a:pt x="29285" y="19885"/>
                    <a:pt x="29080" y="20170"/>
                  </a:cubicBezTo>
                  <a:cubicBezTo>
                    <a:pt x="28108" y="21518"/>
                    <a:pt x="27109" y="22846"/>
                    <a:pt x="26104" y="24171"/>
                  </a:cubicBezTo>
                  <a:cubicBezTo>
                    <a:pt x="25772" y="24532"/>
                    <a:pt x="25434" y="24884"/>
                    <a:pt x="25085" y="25228"/>
                  </a:cubicBezTo>
                  <a:cubicBezTo>
                    <a:pt x="24354" y="25941"/>
                    <a:pt x="23607" y="26648"/>
                    <a:pt x="22899" y="27387"/>
                  </a:cubicBezTo>
                  <a:cubicBezTo>
                    <a:pt x="25604" y="24194"/>
                    <a:pt x="27957" y="20698"/>
                    <a:pt x="30749" y="17571"/>
                  </a:cubicBezTo>
                  <a:cubicBezTo>
                    <a:pt x="30942" y="17355"/>
                    <a:pt x="31039" y="17263"/>
                    <a:pt x="31064" y="17263"/>
                  </a:cubicBezTo>
                  <a:close/>
                  <a:moveTo>
                    <a:pt x="28367" y="15406"/>
                  </a:moveTo>
                  <a:cubicBezTo>
                    <a:pt x="28650" y="15432"/>
                    <a:pt x="28933" y="15478"/>
                    <a:pt x="29210" y="15545"/>
                  </a:cubicBezTo>
                  <a:cubicBezTo>
                    <a:pt x="27536" y="17771"/>
                    <a:pt x="25778" y="19930"/>
                    <a:pt x="24109" y="22159"/>
                  </a:cubicBezTo>
                  <a:cubicBezTo>
                    <a:pt x="23301" y="23244"/>
                    <a:pt x="22533" y="24350"/>
                    <a:pt x="21701" y="25418"/>
                  </a:cubicBezTo>
                  <a:cubicBezTo>
                    <a:pt x="21037" y="26279"/>
                    <a:pt x="19337" y="27217"/>
                    <a:pt x="18875" y="27996"/>
                  </a:cubicBezTo>
                  <a:cubicBezTo>
                    <a:pt x="21577" y="23438"/>
                    <a:pt x="25931" y="20184"/>
                    <a:pt x="28367" y="15418"/>
                  </a:cubicBezTo>
                  <a:cubicBezTo>
                    <a:pt x="28367" y="15415"/>
                    <a:pt x="28367" y="15412"/>
                    <a:pt x="28367" y="15406"/>
                  </a:cubicBezTo>
                  <a:close/>
                  <a:moveTo>
                    <a:pt x="44162" y="24509"/>
                  </a:moveTo>
                  <a:lnTo>
                    <a:pt x="44162" y="24509"/>
                  </a:lnTo>
                  <a:cubicBezTo>
                    <a:pt x="44748" y="24725"/>
                    <a:pt x="45343" y="24962"/>
                    <a:pt x="45868" y="25262"/>
                  </a:cubicBezTo>
                  <a:cubicBezTo>
                    <a:pt x="45161" y="25843"/>
                    <a:pt x="44485" y="26463"/>
                    <a:pt x="43847" y="27122"/>
                  </a:cubicBezTo>
                  <a:cubicBezTo>
                    <a:pt x="44272" y="26475"/>
                    <a:pt x="44662" y="25805"/>
                    <a:pt x="44965" y="25075"/>
                  </a:cubicBezTo>
                  <a:cubicBezTo>
                    <a:pt x="45008" y="24969"/>
                    <a:pt x="44911" y="24894"/>
                    <a:pt x="44817" y="24894"/>
                  </a:cubicBezTo>
                  <a:cubicBezTo>
                    <a:pt x="44780" y="24894"/>
                    <a:pt x="44744" y="24905"/>
                    <a:pt x="44716" y="24930"/>
                  </a:cubicBezTo>
                  <a:cubicBezTo>
                    <a:pt x="43536" y="25993"/>
                    <a:pt x="42430" y="27148"/>
                    <a:pt x="41362" y="28349"/>
                  </a:cubicBezTo>
                  <a:cubicBezTo>
                    <a:pt x="42312" y="27073"/>
                    <a:pt x="43250" y="25797"/>
                    <a:pt x="44165" y="24512"/>
                  </a:cubicBezTo>
                  <a:lnTo>
                    <a:pt x="44162" y="24509"/>
                  </a:lnTo>
                  <a:close/>
                  <a:moveTo>
                    <a:pt x="47332" y="26781"/>
                  </a:moveTo>
                  <a:cubicBezTo>
                    <a:pt x="47401" y="26951"/>
                    <a:pt x="47450" y="27133"/>
                    <a:pt x="47476" y="27318"/>
                  </a:cubicBezTo>
                  <a:cubicBezTo>
                    <a:pt x="47482" y="27353"/>
                    <a:pt x="47497" y="27384"/>
                    <a:pt x="47517" y="27413"/>
                  </a:cubicBezTo>
                  <a:cubicBezTo>
                    <a:pt x="47055" y="27754"/>
                    <a:pt x="46602" y="28109"/>
                    <a:pt x="46163" y="28490"/>
                  </a:cubicBezTo>
                  <a:cubicBezTo>
                    <a:pt x="46567" y="27930"/>
                    <a:pt x="46963" y="27361"/>
                    <a:pt x="47332" y="26781"/>
                  </a:cubicBezTo>
                  <a:close/>
                  <a:moveTo>
                    <a:pt x="29551" y="15623"/>
                  </a:moveTo>
                  <a:lnTo>
                    <a:pt x="29551" y="15623"/>
                  </a:lnTo>
                  <a:cubicBezTo>
                    <a:pt x="29571" y="15628"/>
                    <a:pt x="29589" y="15628"/>
                    <a:pt x="29609" y="15634"/>
                  </a:cubicBezTo>
                  <a:cubicBezTo>
                    <a:pt x="29900" y="15727"/>
                    <a:pt x="30221" y="15828"/>
                    <a:pt x="30553" y="15937"/>
                  </a:cubicBezTo>
                  <a:cubicBezTo>
                    <a:pt x="26882" y="20151"/>
                    <a:pt x="23875" y="24900"/>
                    <a:pt x="19962" y="28909"/>
                  </a:cubicBezTo>
                  <a:lnTo>
                    <a:pt x="19962" y="28909"/>
                  </a:lnTo>
                  <a:cubicBezTo>
                    <a:pt x="21381" y="27416"/>
                    <a:pt x="22850" y="25260"/>
                    <a:pt x="24164" y="23395"/>
                  </a:cubicBezTo>
                  <a:cubicBezTo>
                    <a:pt x="26014" y="20770"/>
                    <a:pt x="28151" y="18559"/>
                    <a:pt x="29551" y="15637"/>
                  </a:cubicBezTo>
                  <a:cubicBezTo>
                    <a:pt x="29554" y="15631"/>
                    <a:pt x="29551" y="15628"/>
                    <a:pt x="29551" y="15623"/>
                  </a:cubicBezTo>
                  <a:close/>
                  <a:moveTo>
                    <a:pt x="37050" y="23522"/>
                  </a:moveTo>
                  <a:cubicBezTo>
                    <a:pt x="37125" y="23522"/>
                    <a:pt x="36886" y="23893"/>
                    <a:pt x="36119" y="24876"/>
                  </a:cubicBezTo>
                  <a:cubicBezTo>
                    <a:pt x="34970" y="26348"/>
                    <a:pt x="33550" y="27679"/>
                    <a:pt x="32178" y="29021"/>
                  </a:cubicBezTo>
                  <a:cubicBezTo>
                    <a:pt x="32701" y="28334"/>
                    <a:pt x="33220" y="27647"/>
                    <a:pt x="33752" y="26966"/>
                  </a:cubicBezTo>
                  <a:cubicBezTo>
                    <a:pt x="34141" y="26463"/>
                    <a:pt x="36839" y="23522"/>
                    <a:pt x="37050" y="23522"/>
                  </a:cubicBezTo>
                  <a:close/>
                  <a:moveTo>
                    <a:pt x="50236" y="27581"/>
                  </a:moveTo>
                  <a:cubicBezTo>
                    <a:pt x="50499" y="27618"/>
                    <a:pt x="50756" y="27673"/>
                    <a:pt x="51013" y="27742"/>
                  </a:cubicBezTo>
                  <a:cubicBezTo>
                    <a:pt x="50314" y="28340"/>
                    <a:pt x="49624" y="28964"/>
                    <a:pt x="48940" y="29604"/>
                  </a:cubicBezTo>
                  <a:cubicBezTo>
                    <a:pt x="49422" y="28981"/>
                    <a:pt x="49867" y="28320"/>
                    <a:pt x="50236" y="27592"/>
                  </a:cubicBezTo>
                  <a:cubicBezTo>
                    <a:pt x="50239" y="27589"/>
                    <a:pt x="50236" y="27584"/>
                    <a:pt x="50236" y="27581"/>
                  </a:cubicBezTo>
                  <a:close/>
                  <a:moveTo>
                    <a:pt x="41731" y="23536"/>
                  </a:moveTo>
                  <a:lnTo>
                    <a:pt x="41731" y="23536"/>
                  </a:lnTo>
                  <a:cubicBezTo>
                    <a:pt x="41887" y="23588"/>
                    <a:pt x="42037" y="23651"/>
                    <a:pt x="42185" y="23727"/>
                  </a:cubicBezTo>
                  <a:cubicBezTo>
                    <a:pt x="42635" y="23963"/>
                    <a:pt x="43221" y="24168"/>
                    <a:pt x="43842" y="24391"/>
                  </a:cubicBezTo>
                  <a:cubicBezTo>
                    <a:pt x="42029" y="26004"/>
                    <a:pt x="40501" y="27930"/>
                    <a:pt x="38966" y="29850"/>
                  </a:cubicBezTo>
                  <a:cubicBezTo>
                    <a:pt x="40337" y="28066"/>
                    <a:pt x="41552" y="26212"/>
                    <a:pt x="42485" y="24255"/>
                  </a:cubicBezTo>
                  <a:cubicBezTo>
                    <a:pt x="42535" y="24149"/>
                    <a:pt x="42454" y="23997"/>
                    <a:pt x="42346" y="23997"/>
                  </a:cubicBezTo>
                  <a:cubicBezTo>
                    <a:pt x="42318" y="23997"/>
                    <a:pt x="42289" y="24007"/>
                    <a:pt x="42260" y="24030"/>
                  </a:cubicBezTo>
                  <a:cubicBezTo>
                    <a:pt x="41460" y="24645"/>
                    <a:pt x="40721" y="25340"/>
                    <a:pt x="40016" y="26082"/>
                  </a:cubicBezTo>
                  <a:cubicBezTo>
                    <a:pt x="40600" y="25268"/>
                    <a:pt x="41171" y="24448"/>
                    <a:pt x="41720" y="23602"/>
                  </a:cubicBezTo>
                  <a:cubicBezTo>
                    <a:pt x="41728" y="23582"/>
                    <a:pt x="41734" y="23559"/>
                    <a:pt x="41731" y="23536"/>
                  </a:cubicBezTo>
                  <a:close/>
                  <a:moveTo>
                    <a:pt x="35435" y="18137"/>
                  </a:moveTo>
                  <a:cubicBezTo>
                    <a:pt x="36416" y="18804"/>
                    <a:pt x="37216" y="19610"/>
                    <a:pt x="37623" y="20585"/>
                  </a:cubicBezTo>
                  <a:cubicBezTo>
                    <a:pt x="37609" y="20581"/>
                    <a:pt x="37595" y="20578"/>
                    <a:pt x="37582" y="20578"/>
                  </a:cubicBezTo>
                  <a:cubicBezTo>
                    <a:pt x="37546" y="20578"/>
                    <a:pt x="37513" y="20594"/>
                    <a:pt x="37490" y="20623"/>
                  </a:cubicBezTo>
                  <a:cubicBezTo>
                    <a:pt x="36492" y="21765"/>
                    <a:pt x="35505" y="22935"/>
                    <a:pt x="34521" y="24108"/>
                  </a:cubicBezTo>
                  <a:lnTo>
                    <a:pt x="34521" y="24108"/>
                  </a:lnTo>
                  <a:cubicBezTo>
                    <a:pt x="35467" y="22835"/>
                    <a:pt x="36364" y="21550"/>
                    <a:pt x="37184" y="20259"/>
                  </a:cubicBezTo>
                  <a:cubicBezTo>
                    <a:pt x="37247" y="20157"/>
                    <a:pt x="37150" y="20044"/>
                    <a:pt x="37052" y="20044"/>
                  </a:cubicBezTo>
                  <a:cubicBezTo>
                    <a:pt x="37019" y="20044"/>
                    <a:pt x="36986" y="20057"/>
                    <a:pt x="36959" y="20086"/>
                  </a:cubicBezTo>
                  <a:cubicBezTo>
                    <a:pt x="33983" y="23371"/>
                    <a:pt x="30917" y="26602"/>
                    <a:pt x="27905" y="29873"/>
                  </a:cubicBezTo>
                  <a:cubicBezTo>
                    <a:pt x="27940" y="29821"/>
                    <a:pt x="27978" y="29769"/>
                    <a:pt x="28009" y="29714"/>
                  </a:cubicBezTo>
                  <a:cubicBezTo>
                    <a:pt x="28321" y="29241"/>
                    <a:pt x="28627" y="28761"/>
                    <a:pt x="28933" y="28282"/>
                  </a:cubicBezTo>
                  <a:cubicBezTo>
                    <a:pt x="29970" y="27156"/>
                    <a:pt x="31003" y="26027"/>
                    <a:pt x="32051" y="24910"/>
                  </a:cubicBezTo>
                  <a:cubicBezTo>
                    <a:pt x="33463" y="23406"/>
                    <a:pt x="35885" y="21688"/>
                    <a:pt x="36564" y="19690"/>
                  </a:cubicBezTo>
                  <a:cubicBezTo>
                    <a:pt x="36587" y="19624"/>
                    <a:pt x="36555" y="19552"/>
                    <a:pt x="36491" y="19526"/>
                  </a:cubicBezTo>
                  <a:lnTo>
                    <a:pt x="36633" y="19283"/>
                  </a:lnTo>
                  <a:cubicBezTo>
                    <a:pt x="36684" y="19197"/>
                    <a:pt x="36609" y="19084"/>
                    <a:pt x="36519" y="19084"/>
                  </a:cubicBezTo>
                  <a:cubicBezTo>
                    <a:pt x="36497" y="19084"/>
                    <a:pt x="36475" y="19090"/>
                    <a:pt x="36454" y="19104"/>
                  </a:cubicBezTo>
                  <a:cubicBezTo>
                    <a:pt x="35957" y="19442"/>
                    <a:pt x="35478" y="19806"/>
                    <a:pt x="35022" y="20196"/>
                  </a:cubicBezTo>
                  <a:cubicBezTo>
                    <a:pt x="35299" y="19800"/>
                    <a:pt x="35550" y="19390"/>
                    <a:pt x="35778" y="18966"/>
                  </a:cubicBezTo>
                  <a:cubicBezTo>
                    <a:pt x="35832" y="18860"/>
                    <a:pt x="35746" y="18749"/>
                    <a:pt x="35651" y="18749"/>
                  </a:cubicBezTo>
                  <a:cubicBezTo>
                    <a:pt x="35619" y="18749"/>
                    <a:pt x="35585" y="18762"/>
                    <a:pt x="35556" y="18793"/>
                  </a:cubicBezTo>
                  <a:cubicBezTo>
                    <a:pt x="34461" y="19921"/>
                    <a:pt x="33387" y="21073"/>
                    <a:pt x="32326" y="22240"/>
                  </a:cubicBezTo>
                  <a:lnTo>
                    <a:pt x="32326" y="22240"/>
                  </a:lnTo>
                  <a:cubicBezTo>
                    <a:pt x="33471" y="20939"/>
                    <a:pt x="34527" y="19583"/>
                    <a:pt x="35435" y="18137"/>
                  </a:cubicBezTo>
                  <a:close/>
                  <a:moveTo>
                    <a:pt x="24629" y="24520"/>
                  </a:moveTo>
                  <a:lnTo>
                    <a:pt x="24629" y="24520"/>
                  </a:lnTo>
                  <a:cubicBezTo>
                    <a:pt x="23428" y="26163"/>
                    <a:pt x="22215" y="27777"/>
                    <a:pt x="20884" y="29203"/>
                  </a:cubicBezTo>
                  <a:lnTo>
                    <a:pt x="20887" y="29203"/>
                  </a:lnTo>
                  <a:cubicBezTo>
                    <a:pt x="20437" y="29685"/>
                    <a:pt x="20246" y="29877"/>
                    <a:pt x="20228" y="29877"/>
                  </a:cubicBezTo>
                  <a:cubicBezTo>
                    <a:pt x="20159" y="29877"/>
                    <a:pt x="22437" y="27259"/>
                    <a:pt x="22700" y="26925"/>
                  </a:cubicBezTo>
                  <a:cubicBezTo>
                    <a:pt x="23347" y="26117"/>
                    <a:pt x="23982" y="25317"/>
                    <a:pt x="24629" y="24520"/>
                  </a:cubicBezTo>
                  <a:close/>
                  <a:moveTo>
                    <a:pt x="51440" y="27884"/>
                  </a:moveTo>
                  <a:cubicBezTo>
                    <a:pt x="51715" y="27988"/>
                    <a:pt x="51977" y="28123"/>
                    <a:pt x="52223" y="28285"/>
                  </a:cubicBezTo>
                  <a:cubicBezTo>
                    <a:pt x="51481" y="28935"/>
                    <a:pt x="50745" y="29602"/>
                    <a:pt x="50014" y="30289"/>
                  </a:cubicBezTo>
                  <a:cubicBezTo>
                    <a:pt x="50540" y="29518"/>
                    <a:pt x="51016" y="28712"/>
                    <a:pt x="51440" y="27884"/>
                  </a:cubicBezTo>
                  <a:close/>
                  <a:moveTo>
                    <a:pt x="24837" y="25805"/>
                  </a:moveTo>
                  <a:lnTo>
                    <a:pt x="24837" y="25805"/>
                  </a:lnTo>
                  <a:cubicBezTo>
                    <a:pt x="23973" y="26908"/>
                    <a:pt x="23099" y="28002"/>
                    <a:pt x="22215" y="29088"/>
                  </a:cubicBezTo>
                  <a:cubicBezTo>
                    <a:pt x="21690" y="29726"/>
                    <a:pt x="21158" y="30364"/>
                    <a:pt x="20624" y="30996"/>
                  </a:cubicBezTo>
                  <a:cubicBezTo>
                    <a:pt x="21245" y="30257"/>
                    <a:pt x="21785" y="29070"/>
                    <a:pt x="22449" y="28291"/>
                  </a:cubicBezTo>
                  <a:cubicBezTo>
                    <a:pt x="23200" y="27419"/>
                    <a:pt x="24014" y="26611"/>
                    <a:pt x="24837" y="25805"/>
                  </a:cubicBezTo>
                  <a:close/>
                  <a:moveTo>
                    <a:pt x="32839" y="16772"/>
                  </a:moveTo>
                  <a:cubicBezTo>
                    <a:pt x="33041" y="16855"/>
                    <a:pt x="33243" y="16945"/>
                    <a:pt x="33446" y="17037"/>
                  </a:cubicBezTo>
                  <a:cubicBezTo>
                    <a:pt x="33428" y="17046"/>
                    <a:pt x="33411" y="17043"/>
                    <a:pt x="33394" y="17060"/>
                  </a:cubicBezTo>
                  <a:cubicBezTo>
                    <a:pt x="31490" y="19021"/>
                    <a:pt x="30034" y="21400"/>
                    <a:pt x="28429" y="23607"/>
                  </a:cubicBezTo>
                  <a:lnTo>
                    <a:pt x="28429" y="23607"/>
                  </a:lnTo>
                  <a:cubicBezTo>
                    <a:pt x="30050" y="21417"/>
                    <a:pt x="31696" y="19247"/>
                    <a:pt x="33613" y="17277"/>
                  </a:cubicBezTo>
                  <a:cubicBezTo>
                    <a:pt x="33653" y="17234"/>
                    <a:pt x="33662" y="17173"/>
                    <a:pt x="33636" y="17121"/>
                  </a:cubicBezTo>
                  <a:lnTo>
                    <a:pt x="33636" y="17121"/>
                  </a:lnTo>
                  <a:cubicBezTo>
                    <a:pt x="33835" y="17216"/>
                    <a:pt x="34035" y="17314"/>
                    <a:pt x="34231" y="17418"/>
                  </a:cubicBezTo>
                  <a:cubicBezTo>
                    <a:pt x="31812" y="19442"/>
                    <a:pt x="30030" y="21968"/>
                    <a:pt x="27986" y="24353"/>
                  </a:cubicBezTo>
                  <a:lnTo>
                    <a:pt x="27983" y="24353"/>
                  </a:lnTo>
                  <a:cubicBezTo>
                    <a:pt x="27804" y="24561"/>
                    <a:pt x="27611" y="24757"/>
                    <a:pt x="27426" y="24962"/>
                  </a:cubicBezTo>
                  <a:cubicBezTo>
                    <a:pt x="27655" y="24653"/>
                    <a:pt x="27883" y="24344"/>
                    <a:pt x="28112" y="24035"/>
                  </a:cubicBezTo>
                  <a:lnTo>
                    <a:pt x="28112" y="24035"/>
                  </a:lnTo>
                  <a:cubicBezTo>
                    <a:pt x="27814" y="24431"/>
                    <a:pt x="27506" y="24820"/>
                    <a:pt x="27201" y="25210"/>
                  </a:cubicBezTo>
                  <a:cubicBezTo>
                    <a:pt x="26967" y="25464"/>
                    <a:pt x="26739" y="25724"/>
                    <a:pt x="26502" y="25973"/>
                  </a:cubicBezTo>
                  <a:cubicBezTo>
                    <a:pt x="26696" y="25771"/>
                    <a:pt x="26889" y="25566"/>
                    <a:pt x="27083" y="25361"/>
                  </a:cubicBezTo>
                  <a:lnTo>
                    <a:pt x="27083" y="25361"/>
                  </a:lnTo>
                  <a:cubicBezTo>
                    <a:pt x="26292" y="26368"/>
                    <a:pt x="25486" y="27361"/>
                    <a:pt x="24655" y="28334"/>
                  </a:cubicBezTo>
                  <a:cubicBezTo>
                    <a:pt x="24086" y="28998"/>
                    <a:pt x="23029" y="29801"/>
                    <a:pt x="22215" y="30589"/>
                  </a:cubicBezTo>
                  <a:cubicBezTo>
                    <a:pt x="23358" y="29304"/>
                    <a:pt x="24559" y="28019"/>
                    <a:pt x="25769" y="26743"/>
                  </a:cubicBezTo>
                  <a:lnTo>
                    <a:pt x="25769" y="26743"/>
                  </a:lnTo>
                  <a:cubicBezTo>
                    <a:pt x="24375" y="28175"/>
                    <a:pt x="22954" y="29587"/>
                    <a:pt x="21620" y="31083"/>
                  </a:cubicBezTo>
                  <a:cubicBezTo>
                    <a:pt x="24577" y="25765"/>
                    <a:pt x="30143" y="22344"/>
                    <a:pt x="32839" y="16772"/>
                  </a:cubicBezTo>
                  <a:close/>
                  <a:moveTo>
                    <a:pt x="46743" y="28437"/>
                  </a:moveTo>
                  <a:cubicBezTo>
                    <a:pt x="46787" y="28437"/>
                    <a:pt x="46560" y="28734"/>
                    <a:pt x="45871" y="29524"/>
                  </a:cubicBezTo>
                  <a:lnTo>
                    <a:pt x="45776" y="29630"/>
                  </a:lnTo>
                  <a:cubicBezTo>
                    <a:pt x="45126" y="30228"/>
                    <a:pt x="44485" y="30834"/>
                    <a:pt x="43856" y="31449"/>
                  </a:cubicBezTo>
                  <a:cubicBezTo>
                    <a:pt x="43951" y="31325"/>
                    <a:pt x="44041" y="31195"/>
                    <a:pt x="44139" y="31071"/>
                  </a:cubicBezTo>
                  <a:cubicBezTo>
                    <a:pt x="44471" y="30651"/>
                    <a:pt x="46622" y="28437"/>
                    <a:pt x="46743" y="28437"/>
                  </a:cubicBezTo>
                  <a:close/>
                  <a:moveTo>
                    <a:pt x="53574" y="30410"/>
                  </a:moveTo>
                  <a:cubicBezTo>
                    <a:pt x="53606" y="30612"/>
                    <a:pt x="53617" y="30817"/>
                    <a:pt x="53614" y="31025"/>
                  </a:cubicBezTo>
                  <a:cubicBezTo>
                    <a:pt x="53603" y="31031"/>
                    <a:pt x="53588" y="31028"/>
                    <a:pt x="53577" y="31036"/>
                  </a:cubicBezTo>
                  <a:cubicBezTo>
                    <a:pt x="53311" y="31239"/>
                    <a:pt x="53054" y="31455"/>
                    <a:pt x="52800" y="31674"/>
                  </a:cubicBezTo>
                  <a:cubicBezTo>
                    <a:pt x="53080" y="31267"/>
                    <a:pt x="53337" y="30846"/>
                    <a:pt x="53574" y="30410"/>
                  </a:cubicBezTo>
                  <a:close/>
                  <a:moveTo>
                    <a:pt x="53138" y="29235"/>
                  </a:moveTo>
                  <a:cubicBezTo>
                    <a:pt x="53259" y="29425"/>
                    <a:pt x="53363" y="29630"/>
                    <a:pt x="53444" y="29844"/>
                  </a:cubicBezTo>
                  <a:cubicBezTo>
                    <a:pt x="53484" y="29954"/>
                    <a:pt x="53496" y="30072"/>
                    <a:pt x="53522" y="30188"/>
                  </a:cubicBezTo>
                  <a:cubicBezTo>
                    <a:pt x="53495" y="30171"/>
                    <a:pt x="53465" y="30163"/>
                    <a:pt x="53435" y="30163"/>
                  </a:cubicBezTo>
                  <a:cubicBezTo>
                    <a:pt x="53397" y="30163"/>
                    <a:pt x="53359" y="30176"/>
                    <a:pt x="53328" y="30202"/>
                  </a:cubicBezTo>
                  <a:cubicBezTo>
                    <a:pt x="52581" y="30826"/>
                    <a:pt x="51859" y="31484"/>
                    <a:pt x="51152" y="32162"/>
                  </a:cubicBezTo>
                  <a:cubicBezTo>
                    <a:pt x="51899" y="31250"/>
                    <a:pt x="52584" y="30289"/>
                    <a:pt x="53138" y="29235"/>
                  </a:cubicBezTo>
                  <a:close/>
                  <a:moveTo>
                    <a:pt x="28740" y="24633"/>
                  </a:moveTo>
                  <a:lnTo>
                    <a:pt x="28425" y="25069"/>
                  </a:lnTo>
                  <a:cubicBezTo>
                    <a:pt x="27689" y="26088"/>
                    <a:pt x="26863" y="27052"/>
                    <a:pt x="26020" y="28008"/>
                  </a:cubicBezTo>
                  <a:cubicBezTo>
                    <a:pt x="24854" y="29163"/>
                    <a:pt x="23688" y="30318"/>
                    <a:pt x="22553" y="31504"/>
                  </a:cubicBezTo>
                  <a:cubicBezTo>
                    <a:pt x="21862" y="32228"/>
                    <a:pt x="21595" y="32501"/>
                    <a:pt x="21586" y="32501"/>
                  </a:cubicBezTo>
                  <a:cubicBezTo>
                    <a:pt x="21563" y="32501"/>
                    <a:pt x="23290" y="30645"/>
                    <a:pt x="23797" y="30098"/>
                  </a:cubicBezTo>
                  <a:cubicBezTo>
                    <a:pt x="24874" y="28938"/>
                    <a:pt x="25980" y="27815"/>
                    <a:pt x="27031" y="26631"/>
                  </a:cubicBezTo>
                  <a:cubicBezTo>
                    <a:pt x="27611" y="25973"/>
                    <a:pt x="28177" y="25306"/>
                    <a:pt x="28740" y="24633"/>
                  </a:cubicBezTo>
                  <a:close/>
                  <a:moveTo>
                    <a:pt x="30533" y="25320"/>
                  </a:moveTo>
                  <a:lnTo>
                    <a:pt x="30533" y="25320"/>
                  </a:lnTo>
                  <a:cubicBezTo>
                    <a:pt x="30059" y="26004"/>
                    <a:pt x="29597" y="26706"/>
                    <a:pt x="29138" y="27416"/>
                  </a:cubicBezTo>
                  <a:cubicBezTo>
                    <a:pt x="29002" y="27627"/>
                    <a:pt x="28867" y="27838"/>
                    <a:pt x="28731" y="28048"/>
                  </a:cubicBezTo>
                  <a:cubicBezTo>
                    <a:pt x="27126" y="29798"/>
                    <a:pt x="25506" y="31539"/>
                    <a:pt x="23841" y="33236"/>
                  </a:cubicBezTo>
                  <a:lnTo>
                    <a:pt x="23838" y="33236"/>
                  </a:lnTo>
                  <a:cubicBezTo>
                    <a:pt x="26107" y="30820"/>
                    <a:pt x="28174" y="28063"/>
                    <a:pt x="30310" y="25568"/>
                  </a:cubicBezTo>
                  <a:cubicBezTo>
                    <a:pt x="30382" y="25485"/>
                    <a:pt x="30458" y="25404"/>
                    <a:pt x="30533" y="25320"/>
                  </a:cubicBezTo>
                  <a:close/>
                  <a:moveTo>
                    <a:pt x="43821" y="26129"/>
                  </a:moveTo>
                  <a:lnTo>
                    <a:pt x="43821" y="26129"/>
                  </a:lnTo>
                  <a:cubicBezTo>
                    <a:pt x="42722" y="27272"/>
                    <a:pt x="42046" y="28981"/>
                    <a:pt x="40845" y="30199"/>
                  </a:cubicBezTo>
                  <a:cubicBezTo>
                    <a:pt x="39852" y="31210"/>
                    <a:pt x="38888" y="32220"/>
                    <a:pt x="37938" y="33245"/>
                  </a:cubicBezTo>
                  <a:cubicBezTo>
                    <a:pt x="39220" y="31617"/>
                    <a:pt x="40481" y="29980"/>
                    <a:pt x="41760" y="28395"/>
                  </a:cubicBezTo>
                  <a:lnTo>
                    <a:pt x="41757" y="28395"/>
                  </a:lnTo>
                  <a:cubicBezTo>
                    <a:pt x="42404" y="27604"/>
                    <a:pt x="43094" y="26847"/>
                    <a:pt x="43821" y="26129"/>
                  </a:cubicBezTo>
                  <a:close/>
                  <a:moveTo>
                    <a:pt x="46448" y="27726"/>
                  </a:moveTo>
                  <a:cubicBezTo>
                    <a:pt x="46467" y="27726"/>
                    <a:pt x="46001" y="28267"/>
                    <a:pt x="44676" y="29757"/>
                  </a:cubicBezTo>
                  <a:cubicBezTo>
                    <a:pt x="43614" y="30953"/>
                    <a:pt x="42534" y="32125"/>
                    <a:pt x="41448" y="33288"/>
                  </a:cubicBezTo>
                  <a:cubicBezTo>
                    <a:pt x="42006" y="32653"/>
                    <a:pt x="42563" y="32024"/>
                    <a:pt x="43111" y="31380"/>
                  </a:cubicBezTo>
                  <a:lnTo>
                    <a:pt x="43108" y="31380"/>
                  </a:lnTo>
                  <a:cubicBezTo>
                    <a:pt x="43695" y="30690"/>
                    <a:pt x="46402" y="27726"/>
                    <a:pt x="46448" y="27726"/>
                  </a:cubicBezTo>
                  <a:close/>
                  <a:moveTo>
                    <a:pt x="31523" y="23128"/>
                  </a:moveTo>
                  <a:cubicBezTo>
                    <a:pt x="28721" y="26244"/>
                    <a:pt x="25999" y="29445"/>
                    <a:pt x="23205" y="32552"/>
                  </a:cubicBezTo>
                  <a:cubicBezTo>
                    <a:pt x="22795" y="33104"/>
                    <a:pt x="22244" y="33531"/>
                    <a:pt x="21609" y="33794"/>
                  </a:cubicBezTo>
                  <a:cubicBezTo>
                    <a:pt x="22178" y="32930"/>
                    <a:pt x="22821" y="32119"/>
                    <a:pt x="23532" y="31366"/>
                  </a:cubicBezTo>
                  <a:cubicBezTo>
                    <a:pt x="24467" y="30315"/>
                    <a:pt x="25463" y="29330"/>
                    <a:pt x="26372" y="28256"/>
                  </a:cubicBezTo>
                  <a:cubicBezTo>
                    <a:pt x="26424" y="28196"/>
                    <a:pt x="26468" y="28132"/>
                    <a:pt x="26517" y="28074"/>
                  </a:cubicBezTo>
                  <a:cubicBezTo>
                    <a:pt x="28224" y="26457"/>
                    <a:pt x="29941" y="24836"/>
                    <a:pt x="31523" y="23128"/>
                  </a:cubicBezTo>
                  <a:close/>
                  <a:moveTo>
                    <a:pt x="44038" y="31631"/>
                  </a:moveTo>
                  <a:cubicBezTo>
                    <a:pt x="43244" y="32546"/>
                    <a:pt x="42450" y="33461"/>
                    <a:pt x="41656" y="34377"/>
                  </a:cubicBezTo>
                  <a:lnTo>
                    <a:pt x="41653" y="34377"/>
                  </a:lnTo>
                  <a:cubicBezTo>
                    <a:pt x="42026" y="33877"/>
                    <a:pt x="42407" y="33386"/>
                    <a:pt x="42773" y="32887"/>
                  </a:cubicBezTo>
                  <a:cubicBezTo>
                    <a:pt x="43189" y="32463"/>
                    <a:pt x="43617" y="32047"/>
                    <a:pt x="44038" y="31631"/>
                  </a:cubicBezTo>
                  <a:close/>
                  <a:moveTo>
                    <a:pt x="53493" y="32064"/>
                  </a:moveTo>
                  <a:lnTo>
                    <a:pt x="53493" y="32064"/>
                  </a:lnTo>
                  <a:cubicBezTo>
                    <a:pt x="53276" y="32985"/>
                    <a:pt x="52838" y="33897"/>
                    <a:pt x="52402" y="34697"/>
                  </a:cubicBezTo>
                  <a:lnTo>
                    <a:pt x="52402" y="34694"/>
                  </a:lnTo>
                  <a:cubicBezTo>
                    <a:pt x="52101" y="34818"/>
                    <a:pt x="51807" y="34960"/>
                    <a:pt x="51524" y="35116"/>
                  </a:cubicBezTo>
                  <a:cubicBezTo>
                    <a:pt x="52335" y="34137"/>
                    <a:pt x="53028" y="33118"/>
                    <a:pt x="53493" y="32064"/>
                  </a:cubicBezTo>
                  <a:close/>
                  <a:moveTo>
                    <a:pt x="41373" y="25104"/>
                  </a:moveTo>
                  <a:cubicBezTo>
                    <a:pt x="41579" y="25104"/>
                    <a:pt x="39508" y="28176"/>
                    <a:pt x="39072" y="28704"/>
                  </a:cubicBezTo>
                  <a:cubicBezTo>
                    <a:pt x="38059" y="29939"/>
                    <a:pt x="37046" y="31169"/>
                    <a:pt x="35998" y="32376"/>
                  </a:cubicBezTo>
                  <a:cubicBezTo>
                    <a:pt x="35163" y="33340"/>
                    <a:pt x="34312" y="34290"/>
                    <a:pt x="33457" y="35234"/>
                  </a:cubicBezTo>
                  <a:cubicBezTo>
                    <a:pt x="34358" y="33944"/>
                    <a:pt x="35285" y="32668"/>
                    <a:pt x="36275" y="31435"/>
                  </a:cubicBezTo>
                  <a:cubicBezTo>
                    <a:pt x="37715" y="29636"/>
                    <a:pt x="39078" y="27765"/>
                    <a:pt x="40542" y="25993"/>
                  </a:cubicBezTo>
                  <a:cubicBezTo>
                    <a:pt x="41067" y="25356"/>
                    <a:pt x="41313" y="25104"/>
                    <a:pt x="41373" y="25104"/>
                  </a:cubicBezTo>
                  <a:close/>
                  <a:moveTo>
                    <a:pt x="46818" y="25981"/>
                  </a:moveTo>
                  <a:cubicBezTo>
                    <a:pt x="46954" y="26123"/>
                    <a:pt x="47069" y="26282"/>
                    <a:pt x="47170" y="26452"/>
                  </a:cubicBezTo>
                  <a:cubicBezTo>
                    <a:pt x="44078" y="29550"/>
                    <a:pt x="40966" y="32763"/>
                    <a:pt x="37920" y="36057"/>
                  </a:cubicBezTo>
                  <a:cubicBezTo>
                    <a:pt x="40807" y="32630"/>
                    <a:pt x="43744" y="29244"/>
                    <a:pt x="46818" y="25981"/>
                  </a:cubicBezTo>
                  <a:close/>
                  <a:moveTo>
                    <a:pt x="37710" y="20834"/>
                  </a:moveTo>
                  <a:cubicBezTo>
                    <a:pt x="37817" y="21131"/>
                    <a:pt x="37880" y="21443"/>
                    <a:pt x="37906" y="21760"/>
                  </a:cubicBezTo>
                  <a:cubicBezTo>
                    <a:pt x="37871" y="21763"/>
                    <a:pt x="37837" y="21778"/>
                    <a:pt x="37814" y="21804"/>
                  </a:cubicBezTo>
                  <a:cubicBezTo>
                    <a:pt x="35140" y="24636"/>
                    <a:pt x="32790" y="27728"/>
                    <a:pt x="30426" y="30811"/>
                  </a:cubicBezTo>
                  <a:cubicBezTo>
                    <a:pt x="29621" y="31689"/>
                    <a:pt x="25190" y="36479"/>
                    <a:pt x="24922" y="36479"/>
                  </a:cubicBezTo>
                  <a:cubicBezTo>
                    <a:pt x="24831" y="36479"/>
                    <a:pt x="25226" y="35918"/>
                    <a:pt x="26421" y="34449"/>
                  </a:cubicBezTo>
                  <a:lnTo>
                    <a:pt x="26421" y="34452"/>
                  </a:lnTo>
                  <a:cubicBezTo>
                    <a:pt x="30180" y="29830"/>
                    <a:pt x="34756" y="26088"/>
                    <a:pt x="37710" y="20834"/>
                  </a:cubicBezTo>
                  <a:close/>
                  <a:moveTo>
                    <a:pt x="37860" y="22511"/>
                  </a:moveTo>
                  <a:cubicBezTo>
                    <a:pt x="37857" y="22549"/>
                    <a:pt x="37874" y="22586"/>
                    <a:pt x="37906" y="22606"/>
                  </a:cubicBezTo>
                  <a:cubicBezTo>
                    <a:pt x="38328" y="22933"/>
                    <a:pt x="38804" y="23071"/>
                    <a:pt x="39306" y="23152"/>
                  </a:cubicBezTo>
                  <a:cubicBezTo>
                    <a:pt x="37242" y="25361"/>
                    <a:pt x="35342" y="27696"/>
                    <a:pt x="33269" y="29885"/>
                  </a:cubicBezTo>
                  <a:cubicBezTo>
                    <a:pt x="33887" y="29111"/>
                    <a:pt x="34494" y="28326"/>
                    <a:pt x="35097" y="27540"/>
                  </a:cubicBezTo>
                  <a:cubicBezTo>
                    <a:pt x="36272" y="26123"/>
                    <a:pt x="37427" y="24691"/>
                    <a:pt x="38489" y="23175"/>
                  </a:cubicBezTo>
                  <a:cubicBezTo>
                    <a:pt x="38563" y="23069"/>
                    <a:pt x="38451" y="22940"/>
                    <a:pt x="38345" y="22940"/>
                  </a:cubicBezTo>
                  <a:cubicBezTo>
                    <a:pt x="38310" y="22940"/>
                    <a:pt x="38276" y="22954"/>
                    <a:pt x="38250" y="22987"/>
                  </a:cubicBezTo>
                  <a:cubicBezTo>
                    <a:pt x="37025" y="24526"/>
                    <a:pt x="35836" y="26091"/>
                    <a:pt x="34635" y="27641"/>
                  </a:cubicBezTo>
                  <a:cubicBezTo>
                    <a:pt x="33304" y="29235"/>
                    <a:pt x="31901" y="30944"/>
                    <a:pt x="31503" y="31426"/>
                  </a:cubicBezTo>
                  <a:cubicBezTo>
                    <a:pt x="31205" y="31787"/>
                    <a:pt x="30960" y="32099"/>
                    <a:pt x="30726" y="32405"/>
                  </a:cubicBezTo>
                  <a:cubicBezTo>
                    <a:pt x="29487" y="33574"/>
                    <a:pt x="28295" y="34738"/>
                    <a:pt x="27239" y="36019"/>
                  </a:cubicBezTo>
                  <a:cubicBezTo>
                    <a:pt x="27036" y="36210"/>
                    <a:pt x="26840" y="36406"/>
                    <a:pt x="26632" y="36591"/>
                  </a:cubicBezTo>
                  <a:cubicBezTo>
                    <a:pt x="26038" y="37117"/>
                    <a:pt x="25762" y="37323"/>
                    <a:pt x="25694" y="37323"/>
                  </a:cubicBezTo>
                  <a:cubicBezTo>
                    <a:pt x="25460" y="37323"/>
                    <a:pt x="27632" y="34939"/>
                    <a:pt x="27761" y="34781"/>
                  </a:cubicBezTo>
                  <a:cubicBezTo>
                    <a:pt x="28376" y="34027"/>
                    <a:pt x="29205" y="32930"/>
                    <a:pt x="29796" y="32159"/>
                  </a:cubicBezTo>
                  <a:cubicBezTo>
                    <a:pt x="30123" y="31732"/>
                    <a:pt x="30446" y="31305"/>
                    <a:pt x="30769" y="30878"/>
                  </a:cubicBezTo>
                  <a:cubicBezTo>
                    <a:pt x="31471" y="30121"/>
                    <a:pt x="32167" y="29359"/>
                    <a:pt x="32862" y="28594"/>
                  </a:cubicBezTo>
                  <a:cubicBezTo>
                    <a:pt x="34678" y="26585"/>
                    <a:pt x="36864" y="25040"/>
                    <a:pt x="37860" y="22511"/>
                  </a:cubicBezTo>
                  <a:close/>
                  <a:moveTo>
                    <a:pt x="28575" y="35142"/>
                  </a:moveTo>
                  <a:cubicBezTo>
                    <a:pt x="27504" y="36380"/>
                    <a:pt x="26098" y="37936"/>
                    <a:pt x="25942" y="38245"/>
                  </a:cubicBezTo>
                  <a:cubicBezTo>
                    <a:pt x="26234" y="37665"/>
                    <a:pt x="26600" y="37116"/>
                    <a:pt x="27002" y="36585"/>
                  </a:cubicBezTo>
                  <a:cubicBezTo>
                    <a:pt x="27542" y="36120"/>
                    <a:pt x="28067" y="35638"/>
                    <a:pt x="28575" y="35142"/>
                  </a:cubicBezTo>
                  <a:close/>
                  <a:moveTo>
                    <a:pt x="39745" y="23207"/>
                  </a:moveTo>
                  <a:cubicBezTo>
                    <a:pt x="40040" y="23239"/>
                    <a:pt x="40334" y="23265"/>
                    <a:pt x="40634" y="23299"/>
                  </a:cubicBezTo>
                  <a:cubicBezTo>
                    <a:pt x="40628" y="23305"/>
                    <a:pt x="40623" y="23302"/>
                    <a:pt x="40617" y="23308"/>
                  </a:cubicBezTo>
                  <a:cubicBezTo>
                    <a:pt x="38336" y="25846"/>
                    <a:pt x="36027" y="28499"/>
                    <a:pt x="33815" y="31233"/>
                  </a:cubicBezTo>
                  <a:cubicBezTo>
                    <a:pt x="33544" y="31504"/>
                    <a:pt x="33281" y="31773"/>
                    <a:pt x="33044" y="32038"/>
                  </a:cubicBezTo>
                  <a:cubicBezTo>
                    <a:pt x="31898" y="33317"/>
                    <a:pt x="30764" y="34608"/>
                    <a:pt x="29617" y="35884"/>
                  </a:cubicBezTo>
                  <a:cubicBezTo>
                    <a:pt x="28849" y="36730"/>
                    <a:pt x="28070" y="37561"/>
                    <a:pt x="27273" y="38378"/>
                  </a:cubicBezTo>
                  <a:cubicBezTo>
                    <a:pt x="27874" y="37656"/>
                    <a:pt x="28471" y="36935"/>
                    <a:pt x="29063" y="36207"/>
                  </a:cubicBezTo>
                  <a:cubicBezTo>
                    <a:pt x="32588" y="31914"/>
                    <a:pt x="37161" y="28178"/>
                    <a:pt x="39745" y="23207"/>
                  </a:cubicBezTo>
                  <a:close/>
                  <a:moveTo>
                    <a:pt x="38919" y="26276"/>
                  </a:moveTo>
                  <a:lnTo>
                    <a:pt x="38919" y="26276"/>
                  </a:lnTo>
                  <a:cubicBezTo>
                    <a:pt x="38065" y="27431"/>
                    <a:pt x="37268" y="28637"/>
                    <a:pt x="36338" y="29737"/>
                  </a:cubicBezTo>
                  <a:cubicBezTo>
                    <a:pt x="33656" y="32919"/>
                    <a:pt x="30963" y="36089"/>
                    <a:pt x="28217" y="39218"/>
                  </a:cubicBezTo>
                  <a:cubicBezTo>
                    <a:pt x="27980" y="39489"/>
                    <a:pt x="27878" y="39603"/>
                    <a:pt x="27874" y="39603"/>
                  </a:cubicBezTo>
                  <a:cubicBezTo>
                    <a:pt x="27853" y="39603"/>
                    <a:pt x="30352" y="36681"/>
                    <a:pt x="30533" y="36461"/>
                  </a:cubicBezTo>
                  <a:cubicBezTo>
                    <a:pt x="31130" y="35742"/>
                    <a:pt x="31823" y="34735"/>
                    <a:pt x="32354" y="33990"/>
                  </a:cubicBezTo>
                  <a:cubicBezTo>
                    <a:pt x="34046" y="31637"/>
                    <a:pt x="36650" y="29209"/>
                    <a:pt x="38550" y="26700"/>
                  </a:cubicBezTo>
                  <a:cubicBezTo>
                    <a:pt x="38674" y="26562"/>
                    <a:pt x="38798" y="26417"/>
                    <a:pt x="38919" y="26276"/>
                  </a:cubicBezTo>
                  <a:close/>
                  <a:moveTo>
                    <a:pt x="48665" y="27473"/>
                  </a:moveTo>
                  <a:cubicBezTo>
                    <a:pt x="49060" y="27473"/>
                    <a:pt x="49455" y="27493"/>
                    <a:pt x="49850" y="27532"/>
                  </a:cubicBezTo>
                  <a:cubicBezTo>
                    <a:pt x="45565" y="31140"/>
                    <a:pt x="41743" y="35546"/>
                    <a:pt x="38013" y="39836"/>
                  </a:cubicBezTo>
                  <a:cubicBezTo>
                    <a:pt x="39722" y="37806"/>
                    <a:pt x="41454" y="35800"/>
                    <a:pt x="43259" y="33843"/>
                  </a:cubicBezTo>
                  <a:cubicBezTo>
                    <a:pt x="45066" y="31888"/>
                    <a:pt x="47300" y="29991"/>
                    <a:pt x="48507" y="27589"/>
                  </a:cubicBezTo>
                  <a:cubicBezTo>
                    <a:pt x="48527" y="27555"/>
                    <a:pt x="48530" y="27511"/>
                    <a:pt x="48516" y="27474"/>
                  </a:cubicBezTo>
                  <a:cubicBezTo>
                    <a:pt x="48565" y="27473"/>
                    <a:pt x="48615" y="27473"/>
                    <a:pt x="48665" y="27473"/>
                  </a:cubicBezTo>
                  <a:close/>
                  <a:moveTo>
                    <a:pt x="34771" y="32783"/>
                  </a:moveTo>
                  <a:lnTo>
                    <a:pt x="34771" y="32783"/>
                  </a:lnTo>
                  <a:cubicBezTo>
                    <a:pt x="34560" y="33066"/>
                    <a:pt x="34349" y="33349"/>
                    <a:pt x="34138" y="33623"/>
                  </a:cubicBezTo>
                  <a:cubicBezTo>
                    <a:pt x="33151" y="34899"/>
                    <a:pt x="32239" y="36224"/>
                    <a:pt x="31341" y="37564"/>
                  </a:cubicBezTo>
                  <a:cubicBezTo>
                    <a:pt x="30980" y="37959"/>
                    <a:pt x="30616" y="38358"/>
                    <a:pt x="30253" y="38756"/>
                  </a:cubicBezTo>
                  <a:cubicBezTo>
                    <a:pt x="29554" y="39527"/>
                    <a:pt x="28500" y="40647"/>
                    <a:pt x="27954" y="41464"/>
                  </a:cubicBezTo>
                  <a:cubicBezTo>
                    <a:pt x="29135" y="39695"/>
                    <a:pt x="30489" y="38040"/>
                    <a:pt x="31823" y="36383"/>
                  </a:cubicBezTo>
                  <a:cubicBezTo>
                    <a:pt x="32796" y="35173"/>
                    <a:pt x="33786" y="33978"/>
                    <a:pt x="34771" y="32783"/>
                  </a:cubicBezTo>
                  <a:close/>
                  <a:moveTo>
                    <a:pt x="51159" y="29727"/>
                  </a:moveTo>
                  <a:cubicBezTo>
                    <a:pt x="51208" y="29727"/>
                    <a:pt x="50752" y="30319"/>
                    <a:pt x="49466" y="31888"/>
                  </a:cubicBezTo>
                  <a:cubicBezTo>
                    <a:pt x="45715" y="36461"/>
                    <a:pt x="41223" y="40376"/>
                    <a:pt x="37187" y="44698"/>
                  </a:cubicBezTo>
                  <a:cubicBezTo>
                    <a:pt x="37447" y="44380"/>
                    <a:pt x="37698" y="44057"/>
                    <a:pt x="37961" y="43745"/>
                  </a:cubicBezTo>
                  <a:cubicBezTo>
                    <a:pt x="39208" y="42264"/>
                    <a:pt x="40484" y="40841"/>
                    <a:pt x="41801" y="39455"/>
                  </a:cubicBezTo>
                  <a:cubicBezTo>
                    <a:pt x="43004" y="38268"/>
                    <a:pt x="44237" y="37062"/>
                    <a:pt x="45427" y="35820"/>
                  </a:cubicBezTo>
                  <a:cubicBezTo>
                    <a:pt x="45620" y="35638"/>
                    <a:pt x="45805" y="35451"/>
                    <a:pt x="45998" y="35266"/>
                  </a:cubicBezTo>
                  <a:cubicBezTo>
                    <a:pt x="46841" y="34470"/>
                    <a:pt x="51020" y="29727"/>
                    <a:pt x="51159" y="29727"/>
                  </a:cubicBezTo>
                  <a:close/>
                  <a:moveTo>
                    <a:pt x="51261" y="39302"/>
                  </a:moveTo>
                  <a:lnTo>
                    <a:pt x="51261" y="39305"/>
                  </a:lnTo>
                  <a:cubicBezTo>
                    <a:pt x="51091" y="39686"/>
                    <a:pt x="50863" y="40053"/>
                    <a:pt x="50612" y="40411"/>
                  </a:cubicBezTo>
                  <a:cubicBezTo>
                    <a:pt x="50060" y="40754"/>
                    <a:pt x="49601" y="41378"/>
                    <a:pt x="49220" y="41880"/>
                  </a:cubicBezTo>
                  <a:cubicBezTo>
                    <a:pt x="49093" y="42047"/>
                    <a:pt x="48963" y="42221"/>
                    <a:pt x="48833" y="42400"/>
                  </a:cubicBezTo>
                  <a:cubicBezTo>
                    <a:pt x="47938" y="43234"/>
                    <a:pt x="46963" y="44013"/>
                    <a:pt x="46094" y="44764"/>
                  </a:cubicBezTo>
                  <a:cubicBezTo>
                    <a:pt x="47453" y="43404"/>
                    <a:pt x="48738" y="41995"/>
                    <a:pt x="49812" y="40509"/>
                  </a:cubicBezTo>
                  <a:cubicBezTo>
                    <a:pt x="50499" y="39983"/>
                    <a:pt x="51198" y="39446"/>
                    <a:pt x="51261" y="39302"/>
                  </a:cubicBezTo>
                  <a:close/>
                  <a:moveTo>
                    <a:pt x="45451" y="26309"/>
                  </a:moveTo>
                  <a:cubicBezTo>
                    <a:pt x="45585" y="26309"/>
                    <a:pt x="45384" y="26692"/>
                    <a:pt x="44523" y="27791"/>
                  </a:cubicBezTo>
                  <a:cubicBezTo>
                    <a:pt x="43899" y="28585"/>
                    <a:pt x="43233" y="29345"/>
                    <a:pt x="42545" y="30087"/>
                  </a:cubicBezTo>
                  <a:cubicBezTo>
                    <a:pt x="42690" y="29960"/>
                    <a:pt x="42834" y="29830"/>
                    <a:pt x="42978" y="29700"/>
                  </a:cubicBezTo>
                  <a:lnTo>
                    <a:pt x="42978" y="29700"/>
                  </a:lnTo>
                  <a:cubicBezTo>
                    <a:pt x="40559" y="32422"/>
                    <a:pt x="38200" y="35199"/>
                    <a:pt x="35868" y="37997"/>
                  </a:cubicBezTo>
                  <a:cubicBezTo>
                    <a:pt x="34416" y="39741"/>
                    <a:pt x="32966" y="41487"/>
                    <a:pt x="31523" y="43240"/>
                  </a:cubicBezTo>
                  <a:cubicBezTo>
                    <a:pt x="30501" y="44435"/>
                    <a:pt x="29499" y="45636"/>
                    <a:pt x="28512" y="46846"/>
                  </a:cubicBezTo>
                  <a:lnTo>
                    <a:pt x="28509" y="46846"/>
                  </a:lnTo>
                  <a:cubicBezTo>
                    <a:pt x="31967" y="42449"/>
                    <a:pt x="35484" y="38075"/>
                    <a:pt x="39009" y="33730"/>
                  </a:cubicBezTo>
                  <a:lnTo>
                    <a:pt x="39009" y="33730"/>
                  </a:lnTo>
                  <a:cubicBezTo>
                    <a:pt x="38928" y="33811"/>
                    <a:pt x="38853" y="33892"/>
                    <a:pt x="38775" y="33970"/>
                  </a:cubicBezTo>
                  <a:cubicBezTo>
                    <a:pt x="39387" y="33196"/>
                    <a:pt x="39996" y="32419"/>
                    <a:pt x="40594" y="31634"/>
                  </a:cubicBezTo>
                  <a:cubicBezTo>
                    <a:pt x="41448" y="30494"/>
                    <a:pt x="42323" y="29368"/>
                    <a:pt x="43218" y="28262"/>
                  </a:cubicBezTo>
                  <a:cubicBezTo>
                    <a:pt x="43496" y="27919"/>
                    <a:pt x="45177" y="26309"/>
                    <a:pt x="45451" y="26309"/>
                  </a:cubicBezTo>
                  <a:close/>
                  <a:moveTo>
                    <a:pt x="40464" y="31083"/>
                  </a:moveTo>
                  <a:cubicBezTo>
                    <a:pt x="39098" y="32861"/>
                    <a:pt x="37793" y="34686"/>
                    <a:pt x="36405" y="36383"/>
                  </a:cubicBezTo>
                  <a:cubicBezTo>
                    <a:pt x="33229" y="40275"/>
                    <a:pt x="29329" y="43722"/>
                    <a:pt x="26349" y="47735"/>
                  </a:cubicBezTo>
                  <a:lnTo>
                    <a:pt x="26346" y="47735"/>
                  </a:lnTo>
                  <a:cubicBezTo>
                    <a:pt x="29609" y="43344"/>
                    <a:pt x="33512" y="38774"/>
                    <a:pt x="37178" y="34489"/>
                  </a:cubicBezTo>
                  <a:cubicBezTo>
                    <a:pt x="38195" y="33303"/>
                    <a:pt x="39344" y="32203"/>
                    <a:pt x="40464" y="31083"/>
                  </a:cubicBezTo>
                  <a:close/>
                  <a:moveTo>
                    <a:pt x="39462" y="36398"/>
                  </a:moveTo>
                  <a:lnTo>
                    <a:pt x="39462" y="36398"/>
                  </a:lnTo>
                  <a:cubicBezTo>
                    <a:pt x="38567" y="37648"/>
                    <a:pt x="37681" y="38892"/>
                    <a:pt x="36780" y="40079"/>
                  </a:cubicBezTo>
                  <a:cubicBezTo>
                    <a:pt x="36685" y="40191"/>
                    <a:pt x="36587" y="40304"/>
                    <a:pt x="36491" y="40416"/>
                  </a:cubicBezTo>
                  <a:cubicBezTo>
                    <a:pt x="35637" y="41430"/>
                    <a:pt x="34794" y="42443"/>
                    <a:pt x="33951" y="43456"/>
                  </a:cubicBezTo>
                  <a:cubicBezTo>
                    <a:pt x="32369" y="45180"/>
                    <a:pt x="30703" y="46825"/>
                    <a:pt x="29115" y="48546"/>
                  </a:cubicBezTo>
                  <a:cubicBezTo>
                    <a:pt x="29349" y="48260"/>
                    <a:pt x="29586" y="47977"/>
                    <a:pt x="29820" y="47694"/>
                  </a:cubicBezTo>
                  <a:cubicBezTo>
                    <a:pt x="32981" y="43872"/>
                    <a:pt x="36130" y="40055"/>
                    <a:pt x="39462" y="36398"/>
                  </a:cubicBezTo>
                  <a:close/>
                  <a:moveTo>
                    <a:pt x="47601" y="40916"/>
                  </a:moveTo>
                  <a:cubicBezTo>
                    <a:pt x="46977" y="41663"/>
                    <a:pt x="46362" y="42420"/>
                    <a:pt x="45704" y="43116"/>
                  </a:cubicBezTo>
                  <a:cubicBezTo>
                    <a:pt x="43524" y="45422"/>
                    <a:pt x="41269" y="47593"/>
                    <a:pt x="39110" y="49886"/>
                  </a:cubicBezTo>
                  <a:cubicBezTo>
                    <a:pt x="41394" y="47287"/>
                    <a:pt x="43807" y="44807"/>
                    <a:pt x="46197" y="42307"/>
                  </a:cubicBezTo>
                  <a:cubicBezTo>
                    <a:pt x="46642" y="41837"/>
                    <a:pt x="47118" y="41378"/>
                    <a:pt x="47601" y="40916"/>
                  </a:cubicBezTo>
                  <a:close/>
                  <a:moveTo>
                    <a:pt x="50764" y="28467"/>
                  </a:moveTo>
                  <a:cubicBezTo>
                    <a:pt x="50889" y="28467"/>
                    <a:pt x="50535" y="29024"/>
                    <a:pt x="49113" y="30673"/>
                  </a:cubicBezTo>
                  <a:cubicBezTo>
                    <a:pt x="48086" y="31868"/>
                    <a:pt x="46991" y="33014"/>
                    <a:pt x="45935" y="34186"/>
                  </a:cubicBezTo>
                  <a:cubicBezTo>
                    <a:pt x="43273" y="37145"/>
                    <a:pt x="40571" y="40067"/>
                    <a:pt x="37863" y="42983"/>
                  </a:cubicBezTo>
                  <a:cubicBezTo>
                    <a:pt x="35723" y="45290"/>
                    <a:pt x="33535" y="47576"/>
                    <a:pt x="31578" y="50044"/>
                  </a:cubicBezTo>
                  <a:cubicBezTo>
                    <a:pt x="32389" y="48878"/>
                    <a:pt x="33180" y="47744"/>
                    <a:pt x="33988" y="46722"/>
                  </a:cubicBezTo>
                  <a:cubicBezTo>
                    <a:pt x="38778" y="40641"/>
                    <a:pt x="44546" y="35555"/>
                    <a:pt x="49503" y="29651"/>
                  </a:cubicBezTo>
                  <a:lnTo>
                    <a:pt x="49503" y="29648"/>
                  </a:lnTo>
                  <a:cubicBezTo>
                    <a:pt x="50004" y="29052"/>
                    <a:pt x="50635" y="28467"/>
                    <a:pt x="50764" y="28467"/>
                  </a:cubicBezTo>
                  <a:close/>
                  <a:moveTo>
                    <a:pt x="51865" y="35768"/>
                  </a:moveTo>
                  <a:lnTo>
                    <a:pt x="51865" y="35768"/>
                  </a:lnTo>
                  <a:cubicBezTo>
                    <a:pt x="51287" y="37018"/>
                    <a:pt x="49399" y="38548"/>
                    <a:pt x="48420" y="39536"/>
                  </a:cubicBezTo>
                  <a:cubicBezTo>
                    <a:pt x="44800" y="43194"/>
                    <a:pt x="41275" y="46932"/>
                    <a:pt x="37903" y="50818"/>
                  </a:cubicBezTo>
                  <a:cubicBezTo>
                    <a:pt x="40213" y="48055"/>
                    <a:pt x="42545" y="45316"/>
                    <a:pt x="44939" y="42610"/>
                  </a:cubicBezTo>
                  <a:cubicBezTo>
                    <a:pt x="46004" y="41407"/>
                    <a:pt x="46960" y="40102"/>
                    <a:pt x="47961" y="38846"/>
                  </a:cubicBezTo>
                  <a:cubicBezTo>
                    <a:pt x="48360" y="38456"/>
                    <a:pt x="48767" y="38055"/>
                    <a:pt x="49177" y="37648"/>
                  </a:cubicBezTo>
                  <a:cubicBezTo>
                    <a:pt x="50213" y="36868"/>
                    <a:pt x="51862" y="35771"/>
                    <a:pt x="51865" y="35768"/>
                  </a:cubicBezTo>
                  <a:close/>
                  <a:moveTo>
                    <a:pt x="38457" y="37076"/>
                  </a:moveTo>
                  <a:lnTo>
                    <a:pt x="38457" y="37076"/>
                  </a:lnTo>
                  <a:cubicBezTo>
                    <a:pt x="33954" y="42099"/>
                    <a:pt x="29759" y="47414"/>
                    <a:pt x="25359" y="52539"/>
                  </a:cubicBezTo>
                  <a:cubicBezTo>
                    <a:pt x="25355" y="52539"/>
                    <a:pt x="25350" y="52540"/>
                    <a:pt x="25347" y="52540"/>
                  </a:cubicBezTo>
                  <a:cubicBezTo>
                    <a:pt x="25255" y="52540"/>
                    <a:pt x="25287" y="52410"/>
                    <a:pt x="25498" y="52091"/>
                  </a:cubicBezTo>
                  <a:cubicBezTo>
                    <a:pt x="27028" y="49788"/>
                    <a:pt x="28751" y="47619"/>
                    <a:pt x="30492" y="45477"/>
                  </a:cubicBezTo>
                  <a:cubicBezTo>
                    <a:pt x="32877" y="42535"/>
                    <a:pt x="35689" y="39824"/>
                    <a:pt x="38457" y="37076"/>
                  </a:cubicBezTo>
                  <a:close/>
                  <a:moveTo>
                    <a:pt x="45672" y="38092"/>
                  </a:moveTo>
                  <a:lnTo>
                    <a:pt x="45672" y="38092"/>
                  </a:lnTo>
                  <a:cubicBezTo>
                    <a:pt x="43438" y="40728"/>
                    <a:pt x="41269" y="43433"/>
                    <a:pt x="38980" y="45942"/>
                  </a:cubicBezTo>
                  <a:lnTo>
                    <a:pt x="38977" y="45942"/>
                  </a:lnTo>
                  <a:cubicBezTo>
                    <a:pt x="36457" y="48705"/>
                    <a:pt x="33948" y="51479"/>
                    <a:pt x="31425" y="54242"/>
                  </a:cubicBezTo>
                  <a:cubicBezTo>
                    <a:pt x="33688" y="51528"/>
                    <a:pt x="35937" y="48806"/>
                    <a:pt x="38290" y="46153"/>
                  </a:cubicBezTo>
                  <a:cubicBezTo>
                    <a:pt x="40709" y="43430"/>
                    <a:pt x="43215" y="40783"/>
                    <a:pt x="45672" y="38092"/>
                  </a:cubicBezTo>
                  <a:close/>
                  <a:moveTo>
                    <a:pt x="36402" y="45099"/>
                  </a:moveTo>
                  <a:lnTo>
                    <a:pt x="36402" y="45099"/>
                  </a:lnTo>
                  <a:cubicBezTo>
                    <a:pt x="33847" y="48153"/>
                    <a:pt x="31529" y="51416"/>
                    <a:pt x="28919" y="54421"/>
                  </a:cubicBezTo>
                  <a:lnTo>
                    <a:pt x="28922" y="54421"/>
                  </a:lnTo>
                  <a:cubicBezTo>
                    <a:pt x="28422" y="54996"/>
                    <a:pt x="27853" y="55527"/>
                    <a:pt x="27262" y="56047"/>
                  </a:cubicBezTo>
                  <a:cubicBezTo>
                    <a:pt x="30325" y="52415"/>
                    <a:pt x="33249" y="48676"/>
                    <a:pt x="36402" y="45099"/>
                  </a:cubicBezTo>
                  <a:close/>
                  <a:moveTo>
                    <a:pt x="35905" y="43878"/>
                  </a:moveTo>
                  <a:lnTo>
                    <a:pt x="35905" y="43878"/>
                  </a:lnTo>
                  <a:cubicBezTo>
                    <a:pt x="32102" y="48671"/>
                    <a:pt x="28737" y="54690"/>
                    <a:pt x="23971" y="58300"/>
                  </a:cubicBezTo>
                  <a:lnTo>
                    <a:pt x="23971" y="58300"/>
                  </a:lnTo>
                  <a:cubicBezTo>
                    <a:pt x="26099" y="56687"/>
                    <a:pt x="27945" y="53210"/>
                    <a:pt x="29638" y="51095"/>
                  </a:cubicBezTo>
                  <a:cubicBezTo>
                    <a:pt x="31633" y="48604"/>
                    <a:pt x="33760" y="46236"/>
                    <a:pt x="35905" y="43878"/>
                  </a:cubicBezTo>
                  <a:close/>
                  <a:moveTo>
                    <a:pt x="50926" y="38378"/>
                  </a:moveTo>
                  <a:lnTo>
                    <a:pt x="50926" y="38381"/>
                  </a:lnTo>
                  <a:cubicBezTo>
                    <a:pt x="50762" y="38730"/>
                    <a:pt x="50577" y="39071"/>
                    <a:pt x="50366" y="39397"/>
                  </a:cubicBezTo>
                  <a:cubicBezTo>
                    <a:pt x="47476" y="41805"/>
                    <a:pt x="44832" y="44689"/>
                    <a:pt x="42343" y="47640"/>
                  </a:cubicBezTo>
                  <a:cubicBezTo>
                    <a:pt x="40250" y="49816"/>
                    <a:pt x="38157" y="51996"/>
                    <a:pt x="36107" y="54219"/>
                  </a:cubicBezTo>
                  <a:cubicBezTo>
                    <a:pt x="34742" y="55700"/>
                    <a:pt x="33437" y="57236"/>
                    <a:pt x="32164" y="58795"/>
                  </a:cubicBezTo>
                  <a:cubicBezTo>
                    <a:pt x="33321" y="57291"/>
                    <a:pt x="34453" y="55795"/>
                    <a:pt x="35594" y="54418"/>
                  </a:cubicBezTo>
                  <a:cubicBezTo>
                    <a:pt x="38120" y="51378"/>
                    <a:pt x="40680" y="48483"/>
                    <a:pt x="43518" y="45725"/>
                  </a:cubicBezTo>
                  <a:cubicBezTo>
                    <a:pt x="44728" y="44550"/>
                    <a:pt x="45891" y="43329"/>
                    <a:pt x="47049" y="42099"/>
                  </a:cubicBezTo>
                  <a:cubicBezTo>
                    <a:pt x="47719" y="41401"/>
                    <a:pt x="48348" y="40662"/>
                    <a:pt x="48934" y="39891"/>
                  </a:cubicBezTo>
                  <a:cubicBezTo>
                    <a:pt x="49376" y="39100"/>
                    <a:pt x="50040" y="38595"/>
                    <a:pt x="50926" y="38378"/>
                  </a:cubicBezTo>
                  <a:close/>
                  <a:moveTo>
                    <a:pt x="52491" y="28481"/>
                  </a:moveTo>
                  <a:cubicBezTo>
                    <a:pt x="52667" y="28629"/>
                    <a:pt x="52829" y="28799"/>
                    <a:pt x="52970" y="28984"/>
                  </a:cubicBezTo>
                  <a:cubicBezTo>
                    <a:pt x="52942" y="28987"/>
                    <a:pt x="52918" y="28998"/>
                    <a:pt x="52898" y="29018"/>
                  </a:cubicBezTo>
                  <a:cubicBezTo>
                    <a:pt x="47782" y="34911"/>
                    <a:pt x="41881" y="40041"/>
                    <a:pt x="36907" y="46057"/>
                  </a:cubicBezTo>
                  <a:lnTo>
                    <a:pt x="36907" y="46055"/>
                  </a:lnTo>
                  <a:cubicBezTo>
                    <a:pt x="34600" y="48843"/>
                    <a:pt x="32216" y="51566"/>
                    <a:pt x="29955" y="54389"/>
                  </a:cubicBezTo>
                  <a:cubicBezTo>
                    <a:pt x="29011" y="55564"/>
                    <a:pt x="28056" y="56725"/>
                    <a:pt x="27071" y="57865"/>
                  </a:cubicBezTo>
                  <a:cubicBezTo>
                    <a:pt x="26741" y="58251"/>
                    <a:pt x="23985" y="60925"/>
                    <a:pt x="23972" y="60925"/>
                  </a:cubicBezTo>
                  <a:cubicBezTo>
                    <a:pt x="23968" y="60925"/>
                    <a:pt x="24203" y="60691"/>
                    <a:pt x="24811" y="60097"/>
                  </a:cubicBezTo>
                  <a:cubicBezTo>
                    <a:pt x="29811" y="55201"/>
                    <a:pt x="33330" y="49337"/>
                    <a:pt x="38056" y="44204"/>
                  </a:cubicBezTo>
                  <a:cubicBezTo>
                    <a:pt x="42895" y="38947"/>
                    <a:pt x="48302" y="34316"/>
                    <a:pt x="52491" y="28481"/>
                  </a:cubicBezTo>
                  <a:close/>
                  <a:moveTo>
                    <a:pt x="36145" y="56202"/>
                  </a:moveTo>
                  <a:lnTo>
                    <a:pt x="36145" y="56202"/>
                  </a:lnTo>
                  <a:cubicBezTo>
                    <a:pt x="35533" y="56979"/>
                    <a:pt x="34924" y="57759"/>
                    <a:pt x="34329" y="58555"/>
                  </a:cubicBezTo>
                  <a:cubicBezTo>
                    <a:pt x="32490" y="61030"/>
                    <a:pt x="30388" y="63192"/>
                    <a:pt x="28292" y="65357"/>
                  </a:cubicBezTo>
                  <a:cubicBezTo>
                    <a:pt x="28543" y="65014"/>
                    <a:pt x="28795" y="64673"/>
                    <a:pt x="29043" y="64324"/>
                  </a:cubicBezTo>
                  <a:cubicBezTo>
                    <a:pt x="31546" y="61771"/>
                    <a:pt x="33873" y="59011"/>
                    <a:pt x="36145" y="56202"/>
                  </a:cubicBezTo>
                  <a:close/>
                  <a:moveTo>
                    <a:pt x="45279" y="41626"/>
                  </a:moveTo>
                  <a:lnTo>
                    <a:pt x="45279" y="41626"/>
                  </a:lnTo>
                  <a:cubicBezTo>
                    <a:pt x="43025" y="44351"/>
                    <a:pt x="40643" y="46973"/>
                    <a:pt x="38330" y="49649"/>
                  </a:cubicBezTo>
                  <a:cubicBezTo>
                    <a:pt x="36237" y="52074"/>
                    <a:pt x="34355" y="54762"/>
                    <a:pt x="32297" y="57265"/>
                  </a:cubicBezTo>
                  <a:cubicBezTo>
                    <a:pt x="30743" y="58957"/>
                    <a:pt x="29147" y="60594"/>
                    <a:pt x="27493" y="62196"/>
                  </a:cubicBezTo>
                  <a:cubicBezTo>
                    <a:pt x="27288" y="62384"/>
                    <a:pt x="27088" y="62577"/>
                    <a:pt x="26889" y="62773"/>
                  </a:cubicBezTo>
                  <a:cubicBezTo>
                    <a:pt x="26061" y="63567"/>
                    <a:pt x="25223" y="64358"/>
                    <a:pt x="24363" y="65149"/>
                  </a:cubicBezTo>
                  <a:cubicBezTo>
                    <a:pt x="23635" y="65819"/>
                    <a:pt x="23337" y="66083"/>
                    <a:pt x="23321" y="66083"/>
                  </a:cubicBezTo>
                  <a:cubicBezTo>
                    <a:pt x="23267" y="66083"/>
                    <a:pt x="26645" y="62857"/>
                    <a:pt x="27111" y="62343"/>
                  </a:cubicBezTo>
                  <a:cubicBezTo>
                    <a:pt x="29508" y="59699"/>
                    <a:pt x="31843" y="57002"/>
                    <a:pt x="34115" y="54251"/>
                  </a:cubicBezTo>
                  <a:cubicBezTo>
                    <a:pt x="37718" y="49880"/>
                    <a:pt x="41440" y="45763"/>
                    <a:pt x="45279" y="41626"/>
                  </a:cubicBezTo>
                  <a:close/>
                  <a:moveTo>
                    <a:pt x="35137" y="54433"/>
                  </a:moveTo>
                  <a:lnTo>
                    <a:pt x="35137" y="54433"/>
                  </a:lnTo>
                  <a:cubicBezTo>
                    <a:pt x="32963" y="57031"/>
                    <a:pt x="30787" y="59621"/>
                    <a:pt x="28691" y="62291"/>
                  </a:cubicBezTo>
                  <a:cubicBezTo>
                    <a:pt x="27524" y="63778"/>
                    <a:pt x="26240" y="65169"/>
                    <a:pt x="24851" y="66451"/>
                  </a:cubicBezTo>
                  <a:cubicBezTo>
                    <a:pt x="24334" y="66929"/>
                    <a:pt x="24066" y="67115"/>
                    <a:pt x="23963" y="67115"/>
                  </a:cubicBezTo>
                  <a:cubicBezTo>
                    <a:pt x="23636" y="67115"/>
                    <a:pt x="24979" y="65234"/>
                    <a:pt x="25238" y="64941"/>
                  </a:cubicBezTo>
                  <a:lnTo>
                    <a:pt x="25238" y="64941"/>
                  </a:lnTo>
                  <a:cubicBezTo>
                    <a:pt x="25221" y="64962"/>
                    <a:pt x="25212" y="64988"/>
                    <a:pt x="25212" y="65014"/>
                  </a:cubicBezTo>
                  <a:cubicBezTo>
                    <a:pt x="25088" y="65276"/>
                    <a:pt x="24998" y="65553"/>
                    <a:pt x="24943" y="65839"/>
                  </a:cubicBezTo>
                  <a:cubicBezTo>
                    <a:pt x="24923" y="65963"/>
                    <a:pt x="25027" y="66043"/>
                    <a:pt x="25121" y="66043"/>
                  </a:cubicBezTo>
                  <a:cubicBezTo>
                    <a:pt x="25183" y="66043"/>
                    <a:pt x="25241" y="66008"/>
                    <a:pt x="25255" y="65926"/>
                  </a:cubicBezTo>
                  <a:cubicBezTo>
                    <a:pt x="25567" y="64121"/>
                    <a:pt x="27724" y="62545"/>
                    <a:pt x="28988" y="61327"/>
                  </a:cubicBezTo>
                  <a:cubicBezTo>
                    <a:pt x="30429" y="59935"/>
                    <a:pt x="31673" y="58376"/>
                    <a:pt x="32937" y="56826"/>
                  </a:cubicBezTo>
                  <a:cubicBezTo>
                    <a:pt x="33677" y="56038"/>
                    <a:pt x="34410" y="55241"/>
                    <a:pt x="35137" y="54433"/>
                  </a:cubicBezTo>
                  <a:close/>
                  <a:moveTo>
                    <a:pt x="39615" y="50942"/>
                  </a:moveTo>
                  <a:lnTo>
                    <a:pt x="38284" y="52585"/>
                  </a:lnTo>
                  <a:cubicBezTo>
                    <a:pt x="38073" y="52845"/>
                    <a:pt x="37868" y="53110"/>
                    <a:pt x="37658" y="53373"/>
                  </a:cubicBezTo>
                  <a:cubicBezTo>
                    <a:pt x="35022" y="56306"/>
                    <a:pt x="32484" y="59332"/>
                    <a:pt x="30079" y="62334"/>
                  </a:cubicBezTo>
                  <a:cubicBezTo>
                    <a:pt x="29822" y="62658"/>
                    <a:pt x="29580" y="62990"/>
                    <a:pt x="29329" y="63319"/>
                  </a:cubicBezTo>
                  <a:cubicBezTo>
                    <a:pt x="27533" y="65025"/>
                    <a:pt x="25613" y="66575"/>
                    <a:pt x="23988" y="68244"/>
                  </a:cubicBezTo>
                  <a:cubicBezTo>
                    <a:pt x="29060" y="63036"/>
                    <a:pt x="33567" y="57377"/>
                    <a:pt x="38544" y="52045"/>
                  </a:cubicBezTo>
                  <a:cubicBezTo>
                    <a:pt x="38888" y="51678"/>
                    <a:pt x="39248" y="51312"/>
                    <a:pt x="39615" y="50942"/>
                  </a:cubicBezTo>
                  <a:close/>
                  <a:moveTo>
                    <a:pt x="42456" y="49352"/>
                  </a:moveTo>
                  <a:lnTo>
                    <a:pt x="42456" y="49354"/>
                  </a:lnTo>
                  <a:lnTo>
                    <a:pt x="42644" y="50021"/>
                  </a:lnTo>
                  <a:cubicBezTo>
                    <a:pt x="41997" y="51075"/>
                    <a:pt x="41235" y="52051"/>
                    <a:pt x="40372" y="52937"/>
                  </a:cubicBezTo>
                  <a:cubicBezTo>
                    <a:pt x="39543" y="53852"/>
                    <a:pt x="38634" y="54701"/>
                    <a:pt x="37776" y="55587"/>
                  </a:cubicBezTo>
                  <a:cubicBezTo>
                    <a:pt x="35539" y="57900"/>
                    <a:pt x="33685" y="60674"/>
                    <a:pt x="31670" y="63183"/>
                  </a:cubicBezTo>
                  <a:cubicBezTo>
                    <a:pt x="30541" y="64592"/>
                    <a:pt x="29372" y="65986"/>
                    <a:pt x="28185" y="67361"/>
                  </a:cubicBezTo>
                  <a:cubicBezTo>
                    <a:pt x="27215" y="68146"/>
                    <a:pt x="26179" y="68853"/>
                    <a:pt x="25189" y="69613"/>
                  </a:cubicBezTo>
                  <a:cubicBezTo>
                    <a:pt x="24761" y="69939"/>
                    <a:pt x="24294" y="70300"/>
                    <a:pt x="23890" y="70713"/>
                  </a:cubicBezTo>
                  <a:cubicBezTo>
                    <a:pt x="24776" y="69774"/>
                    <a:pt x="25619" y="68816"/>
                    <a:pt x="26416" y="67823"/>
                  </a:cubicBezTo>
                  <a:cubicBezTo>
                    <a:pt x="27400" y="66905"/>
                    <a:pt x="28474" y="65926"/>
                    <a:pt x="29271" y="65164"/>
                  </a:cubicBezTo>
                  <a:cubicBezTo>
                    <a:pt x="34205" y="60449"/>
                    <a:pt x="37791" y="54361"/>
                    <a:pt x="42456" y="49352"/>
                  </a:cubicBezTo>
                  <a:close/>
                  <a:moveTo>
                    <a:pt x="18508" y="0"/>
                  </a:moveTo>
                  <a:cubicBezTo>
                    <a:pt x="18472" y="0"/>
                    <a:pt x="18437" y="14"/>
                    <a:pt x="18410" y="47"/>
                  </a:cubicBezTo>
                  <a:cubicBezTo>
                    <a:pt x="17942" y="622"/>
                    <a:pt x="17960" y="951"/>
                    <a:pt x="18084" y="1676"/>
                  </a:cubicBezTo>
                  <a:cubicBezTo>
                    <a:pt x="18144" y="2036"/>
                    <a:pt x="18427" y="2620"/>
                    <a:pt x="18566" y="2946"/>
                  </a:cubicBezTo>
                  <a:cubicBezTo>
                    <a:pt x="18220" y="3072"/>
                    <a:pt x="17917" y="3135"/>
                    <a:pt x="17656" y="3135"/>
                  </a:cubicBezTo>
                  <a:cubicBezTo>
                    <a:pt x="17140" y="3135"/>
                    <a:pt x="16791" y="2888"/>
                    <a:pt x="16609" y="2397"/>
                  </a:cubicBezTo>
                  <a:cubicBezTo>
                    <a:pt x="16493" y="2146"/>
                    <a:pt x="16380" y="1898"/>
                    <a:pt x="16271" y="1647"/>
                  </a:cubicBezTo>
                  <a:cubicBezTo>
                    <a:pt x="15915" y="845"/>
                    <a:pt x="15291" y="235"/>
                    <a:pt x="14600" y="235"/>
                  </a:cubicBezTo>
                  <a:cubicBezTo>
                    <a:pt x="14249" y="235"/>
                    <a:pt x="13880" y="392"/>
                    <a:pt x="13519" y="763"/>
                  </a:cubicBezTo>
                  <a:cubicBezTo>
                    <a:pt x="12929" y="1370"/>
                    <a:pt x="12390" y="1570"/>
                    <a:pt x="11791" y="1570"/>
                  </a:cubicBezTo>
                  <a:cubicBezTo>
                    <a:pt x="11326" y="1570"/>
                    <a:pt x="10826" y="1450"/>
                    <a:pt x="10237" y="1306"/>
                  </a:cubicBezTo>
                  <a:cubicBezTo>
                    <a:pt x="10211" y="1300"/>
                    <a:pt x="10182" y="1297"/>
                    <a:pt x="10153" y="1297"/>
                  </a:cubicBezTo>
                  <a:cubicBezTo>
                    <a:pt x="9796" y="1297"/>
                    <a:pt x="9215" y="1727"/>
                    <a:pt x="8978" y="1860"/>
                  </a:cubicBezTo>
                  <a:cubicBezTo>
                    <a:pt x="7457" y="2715"/>
                    <a:pt x="5369" y="4254"/>
                    <a:pt x="4884" y="6032"/>
                  </a:cubicBezTo>
                  <a:cubicBezTo>
                    <a:pt x="4838" y="6202"/>
                    <a:pt x="4806" y="6379"/>
                    <a:pt x="4789" y="6555"/>
                  </a:cubicBezTo>
                  <a:cubicBezTo>
                    <a:pt x="4246" y="7087"/>
                    <a:pt x="1928" y="9139"/>
                    <a:pt x="1802" y="9139"/>
                  </a:cubicBezTo>
                  <a:cubicBezTo>
                    <a:pt x="1761" y="9139"/>
                    <a:pt x="1950" y="8924"/>
                    <a:pt x="2503" y="8373"/>
                  </a:cubicBezTo>
                  <a:cubicBezTo>
                    <a:pt x="3744" y="7135"/>
                    <a:pt x="4653" y="6130"/>
                    <a:pt x="5404" y="4531"/>
                  </a:cubicBezTo>
                  <a:cubicBezTo>
                    <a:pt x="5456" y="4419"/>
                    <a:pt x="5367" y="4297"/>
                    <a:pt x="5267" y="4297"/>
                  </a:cubicBezTo>
                  <a:cubicBezTo>
                    <a:pt x="5232" y="4297"/>
                    <a:pt x="5196" y="4311"/>
                    <a:pt x="5164" y="4346"/>
                  </a:cubicBezTo>
                  <a:cubicBezTo>
                    <a:pt x="4304" y="5284"/>
                    <a:pt x="3031" y="7294"/>
                    <a:pt x="1925" y="8567"/>
                  </a:cubicBezTo>
                  <a:cubicBezTo>
                    <a:pt x="2855" y="7735"/>
                    <a:pt x="3787" y="6829"/>
                    <a:pt x="4339" y="5974"/>
                  </a:cubicBezTo>
                  <a:lnTo>
                    <a:pt x="4339" y="5974"/>
                  </a:lnTo>
                  <a:cubicBezTo>
                    <a:pt x="3259" y="7759"/>
                    <a:pt x="1195" y="9052"/>
                    <a:pt x="69" y="10839"/>
                  </a:cubicBezTo>
                  <a:cubicBezTo>
                    <a:pt x="1" y="10950"/>
                    <a:pt x="100" y="11076"/>
                    <a:pt x="211" y="11076"/>
                  </a:cubicBezTo>
                  <a:cubicBezTo>
                    <a:pt x="236" y="11076"/>
                    <a:pt x="261" y="11070"/>
                    <a:pt x="285" y="11055"/>
                  </a:cubicBezTo>
                  <a:cubicBezTo>
                    <a:pt x="1495" y="10354"/>
                    <a:pt x="2332" y="9600"/>
                    <a:pt x="3311" y="8576"/>
                  </a:cubicBezTo>
                  <a:cubicBezTo>
                    <a:pt x="3917" y="7940"/>
                    <a:pt x="4167" y="7687"/>
                    <a:pt x="4181" y="7687"/>
                  </a:cubicBezTo>
                  <a:cubicBezTo>
                    <a:pt x="4233" y="7687"/>
                    <a:pt x="1057" y="11142"/>
                    <a:pt x="632" y="11558"/>
                  </a:cubicBezTo>
                  <a:cubicBezTo>
                    <a:pt x="512" y="11675"/>
                    <a:pt x="622" y="11826"/>
                    <a:pt x="751" y="11826"/>
                  </a:cubicBezTo>
                  <a:cubicBezTo>
                    <a:pt x="787" y="11826"/>
                    <a:pt x="825" y="11814"/>
                    <a:pt x="860" y="11786"/>
                  </a:cubicBezTo>
                  <a:cubicBezTo>
                    <a:pt x="1943" y="10934"/>
                    <a:pt x="3002" y="10062"/>
                    <a:pt x="4059" y="9182"/>
                  </a:cubicBezTo>
                  <a:lnTo>
                    <a:pt x="4059" y="9182"/>
                  </a:lnTo>
                  <a:cubicBezTo>
                    <a:pt x="3022" y="10048"/>
                    <a:pt x="2119" y="11532"/>
                    <a:pt x="1359" y="12669"/>
                  </a:cubicBezTo>
                  <a:cubicBezTo>
                    <a:pt x="1284" y="12784"/>
                    <a:pt x="1396" y="12915"/>
                    <a:pt x="1509" y="12915"/>
                  </a:cubicBezTo>
                  <a:cubicBezTo>
                    <a:pt x="1547" y="12915"/>
                    <a:pt x="1585" y="12900"/>
                    <a:pt x="1616" y="12866"/>
                  </a:cubicBezTo>
                  <a:cubicBezTo>
                    <a:pt x="2361" y="12019"/>
                    <a:pt x="4416" y="9962"/>
                    <a:pt x="4720" y="9962"/>
                  </a:cubicBezTo>
                  <a:cubicBezTo>
                    <a:pt x="4892" y="9962"/>
                    <a:pt x="4504" y="10620"/>
                    <a:pt x="3002" y="12528"/>
                  </a:cubicBezTo>
                  <a:cubicBezTo>
                    <a:pt x="2902" y="12652"/>
                    <a:pt x="2995" y="12802"/>
                    <a:pt x="3118" y="12802"/>
                  </a:cubicBezTo>
                  <a:cubicBezTo>
                    <a:pt x="3155" y="12802"/>
                    <a:pt x="3195" y="12788"/>
                    <a:pt x="3233" y="12756"/>
                  </a:cubicBezTo>
                  <a:cubicBezTo>
                    <a:pt x="4152" y="11974"/>
                    <a:pt x="4977" y="11147"/>
                    <a:pt x="5811" y="10269"/>
                  </a:cubicBezTo>
                  <a:lnTo>
                    <a:pt x="5811" y="10269"/>
                  </a:lnTo>
                  <a:cubicBezTo>
                    <a:pt x="5023" y="11103"/>
                    <a:pt x="4431" y="12345"/>
                    <a:pt x="3839" y="13316"/>
                  </a:cubicBezTo>
                  <a:cubicBezTo>
                    <a:pt x="3766" y="13435"/>
                    <a:pt x="3872" y="13558"/>
                    <a:pt x="3985" y="13558"/>
                  </a:cubicBezTo>
                  <a:cubicBezTo>
                    <a:pt x="4023" y="13558"/>
                    <a:pt x="4061" y="13544"/>
                    <a:pt x="4093" y="13512"/>
                  </a:cubicBezTo>
                  <a:cubicBezTo>
                    <a:pt x="5024" y="12608"/>
                    <a:pt x="5903" y="11677"/>
                    <a:pt x="6770" y="10715"/>
                  </a:cubicBezTo>
                  <a:lnTo>
                    <a:pt x="6770" y="10715"/>
                  </a:lnTo>
                  <a:cubicBezTo>
                    <a:pt x="6080" y="11481"/>
                    <a:pt x="5556" y="12400"/>
                    <a:pt x="5023" y="13316"/>
                  </a:cubicBezTo>
                  <a:cubicBezTo>
                    <a:pt x="4954" y="13437"/>
                    <a:pt x="5056" y="13557"/>
                    <a:pt x="5169" y="13557"/>
                  </a:cubicBezTo>
                  <a:cubicBezTo>
                    <a:pt x="5207" y="13557"/>
                    <a:pt x="5246" y="13543"/>
                    <a:pt x="5280" y="13512"/>
                  </a:cubicBezTo>
                  <a:cubicBezTo>
                    <a:pt x="6767" y="12132"/>
                    <a:pt x="8057" y="10617"/>
                    <a:pt x="9397" y="9095"/>
                  </a:cubicBezTo>
                  <a:cubicBezTo>
                    <a:pt x="9406" y="9085"/>
                    <a:pt x="9411" y="9081"/>
                    <a:pt x="9412" y="9081"/>
                  </a:cubicBezTo>
                  <a:cubicBezTo>
                    <a:pt x="9438" y="9081"/>
                    <a:pt x="8635" y="10227"/>
                    <a:pt x="8005" y="11177"/>
                  </a:cubicBezTo>
                  <a:cubicBezTo>
                    <a:pt x="7416" y="11867"/>
                    <a:pt x="6845" y="12568"/>
                    <a:pt x="6314" y="13313"/>
                  </a:cubicBezTo>
                  <a:cubicBezTo>
                    <a:pt x="6231" y="13431"/>
                    <a:pt x="6349" y="13560"/>
                    <a:pt x="6467" y="13560"/>
                  </a:cubicBezTo>
                  <a:cubicBezTo>
                    <a:pt x="6504" y="13560"/>
                    <a:pt x="6542" y="13547"/>
                    <a:pt x="6573" y="13515"/>
                  </a:cubicBezTo>
                  <a:cubicBezTo>
                    <a:pt x="7532" y="12548"/>
                    <a:pt x="8389" y="11486"/>
                    <a:pt x="9137" y="10351"/>
                  </a:cubicBezTo>
                  <a:cubicBezTo>
                    <a:pt x="9905" y="9543"/>
                    <a:pt x="10739" y="8726"/>
                    <a:pt x="11233" y="8013"/>
                  </a:cubicBezTo>
                  <a:lnTo>
                    <a:pt x="11233" y="8013"/>
                  </a:lnTo>
                  <a:cubicBezTo>
                    <a:pt x="9865" y="9999"/>
                    <a:pt x="8251" y="11702"/>
                    <a:pt x="6969" y="13749"/>
                  </a:cubicBezTo>
                  <a:cubicBezTo>
                    <a:pt x="6898" y="13861"/>
                    <a:pt x="7005" y="13989"/>
                    <a:pt x="7114" y="13989"/>
                  </a:cubicBezTo>
                  <a:cubicBezTo>
                    <a:pt x="7150" y="13989"/>
                    <a:pt x="7187" y="13975"/>
                    <a:pt x="7217" y="13940"/>
                  </a:cubicBezTo>
                  <a:cubicBezTo>
                    <a:pt x="8741" y="12159"/>
                    <a:pt x="10156" y="10294"/>
                    <a:pt x="11720" y="8547"/>
                  </a:cubicBezTo>
                  <a:lnTo>
                    <a:pt x="11720" y="8547"/>
                  </a:lnTo>
                  <a:cubicBezTo>
                    <a:pt x="10701" y="9685"/>
                    <a:pt x="9353" y="11838"/>
                    <a:pt x="8262" y="13316"/>
                  </a:cubicBezTo>
                  <a:cubicBezTo>
                    <a:pt x="8179" y="13430"/>
                    <a:pt x="8292" y="13549"/>
                    <a:pt x="8407" y="13549"/>
                  </a:cubicBezTo>
                  <a:cubicBezTo>
                    <a:pt x="8443" y="13549"/>
                    <a:pt x="8480" y="13537"/>
                    <a:pt x="8511" y="13509"/>
                  </a:cubicBezTo>
                  <a:cubicBezTo>
                    <a:pt x="9806" y="12307"/>
                    <a:pt x="10882" y="10966"/>
                    <a:pt x="12012" y="9616"/>
                  </a:cubicBezTo>
                  <a:lnTo>
                    <a:pt x="12012" y="9616"/>
                  </a:lnTo>
                  <a:cubicBezTo>
                    <a:pt x="10954" y="10880"/>
                    <a:pt x="9976" y="12544"/>
                    <a:pt x="9010" y="13960"/>
                  </a:cubicBezTo>
                  <a:cubicBezTo>
                    <a:pt x="8928" y="14077"/>
                    <a:pt x="9047" y="14213"/>
                    <a:pt x="9163" y="14213"/>
                  </a:cubicBezTo>
                  <a:cubicBezTo>
                    <a:pt x="9201" y="14213"/>
                    <a:pt x="9239" y="14198"/>
                    <a:pt x="9270" y="14162"/>
                  </a:cubicBezTo>
                  <a:cubicBezTo>
                    <a:pt x="10196" y="13074"/>
                    <a:pt x="11132" y="11991"/>
                    <a:pt x="12076" y="10920"/>
                  </a:cubicBezTo>
                  <a:lnTo>
                    <a:pt x="12076" y="10920"/>
                  </a:lnTo>
                  <a:cubicBezTo>
                    <a:pt x="11645" y="11409"/>
                    <a:pt x="10502" y="13475"/>
                    <a:pt x="9867" y="14387"/>
                  </a:cubicBezTo>
                  <a:cubicBezTo>
                    <a:pt x="9785" y="14508"/>
                    <a:pt x="9904" y="14646"/>
                    <a:pt x="10024" y="14646"/>
                  </a:cubicBezTo>
                  <a:cubicBezTo>
                    <a:pt x="10064" y="14646"/>
                    <a:pt x="10104" y="14631"/>
                    <a:pt x="10136" y="14595"/>
                  </a:cubicBezTo>
                  <a:cubicBezTo>
                    <a:pt x="10929" y="13707"/>
                    <a:pt x="11575" y="13007"/>
                    <a:pt x="11722" y="13007"/>
                  </a:cubicBezTo>
                  <a:cubicBezTo>
                    <a:pt x="11840" y="13007"/>
                    <a:pt x="11640" y="13453"/>
                    <a:pt x="10944" y="14604"/>
                  </a:cubicBezTo>
                  <a:cubicBezTo>
                    <a:pt x="10871" y="14727"/>
                    <a:pt x="10985" y="14864"/>
                    <a:pt x="11101" y="14864"/>
                  </a:cubicBezTo>
                  <a:cubicBezTo>
                    <a:pt x="11140" y="14864"/>
                    <a:pt x="11180" y="14849"/>
                    <a:pt x="11213" y="14811"/>
                  </a:cubicBezTo>
                  <a:cubicBezTo>
                    <a:pt x="12109" y="13788"/>
                    <a:pt x="12477" y="13403"/>
                    <a:pt x="12539" y="13403"/>
                  </a:cubicBezTo>
                  <a:cubicBezTo>
                    <a:pt x="12640" y="13403"/>
                    <a:pt x="11931" y="14422"/>
                    <a:pt x="11374" y="15357"/>
                  </a:cubicBezTo>
                  <a:cubicBezTo>
                    <a:pt x="11299" y="15485"/>
                    <a:pt x="11411" y="15616"/>
                    <a:pt x="11531" y="15616"/>
                  </a:cubicBezTo>
                  <a:cubicBezTo>
                    <a:pt x="11571" y="15616"/>
                    <a:pt x="11611" y="15602"/>
                    <a:pt x="11646" y="15568"/>
                  </a:cubicBezTo>
                  <a:cubicBezTo>
                    <a:pt x="12816" y="14430"/>
                    <a:pt x="13344" y="13850"/>
                    <a:pt x="13393" y="13850"/>
                  </a:cubicBezTo>
                  <a:cubicBezTo>
                    <a:pt x="13447" y="13850"/>
                    <a:pt x="12915" y="14558"/>
                    <a:pt x="12018" y="16004"/>
                  </a:cubicBezTo>
                  <a:cubicBezTo>
                    <a:pt x="11938" y="16134"/>
                    <a:pt x="12053" y="16262"/>
                    <a:pt x="12176" y="16262"/>
                  </a:cubicBezTo>
                  <a:cubicBezTo>
                    <a:pt x="12217" y="16262"/>
                    <a:pt x="12259" y="16248"/>
                    <a:pt x="12295" y="16215"/>
                  </a:cubicBezTo>
                  <a:cubicBezTo>
                    <a:pt x="13509" y="15081"/>
                    <a:pt x="14055" y="14349"/>
                    <a:pt x="14085" y="14349"/>
                  </a:cubicBezTo>
                  <a:cubicBezTo>
                    <a:pt x="14113" y="14349"/>
                    <a:pt x="13709" y="14960"/>
                    <a:pt x="12988" y="16434"/>
                  </a:cubicBezTo>
                  <a:cubicBezTo>
                    <a:pt x="12926" y="16561"/>
                    <a:pt x="13030" y="16704"/>
                    <a:pt x="13147" y="16704"/>
                  </a:cubicBezTo>
                  <a:cubicBezTo>
                    <a:pt x="13187" y="16704"/>
                    <a:pt x="13229" y="16687"/>
                    <a:pt x="13265" y="16648"/>
                  </a:cubicBezTo>
                  <a:cubicBezTo>
                    <a:pt x="14426" y="15382"/>
                    <a:pt x="14947" y="14741"/>
                    <a:pt x="14992" y="14741"/>
                  </a:cubicBezTo>
                  <a:cubicBezTo>
                    <a:pt x="15040" y="14741"/>
                    <a:pt x="14516" y="15513"/>
                    <a:pt x="13632" y="17081"/>
                  </a:cubicBezTo>
                  <a:cubicBezTo>
                    <a:pt x="13567" y="17196"/>
                    <a:pt x="13666" y="17355"/>
                    <a:pt x="13786" y="17355"/>
                  </a:cubicBezTo>
                  <a:cubicBezTo>
                    <a:pt x="13816" y="17355"/>
                    <a:pt x="13847" y="17345"/>
                    <a:pt x="13877" y="17323"/>
                  </a:cubicBezTo>
                  <a:cubicBezTo>
                    <a:pt x="14334" y="16982"/>
                    <a:pt x="14772" y="16616"/>
                    <a:pt x="15191" y="16229"/>
                  </a:cubicBezTo>
                  <a:lnTo>
                    <a:pt x="15191" y="16229"/>
                  </a:lnTo>
                  <a:cubicBezTo>
                    <a:pt x="14804" y="16847"/>
                    <a:pt x="14464" y="17491"/>
                    <a:pt x="14172" y="18157"/>
                  </a:cubicBezTo>
                  <a:cubicBezTo>
                    <a:pt x="14112" y="18295"/>
                    <a:pt x="14207" y="18425"/>
                    <a:pt x="14326" y="18425"/>
                  </a:cubicBezTo>
                  <a:cubicBezTo>
                    <a:pt x="14367" y="18425"/>
                    <a:pt x="14411" y="18409"/>
                    <a:pt x="14452" y="18374"/>
                  </a:cubicBezTo>
                  <a:cubicBezTo>
                    <a:pt x="15174" y="17759"/>
                    <a:pt x="15644" y="17291"/>
                    <a:pt x="15916" y="16994"/>
                  </a:cubicBezTo>
                  <a:lnTo>
                    <a:pt x="15916" y="16994"/>
                  </a:lnTo>
                  <a:cubicBezTo>
                    <a:pt x="15676" y="17314"/>
                    <a:pt x="15301" y="17860"/>
                    <a:pt x="14816" y="18694"/>
                  </a:cubicBezTo>
                  <a:cubicBezTo>
                    <a:pt x="14740" y="18826"/>
                    <a:pt x="14858" y="18969"/>
                    <a:pt x="14982" y="18969"/>
                  </a:cubicBezTo>
                  <a:cubicBezTo>
                    <a:pt x="15023" y="18969"/>
                    <a:pt x="15066" y="18953"/>
                    <a:pt x="15102" y="18914"/>
                  </a:cubicBezTo>
                  <a:cubicBezTo>
                    <a:pt x="15919" y="18020"/>
                    <a:pt x="16588" y="17268"/>
                    <a:pt x="16742" y="17268"/>
                  </a:cubicBezTo>
                  <a:cubicBezTo>
                    <a:pt x="16862" y="17268"/>
                    <a:pt x="16672" y="17720"/>
                    <a:pt x="16002" y="18908"/>
                  </a:cubicBezTo>
                  <a:cubicBezTo>
                    <a:pt x="15925" y="19049"/>
                    <a:pt x="16038" y="19179"/>
                    <a:pt x="16164" y="19179"/>
                  </a:cubicBezTo>
                  <a:cubicBezTo>
                    <a:pt x="16206" y="19179"/>
                    <a:pt x="16250" y="19165"/>
                    <a:pt x="16288" y="19130"/>
                  </a:cubicBezTo>
                  <a:cubicBezTo>
                    <a:pt x="17293" y="18241"/>
                    <a:pt x="17689" y="17751"/>
                    <a:pt x="17696" y="17751"/>
                  </a:cubicBezTo>
                  <a:lnTo>
                    <a:pt x="17696" y="17751"/>
                  </a:lnTo>
                  <a:cubicBezTo>
                    <a:pt x="17704" y="17751"/>
                    <a:pt x="17263" y="18316"/>
                    <a:pt x="16649" y="19555"/>
                  </a:cubicBezTo>
                  <a:cubicBezTo>
                    <a:pt x="16585" y="19686"/>
                    <a:pt x="16697" y="19839"/>
                    <a:pt x="16818" y="19839"/>
                  </a:cubicBezTo>
                  <a:cubicBezTo>
                    <a:pt x="16859" y="19839"/>
                    <a:pt x="16901" y="19821"/>
                    <a:pt x="16938" y="19777"/>
                  </a:cubicBezTo>
                  <a:cubicBezTo>
                    <a:pt x="17472" y="19128"/>
                    <a:pt x="18003" y="18475"/>
                    <a:pt x="18534" y="17823"/>
                  </a:cubicBezTo>
                  <a:lnTo>
                    <a:pt x="18534" y="17823"/>
                  </a:lnTo>
                  <a:cubicBezTo>
                    <a:pt x="18404" y="18692"/>
                    <a:pt x="18052" y="19511"/>
                    <a:pt x="17512" y="20204"/>
                  </a:cubicBezTo>
                  <a:cubicBezTo>
                    <a:pt x="17426" y="20350"/>
                    <a:pt x="17545" y="20469"/>
                    <a:pt x="17671" y="20469"/>
                  </a:cubicBezTo>
                  <a:cubicBezTo>
                    <a:pt x="17728" y="20469"/>
                    <a:pt x="17787" y="20445"/>
                    <a:pt x="17830" y="20389"/>
                  </a:cubicBezTo>
                  <a:cubicBezTo>
                    <a:pt x="19068" y="18767"/>
                    <a:pt x="19550" y="18201"/>
                    <a:pt x="19643" y="18201"/>
                  </a:cubicBezTo>
                  <a:cubicBezTo>
                    <a:pt x="19768" y="18201"/>
                    <a:pt x="19186" y="19232"/>
                    <a:pt x="18803" y="20095"/>
                  </a:cubicBezTo>
                  <a:cubicBezTo>
                    <a:pt x="18737" y="20244"/>
                    <a:pt x="18848" y="20369"/>
                    <a:pt x="18969" y="20369"/>
                  </a:cubicBezTo>
                  <a:cubicBezTo>
                    <a:pt x="19023" y="20369"/>
                    <a:pt x="19080" y="20344"/>
                    <a:pt x="19123" y="20282"/>
                  </a:cubicBezTo>
                  <a:cubicBezTo>
                    <a:pt x="20019" y="18858"/>
                    <a:pt x="20534" y="18146"/>
                    <a:pt x="20667" y="18146"/>
                  </a:cubicBezTo>
                  <a:cubicBezTo>
                    <a:pt x="20787" y="18146"/>
                    <a:pt x="20597" y="18723"/>
                    <a:pt x="20096" y="19878"/>
                  </a:cubicBezTo>
                  <a:cubicBezTo>
                    <a:pt x="20027" y="20013"/>
                    <a:pt x="20144" y="20164"/>
                    <a:pt x="20267" y="20164"/>
                  </a:cubicBezTo>
                  <a:cubicBezTo>
                    <a:pt x="20310" y="20164"/>
                    <a:pt x="20353" y="20146"/>
                    <a:pt x="20391" y="20103"/>
                  </a:cubicBezTo>
                  <a:cubicBezTo>
                    <a:pt x="21023" y="19370"/>
                    <a:pt x="21594" y="18596"/>
                    <a:pt x="22183" y="17831"/>
                  </a:cubicBezTo>
                  <a:lnTo>
                    <a:pt x="22183" y="17831"/>
                  </a:lnTo>
                  <a:cubicBezTo>
                    <a:pt x="21823" y="18513"/>
                    <a:pt x="21493" y="19200"/>
                    <a:pt x="21190" y="19933"/>
                  </a:cubicBezTo>
                  <a:cubicBezTo>
                    <a:pt x="21148" y="20033"/>
                    <a:pt x="21249" y="20123"/>
                    <a:pt x="21344" y="20123"/>
                  </a:cubicBezTo>
                  <a:cubicBezTo>
                    <a:pt x="21380" y="20123"/>
                    <a:pt x="21415" y="20110"/>
                    <a:pt x="21441" y="20080"/>
                  </a:cubicBezTo>
                  <a:cubicBezTo>
                    <a:pt x="22157" y="19249"/>
                    <a:pt x="23699" y="17898"/>
                    <a:pt x="24092" y="17063"/>
                  </a:cubicBezTo>
                  <a:lnTo>
                    <a:pt x="24092" y="17063"/>
                  </a:lnTo>
                  <a:cubicBezTo>
                    <a:pt x="23364" y="18614"/>
                    <a:pt x="22091" y="19942"/>
                    <a:pt x="21184" y="21394"/>
                  </a:cubicBezTo>
                  <a:cubicBezTo>
                    <a:pt x="21106" y="21519"/>
                    <a:pt x="21222" y="21655"/>
                    <a:pt x="21343" y="21655"/>
                  </a:cubicBezTo>
                  <a:cubicBezTo>
                    <a:pt x="21383" y="21655"/>
                    <a:pt x="21424" y="21640"/>
                    <a:pt x="21459" y="21605"/>
                  </a:cubicBezTo>
                  <a:cubicBezTo>
                    <a:pt x="22856" y="20173"/>
                    <a:pt x="24057" y="18596"/>
                    <a:pt x="25324" y="17049"/>
                  </a:cubicBezTo>
                  <a:cubicBezTo>
                    <a:pt x="25854" y="16402"/>
                    <a:pt x="26101" y="16153"/>
                    <a:pt x="26169" y="16153"/>
                  </a:cubicBezTo>
                  <a:cubicBezTo>
                    <a:pt x="26370" y="16153"/>
                    <a:pt x="24971" y="18365"/>
                    <a:pt x="24675" y="18813"/>
                  </a:cubicBezTo>
                  <a:cubicBezTo>
                    <a:pt x="22683" y="21812"/>
                    <a:pt x="20041" y="24362"/>
                    <a:pt x="17853" y="27217"/>
                  </a:cubicBezTo>
                  <a:cubicBezTo>
                    <a:pt x="17768" y="27330"/>
                    <a:pt x="17889" y="27466"/>
                    <a:pt x="18006" y="27466"/>
                  </a:cubicBezTo>
                  <a:cubicBezTo>
                    <a:pt x="18045" y="27466"/>
                    <a:pt x="18083" y="27451"/>
                    <a:pt x="18113" y="27416"/>
                  </a:cubicBezTo>
                  <a:cubicBezTo>
                    <a:pt x="19995" y="25257"/>
                    <a:pt x="21828" y="23054"/>
                    <a:pt x="23644" y="20840"/>
                  </a:cubicBezTo>
                  <a:cubicBezTo>
                    <a:pt x="24132" y="20245"/>
                    <a:pt x="24793" y="19483"/>
                    <a:pt x="25252" y="18868"/>
                  </a:cubicBezTo>
                  <a:cubicBezTo>
                    <a:pt x="25627" y="18367"/>
                    <a:pt x="27242" y="16311"/>
                    <a:pt x="27444" y="16311"/>
                  </a:cubicBezTo>
                  <a:cubicBezTo>
                    <a:pt x="27509" y="16311"/>
                    <a:pt x="27424" y="16530"/>
                    <a:pt x="27097" y="17092"/>
                  </a:cubicBezTo>
                  <a:cubicBezTo>
                    <a:pt x="24623" y="21351"/>
                    <a:pt x="20593" y="24474"/>
                    <a:pt x="18069" y="28727"/>
                  </a:cubicBezTo>
                  <a:cubicBezTo>
                    <a:pt x="18001" y="28839"/>
                    <a:pt x="18099" y="28976"/>
                    <a:pt x="18214" y="28976"/>
                  </a:cubicBezTo>
                  <a:cubicBezTo>
                    <a:pt x="18240" y="28976"/>
                    <a:pt x="18268" y="28969"/>
                    <a:pt x="18295" y="28952"/>
                  </a:cubicBezTo>
                  <a:cubicBezTo>
                    <a:pt x="20033" y="27878"/>
                    <a:pt x="21502" y="26339"/>
                    <a:pt x="22845" y="24665"/>
                  </a:cubicBezTo>
                  <a:lnTo>
                    <a:pt x="22845" y="24665"/>
                  </a:lnTo>
                  <a:cubicBezTo>
                    <a:pt x="21589" y="26429"/>
                    <a:pt x="20373" y="28222"/>
                    <a:pt x="18959" y="29879"/>
                  </a:cubicBezTo>
                  <a:cubicBezTo>
                    <a:pt x="18854" y="30001"/>
                    <a:pt x="18954" y="30158"/>
                    <a:pt x="19077" y="30158"/>
                  </a:cubicBezTo>
                  <a:cubicBezTo>
                    <a:pt x="19114" y="30158"/>
                    <a:pt x="19153" y="30144"/>
                    <a:pt x="19190" y="30110"/>
                  </a:cubicBezTo>
                  <a:cubicBezTo>
                    <a:pt x="20350" y="29017"/>
                    <a:pt x="21426" y="27854"/>
                    <a:pt x="22454" y="26648"/>
                  </a:cubicBezTo>
                  <a:lnTo>
                    <a:pt x="22454" y="26648"/>
                  </a:lnTo>
                  <a:cubicBezTo>
                    <a:pt x="21371" y="28012"/>
                    <a:pt x="20317" y="29399"/>
                    <a:pt x="19259" y="30774"/>
                  </a:cubicBezTo>
                  <a:cubicBezTo>
                    <a:pt x="19169" y="30890"/>
                    <a:pt x="19287" y="31011"/>
                    <a:pt x="19405" y="31011"/>
                  </a:cubicBezTo>
                  <a:cubicBezTo>
                    <a:pt x="19442" y="31011"/>
                    <a:pt x="19479" y="30999"/>
                    <a:pt x="19510" y="30970"/>
                  </a:cubicBezTo>
                  <a:cubicBezTo>
                    <a:pt x="20287" y="30260"/>
                    <a:pt x="21011" y="29506"/>
                    <a:pt x="21716" y="28735"/>
                  </a:cubicBezTo>
                  <a:lnTo>
                    <a:pt x="21716" y="28735"/>
                  </a:lnTo>
                  <a:cubicBezTo>
                    <a:pt x="20919" y="29717"/>
                    <a:pt x="20235" y="30777"/>
                    <a:pt x="19790" y="32001"/>
                  </a:cubicBezTo>
                  <a:cubicBezTo>
                    <a:pt x="19753" y="32103"/>
                    <a:pt x="19850" y="32193"/>
                    <a:pt x="19943" y="32193"/>
                  </a:cubicBezTo>
                  <a:cubicBezTo>
                    <a:pt x="19979" y="32193"/>
                    <a:pt x="20015" y="32179"/>
                    <a:pt x="20041" y="32148"/>
                  </a:cubicBezTo>
                  <a:cubicBezTo>
                    <a:pt x="22282" y="29558"/>
                    <a:pt x="24421" y="26891"/>
                    <a:pt x="26491" y="24171"/>
                  </a:cubicBezTo>
                  <a:cubicBezTo>
                    <a:pt x="26953" y="23701"/>
                    <a:pt x="27406" y="23218"/>
                    <a:pt x="27836" y="22716"/>
                  </a:cubicBezTo>
                  <a:cubicBezTo>
                    <a:pt x="28812" y="21573"/>
                    <a:pt x="29704" y="20323"/>
                    <a:pt x="30637" y="19145"/>
                  </a:cubicBezTo>
                  <a:cubicBezTo>
                    <a:pt x="31377" y="18210"/>
                    <a:pt x="31886" y="17640"/>
                    <a:pt x="31993" y="17640"/>
                  </a:cubicBezTo>
                  <a:cubicBezTo>
                    <a:pt x="32090" y="17640"/>
                    <a:pt x="31860" y="18103"/>
                    <a:pt x="31179" y="19179"/>
                  </a:cubicBezTo>
                  <a:cubicBezTo>
                    <a:pt x="28214" y="23868"/>
                    <a:pt x="23477" y="27070"/>
                    <a:pt x="20832" y="31992"/>
                  </a:cubicBezTo>
                  <a:cubicBezTo>
                    <a:pt x="20769" y="32064"/>
                    <a:pt x="20702" y="32133"/>
                    <a:pt x="20642" y="32209"/>
                  </a:cubicBezTo>
                  <a:cubicBezTo>
                    <a:pt x="20616" y="32243"/>
                    <a:pt x="20624" y="32292"/>
                    <a:pt x="20659" y="32312"/>
                  </a:cubicBezTo>
                  <a:cubicBezTo>
                    <a:pt x="20627" y="32376"/>
                    <a:pt x="20590" y="32439"/>
                    <a:pt x="20558" y="32503"/>
                  </a:cubicBezTo>
                  <a:cubicBezTo>
                    <a:pt x="20498" y="32617"/>
                    <a:pt x="20591" y="32730"/>
                    <a:pt x="20694" y="32730"/>
                  </a:cubicBezTo>
                  <a:cubicBezTo>
                    <a:pt x="20729" y="32730"/>
                    <a:pt x="20766" y="32718"/>
                    <a:pt x="20798" y="32688"/>
                  </a:cubicBezTo>
                  <a:cubicBezTo>
                    <a:pt x="23309" y="30419"/>
                    <a:pt x="25333" y="27794"/>
                    <a:pt x="27302" y="25141"/>
                  </a:cubicBezTo>
                  <a:cubicBezTo>
                    <a:pt x="29533" y="22798"/>
                    <a:pt x="31721" y="20500"/>
                    <a:pt x="33541" y="18306"/>
                  </a:cubicBezTo>
                  <a:lnTo>
                    <a:pt x="33541" y="18306"/>
                  </a:lnTo>
                  <a:cubicBezTo>
                    <a:pt x="31298" y="21011"/>
                    <a:pt x="29141" y="23776"/>
                    <a:pt x="26849" y="26440"/>
                  </a:cubicBezTo>
                  <a:cubicBezTo>
                    <a:pt x="24816" y="28805"/>
                    <a:pt x="22495" y="30852"/>
                    <a:pt x="20789" y="33482"/>
                  </a:cubicBezTo>
                  <a:cubicBezTo>
                    <a:pt x="20728" y="33577"/>
                    <a:pt x="20820" y="33683"/>
                    <a:pt x="20913" y="33683"/>
                  </a:cubicBezTo>
                  <a:cubicBezTo>
                    <a:pt x="20943" y="33683"/>
                    <a:pt x="20974" y="33672"/>
                    <a:pt x="21000" y="33643"/>
                  </a:cubicBezTo>
                  <a:cubicBezTo>
                    <a:pt x="21649" y="32904"/>
                    <a:pt x="22331" y="32183"/>
                    <a:pt x="23035" y="31467"/>
                  </a:cubicBezTo>
                  <a:lnTo>
                    <a:pt x="23035" y="31467"/>
                  </a:lnTo>
                  <a:cubicBezTo>
                    <a:pt x="22241" y="32448"/>
                    <a:pt x="21502" y="33464"/>
                    <a:pt x="20899" y="34561"/>
                  </a:cubicBezTo>
                  <a:cubicBezTo>
                    <a:pt x="20850" y="34647"/>
                    <a:pt x="20923" y="34763"/>
                    <a:pt x="21011" y="34763"/>
                  </a:cubicBezTo>
                  <a:cubicBezTo>
                    <a:pt x="21033" y="34763"/>
                    <a:pt x="21056" y="34756"/>
                    <a:pt x="21078" y="34740"/>
                  </a:cubicBezTo>
                  <a:cubicBezTo>
                    <a:pt x="22345" y="33848"/>
                    <a:pt x="23543" y="32809"/>
                    <a:pt x="24686" y="31677"/>
                  </a:cubicBezTo>
                  <a:lnTo>
                    <a:pt x="24686" y="31677"/>
                  </a:lnTo>
                  <a:cubicBezTo>
                    <a:pt x="23685" y="32867"/>
                    <a:pt x="22694" y="34068"/>
                    <a:pt x="21747" y="35309"/>
                  </a:cubicBezTo>
                  <a:cubicBezTo>
                    <a:pt x="21671" y="35412"/>
                    <a:pt x="21774" y="35521"/>
                    <a:pt x="21879" y="35521"/>
                  </a:cubicBezTo>
                  <a:cubicBezTo>
                    <a:pt x="21913" y="35521"/>
                    <a:pt x="21947" y="35509"/>
                    <a:pt x="21976" y="35482"/>
                  </a:cubicBezTo>
                  <a:cubicBezTo>
                    <a:pt x="23985" y="33600"/>
                    <a:pt x="25873" y="31602"/>
                    <a:pt x="27741" y="29584"/>
                  </a:cubicBezTo>
                  <a:lnTo>
                    <a:pt x="27741" y="29584"/>
                  </a:lnTo>
                  <a:cubicBezTo>
                    <a:pt x="27342" y="30191"/>
                    <a:pt x="26935" y="30794"/>
                    <a:pt x="26517" y="31392"/>
                  </a:cubicBezTo>
                  <a:cubicBezTo>
                    <a:pt x="25093" y="32959"/>
                    <a:pt x="23682" y="34535"/>
                    <a:pt x="22313" y="36144"/>
                  </a:cubicBezTo>
                  <a:cubicBezTo>
                    <a:pt x="22217" y="36246"/>
                    <a:pt x="22309" y="36383"/>
                    <a:pt x="22416" y="36383"/>
                  </a:cubicBezTo>
                  <a:cubicBezTo>
                    <a:pt x="22447" y="36383"/>
                    <a:pt x="22480" y="36371"/>
                    <a:pt x="22510" y="36343"/>
                  </a:cubicBezTo>
                  <a:cubicBezTo>
                    <a:pt x="24040" y="35035"/>
                    <a:pt x="25293" y="33565"/>
                    <a:pt x="26447" y="31986"/>
                  </a:cubicBezTo>
                  <a:cubicBezTo>
                    <a:pt x="26603" y="31825"/>
                    <a:pt x="26756" y="31663"/>
                    <a:pt x="26912" y="31501"/>
                  </a:cubicBezTo>
                  <a:cubicBezTo>
                    <a:pt x="28832" y="29495"/>
                    <a:pt x="30778" y="27520"/>
                    <a:pt x="32643" y="25459"/>
                  </a:cubicBezTo>
                  <a:cubicBezTo>
                    <a:pt x="33798" y="24180"/>
                    <a:pt x="34895" y="22846"/>
                    <a:pt x="36027" y="21547"/>
                  </a:cubicBezTo>
                  <a:lnTo>
                    <a:pt x="36027" y="21547"/>
                  </a:lnTo>
                  <a:cubicBezTo>
                    <a:pt x="35192" y="22771"/>
                    <a:pt x="34289" y="23946"/>
                    <a:pt x="33324" y="25066"/>
                  </a:cubicBezTo>
                  <a:cubicBezTo>
                    <a:pt x="29970" y="29131"/>
                    <a:pt x="26081" y="32682"/>
                    <a:pt x="22931" y="36926"/>
                  </a:cubicBezTo>
                  <a:cubicBezTo>
                    <a:pt x="22852" y="37031"/>
                    <a:pt x="22957" y="37139"/>
                    <a:pt x="23064" y="37139"/>
                  </a:cubicBezTo>
                  <a:cubicBezTo>
                    <a:pt x="23099" y="37139"/>
                    <a:pt x="23133" y="37128"/>
                    <a:pt x="23162" y="37102"/>
                  </a:cubicBezTo>
                  <a:cubicBezTo>
                    <a:pt x="25896" y="34637"/>
                    <a:pt x="28275" y="31888"/>
                    <a:pt x="30619" y="29059"/>
                  </a:cubicBezTo>
                  <a:cubicBezTo>
                    <a:pt x="32478" y="26804"/>
                    <a:pt x="35342" y="24443"/>
                    <a:pt x="36760" y="21916"/>
                  </a:cubicBezTo>
                  <a:lnTo>
                    <a:pt x="36760" y="21916"/>
                  </a:lnTo>
                  <a:cubicBezTo>
                    <a:pt x="33394" y="27918"/>
                    <a:pt x="27397" y="32079"/>
                    <a:pt x="23566" y="37783"/>
                  </a:cubicBezTo>
                  <a:cubicBezTo>
                    <a:pt x="23490" y="37894"/>
                    <a:pt x="23596" y="38009"/>
                    <a:pt x="23705" y="38009"/>
                  </a:cubicBezTo>
                  <a:cubicBezTo>
                    <a:pt x="23740" y="38009"/>
                    <a:pt x="23776" y="37997"/>
                    <a:pt x="23806" y="37968"/>
                  </a:cubicBezTo>
                  <a:cubicBezTo>
                    <a:pt x="25431" y="36429"/>
                    <a:pt x="27008" y="34841"/>
                    <a:pt x="28555" y="33228"/>
                  </a:cubicBezTo>
                  <a:lnTo>
                    <a:pt x="28555" y="33228"/>
                  </a:lnTo>
                  <a:cubicBezTo>
                    <a:pt x="27201" y="34957"/>
                    <a:pt x="25821" y="36663"/>
                    <a:pt x="24346" y="38291"/>
                  </a:cubicBezTo>
                  <a:cubicBezTo>
                    <a:pt x="24253" y="38391"/>
                    <a:pt x="24336" y="38558"/>
                    <a:pt x="24451" y="38558"/>
                  </a:cubicBezTo>
                  <a:cubicBezTo>
                    <a:pt x="24476" y="38558"/>
                    <a:pt x="24503" y="38550"/>
                    <a:pt x="24531" y="38531"/>
                  </a:cubicBezTo>
                  <a:cubicBezTo>
                    <a:pt x="25180" y="38078"/>
                    <a:pt x="25801" y="37593"/>
                    <a:pt x="26407" y="37096"/>
                  </a:cubicBezTo>
                  <a:lnTo>
                    <a:pt x="26407" y="37096"/>
                  </a:lnTo>
                  <a:cubicBezTo>
                    <a:pt x="25905" y="37792"/>
                    <a:pt x="25460" y="38525"/>
                    <a:pt x="25073" y="39290"/>
                  </a:cubicBezTo>
                  <a:cubicBezTo>
                    <a:pt x="25013" y="39412"/>
                    <a:pt x="25105" y="39516"/>
                    <a:pt x="25210" y="39516"/>
                  </a:cubicBezTo>
                  <a:cubicBezTo>
                    <a:pt x="25246" y="39516"/>
                    <a:pt x="25283" y="39505"/>
                    <a:pt x="25316" y="39478"/>
                  </a:cubicBezTo>
                  <a:cubicBezTo>
                    <a:pt x="27663" y="37581"/>
                    <a:pt x="29199" y="35026"/>
                    <a:pt x="30971" y="32621"/>
                  </a:cubicBezTo>
                  <a:cubicBezTo>
                    <a:pt x="31098" y="32477"/>
                    <a:pt x="31223" y="32327"/>
                    <a:pt x="31353" y="32183"/>
                  </a:cubicBezTo>
                  <a:cubicBezTo>
                    <a:pt x="31838" y="31750"/>
                    <a:pt x="32317" y="31325"/>
                    <a:pt x="32764" y="30904"/>
                  </a:cubicBezTo>
                  <a:cubicBezTo>
                    <a:pt x="34681" y="29100"/>
                    <a:pt x="37873" y="26288"/>
                    <a:pt x="39028" y="23985"/>
                  </a:cubicBezTo>
                  <a:lnTo>
                    <a:pt x="39028" y="23985"/>
                  </a:lnTo>
                  <a:cubicBezTo>
                    <a:pt x="37371" y="27290"/>
                    <a:pt x="34130" y="29943"/>
                    <a:pt x="31664" y="32644"/>
                  </a:cubicBezTo>
                  <a:cubicBezTo>
                    <a:pt x="29661" y="34844"/>
                    <a:pt x="27781" y="37200"/>
                    <a:pt x="26043" y="39614"/>
                  </a:cubicBezTo>
                  <a:cubicBezTo>
                    <a:pt x="25962" y="39723"/>
                    <a:pt x="26074" y="39842"/>
                    <a:pt x="26185" y="39842"/>
                  </a:cubicBezTo>
                  <a:cubicBezTo>
                    <a:pt x="26221" y="39842"/>
                    <a:pt x="26256" y="39830"/>
                    <a:pt x="26286" y="39801"/>
                  </a:cubicBezTo>
                  <a:cubicBezTo>
                    <a:pt x="28004" y="38084"/>
                    <a:pt x="29641" y="36297"/>
                    <a:pt x="31266" y="34492"/>
                  </a:cubicBezTo>
                  <a:lnTo>
                    <a:pt x="31266" y="34492"/>
                  </a:lnTo>
                  <a:cubicBezTo>
                    <a:pt x="29756" y="36490"/>
                    <a:pt x="28315" y="38522"/>
                    <a:pt x="27010" y="40581"/>
                  </a:cubicBezTo>
                  <a:cubicBezTo>
                    <a:pt x="26939" y="40693"/>
                    <a:pt x="27047" y="40820"/>
                    <a:pt x="27156" y="40820"/>
                  </a:cubicBezTo>
                  <a:cubicBezTo>
                    <a:pt x="27192" y="40820"/>
                    <a:pt x="27229" y="40806"/>
                    <a:pt x="27259" y="40771"/>
                  </a:cubicBezTo>
                  <a:cubicBezTo>
                    <a:pt x="30019" y="37659"/>
                    <a:pt x="32727" y="34501"/>
                    <a:pt x="35415" y="31325"/>
                  </a:cubicBezTo>
                  <a:cubicBezTo>
                    <a:pt x="35876" y="30777"/>
                    <a:pt x="37323" y="29137"/>
                    <a:pt x="37739" y="28562"/>
                  </a:cubicBezTo>
                  <a:cubicBezTo>
                    <a:pt x="38097" y="28066"/>
                    <a:pt x="40639" y="24587"/>
                    <a:pt x="40714" y="24587"/>
                  </a:cubicBezTo>
                  <a:cubicBezTo>
                    <a:pt x="40724" y="24587"/>
                    <a:pt x="40689" y="24651"/>
                    <a:pt x="40597" y="24795"/>
                  </a:cubicBezTo>
                  <a:cubicBezTo>
                    <a:pt x="39826" y="25993"/>
                    <a:pt x="38992" y="27145"/>
                    <a:pt x="38137" y="28279"/>
                  </a:cubicBezTo>
                  <a:cubicBezTo>
                    <a:pt x="37733" y="28790"/>
                    <a:pt x="37334" y="29307"/>
                    <a:pt x="36945" y="29830"/>
                  </a:cubicBezTo>
                  <a:cubicBezTo>
                    <a:pt x="33567" y="34097"/>
                    <a:pt x="29828" y="38098"/>
                    <a:pt x="26797" y="42628"/>
                  </a:cubicBezTo>
                  <a:cubicBezTo>
                    <a:pt x="26721" y="42741"/>
                    <a:pt x="26832" y="42868"/>
                    <a:pt x="26944" y="42868"/>
                  </a:cubicBezTo>
                  <a:cubicBezTo>
                    <a:pt x="26981" y="42868"/>
                    <a:pt x="27018" y="42854"/>
                    <a:pt x="27048" y="42821"/>
                  </a:cubicBezTo>
                  <a:cubicBezTo>
                    <a:pt x="27937" y="41814"/>
                    <a:pt x="28887" y="40809"/>
                    <a:pt x="29860" y="39798"/>
                  </a:cubicBezTo>
                  <a:lnTo>
                    <a:pt x="29860" y="39798"/>
                  </a:lnTo>
                  <a:cubicBezTo>
                    <a:pt x="29747" y="39972"/>
                    <a:pt x="29635" y="40142"/>
                    <a:pt x="29522" y="40315"/>
                  </a:cubicBezTo>
                  <a:cubicBezTo>
                    <a:pt x="28465" y="41588"/>
                    <a:pt x="27469" y="42919"/>
                    <a:pt x="26580" y="44351"/>
                  </a:cubicBezTo>
                  <a:cubicBezTo>
                    <a:pt x="26509" y="44465"/>
                    <a:pt x="26619" y="44597"/>
                    <a:pt x="26728" y="44597"/>
                  </a:cubicBezTo>
                  <a:cubicBezTo>
                    <a:pt x="26765" y="44597"/>
                    <a:pt x="26802" y="44582"/>
                    <a:pt x="26831" y="44545"/>
                  </a:cubicBezTo>
                  <a:cubicBezTo>
                    <a:pt x="28108" y="42971"/>
                    <a:pt x="29277" y="41326"/>
                    <a:pt x="30423" y="39663"/>
                  </a:cubicBezTo>
                  <a:cubicBezTo>
                    <a:pt x="30769" y="39270"/>
                    <a:pt x="31119" y="38886"/>
                    <a:pt x="31465" y="38499"/>
                  </a:cubicBezTo>
                  <a:cubicBezTo>
                    <a:pt x="34531" y="35093"/>
                    <a:pt x="37990" y="32076"/>
                    <a:pt x="40773" y="28412"/>
                  </a:cubicBezTo>
                  <a:cubicBezTo>
                    <a:pt x="41518" y="27344"/>
                    <a:pt x="42332" y="26322"/>
                    <a:pt x="43204" y="25352"/>
                  </a:cubicBezTo>
                  <a:lnTo>
                    <a:pt x="43204" y="25352"/>
                  </a:lnTo>
                  <a:cubicBezTo>
                    <a:pt x="42000" y="26706"/>
                    <a:pt x="40986" y="28297"/>
                    <a:pt x="39840" y="29720"/>
                  </a:cubicBezTo>
                  <a:cubicBezTo>
                    <a:pt x="37695" y="32376"/>
                    <a:pt x="35435" y="34940"/>
                    <a:pt x="33272" y="37584"/>
                  </a:cubicBezTo>
                  <a:cubicBezTo>
                    <a:pt x="32579" y="38433"/>
                    <a:pt x="31913" y="39302"/>
                    <a:pt x="31254" y="40177"/>
                  </a:cubicBezTo>
                  <a:cubicBezTo>
                    <a:pt x="29130" y="42244"/>
                    <a:pt x="26881" y="44386"/>
                    <a:pt x="26023" y="47085"/>
                  </a:cubicBezTo>
                  <a:cubicBezTo>
                    <a:pt x="25990" y="47192"/>
                    <a:pt x="26090" y="47290"/>
                    <a:pt x="26188" y="47290"/>
                  </a:cubicBezTo>
                  <a:cubicBezTo>
                    <a:pt x="26226" y="47290"/>
                    <a:pt x="26263" y="47276"/>
                    <a:pt x="26292" y="47241"/>
                  </a:cubicBezTo>
                  <a:cubicBezTo>
                    <a:pt x="27175" y="46176"/>
                    <a:pt x="28061" y="45108"/>
                    <a:pt x="28948" y="44034"/>
                  </a:cubicBezTo>
                  <a:lnTo>
                    <a:pt x="28948" y="44034"/>
                  </a:lnTo>
                  <a:cubicBezTo>
                    <a:pt x="27750" y="45616"/>
                    <a:pt x="26580" y="47218"/>
                    <a:pt x="25501" y="48878"/>
                  </a:cubicBezTo>
                  <a:cubicBezTo>
                    <a:pt x="25420" y="49001"/>
                    <a:pt x="25527" y="49109"/>
                    <a:pt x="25641" y="49109"/>
                  </a:cubicBezTo>
                  <a:cubicBezTo>
                    <a:pt x="25690" y="49109"/>
                    <a:pt x="25741" y="49089"/>
                    <a:pt x="25778" y="49040"/>
                  </a:cubicBezTo>
                  <a:cubicBezTo>
                    <a:pt x="28047" y="45991"/>
                    <a:pt x="30726" y="43222"/>
                    <a:pt x="33316" y="40396"/>
                  </a:cubicBezTo>
                  <a:lnTo>
                    <a:pt x="33316" y="40396"/>
                  </a:lnTo>
                  <a:cubicBezTo>
                    <a:pt x="30481" y="43904"/>
                    <a:pt x="27568" y="47351"/>
                    <a:pt x="24958" y="51032"/>
                  </a:cubicBezTo>
                  <a:cubicBezTo>
                    <a:pt x="24897" y="51116"/>
                    <a:pt x="24949" y="51205"/>
                    <a:pt x="25024" y="51248"/>
                  </a:cubicBezTo>
                  <a:cubicBezTo>
                    <a:pt x="24938" y="51361"/>
                    <a:pt x="24848" y="51471"/>
                    <a:pt x="24764" y="51583"/>
                  </a:cubicBezTo>
                  <a:cubicBezTo>
                    <a:pt x="24687" y="51685"/>
                    <a:pt x="24785" y="51783"/>
                    <a:pt x="24887" y="51783"/>
                  </a:cubicBezTo>
                  <a:cubicBezTo>
                    <a:pt x="24929" y="51783"/>
                    <a:pt x="24973" y="51766"/>
                    <a:pt x="25004" y="51725"/>
                  </a:cubicBezTo>
                  <a:cubicBezTo>
                    <a:pt x="26973" y="49164"/>
                    <a:pt x="29072" y="46730"/>
                    <a:pt x="31234" y="44348"/>
                  </a:cubicBezTo>
                  <a:lnTo>
                    <a:pt x="31234" y="44348"/>
                  </a:lnTo>
                  <a:cubicBezTo>
                    <a:pt x="28774" y="47178"/>
                    <a:pt x="26427" y="50114"/>
                    <a:pt x="24317" y="53298"/>
                  </a:cubicBezTo>
                  <a:cubicBezTo>
                    <a:pt x="24237" y="53420"/>
                    <a:pt x="24347" y="53527"/>
                    <a:pt x="24461" y="53527"/>
                  </a:cubicBezTo>
                  <a:cubicBezTo>
                    <a:pt x="24482" y="53527"/>
                    <a:pt x="24504" y="53523"/>
                    <a:pt x="24525" y="53515"/>
                  </a:cubicBezTo>
                  <a:lnTo>
                    <a:pt x="24525" y="53515"/>
                  </a:lnTo>
                  <a:cubicBezTo>
                    <a:pt x="24502" y="53544"/>
                    <a:pt x="24479" y="53569"/>
                    <a:pt x="24455" y="53595"/>
                  </a:cubicBezTo>
                  <a:cubicBezTo>
                    <a:pt x="24349" y="53704"/>
                    <a:pt x="24449" y="53852"/>
                    <a:pt x="24563" y="53852"/>
                  </a:cubicBezTo>
                  <a:cubicBezTo>
                    <a:pt x="24598" y="53852"/>
                    <a:pt x="24634" y="53838"/>
                    <a:pt x="24666" y="53806"/>
                  </a:cubicBezTo>
                  <a:cubicBezTo>
                    <a:pt x="24998" y="53518"/>
                    <a:pt x="25322" y="53209"/>
                    <a:pt x="25651" y="52911"/>
                  </a:cubicBezTo>
                  <a:cubicBezTo>
                    <a:pt x="28050" y="51453"/>
                    <a:pt x="29871" y="49144"/>
                    <a:pt x="31612" y="46831"/>
                  </a:cubicBezTo>
                  <a:cubicBezTo>
                    <a:pt x="33538" y="44654"/>
                    <a:pt x="35391" y="42388"/>
                    <a:pt x="37184" y="40128"/>
                  </a:cubicBezTo>
                  <a:cubicBezTo>
                    <a:pt x="40270" y="36631"/>
                    <a:pt x="43357" y="33106"/>
                    <a:pt x="46322" y="29524"/>
                  </a:cubicBezTo>
                  <a:cubicBezTo>
                    <a:pt x="46812" y="29104"/>
                    <a:pt x="47268" y="28742"/>
                    <a:pt x="47378" y="28742"/>
                  </a:cubicBezTo>
                  <a:cubicBezTo>
                    <a:pt x="47457" y="28742"/>
                    <a:pt x="47358" y="28929"/>
                    <a:pt x="46965" y="29414"/>
                  </a:cubicBezTo>
                  <a:cubicBezTo>
                    <a:pt x="45779" y="30883"/>
                    <a:pt x="44324" y="32232"/>
                    <a:pt x="43048" y="33629"/>
                  </a:cubicBezTo>
                  <a:cubicBezTo>
                    <a:pt x="39915" y="37059"/>
                    <a:pt x="36948" y="40587"/>
                    <a:pt x="34017" y="44190"/>
                  </a:cubicBezTo>
                  <a:cubicBezTo>
                    <a:pt x="32432" y="46138"/>
                    <a:pt x="30752" y="48026"/>
                    <a:pt x="29176" y="49990"/>
                  </a:cubicBezTo>
                  <a:cubicBezTo>
                    <a:pt x="29023" y="50160"/>
                    <a:pt x="28875" y="50336"/>
                    <a:pt x="28722" y="50506"/>
                  </a:cubicBezTo>
                  <a:cubicBezTo>
                    <a:pt x="26909" y="52527"/>
                    <a:pt x="24684" y="54522"/>
                    <a:pt x="23459" y="56965"/>
                  </a:cubicBezTo>
                  <a:cubicBezTo>
                    <a:pt x="23411" y="57064"/>
                    <a:pt x="23489" y="57203"/>
                    <a:pt x="23591" y="57203"/>
                  </a:cubicBezTo>
                  <a:cubicBezTo>
                    <a:pt x="23617" y="57203"/>
                    <a:pt x="23643" y="57195"/>
                    <a:pt x="23670" y="57175"/>
                  </a:cubicBezTo>
                  <a:cubicBezTo>
                    <a:pt x="25249" y="55983"/>
                    <a:pt x="26202" y="54375"/>
                    <a:pt x="27386" y="52807"/>
                  </a:cubicBezTo>
                  <a:cubicBezTo>
                    <a:pt x="28567" y="51248"/>
                    <a:pt x="29805" y="49730"/>
                    <a:pt x="31049" y="48220"/>
                  </a:cubicBezTo>
                  <a:cubicBezTo>
                    <a:pt x="35504" y="43081"/>
                    <a:pt x="40065" y="38029"/>
                    <a:pt x="44766" y="33118"/>
                  </a:cubicBezTo>
                  <a:cubicBezTo>
                    <a:pt x="45909" y="31926"/>
                    <a:pt x="47026" y="30707"/>
                    <a:pt x="48166" y="29515"/>
                  </a:cubicBezTo>
                  <a:cubicBezTo>
                    <a:pt x="48860" y="28790"/>
                    <a:pt x="49163" y="28508"/>
                    <a:pt x="49215" y="28508"/>
                  </a:cubicBezTo>
                  <a:cubicBezTo>
                    <a:pt x="49373" y="28508"/>
                    <a:pt x="47169" y="31143"/>
                    <a:pt x="46538" y="31752"/>
                  </a:cubicBezTo>
                  <a:cubicBezTo>
                    <a:pt x="43882" y="34319"/>
                    <a:pt x="41457" y="37114"/>
                    <a:pt x="39049" y="39914"/>
                  </a:cubicBezTo>
                  <a:cubicBezTo>
                    <a:pt x="33633" y="46205"/>
                    <a:pt x="28298" y="52530"/>
                    <a:pt x="22940" y="58870"/>
                  </a:cubicBezTo>
                  <a:cubicBezTo>
                    <a:pt x="22844" y="58982"/>
                    <a:pt x="22925" y="59140"/>
                    <a:pt x="23049" y="59140"/>
                  </a:cubicBezTo>
                  <a:cubicBezTo>
                    <a:pt x="23075" y="59140"/>
                    <a:pt x="23102" y="59134"/>
                    <a:pt x="23130" y="59118"/>
                  </a:cubicBezTo>
                  <a:cubicBezTo>
                    <a:pt x="24822" y="58200"/>
                    <a:pt x="26289" y="56855"/>
                    <a:pt x="27625" y="55325"/>
                  </a:cubicBezTo>
                  <a:lnTo>
                    <a:pt x="27625" y="55325"/>
                  </a:lnTo>
                  <a:cubicBezTo>
                    <a:pt x="27348" y="55723"/>
                    <a:pt x="27057" y="56110"/>
                    <a:pt x="26754" y="56482"/>
                  </a:cubicBezTo>
                  <a:cubicBezTo>
                    <a:pt x="25192" y="57819"/>
                    <a:pt x="23549" y="59110"/>
                    <a:pt x="22585" y="60839"/>
                  </a:cubicBezTo>
                  <a:cubicBezTo>
                    <a:pt x="22516" y="60959"/>
                    <a:pt x="22620" y="61089"/>
                    <a:pt x="22733" y="61089"/>
                  </a:cubicBezTo>
                  <a:cubicBezTo>
                    <a:pt x="22771" y="61089"/>
                    <a:pt x="22811" y="61074"/>
                    <a:pt x="22845" y="61038"/>
                  </a:cubicBezTo>
                  <a:cubicBezTo>
                    <a:pt x="23895" y="59927"/>
                    <a:pt x="24909" y="58783"/>
                    <a:pt x="25905" y="57631"/>
                  </a:cubicBezTo>
                  <a:cubicBezTo>
                    <a:pt x="27368" y="56286"/>
                    <a:pt x="28864" y="54984"/>
                    <a:pt x="30189" y="53457"/>
                  </a:cubicBezTo>
                  <a:cubicBezTo>
                    <a:pt x="30735" y="52830"/>
                    <a:pt x="31260" y="52184"/>
                    <a:pt x="31783" y="51534"/>
                  </a:cubicBezTo>
                  <a:lnTo>
                    <a:pt x="31783" y="51534"/>
                  </a:lnTo>
                  <a:cubicBezTo>
                    <a:pt x="31324" y="52195"/>
                    <a:pt x="30865" y="52856"/>
                    <a:pt x="30394" y="53512"/>
                  </a:cubicBezTo>
                  <a:cubicBezTo>
                    <a:pt x="28139" y="56659"/>
                    <a:pt x="25157" y="58939"/>
                    <a:pt x="22720" y="61884"/>
                  </a:cubicBezTo>
                  <a:cubicBezTo>
                    <a:pt x="22631" y="61992"/>
                    <a:pt x="22713" y="62174"/>
                    <a:pt x="22832" y="62174"/>
                  </a:cubicBezTo>
                  <a:cubicBezTo>
                    <a:pt x="22860" y="62174"/>
                    <a:pt x="22890" y="62164"/>
                    <a:pt x="22920" y="62141"/>
                  </a:cubicBezTo>
                  <a:cubicBezTo>
                    <a:pt x="30663" y="56228"/>
                    <a:pt x="35695" y="47082"/>
                    <a:pt x="42577" y="40229"/>
                  </a:cubicBezTo>
                  <a:cubicBezTo>
                    <a:pt x="44575" y="38239"/>
                    <a:pt x="46584" y="36262"/>
                    <a:pt x="48556" y="34244"/>
                  </a:cubicBezTo>
                  <a:cubicBezTo>
                    <a:pt x="49247" y="33537"/>
                    <a:pt x="52165" y="30343"/>
                    <a:pt x="52253" y="30343"/>
                  </a:cubicBezTo>
                  <a:cubicBezTo>
                    <a:pt x="52290" y="30343"/>
                    <a:pt x="51826" y="30908"/>
                    <a:pt x="50485" y="32463"/>
                  </a:cubicBezTo>
                  <a:cubicBezTo>
                    <a:pt x="46861" y="36663"/>
                    <a:pt x="42927" y="40673"/>
                    <a:pt x="39136" y="44724"/>
                  </a:cubicBezTo>
                  <a:cubicBezTo>
                    <a:pt x="35299" y="48823"/>
                    <a:pt x="31999" y="53367"/>
                    <a:pt x="28318" y="57603"/>
                  </a:cubicBezTo>
                  <a:cubicBezTo>
                    <a:pt x="28261" y="57669"/>
                    <a:pt x="28197" y="57744"/>
                    <a:pt x="28136" y="57813"/>
                  </a:cubicBezTo>
                  <a:cubicBezTo>
                    <a:pt x="26205" y="59904"/>
                    <a:pt x="24262" y="61985"/>
                    <a:pt x="22284" y="64035"/>
                  </a:cubicBezTo>
                  <a:cubicBezTo>
                    <a:pt x="22168" y="64155"/>
                    <a:pt x="22282" y="64324"/>
                    <a:pt x="22410" y="64324"/>
                  </a:cubicBezTo>
                  <a:cubicBezTo>
                    <a:pt x="22447" y="64324"/>
                    <a:pt x="22486" y="64309"/>
                    <a:pt x="22521" y="64274"/>
                  </a:cubicBezTo>
                  <a:cubicBezTo>
                    <a:pt x="23026" y="63763"/>
                    <a:pt x="23514" y="63241"/>
                    <a:pt x="24008" y="62721"/>
                  </a:cubicBezTo>
                  <a:lnTo>
                    <a:pt x="24008" y="62721"/>
                  </a:lnTo>
                  <a:cubicBezTo>
                    <a:pt x="23921" y="62817"/>
                    <a:pt x="23829" y="62918"/>
                    <a:pt x="23754" y="62998"/>
                  </a:cubicBezTo>
                  <a:cubicBezTo>
                    <a:pt x="25792" y="60882"/>
                    <a:pt x="27787" y="58723"/>
                    <a:pt x="29776" y="56560"/>
                  </a:cubicBezTo>
                  <a:cubicBezTo>
                    <a:pt x="33740" y="52259"/>
                    <a:pt x="37635" y="47894"/>
                    <a:pt x="41587" y="43580"/>
                  </a:cubicBezTo>
                  <a:cubicBezTo>
                    <a:pt x="45285" y="39553"/>
                    <a:pt x="48478" y="35061"/>
                    <a:pt x="52485" y="31325"/>
                  </a:cubicBezTo>
                  <a:lnTo>
                    <a:pt x="52485" y="31325"/>
                  </a:lnTo>
                  <a:cubicBezTo>
                    <a:pt x="49399" y="34206"/>
                    <a:pt x="46047" y="38846"/>
                    <a:pt x="42889" y="42330"/>
                  </a:cubicBezTo>
                  <a:cubicBezTo>
                    <a:pt x="38980" y="46644"/>
                    <a:pt x="35342" y="51248"/>
                    <a:pt x="31575" y="55689"/>
                  </a:cubicBezTo>
                  <a:cubicBezTo>
                    <a:pt x="31119" y="56228"/>
                    <a:pt x="30637" y="56742"/>
                    <a:pt x="30166" y="57265"/>
                  </a:cubicBezTo>
                  <a:cubicBezTo>
                    <a:pt x="29791" y="57663"/>
                    <a:pt x="29418" y="58067"/>
                    <a:pt x="29037" y="58463"/>
                  </a:cubicBezTo>
                  <a:cubicBezTo>
                    <a:pt x="26932" y="60643"/>
                    <a:pt x="24100" y="62765"/>
                    <a:pt x="22691" y="65475"/>
                  </a:cubicBezTo>
                  <a:cubicBezTo>
                    <a:pt x="22629" y="65596"/>
                    <a:pt x="22733" y="65732"/>
                    <a:pt x="22844" y="65732"/>
                  </a:cubicBezTo>
                  <a:cubicBezTo>
                    <a:pt x="22882" y="65732"/>
                    <a:pt x="22921" y="65716"/>
                    <a:pt x="22954" y="65678"/>
                  </a:cubicBezTo>
                  <a:cubicBezTo>
                    <a:pt x="24444" y="63977"/>
                    <a:pt x="25939" y="62288"/>
                    <a:pt x="27443" y="60605"/>
                  </a:cubicBezTo>
                  <a:cubicBezTo>
                    <a:pt x="31150" y="56814"/>
                    <a:pt x="34670" y="52859"/>
                    <a:pt x="38091" y="48806"/>
                  </a:cubicBezTo>
                  <a:cubicBezTo>
                    <a:pt x="41818" y="44392"/>
                    <a:pt x="45646" y="40064"/>
                    <a:pt x="49572" y="35823"/>
                  </a:cubicBezTo>
                  <a:cubicBezTo>
                    <a:pt x="50141" y="35217"/>
                    <a:pt x="50675" y="34582"/>
                    <a:pt x="51175" y="33921"/>
                  </a:cubicBezTo>
                  <a:cubicBezTo>
                    <a:pt x="51753" y="33195"/>
                    <a:pt x="52015" y="32929"/>
                    <a:pt x="52083" y="32929"/>
                  </a:cubicBezTo>
                  <a:cubicBezTo>
                    <a:pt x="52251" y="32929"/>
                    <a:pt x="51233" y="34555"/>
                    <a:pt x="50886" y="34896"/>
                  </a:cubicBezTo>
                  <a:cubicBezTo>
                    <a:pt x="49154" y="36608"/>
                    <a:pt x="47632" y="38534"/>
                    <a:pt x="46016" y="40353"/>
                  </a:cubicBezTo>
                  <a:cubicBezTo>
                    <a:pt x="38024" y="49343"/>
                    <a:pt x="30186" y="58489"/>
                    <a:pt x="22071" y="67384"/>
                  </a:cubicBezTo>
                  <a:cubicBezTo>
                    <a:pt x="21960" y="67504"/>
                    <a:pt x="22069" y="67668"/>
                    <a:pt x="22194" y="67668"/>
                  </a:cubicBezTo>
                  <a:cubicBezTo>
                    <a:pt x="22231" y="67668"/>
                    <a:pt x="22270" y="67653"/>
                    <a:pt x="22305" y="67618"/>
                  </a:cubicBezTo>
                  <a:cubicBezTo>
                    <a:pt x="23393" y="66532"/>
                    <a:pt x="24470" y="65455"/>
                    <a:pt x="25544" y="64390"/>
                  </a:cubicBezTo>
                  <a:lnTo>
                    <a:pt x="25544" y="64390"/>
                  </a:lnTo>
                  <a:cubicBezTo>
                    <a:pt x="25477" y="64494"/>
                    <a:pt x="25434" y="64601"/>
                    <a:pt x="25376" y="64708"/>
                  </a:cubicBezTo>
                  <a:cubicBezTo>
                    <a:pt x="24701" y="65539"/>
                    <a:pt x="23119" y="67505"/>
                    <a:pt x="22729" y="67932"/>
                  </a:cubicBezTo>
                  <a:cubicBezTo>
                    <a:pt x="22634" y="68035"/>
                    <a:pt x="22718" y="68195"/>
                    <a:pt x="22836" y="68195"/>
                  </a:cubicBezTo>
                  <a:cubicBezTo>
                    <a:pt x="22861" y="68195"/>
                    <a:pt x="22887" y="68188"/>
                    <a:pt x="22914" y="68172"/>
                  </a:cubicBezTo>
                  <a:cubicBezTo>
                    <a:pt x="25163" y="66786"/>
                    <a:pt x="27132" y="64878"/>
                    <a:pt x="28953" y="62779"/>
                  </a:cubicBezTo>
                  <a:lnTo>
                    <a:pt x="28953" y="62779"/>
                  </a:lnTo>
                  <a:lnTo>
                    <a:pt x="28633" y="63180"/>
                  </a:lnTo>
                  <a:cubicBezTo>
                    <a:pt x="26629" y="65675"/>
                    <a:pt x="23991" y="67476"/>
                    <a:pt x="22053" y="70008"/>
                  </a:cubicBezTo>
                  <a:cubicBezTo>
                    <a:pt x="21976" y="70109"/>
                    <a:pt x="22085" y="70247"/>
                    <a:pt x="22196" y="70247"/>
                  </a:cubicBezTo>
                  <a:cubicBezTo>
                    <a:pt x="22221" y="70247"/>
                    <a:pt x="22247" y="70240"/>
                    <a:pt x="22270" y="70225"/>
                  </a:cubicBezTo>
                  <a:cubicBezTo>
                    <a:pt x="24057" y="68940"/>
                    <a:pt x="25734" y="67522"/>
                    <a:pt x="27334" y="66010"/>
                  </a:cubicBezTo>
                  <a:lnTo>
                    <a:pt x="27334" y="66010"/>
                  </a:lnTo>
                  <a:cubicBezTo>
                    <a:pt x="26927" y="66564"/>
                    <a:pt x="26514" y="67112"/>
                    <a:pt x="26098" y="67658"/>
                  </a:cubicBezTo>
                  <a:cubicBezTo>
                    <a:pt x="25044" y="68784"/>
                    <a:pt x="24017" y="69936"/>
                    <a:pt x="23049" y="71163"/>
                  </a:cubicBezTo>
                  <a:cubicBezTo>
                    <a:pt x="22959" y="71280"/>
                    <a:pt x="23050" y="71432"/>
                    <a:pt x="23163" y="71432"/>
                  </a:cubicBezTo>
                  <a:cubicBezTo>
                    <a:pt x="23198" y="71432"/>
                    <a:pt x="23235" y="71417"/>
                    <a:pt x="23269" y="71382"/>
                  </a:cubicBezTo>
                  <a:cubicBezTo>
                    <a:pt x="23459" y="71192"/>
                    <a:pt x="23630" y="70993"/>
                    <a:pt x="23815" y="70799"/>
                  </a:cubicBezTo>
                  <a:lnTo>
                    <a:pt x="23815" y="70799"/>
                  </a:lnTo>
                  <a:cubicBezTo>
                    <a:pt x="23428" y="71215"/>
                    <a:pt x="23113" y="71680"/>
                    <a:pt x="22980" y="72222"/>
                  </a:cubicBezTo>
                  <a:cubicBezTo>
                    <a:pt x="22968" y="72278"/>
                    <a:pt x="23014" y="72315"/>
                    <a:pt x="23058" y="72315"/>
                  </a:cubicBezTo>
                  <a:cubicBezTo>
                    <a:pt x="23086" y="72315"/>
                    <a:pt x="23114" y="72299"/>
                    <a:pt x="23125" y="72263"/>
                  </a:cubicBezTo>
                  <a:cubicBezTo>
                    <a:pt x="23589" y="70585"/>
                    <a:pt x="25732" y="69468"/>
                    <a:pt x="27172" y="68501"/>
                  </a:cubicBezTo>
                  <a:lnTo>
                    <a:pt x="27172" y="68501"/>
                  </a:lnTo>
                  <a:cubicBezTo>
                    <a:pt x="26831" y="68885"/>
                    <a:pt x="26494" y="69278"/>
                    <a:pt x="26144" y="69659"/>
                  </a:cubicBezTo>
                  <a:cubicBezTo>
                    <a:pt x="25555" y="70245"/>
                    <a:pt x="24972" y="70840"/>
                    <a:pt x="24409" y="71452"/>
                  </a:cubicBezTo>
                  <a:cubicBezTo>
                    <a:pt x="24314" y="71550"/>
                    <a:pt x="24224" y="71648"/>
                    <a:pt x="24132" y="71749"/>
                  </a:cubicBezTo>
                  <a:cubicBezTo>
                    <a:pt x="23800" y="72118"/>
                    <a:pt x="23471" y="72494"/>
                    <a:pt x="23156" y="72886"/>
                  </a:cubicBezTo>
                  <a:cubicBezTo>
                    <a:pt x="23087" y="72970"/>
                    <a:pt x="23116" y="73097"/>
                    <a:pt x="23217" y="73143"/>
                  </a:cubicBezTo>
                  <a:cubicBezTo>
                    <a:pt x="23182" y="73224"/>
                    <a:pt x="23145" y="73302"/>
                    <a:pt x="23116" y="73386"/>
                  </a:cubicBezTo>
                  <a:cubicBezTo>
                    <a:pt x="23079" y="73502"/>
                    <a:pt x="23175" y="73578"/>
                    <a:pt x="23270" y="73578"/>
                  </a:cubicBezTo>
                  <a:cubicBezTo>
                    <a:pt x="23333" y="73578"/>
                    <a:pt x="23395" y="73545"/>
                    <a:pt x="23419" y="73470"/>
                  </a:cubicBezTo>
                  <a:cubicBezTo>
                    <a:pt x="23483" y="73282"/>
                    <a:pt x="23560" y="73100"/>
                    <a:pt x="23653" y="72924"/>
                  </a:cubicBezTo>
                  <a:cubicBezTo>
                    <a:pt x="25573" y="71668"/>
                    <a:pt x="27192" y="70057"/>
                    <a:pt x="28942" y="68573"/>
                  </a:cubicBezTo>
                  <a:cubicBezTo>
                    <a:pt x="29324" y="68208"/>
                    <a:pt x="29525" y="68025"/>
                    <a:pt x="29542" y="68025"/>
                  </a:cubicBezTo>
                  <a:cubicBezTo>
                    <a:pt x="29562" y="68025"/>
                    <a:pt x="29343" y="68265"/>
                    <a:pt x="28884" y="68744"/>
                  </a:cubicBezTo>
                  <a:cubicBezTo>
                    <a:pt x="28223" y="69465"/>
                    <a:pt x="27519" y="70150"/>
                    <a:pt x="26826" y="70842"/>
                  </a:cubicBezTo>
                  <a:cubicBezTo>
                    <a:pt x="25671" y="71994"/>
                    <a:pt x="24542" y="73158"/>
                    <a:pt x="23480" y="74393"/>
                  </a:cubicBezTo>
                  <a:cubicBezTo>
                    <a:pt x="23375" y="74516"/>
                    <a:pt x="23472" y="74660"/>
                    <a:pt x="23595" y="74660"/>
                  </a:cubicBezTo>
                  <a:cubicBezTo>
                    <a:pt x="23631" y="74660"/>
                    <a:pt x="23669" y="74647"/>
                    <a:pt x="23705" y="74619"/>
                  </a:cubicBezTo>
                  <a:cubicBezTo>
                    <a:pt x="25732" y="72987"/>
                    <a:pt x="27851" y="71212"/>
                    <a:pt x="29609" y="69292"/>
                  </a:cubicBezTo>
                  <a:lnTo>
                    <a:pt x="29609" y="69292"/>
                  </a:lnTo>
                  <a:cubicBezTo>
                    <a:pt x="27819" y="71250"/>
                    <a:pt x="25928" y="73103"/>
                    <a:pt x="24224" y="75141"/>
                  </a:cubicBezTo>
                  <a:cubicBezTo>
                    <a:pt x="24109" y="75264"/>
                    <a:pt x="24220" y="75429"/>
                    <a:pt x="24351" y="75429"/>
                  </a:cubicBezTo>
                  <a:cubicBezTo>
                    <a:pt x="24390" y="75429"/>
                    <a:pt x="24430" y="75415"/>
                    <a:pt x="24467" y="75381"/>
                  </a:cubicBezTo>
                  <a:cubicBezTo>
                    <a:pt x="25368" y="74636"/>
                    <a:pt x="26266" y="73903"/>
                    <a:pt x="27236" y="73244"/>
                  </a:cubicBezTo>
                  <a:cubicBezTo>
                    <a:pt x="27292" y="73206"/>
                    <a:pt x="27328" y="73189"/>
                    <a:pt x="27348" y="73189"/>
                  </a:cubicBezTo>
                  <a:cubicBezTo>
                    <a:pt x="27537" y="73189"/>
                    <a:pt x="26299" y="74703"/>
                    <a:pt x="25936" y="75138"/>
                  </a:cubicBezTo>
                  <a:cubicBezTo>
                    <a:pt x="25700" y="75389"/>
                    <a:pt x="25480" y="75655"/>
                    <a:pt x="25278" y="75932"/>
                  </a:cubicBezTo>
                  <a:cubicBezTo>
                    <a:pt x="25196" y="76047"/>
                    <a:pt x="25317" y="76185"/>
                    <a:pt x="25434" y="76185"/>
                  </a:cubicBezTo>
                  <a:cubicBezTo>
                    <a:pt x="25473" y="76185"/>
                    <a:pt x="25511" y="76170"/>
                    <a:pt x="25541" y="76134"/>
                  </a:cubicBezTo>
                  <a:cubicBezTo>
                    <a:pt x="25997" y="75583"/>
                    <a:pt x="26453" y="75052"/>
                    <a:pt x="26881" y="74500"/>
                  </a:cubicBezTo>
                  <a:cubicBezTo>
                    <a:pt x="27279" y="74222"/>
                    <a:pt x="27657" y="73973"/>
                    <a:pt x="27733" y="73973"/>
                  </a:cubicBezTo>
                  <a:cubicBezTo>
                    <a:pt x="27770" y="73973"/>
                    <a:pt x="27739" y="74028"/>
                    <a:pt x="27611" y="74162"/>
                  </a:cubicBezTo>
                  <a:cubicBezTo>
                    <a:pt x="26811" y="75003"/>
                    <a:pt x="25960" y="75773"/>
                    <a:pt x="25197" y="76654"/>
                  </a:cubicBezTo>
                  <a:cubicBezTo>
                    <a:pt x="25101" y="76762"/>
                    <a:pt x="25189" y="76948"/>
                    <a:pt x="25312" y="76948"/>
                  </a:cubicBezTo>
                  <a:cubicBezTo>
                    <a:pt x="25340" y="76948"/>
                    <a:pt x="25370" y="76938"/>
                    <a:pt x="25399" y="76917"/>
                  </a:cubicBezTo>
                  <a:cubicBezTo>
                    <a:pt x="26267" y="76281"/>
                    <a:pt x="27117" y="75629"/>
                    <a:pt x="28017" y="75038"/>
                  </a:cubicBezTo>
                  <a:lnTo>
                    <a:pt x="28017" y="75038"/>
                  </a:lnTo>
                  <a:cubicBezTo>
                    <a:pt x="27241" y="75550"/>
                    <a:pt x="26524" y="76337"/>
                    <a:pt x="25838" y="76972"/>
                  </a:cubicBezTo>
                  <a:cubicBezTo>
                    <a:pt x="25718" y="77085"/>
                    <a:pt x="25829" y="77266"/>
                    <a:pt x="25966" y="77266"/>
                  </a:cubicBezTo>
                  <a:cubicBezTo>
                    <a:pt x="25993" y="77266"/>
                    <a:pt x="26021" y="77259"/>
                    <a:pt x="26049" y="77243"/>
                  </a:cubicBezTo>
                  <a:cubicBezTo>
                    <a:pt x="26875" y="76755"/>
                    <a:pt x="27905" y="76238"/>
                    <a:pt x="28529" y="75548"/>
                  </a:cubicBezTo>
                  <a:lnTo>
                    <a:pt x="28529" y="75548"/>
                  </a:lnTo>
                  <a:cubicBezTo>
                    <a:pt x="27801" y="76354"/>
                    <a:pt x="26857" y="76995"/>
                    <a:pt x="26058" y="77731"/>
                  </a:cubicBezTo>
                  <a:cubicBezTo>
                    <a:pt x="25943" y="77839"/>
                    <a:pt x="26049" y="78018"/>
                    <a:pt x="26179" y="78018"/>
                  </a:cubicBezTo>
                  <a:cubicBezTo>
                    <a:pt x="26205" y="78018"/>
                    <a:pt x="26233" y="78011"/>
                    <a:pt x="26260" y="77994"/>
                  </a:cubicBezTo>
                  <a:cubicBezTo>
                    <a:pt x="27094" y="77462"/>
                    <a:pt x="27908" y="76905"/>
                    <a:pt x="28731" y="76357"/>
                  </a:cubicBezTo>
                  <a:lnTo>
                    <a:pt x="28731" y="76357"/>
                  </a:lnTo>
                  <a:cubicBezTo>
                    <a:pt x="28035" y="76821"/>
                    <a:pt x="27357" y="78054"/>
                    <a:pt x="26808" y="78698"/>
                  </a:cubicBezTo>
                  <a:cubicBezTo>
                    <a:pt x="26700" y="78826"/>
                    <a:pt x="26805" y="78992"/>
                    <a:pt x="26935" y="78992"/>
                  </a:cubicBezTo>
                  <a:cubicBezTo>
                    <a:pt x="26974" y="78992"/>
                    <a:pt x="27015" y="78977"/>
                    <a:pt x="27054" y="78940"/>
                  </a:cubicBezTo>
                  <a:cubicBezTo>
                    <a:pt x="27879" y="78173"/>
                    <a:pt x="28766" y="77474"/>
                    <a:pt x="29707" y="76847"/>
                  </a:cubicBezTo>
                  <a:lnTo>
                    <a:pt x="29707" y="76847"/>
                  </a:lnTo>
                  <a:cubicBezTo>
                    <a:pt x="29164" y="77211"/>
                    <a:pt x="28650" y="77994"/>
                    <a:pt x="28209" y="78479"/>
                  </a:cubicBezTo>
                  <a:cubicBezTo>
                    <a:pt x="28102" y="78594"/>
                    <a:pt x="28199" y="78787"/>
                    <a:pt x="28331" y="78787"/>
                  </a:cubicBezTo>
                  <a:cubicBezTo>
                    <a:pt x="28360" y="78787"/>
                    <a:pt x="28391" y="78778"/>
                    <a:pt x="28422" y="78756"/>
                  </a:cubicBezTo>
                  <a:cubicBezTo>
                    <a:pt x="28959" y="78363"/>
                    <a:pt x="29534" y="77962"/>
                    <a:pt x="30048" y="77540"/>
                  </a:cubicBezTo>
                  <a:cubicBezTo>
                    <a:pt x="30163" y="77445"/>
                    <a:pt x="30221" y="77404"/>
                    <a:pt x="30237" y="77404"/>
                  </a:cubicBezTo>
                  <a:cubicBezTo>
                    <a:pt x="30332" y="77404"/>
                    <a:pt x="28763" y="78986"/>
                    <a:pt x="28636" y="79122"/>
                  </a:cubicBezTo>
                  <a:cubicBezTo>
                    <a:pt x="28513" y="79254"/>
                    <a:pt x="28630" y="79426"/>
                    <a:pt x="28769" y="79426"/>
                  </a:cubicBezTo>
                  <a:cubicBezTo>
                    <a:pt x="28809" y="79426"/>
                    <a:pt x="28851" y="79411"/>
                    <a:pt x="28890" y="79376"/>
                  </a:cubicBezTo>
                  <a:cubicBezTo>
                    <a:pt x="29098" y="79186"/>
                    <a:pt x="29311" y="79001"/>
                    <a:pt x="29522" y="78813"/>
                  </a:cubicBezTo>
                  <a:cubicBezTo>
                    <a:pt x="29565" y="78790"/>
                    <a:pt x="29603" y="78756"/>
                    <a:pt x="29632" y="78715"/>
                  </a:cubicBezTo>
                  <a:cubicBezTo>
                    <a:pt x="29874" y="78499"/>
                    <a:pt x="30114" y="78282"/>
                    <a:pt x="30359" y="78071"/>
                  </a:cubicBezTo>
                  <a:cubicBezTo>
                    <a:pt x="30876" y="77617"/>
                    <a:pt x="31134" y="77446"/>
                    <a:pt x="31230" y="77446"/>
                  </a:cubicBezTo>
                  <a:cubicBezTo>
                    <a:pt x="31484" y="77446"/>
                    <a:pt x="30615" y="78637"/>
                    <a:pt x="30437" y="78940"/>
                  </a:cubicBezTo>
                  <a:cubicBezTo>
                    <a:pt x="30360" y="79072"/>
                    <a:pt x="30481" y="79219"/>
                    <a:pt x="30605" y="79219"/>
                  </a:cubicBezTo>
                  <a:cubicBezTo>
                    <a:pt x="30646" y="79219"/>
                    <a:pt x="30688" y="79202"/>
                    <a:pt x="30723" y="79163"/>
                  </a:cubicBezTo>
                  <a:cubicBezTo>
                    <a:pt x="30954" y="78770"/>
                    <a:pt x="31306" y="78464"/>
                    <a:pt x="31725" y="78294"/>
                  </a:cubicBezTo>
                  <a:lnTo>
                    <a:pt x="31725" y="78294"/>
                  </a:lnTo>
                  <a:cubicBezTo>
                    <a:pt x="31654" y="78427"/>
                    <a:pt x="31775" y="78582"/>
                    <a:pt x="31898" y="78582"/>
                  </a:cubicBezTo>
                  <a:cubicBezTo>
                    <a:pt x="31941" y="78582"/>
                    <a:pt x="31984" y="78563"/>
                    <a:pt x="32019" y="78519"/>
                  </a:cubicBezTo>
                  <a:cubicBezTo>
                    <a:pt x="32245" y="78210"/>
                    <a:pt x="32496" y="77918"/>
                    <a:pt x="32773" y="77656"/>
                  </a:cubicBezTo>
                  <a:cubicBezTo>
                    <a:pt x="32902" y="77523"/>
                    <a:pt x="32776" y="77336"/>
                    <a:pt x="32635" y="77336"/>
                  </a:cubicBezTo>
                  <a:cubicBezTo>
                    <a:pt x="32593" y="77336"/>
                    <a:pt x="32549" y="77353"/>
                    <a:pt x="32510" y="77393"/>
                  </a:cubicBezTo>
                  <a:cubicBezTo>
                    <a:pt x="32504" y="77399"/>
                    <a:pt x="32502" y="77405"/>
                    <a:pt x="32499" y="77410"/>
                  </a:cubicBezTo>
                  <a:cubicBezTo>
                    <a:pt x="32492" y="77314"/>
                    <a:pt x="32402" y="77226"/>
                    <a:pt x="32310" y="77226"/>
                  </a:cubicBezTo>
                  <a:cubicBezTo>
                    <a:pt x="32281" y="77226"/>
                    <a:pt x="32251" y="77234"/>
                    <a:pt x="32224" y="77254"/>
                  </a:cubicBezTo>
                  <a:cubicBezTo>
                    <a:pt x="31492" y="77814"/>
                    <a:pt x="31678" y="77653"/>
                    <a:pt x="31009" y="78291"/>
                  </a:cubicBezTo>
                  <a:lnTo>
                    <a:pt x="31009" y="78291"/>
                  </a:lnTo>
                  <a:cubicBezTo>
                    <a:pt x="31174" y="78133"/>
                    <a:pt x="31703" y="77445"/>
                    <a:pt x="31936" y="76969"/>
                  </a:cubicBezTo>
                  <a:cubicBezTo>
                    <a:pt x="31996" y="76845"/>
                    <a:pt x="31904" y="76696"/>
                    <a:pt x="31781" y="76696"/>
                  </a:cubicBezTo>
                  <a:cubicBezTo>
                    <a:pt x="31752" y="76696"/>
                    <a:pt x="31721" y="76705"/>
                    <a:pt x="31690" y="76723"/>
                  </a:cubicBezTo>
                  <a:cubicBezTo>
                    <a:pt x="31199" y="77024"/>
                    <a:pt x="30726" y="77353"/>
                    <a:pt x="30279" y="77711"/>
                  </a:cubicBezTo>
                  <a:cubicBezTo>
                    <a:pt x="30475" y="77428"/>
                    <a:pt x="30668" y="77142"/>
                    <a:pt x="30856" y="76859"/>
                  </a:cubicBezTo>
                  <a:cubicBezTo>
                    <a:pt x="30945" y="76724"/>
                    <a:pt x="30824" y="76604"/>
                    <a:pt x="30697" y="76604"/>
                  </a:cubicBezTo>
                  <a:cubicBezTo>
                    <a:pt x="30656" y="76604"/>
                    <a:pt x="30614" y="76616"/>
                    <a:pt x="30579" y="76645"/>
                  </a:cubicBezTo>
                  <a:cubicBezTo>
                    <a:pt x="29370" y="77634"/>
                    <a:pt x="28953" y="77994"/>
                    <a:pt x="28947" y="77994"/>
                  </a:cubicBezTo>
                  <a:cubicBezTo>
                    <a:pt x="28938" y="77994"/>
                    <a:pt x="29987" y="77069"/>
                    <a:pt x="30530" y="76322"/>
                  </a:cubicBezTo>
                  <a:cubicBezTo>
                    <a:pt x="30617" y="76204"/>
                    <a:pt x="30497" y="76060"/>
                    <a:pt x="30373" y="76060"/>
                  </a:cubicBezTo>
                  <a:cubicBezTo>
                    <a:pt x="30346" y="76060"/>
                    <a:pt x="30318" y="76067"/>
                    <a:pt x="30293" y="76082"/>
                  </a:cubicBezTo>
                  <a:cubicBezTo>
                    <a:pt x="29629" y="76487"/>
                    <a:pt x="28965" y="76905"/>
                    <a:pt x="28347" y="77381"/>
                  </a:cubicBezTo>
                  <a:cubicBezTo>
                    <a:pt x="28774" y="76856"/>
                    <a:pt x="29196" y="76328"/>
                    <a:pt x="29638" y="75814"/>
                  </a:cubicBezTo>
                  <a:cubicBezTo>
                    <a:pt x="29735" y="75698"/>
                    <a:pt x="29651" y="75525"/>
                    <a:pt x="29521" y="75525"/>
                  </a:cubicBezTo>
                  <a:cubicBezTo>
                    <a:pt x="29493" y="75525"/>
                    <a:pt x="29463" y="75533"/>
                    <a:pt x="29433" y="75551"/>
                  </a:cubicBezTo>
                  <a:cubicBezTo>
                    <a:pt x="28522" y="76094"/>
                    <a:pt x="27591" y="76760"/>
                    <a:pt x="26908" y="77398"/>
                  </a:cubicBezTo>
                  <a:lnTo>
                    <a:pt x="26908" y="77398"/>
                  </a:lnTo>
                  <a:cubicBezTo>
                    <a:pt x="27716" y="76643"/>
                    <a:pt x="28564" y="75987"/>
                    <a:pt x="29306" y="75159"/>
                  </a:cubicBezTo>
                  <a:cubicBezTo>
                    <a:pt x="29401" y="75054"/>
                    <a:pt x="29318" y="74888"/>
                    <a:pt x="29196" y="74888"/>
                  </a:cubicBezTo>
                  <a:cubicBezTo>
                    <a:pt x="29171" y="74888"/>
                    <a:pt x="29143" y="74896"/>
                    <a:pt x="29115" y="74913"/>
                  </a:cubicBezTo>
                  <a:cubicBezTo>
                    <a:pt x="28312" y="75413"/>
                    <a:pt x="27524" y="75932"/>
                    <a:pt x="26730" y="76446"/>
                  </a:cubicBezTo>
                  <a:cubicBezTo>
                    <a:pt x="27181" y="76155"/>
                    <a:pt x="28191" y="75280"/>
                    <a:pt x="28774" y="74627"/>
                  </a:cubicBezTo>
                  <a:cubicBezTo>
                    <a:pt x="28883" y="74512"/>
                    <a:pt x="28786" y="74343"/>
                    <a:pt x="28653" y="74343"/>
                  </a:cubicBezTo>
                  <a:cubicBezTo>
                    <a:pt x="28627" y="74343"/>
                    <a:pt x="28600" y="74350"/>
                    <a:pt x="28572" y="74365"/>
                  </a:cubicBezTo>
                  <a:cubicBezTo>
                    <a:pt x="27602" y="74878"/>
                    <a:pt x="26751" y="75496"/>
                    <a:pt x="25879" y="76155"/>
                  </a:cubicBezTo>
                  <a:cubicBezTo>
                    <a:pt x="26612" y="75600"/>
                    <a:pt x="27666" y="74593"/>
                    <a:pt x="28448" y="73764"/>
                  </a:cubicBezTo>
                  <a:cubicBezTo>
                    <a:pt x="28563" y="73645"/>
                    <a:pt x="28461" y="73487"/>
                    <a:pt x="28327" y="73487"/>
                  </a:cubicBezTo>
                  <a:cubicBezTo>
                    <a:pt x="28302" y="73487"/>
                    <a:pt x="28275" y="73492"/>
                    <a:pt x="28249" y="73504"/>
                  </a:cubicBezTo>
                  <a:cubicBezTo>
                    <a:pt x="27868" y="73686"/>
                    <a:pt x="27501" y="73894"/>
                    <a:pt x="27152" y="74131"/>
                  </a:cubicBezTo>
                  <a:cubicBezTo>
                    <a:pt x="27481" y="73695"/>
                    <a:pt x="27778" y="73239"/>
                    <a:pt x="28047" y="72762"/>
                  </a:cubicBezTo>
                  <a:cubicBezTo>
                    <a:pt x="28113" y="72642"/>
                    <a:pt x="28017" y="72510"/>
                    <a:pt x="27898" y="72510"/>
                  </a:cubicBezTo>
                  <a:cubicBezTo>
                    <a:pt x="27871" y="72510"/>
                    <a:pt x="27843" y="72517"/>
                    <a:pt x="27816" y="72531"/>
                  </a:cubicBezTo>
                  <a:cubicBezTo>
                    <a:pt x="27074" y="72956"/>
                    <a:pt x="26361" y="73429"/>
                    <a:pt x="25682" y="73952"/>
                  </a:cubicBezTo>
                  <a:cubicBezTo>
                    <a:pt x="25703" y="73929"/>
                    <a:pt x="25720" y="73914"/>
                    <a:pt x="25740" y="73888"/>
                  </a:cubicBezTo>
                  <a:cubicBezTo>
                    <a:pt x="27267" y="72142"/>
                    <a:pt x="28927" y="70516"/>
                    <a:pt x="30495" y="68804"/>
                  </a:cubicBezTo>
                  <a:cubicBezTo>
                    <a:pt x="30592" y="68698"/>
                    <a:pt x="30502" y="68521"/>
                    <a:pt x="30382" y="68521"/>
                  </a:cubicBezTo>
                  <a:cubicBezTo>
                    <a:pt x="30355" y="68521"/>
                    <a:pt x="30327" y="68530"/>
                    <a:pt x="30299" y="68550"/>
                  </a:cubicBezTo>
                  <a:cubicBezTo>
                    <a:pt x="28153" y="70130"/>
                    <a:pt x="26285" y="72013"/>
                    <a:pt x="24275" y="73754"/>
                  </a:cubicBezTo>
                  <a:lnTo>
                    <a:pt x="24275" y="73754"/>
                  </a:lnTo>
                  <a:cubicBezTo>
                    <a:pt x="26219" y="72069"/>
                    <a:pt x="28519" y="69651"/>
                    <a:pt x="30380" y="67505"/>
                  </a:cubicBezTo>
                  <a:cubicBezTo>
                    <a:pt x="30467" y="67404"/>
                    <a:pt x="30389" y="67241"/>
                    <a:pt x="30275" y="67241"/>
                  </a:cubicBezTo>
                  <a:cubicBezTo>
                    <a:pt x="30250" y="67241"/>
                    <a:pt x="30222" y="67249"/>
                    <a:pt x="30195" y="67268"/>
                  </a:cubicBezTo>
                  <a:cubicBezTo>
                    <a:pt x="28223" y="68631"/>
                    <a:pt x="26546" y="70346"/>
                    <a:pt x="24666" y="71824"/>
                  </a:cubicBezTo>
                  <a:cubicBezTo>
                    <a:pt x="26358" y="70389"/>
                    <a:pt x="28021" y="68322"/>
                    <a:pt x="29464" y="66746"/>
                  </a:cubicBezTo>
                  <a:cubicBezTo>
                    <a:pt x="29655" y="66541"/>
                    <a:pt x="29785" y="66388"/>
                    <a:pt x="29871" y="66275"/>
                  </a:cubicBezTo>
                  <a:cubicBezTo>
                    <a:pt x="30149" y="65981"/>
                    <a:pt x="30403" y="65660"/>
                    <a:pt x="30628" y="65325"/>
                  </a:cubicBezTo>
                  <a:cubicBezTo>
                    <a:pt x="30700" y="65210"/>
                    <a:pt x="30587" y="65080"/>
                    <a:pt x="30478" y="65077"/>
                  </a:cubicBezTo>
                  <a:cubicBezTo>
                    <a:pt x="32051" y="63186"/>
                    <a:pt x="33596" y="61272"/>
                    <a:pt x="35117" y="59338"/>
                  </a:cubicBezTo>
                  <a:cubicBezTo>
                    <a:pt x="37903" y="55792"/>
                    <a:pt x="42522" y="52550"/>
                    <a:pt x="43677" y="48041"/>
                  </a:cubicBezTo>
                  <a:cubicBezTo>
                    <a:pt x="43704" y="47933"/>
                    <a:pt x="43615" y="47841"/>
                    <a:pt x="43520" y="47841"/>
                  </a:cubicBezTo>
                  <a:cubicBezTo>
                    <a:pt x="43484" y="47841"/>
                    <a:pt x="43446" y="47855"/>
                    <a:pt x="43414" y="47888"/>
                  </a:cubicBezTo>
                  <a:cubicBezTo>
                    <a:pt x="41206" y="50206"/>
                    <a:pt x="39098" y="52579"/>
                    <a:pt x="37086" y="55045"/>
                  </a:cubicBezTo>
                  <a:cubicBezTo>
                    <a:pt x="37892" y="54043"/>
                    <a:pt x="38694" y="53041"/>
                    <a:pt x="39497" y="52039"/>
                  </a:cubicBezTo>
                  <a:cubicBezTo>
                    <a:pt x="41645" y="49588"/>
                    <a:pt x="43920" y="47204"/>
                    <a:pt x="46261" y="44972"/>
                  </a:cubicBezTo>
                  <a:cubicBezTo>
                    <a:pt x="47012" y="44256"/>
                    <a:pt x="47782" y="43572"/>
                    <a:pt x="48524" y="42870"/>
                  </a:cubicBezTo>
                  <a:lnTo>
                    <a:pt x="48524" y="42870"/>
                  </a:lnTo>
                  <a:cubicBezTo>
                    <a:pt x="48386" y="43087"/>
                    <a:pt x="48279" y="43318"/>
                    <a:pt x="48198" y="43563"/>
                  </a:cubicBezTo>
                  <a:cubicBezTo>
                    <a:pt x="48183" y="43612"/>
                    <a:pt x="48225" y="43648"/>
                    <a:pt x="48268" y="43648"/>
                  </a:cubicBezTo>
                  <a:cubicBezTo>
                    <a:pt x="48290" y="43648"/>
                    <a:pt x="48313" y="43638"/>
                    <a:pt x="48328" y="43615"/>
                  </a:cubicBezTo>
                  <a:cubicBezTo>
                    <a:pt x="48672" y="43072"/>
                    <a:pt x="49004" y="42538"/>
                    <a:pt x="49402" y="42030"/>
                  </a:cubicBezTo>
                  <a:cubicBezTo>
                    <a:pt x="49835" y="41482"/>
                    <a:pt x="50366" y="41049"/>
                    <a:pt x="50825" y="40535"/>
                  </a:cubicBezTo>
                  <a:cubicBezTo>
                    <a:pt x="50869" y="40486"/>
                    <a:pt x="50863" y="40411"/>
                    <a:pt x="50811" y="40373"/>
                  </a:cubicBezTo>
                  <a:cubicBezTo>
                    <a:pt x="51253" y="39781"/>
                    <a:pt x="51634" y="39149"/>
                    <a:pt x="51948" y="38482"/>
                  </a:cubicBezTo>
                  <a:cubicBezTo>
                    <a:pt x="51992" y="38387"/>
                    <a:pt x="51920" y="38252"/>
                    <a:pt x="51824" y="38252"/>
                  </a:cubicBezTo>
                  <a:cubicBezTo>
                    <a:pt x="51800" y="38252"/>
                    <a:pt x="51775" y="38260"/>
                    <a:pt x="51749" y="38280"/>
                  </a:cubicBezTo>
                  <a:cubicBezTo>
                    <a:pt x="51409" y="38537"/>
                    <a:pt x="51082" y="38817"/>
                    <a:pt x="50750" y="39088"/>
                  </a:cubicBezTo>
                  <a:cubicBezTo>
                    <a:pt x="51068" y="38577"/>
                    <a:pt x="51357" y="38046"/>
                    <a:pt x="51616" y="37503"/>
                  </a:cubicBezTo>
                  <a:cubicBezTo>
                    <a:pt x="51661" y="37413"/>
                    <a:pt x="51594" y="37303"/>
                    <a:pt x="51504" y="37303"/>
                  </a:cubicBezTo>
                  <a:cubicBezTo>
                    <a:pt x="51482" y="37303"/>
                    <a:pt x="51458" y="37310"/>
                    <a:pt x="51435" y="37324"/>
                  </a:cubicBezTo>
                  <a:cubicBezTo>
                    <a:pt x="51166" y="37486"/>
                    <a:pt x="50906" y="37659"/>
                    <a:pt x="50655" y="37847"/>
                  </a:cubicBezTo>
                  <a:cubicBezTo>
                    <a:pt x="51435" y="36952"/>
                    <a:pt x="52125" y="35996"/>
                    <a:pt x="52612" y="34937"/>
                  </a:cubicBezTo>
                  <a:cubicBezTo>
                    <a:pt x="52618" y="34917"/>
                    <a:pt x="52621" y="34896"/>
                    <a:pt x="52621" y="34876"/>
                  </a:cubicBezTo>
                  <a:cubicBezTo>
                    <a:pt x="53210" y="33742"/>
                    <a:pt x="53626" y="32561"/>
                    <a:pt x="53730" y="31467"/>
                  </a:cubicBezTo>
                  <a:cubicBezTo>
                    <a:pt x="53756" y="31389"/>
                    <a:pt x="53790" y="31311"/>
                    <a:pt x="53813" y="31233"/>
                  </a:cubicBezTo>
                  <a:cubicBezTo>
                    <a:pt x="53834" y="31166"/>
                    <a:pt x="53813" y="31097"/>
                    <a:pt x="53761" y="31057"/>
                  </a:cubicBezTo>
                  <a:cubicBezTo>
                    <a:pt x="53793" y="29581"/>
                    <a:pt x="53184" y="28314"/>
                    <a:pt x="51547" y="27621"/>
                  </a:cubicBezTo>
                  <a:cubicBezTo>
                    <a:pt x="51545" y="27526"/>
                    <a:pt x="51467" y="27464"/>
                    <a:pt x="51386" y="27464"/>
                  </a:cubicBezTo>
                  <a:cubicBezTo>
                    <a:pt x="51350" y="27464"/>
                    <a:pt x="51312" y="27477"/>
                    <a:pt x="51282" y="27506"/>
                  </a:cubicBezTo>
                  <a:lnTo>
                    <a:pt x="51270" y="27517"/>
                  </a:lnTo>
                  <a:cubicBezTo>
                    <a:pt x="50889" y="27379"/>
                    <a:pt x="50499" y="27272"/>
                    <a:pt x="50101" y="27205"/>
                  </a:cubicBezTo>
                  <a:cubicBezTo>
                    <a:pt x="48851" y="26989"/>
                    <a:pt x="48074" y="27162"/>
                    <a:pt x="47436" y="25987"/>
                  </a:cubicBezTo>
                  <a:cubicBezTo>
                    <a:pt x="47072" y="25314"/>
                    <a:pt x="45796" y="24884"/>
                    <a:pt x="45150" y="24596"/>
                  </a:cubicBezTo>
                  <a:cubicBezTo>
                    <a:pt x="43778" y="23986"/>
                    <a:pt x="42407" y="23412"/>
                    <a:pt x="41041" y="22777"/>
                  </a:cubicBezTo>
                  <a:cubicBezTo>
                    <a:pt x="40746" y="22638"/>
                    <a:pt x="40430" y="22604"/>
                    <a:pt x="40109" y="22604"/>
                  </a:cubicBezTo>
                  <a:cubicBezTo>
                    <a:pt x="39797" y="22604"/>
                    <a:pt x="39480" y="22637"/>
                    <a:pt x="39172" y="22637"/>
                  </a:cubicBezTo>
                  <a:cubicBezTo>
                    <a:pt x="38806" y="22637"/>
                    <a:pt x="38452" y="22591"/>
                    <a:pt x="38137" y="22390"/>
                  </a:cubicBezTo>
                  <a:cubicBezTo>
                    <a:pt x="38608" y="19012"/>
                    <a:pt x="34930" y="17335"/>
                    <a:pt x="32253" y="16215"/>
                  </a:cubicBezTo>
                  <a:cubicBezTo>
                    <a:pt x="32260" y="16127"/>
                    <a:pt x="32183" y="16036"/>
                    <a:pt x="32099" y="16036"/>
                  </a:cubicBezTo>
                  <a:cubicBezTo>
                    <a:pt x="32074" y="16036"/>
                    <a:pt x="32049" y="16044"/>
                    <a:pt x="32025" y="16062"/>
                  </a:cubicBezTo>
                  <a:cubicBezTo>
                    <a:pt x="32008" y="16076"/>
                    <a:pt x="31996" y="16090"/>
                    <a:pt x="31979" y="16102"/>
                  </a:cubicBezTo>
                  <a:cubicBezTo>
                    <a:pt x="30672" y="15557"/>
                    <a:pt x="29263" y="14981"/>
                    <a:pt x="27830" y="14981"/>
                  </a:cubicBezTo>
                  <a:cubicBezTo>
                    <a:pt x="27509" y="14981"/>
                    <a:pt x="27188" y="15010"/>
                    <a:pt x="26866" y="15074"/>
                  </a:cubicBezTo>
                  <a:cubicBezTo>
                    <a:pt x="26863" y="15074"/>
                    <a:pt x="26860" y="15074"/>
                    <a:pt x="26857" y="15077"/>
                  </a:cubicBezTo>
                  <a:cubicBezTo>
                    <a:pt x="26842" y="15072"/>
                    <a:pt x="26825" y="15069"/>
                    <a:pt x="26809" y="15069"/>
                  </a:cubicBezTo>
                  <a:cubicBezTo>
                    <a:pt x="26771" y="15069"/>
                    <a:pt x="26734" y="15083"/>
                    <a:pt x="26707" y="15112"/>
                  </a:cubicBezTo>
                  <a:cubicBezTo>
                    <a:pt x="25097" y="15479"/>
                    <a:pt x="22400" y="16711"/>
                    <a:pt x="20274" y="16711"/>
                  </a:cubicBezTo>
                  <a:cubicBezTo>
                    <a:pt x="18746" y="16711"/>
                    <a:pt x="17513" y="16074"/>
                    <a:pt x="17195" y="14020"/>
                  </a:cubicBezTo>
                  <a:cubicBezTo>
                    <a:pt x="17224" y="13986"/>
                    <a:pt x="17252" y="13954"/>
                    <a:pt x="17278" y="13916"/>
                  </a:cubicBezTo>
                  <a:cubicBezTo>
                    <a:pt x="17369" y="13795"/>
                    <a:pt x="17239" y="13653"/>
                    <a:pt x="17117" y="13653"/>
                  </a:cubicBezTo>
                  <a:cubicBezTo>
                    <a:pt x="17111" y="13653"/>
                    <a:pt x="17105" y="13653"/>
                    <a:pt x="17099" y="13654"/>
                  </a:cubicBezTo>
                  <a:cubicBezTo>
                    <a:pt x="17063" y="13609"/>
                    <a:pt x="17009" y="13587"/>
                    <a:pt x="16958" y="13587"/>
                  </a:cubicBezTo>
                  <a:cubicBezTo>
                    <a:pt x="16883" y="13587"/>
                    <a:pt x="16817" y="13635"/>
                    <a:pt x="16825" y="13735"/>
                  </a:cubicBezTo>
                  <a:cubicBezTo>
                    <a:pt x="16831" y="13792"/>
                    <a:pt x="16840" y="13844"/>
                    <a:pt x="16845" y="13899"/>
                  </a:cubicBezTo>
                  <a:cubicBezTo>
                    <a:pt x="16389" y="14471"/>
                    <a:pt x="15962" y="15040"/>
                    <a:pt x="15569" y="15626"/>
                  </a:cubicBezTo>
                  <a:cubicBezTo>
                    <a:pt x="15513" y="15531"/>
                    <a:pt x="15440" y="15484"/>
                    <a:pt x="15348" y="15484"/>
                  </a:cubicBezTo>
                  <a:cubicBezTo>
                    <a:pt x="15181" y="15484"/>
                    <a:pt x="14954" y="15643"/>
                    <a:pt x="14669" y="15960"/>
                  </a:cubicBezTo>
                  <a:cubicBezTo>
                    <a:pt x="15229" y="15091"/>
                    <a:pt x="15742" y="14194"/>
                    <a:pt x="16202" y="13270"/>
                  </a:cubicBezTo>
                  <a:cubicBezTo>
                    <a:pt x="16239" y="13195"/>
                    <a:pt x="16219" y="13105"/>
                    <a:pt x="16155" y="13053"/>
                  </a:cubicBezTo>
                  <a:lnTo>
                    <a:pt x="16155" y="13053"/>
                  </a:lnTo>
                  <a:cubicBezTo>
                    <a:pt x="16323" y="13094"/>
                    <a:pt x="16453" y="13123"/>
                    <a:pt x="16531" y="13134"/>
                  </a:cubicBezTo>
                  <a:cubicBezTo>
                    <a:pt x="16534" y="13135"/>
                    <a:pt x="16538" y="13135"/>
                    <a:pt x="16541" y="13135"/>
                  </a:cubicBezTo>
                  <a:cubicBezTo>
                    <a:pt x="16606" y="13135"/>
                    <a:pt x="16631" y="13038"/>
                    <a:pt x="16559" y="13022"/>
                  </a:cubicBezTo>
                  <a:cubicBezTo>
                    <a:pt x="15255" y="12736"/>
                    <a:pt x="14054" y="11933"/>
                    <a:pt x="12870" y="11324"/>
                  </a:cubicBezTo>
                  <a:cubicBezTo>
                    <a:pt x="12607" y="11185"/>
                    <a:pt x="13202" y="10677"/>
                    <a:pt x="13294" y="10518"/>
                  </a:cubicBezTo>
                  <a:cubicBezTo>
                    <a:pt x="13834" y="9600"/>
                    <a:pt x="13268" y="7926"/>
                    <a:pt x="12873" y="7060"/>
                  </a:cubicBezTo>
                  <a:cubicBezTo>
                    <a:pt x="12709" y="6700"/>
                    <a:pt x="12450" y="6555"/>
                    <a:pt x="12131" y="6555"/>
                  </a:cubicBezTo>
                  <a:cubicBezTo>
                    <a:pt x="10839" y="6555"/>
                    <a:pt x="8583" y="8959"/>
                    <a:pt x="7890" y="9170"/>
                  </a:cubicBezTo>
                  <a:cubicBezTo>
                    <a:pt x="7655" y="9242"/>
                    <a:pt x="7435" y="9275"/>
                    <a:pt x="7232" y="9275"/>
                  </a:cubicBezTo>
                  <a:cubicBezTo>
                    <a:pt x="7028" y="9275"/>
                    <a:pt x="6840" y="9242"/>
                    <a:pt x="6669" y="9185"/>
                  </a:cubicBezTo>
                  <a:cubicBezTo>
                    <a:pt x="6640" y="9162"/>
                    <a:pt x="6605" y="9147"/>
                    <a:pt x="6570" y="9144"/>
                  </a:cubicBezTo>
                  <a:cubicBezTo>
                    <a:pt x="5286" y="8613"/>
                    <a:pt x="4934" y="6537"/>
                    <a:pt x="5595" y="5354"/>
                  </a:cubicBezTo>
                  <a:cubicBezTo>
                    <a:pt x="6218" y="4236"/>
                    <a:pt x="7387" y="3350"/>
                    <a:pt x="8404" y="2628"/>
                  </a:cubicBezTo>
                  <a:cubicBezTo>
                    <a:pt x="9226" y="2045"/>
                    <a:pt x="9825" y="1881"/>
                    <a:pt x="10478" y="1881"/>
                  </a:cubicBezTo>
                  <a:cubicBezTo>
                    <a:pt x="11023" y="1881"/>
                    <a:pt x="11604" y="1995"/>
                    <a:pt x="12385" y="2074"/>
                  </a:cubicBezTo>
                  <a:cubicBezTo>
                    <a:pt x="12413" y="2077"/>
                    <a:pt x="12441" y="2079"/>
                    <a:pt x="12467" y="2079"/>
                  </a:cubicBezTo>
                  <a:cubicBezTo>
                    <a:pt x="12786" y="2079"/>
                    <a:pt x="12994" y="1865"/>
                    <a:pt x="13231" y="1684"/>
                  </a:cubicBezTo>
                  <a:cubicBezTo>
                    <a:pt x="13713" y="1310"/>
                    <a:pt x="14164" y="1142"/>
                    <a:pt x="14573" y="1142"/>
                  </a:cubicBezTo>
                  <a:cubicBezTo>
                    <a:pt x="15317" y="1142"/>
                    <a:pt x="15921" y="1697"/>
                    <a:pt x="16320" y="2565"/>
                  </a:cubicBezTo>
                  <a:cubicBezTo>
                    <a:pt x="16713" y="3429"/>
                    <a:pt x="17287" y="3754"/>
                    <a:pt x="18014" y="3754"/>
                  </a:cubicBezTo>
                  <a:cubicBezTo>
                    <a:pt x="18317" y="3754"/>
                    <a:pt x="18646" y="3698"/>
                    <a:pt x="18999" y="3601"/>
                  </a:cubicBezTo>
                  <a:cubicBezTo>
                    <a:pt x="19114" y="3569"/>
                    <a:pt x="19140" y="3451"/>
                    <a:pt x="19100" y="3356"/>
                  </a:cubicBezTo>
                  <a:cubicBezTo>
                    <a:pt x="18728" y="2475"/>
                    <a:pt x="17942" y="1217"/>
                    <a:pt x="18647" y="229"/>
                  </a:cubicBezTo>
                  <a:cubicBezTo>
                    <a:pt x="18723" y="125"/>
                    <a:pt x="18613" y="0"/>
                    <a:pt x="185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65"/>
            <p:cNvSpPr/>
            <p:nvPr/>
          </p:nvSpPr>
          <p:spPr>
            <a:xfrm>
              <a:off x="2003525" y="3325225"/>
              <a:ext cx="305325" cy="147250"/>
            </a:xfrm>
            <a:custGeom>
              <a:avLst/>
              <a:gdLst/>
              <a:ahLst/>
              <a:cxnLst/>
              <a:rect l="l" t="t" r="r" b="b"/>
              <a:pathLst>
                <a:path w="12213" h="5890" extrusionOk="0">
                  <a:moveTo>
                    <a:pt x="2191" y="1056"/>
                  </a:moveTo>
                  <a:cubicBezTo>
                    <a:pt x="2082" y="1388"/>
                    <a:pt x="1975" y="1723"/>
                    <a:pt x="1836" y="2047"/>
                  </a:cubicBezTo>
                  <a:cubicBezTo>
                    <a:pt x="1698" y="1937"/>
                    <a:pt x="1559" y="1824"/>
                    <a:pt x="1423" y="1706"/>
                  </a:cubicBezTo>
                  <a:cubicBezTo>
                    <a:pt x="1672" y="1478"/>
                    <a:pt x="1929" y="1264"/>
                    <a:pt x="2191" y="1056"/>
                  </a:cubicBezTo>
                  <a:close/>
                  <a:moveTo>
                    <a:pt x="3459" y="1256"/>
                  </a:moveTo>
                  <a:lnTo>
                    <a:pt x="3459" y="1256"/>
                  </a:lnTo>
                  <a:cubicBezTo>
                    <a:pt x="3245" y="1746"/>
                    <a:pt x="3008" y="2223"/>
                    <a:pt x="2887" y="2751"/>
                  </a:cubicBezTo>
                  <a:cubicBezTo>
                    <a:pt x="2884" y="2765"/>
                    <a:pt x="2890" y="2774"/>
                    <a:pt x="2890" y="2786"/>
                  </a:cubicBezTo>
                  <a:cubicBezTo>
                    <a:pt x="2607" y="2621"/>
                    <a:pt x="2339" y="2439"/>
                    <a:pt x="2079" y="2237"/>
                  </a:cubicBezTo>
                  <a:cubicBezTo>
                    <a:pt x="2541" y="1911"/>
                    <a:pt x="2988" y="1567"/>
                    <a:pt x="3459" y="1256"/>
                  </a:cubicBezTo>
                  <a:close/>
                  <a:moveTo>
                    <a:pt x="4207" y="1986"/>
                  </a:moveTo>
                  <a:lnTo>
                    <a:pt x="4207" y="1986"/>
                  </a:lnTo>
                  <a:cubicBezTo>
                    <a:pt x="4065" y="2358"/>
                    <a:pt x="3883" y="2711"/>
                    <a:pt x="3658" y="3037"/>
                  </a:cubicBezTo>
                  <a:cubicBezTo>
                    <a:pt x="3641" y="3062"/>
                    <a:pt x="3635" y="3093"/>
                    <a:pt x="3638" y="3123"/>
                  </a:cubicBezTo>
                  <a:lnTo>
                    <a:pt x="3638" y="3123"/>
                  </a:lnTo>
                  <a:cubicBezTo>
                    <a:pt x="3462" y="3066"/>
                    <a:pt x="3288" y="2994"/>
                    <a:pt x="3124" y="2907"/>
                  </a:cubicBezTo>
                  <a:cubicBezTo>
                    <a:pt x="3130" y="2904"/>
                    <a:pt x="3138" y="2904"/>
                    <a:pt x="3144" y="2901"/>
                  </a:cubicBezTo>
                  <a:cubicBezTo>
                    <a:pt x="3505" y="2604"/>
                    <a:pt x="3854" y="2292"/>
                    <a:pt x="4207" y="1986"/>
                  </a:cubicBezTo>
                  <a:close/>
                  <a:moveTo>
                    <a:pt x="2837" y="346"/>
                  </a:moveTo>
                  <a:cubicBezTo>
                    <a:pt x="3987" y="346"/>
                    <a:pt x="5059" y="1056"/>
                    <a:pt x="6187" y="1992"/>
                  </a:cubicBezTo>
                  <a:cubicBezTo>
                    <a:pt x="6496" y="2243"/>
                    <a:pt x="6834" y="2581"/>
                    <a:pt x="7197" y="2846"/>
                  </a:cubicBezTo>
                  <a:cubicBezTo>
                    <a:pt x="7013" y="2953"/>
                    <a:pt x="6822" y="3066"/>
                    <a:pt x="6629" y="3164"/>
                  </a:cubicBezTo>
                  <a:cubicBezTo>
                    <a:pt x="6588" y="3051"/>
                    <a:pt x="6551" y="2947"/>
                    <a:pt x="6519" y="2846"/>
                  </a:cubicBezTo>
                  <a:cubicBezTo>
                    <a:pt x="6548" y="2731"/>
                    <a:pt x="6574" y="2618"/>
                    <a:pt x="6609" y="2503"/>
                  </a:cubicBezTo>
                  <a:cubicBezTo>
                    <a:pt x="6637" y="2408"/>
                    <a:pt x="6561" y="2342"/>
                    <a:pt x="6481" y="2342"/>
                  </a:cubicBezTo>
                  <a:cubicBezTo>
                    <a:pt x="6449" y="2342"/>
                    <a:pt x="6416" y="2353"/>
                    <a:pt x="6389" y="2376"/>
                  </a:cubicBezTo>
                  <a:cubicBezTo>
                    <a:pt x="6152" y="2578"/>
                    <a:pt x="5910" y="2745"/>
                    <a:pt x="5676" y="2927"/>
                  </a:cubicBezTo>
                  <a:cubicBezTo>
                    <a:pt x="5748" y="2765"/>
                    <a:pt x="5823" y="2604"/>
                    <a:pt x="5919" y="2410"/>
                  </a:cubicBezTo>
                  <a:cubicBezTo>
                    <a:pt x="5951" y="2346"/>
                    <a:pt x="5902" y="2259"/>
                    <a:pt x="5837" y="2259"/>
                  </a:cubicBezTo>
                  <a:cubicBezTo>
                    <a:pt x="5821" y="2259"/>
                    <a:pt x="5803" y="2265"/>
                    <a:pt x="5786" y="2278"/>
                  </a:cubicBezTo>
                  <a:cubicBezTo>
                    <a:pt x="5485" y="2488"/>
                    <a:pt x="5200" y="2716"/>
                    <a:pt x="4925" y="2959"/>
                  </a:cubicBezTo>
                  <a:cubicBezTo>
                    <a:pt x="4876" y="3006"/>
                    <a:pt x="4923" y="3071"/>
                    <a:pt x="4976" y="3071"/>
                  </a:cubicBezTo>
                  <a:cubicBezTo>
                    <a:pt x="4991" y="3071"/>
                    <a:pt x="5007" y="3066"/>
                    <a:pt x="5021" y="3054"/>
                  </a:cubicBezTo>
                  <a:cubicBezTo>
                    <a:pt x="5359" y="2774"/>
                    <a:pt x="5518" y="2668"/>
                    <a:pt x="5569" y="2668"/>
                  </a:cubicBezTo>
                  <a:cubicBezTo>
                    <a:pt x="5642" y="2668"/>
                    <a:pt x="5496" y="2884"/>
                    <a:pt x="5347" y="3115"/>
                  </a:cubicBezTo>
                  <a:cubicBezTo>
                    <a:pt x="5136" y="3187"/>
                    <a:pt x="4917" y="3233"/>
                    <a:pt x="4694" y="3248"/>
                  </a:cubicBezTo>
                  <a:cubicBezTo>
                    <a:pt x="4729" y="3239"/>
                    <a:pt x="4755" y="3219"/>
                    <a:pt x="4772" y="3187"/>
                  </a:cubicBezTo>
                  <a:cubicBezTo>
                    <a:pt x="5000" y="2763"/>
                    <a:pt x="5214" y="2330"/>
                    <a:pt x="5431" y="1899"/>
                  </a:cubicBezTo>
                  <a:cubicBezTo>
                    <a:pt x="5484" y="1790"/>
                    <a:pt x="5389" y="1661"/>
                    <a:pt x="5288" y="1661"/>
                  </a:cubicBezTo>
                  <a:cubicBezTo>
                    <a:pt x="5253" y="1661"/>
                    <a:pt x="5218" y="1676"/>
                    <a:pt x="5188" y="1712"/>
                  </a:cubicBezTo>
                  <a:cubicBezTo>
                    <a:pt x="4914" y="2041"/>
                    <a:pt x="4605" y="2335"/>
                    <a:pt x="4267" y="2595"/>
                  </a:cubicBezTo>
                  <a:cubicBezTo>
                    <a:pt x="4446" y="2260"/>
                    <a:pt x="4590" y="1905"/>
                    <a:pt x="4689" y="1539"/>
                  </a:cubicBezTo>
                  <a:cubicBezTo>
                    <a:pt x="4717" y="1427"/>
                    <a:pt x="4635" y="1353"/>
                    <a:pt x="4544" y="1353"/>
                  </a:cubicBezTo>
                  <a:cubicBezTo>
                    <a:pt x="4507" y="1353"/>
                    <a:pt x="4470" y="1365"/>
                    <a:pt x="4437" y="1391"/>
                  </a:cubicBezTo>
                  <a:cubicBezTo>
                    <a:pt x="4062" y="1697"/>
                    <a:pt x="3698" y="2021"/>
                    <a:pt x="3332" y="2335"/>
                  </a:cubicBezTo>
                  <a:cubicBezTo>
                    <a:pt x="3508" y="1845"/>
                    <a:pt x="3753" y="1383"/>
                    <a:pt x="3938" y="892"/>
                  </a:cubicBezTo>
                  <a:cubicBezTo>
                    <a:pt x="3977" y="786"/>
                    <a:pt x="3879" y="701"/>
                    <a:pt x="3784" y="701"/>
                  </a:cubicBezTo>
                  <a:cubicBezTo>
                    <a:pt x="3759" y="701"/>
                    <a:pt x="3735" y="706"/>
                    <a:pt x="3713" y="719"/>
                  </a:cubicBezTo>
                  <a:cubicBezTo>
                    <a:pt x="3190" y="1007"/>
                    <a:pt x="2731" y="1377"/>
                    <a:pt x="2258" y="1732"/>
                  </a:cubicBezTo>
                  <a:cubicBezTo>
                    <a:pt x="2373" y="1388"/>
                    <a:pt x="2480" y="1045"/>
                    <a:pt x="2622" y="710"/>
                  </a:cubicBezTo>
                  <a:cubicBezTo>
                    <a:pt x="2661" y="618"/>
                    <a:pt x="2595" y="482"/>
                    <a:pt x="2500" y="482"/>
                  </a:cubicBezTo>
                  <a:cubicBezTo>
                    <a:pt x="2475" y="482"/>
                    <a:pt x="2449" y="490"/>
                    <a:pt x="2422" y="511"/>
                  </a:cubicBezTo>
                  <a:cubicBezTo>
                    <a:pt x="2203" y="675"/>
                    <a:pt x="1986" y="846"/>
                    <a:pt x="1773" y="1019"/>
                  </a:cubicBezTo>
                  <a:cubicBezTo>
                    <a:pt x="1888" y="840"/>
                    <a:pt x="2015" y="670"/>
                    <a:pt x="2151" y="508"/>
                  </a:cubicBezTo>
                  <a:cubicBezTo>
                    <a:pt x="2171" y="485"/>
                    <a:pt x="2180" y="456"/>
                    <a:pt x="2180" y="424"/>
                  </a:cubicBezTo>
                  <a:cubicBezTo>
                    <a:pt x="2402" y="371"/>
                    <a:pt x="2621" y="346"/>
                    <a:pt x="2837" y="346"/>
                  </a:cubicBezTo>
                  <a:close/>
                  <a:moveTo>
                    <a:pt x="7555" y="3074"/>
                  </a:moveTo>
                  <a:cubicBezTo>
                    <a:pt x="7729" y="3170"/>
                    <a:pt x="7919" y="3236"/>
                    <a:pt x="8113" y="3268"/>
                  </a:cubicBezTo>
                  <a:cubicBezTo>
                    <a:pt x="8156" y="3274"/>
                    <a:pt x="8196" y="3276"/>
                    <a:pt x="8240" y="3282"/>
                  </a:cubicBezTo>
                  <a:cubicBezTo>
                    <a:pt x="7940" y="3452"/>
                    <a:pt x="7334" y="3745"/>
                    <a:pt x="7247" y="3924"/>
                  </a:cubicBezTo>
                  <a:lnTo>
                    <a:pt x="7247" y="3924"/>
                  </a:lnTo>
                  <a:cubicBezTo>
                    <a:pt x="7391" y="3622"/>
                    <a:pt x="7420" y="3357"/>
                    <a:pt x="7555" y="3074"/>
                  </a:cubicBezTo>
                  <a:close/>
                  <a:moveTo>
                    <a:pt x="8551" y="3314"/>
                  </a:moveTo>
                  <a:lnTo>
                    <a:pt x="8551" y="3314"/>
                  </a:lnTo>
                  <a:cubicBezTo>
                    <a:pt x="8736" y="3334"/>
                    <a:pt x="8921" y="3357"/>
                    <a:pt x="9106" y="3375"/>
                  </a:cubicBezTo>
                  <a:cubicBezTo>
                    <a:pt x="8777" y="3637"/>
                    <a:pt x="8456" y="3915"/>
                    <a:pt x="8147" y="4203"/>
                  </a:cubicBezTo>
                  <a:cubicBezTo>
                    <a:pt x="8289" y="3940"/>
                    <a:pt x="8422" y="3678"/>
                    <a:pt x="8543" y="3401"/>
                  </a:cubicBezTo>
                  <a:cubicBezTo>
                    <a:pt x="8554" y="3375"/>
                    <a:pt x="8557" y="3343"/>
                    <a:pt x="8551" y="3314"/>
                  </a:cubicBezTo>
                  <a:close/>
                  <a:moveTo>
                    <a:pt x="8078" y="3710"/>
                  </a:moveTo>
                  <a:lnTo>
                    <a:pt x="8078" y="3710"/>
                  </a:lnTo>
                  <a:cubicBezTo>
                    <a:pt x="7902" y="4059"/>
                    <a:pt x="7714" y="4400"/>
                    <a:pt x="7512" y="4737"/>
                  </a:cubicBezTo>
                  <a:cubicBezTo>
                    <a:pt x="7371" y="4564"/>
                    <a:pt x="7241" y="4379"/>
                    <a:pt x="7125" y="4186"/>
                  </a:cubicBezTo>
                  <a:cubicBezTo>
                    <a:pt x="7457" y="4059"/>
                    <a:pt x="7778" y="3900"/>
                    <a:pt x="8078" y="3710"/>
                  </a:cubicBezTo>
                  <a:close/>
                  <a:moveTo>
                    <a:pt x="9524" y="3427"/>
                  </a:moveTo>
                  <a:cubicBezTo>
                    <a:pt x="9813" y="3455"/>
                    <a:pt x="10102" y="3484"/>
                    <a:pt x="10388" y="3542"/>
                  </a:cubicBezTo>
                  <a:cubicBezTo>
                    <a:pt x="10407" y="3545"/>
                    <a:pt x="10418" y="3553"/>
                    <a:pt x="10437" y="3559"/>
                  </a:cubicBezTo>
                  <a:lnTo>
                    <a:pt x="10437" y="3559"/>
                  </a:lnTo>
                  <a:cubicBezTo>
                    <a:pt x="9892" y="3945"/>
                    <a:pt x="9417" y="4409"/>
                    <a:pt x="8924" y="4853"/>
                  </a:cubicBezTo>
                  <a:cubicBezTo>
                    <a:pt x="9166" y="4397"/>
                    <a:pt x="9394" y="3938"/>
                    <a:pt x="9524" y="3427"/>
                  </a:cubicBezTo>
                  <a:close/>
                  <a:moveTo>
                    <a:pt x="10731" y="3646"/>
                  </a:moveTo>
                  <a:lnTo>
                    <a:pt x="10731" y="3646"/>
                  </a:lnTo>
                  <a:cubicBezTo>
                    <a:pt x="10922" y="3730"/>
                    <a:pt x="11031" y="3842"/>
                    <a:pt x="11072" y="3972"/>
                  </a:cubicBezTo>
                  <a:cubicBezTo>
                    <a:pt x="11054" y="3972"/>
                    <a:pt x="11037" y="3978"/>
                    <a:pt x="11020" y="3990"/>
                  </a:cubicBezTo>
                  <a:cubicBezTo>
                    <a:pt x="10659" y="4290"/>
                    <a:pt x="10341" y="4639"/>
                    <a:pt x="10007" y="4965"/>
                  </a:cubicBezTo>
                  <a:cubicBezTo>
                    <a:pt x="10252" y="4558"/>
                    <a:pt x="10494" y="4154"/>
                    <a:pt x="10720" y="3736"/>
                  </a:cubicBezTo>
                  <a:cubicBezTo>
                    <a:pt x="10731" y="3707"/>
                    <a:pt x="10737" y="3678"/>
                    <a:pt x="10731" y="3646"/>
                  </a:cubicBezTo>
                  <a:close/>
                  <a:moveTo>
                    <a:pt x="9086" y="3790"/>
                  </a:moveTo>
                  <a:lnTo>
                    <a:pt x="9086" y="3790"/>
                  </a:lnTo>
                  <a:cubicBezTo>
                    <a:pt x="8869" y="4348"/>
                    <a:pt x="8551" y="4861"/>
                    <a:pt x="8289" y="5404"/>
                  </a:cubicBezTo>
                  <a:cubicBezTo>
                    <a:pt x="8087" y="5292"/>
                    <a:pt x="7899" y="5150"/>
                    <a:pt x="7737" y="4986"/>
                  </a:cubicBezTo>
                  <a:lnTo>
                    <a:pt x="7737" y="4983"/>
                  </a:lnTo>
                  <a:cubicBezTo>
                    <a:pt x="8191" y="4587"/>
                    <a:pt x="8627" y="4174"/>
                    <a:pt x="9086" y="3790"/>
                  </a:cubicBezTo>
                  <a:close/>
                  <a:moveTo>
                    <a:pt x="10018" y="4301"/>
                  </a:moveTo>
                  <a:cubicBezTo>
                    <a:pt x="9761" y="4734"/>
                    <a:pt x="9501" y="5162"/>
                    <a:pt x="9262" y="5606"/>
                  </a:cubicBezTo>
                  <a:cubicBezTo>
                    <a:pt x="9202" y="5613"/>
                    <a:pt x="9142" y="5617"/>
                    <a:pt x="9082" y="5617"/>
                  </a:cubicBezTo>
                  <a:cubicBezTo>
                    <a:pt x="8919" y="5617"/>
                    <a:pt x="8757" y="5591"/>
                    <a:pt x="8603" y="5543"/>
                  </a:cubicBezTo>
                  <a:lnTo>
                    <a:pt x="8603" y="5540"/>
                  </a:lnTo>
                  <a:cubicBezTo>
                    <a:pt x="9097" y="5150"/>
                    <a:pt x="9542" y="4708"/>
                    <a:pt x="10018" y="4301"/>
                  </a:cubicBezTo>
                  <a:close/>
                  <a:moveTo>
                    <a:pt x="2955" y="0"/>
                  </a:moveTo>
                  <a:cubicBezTo>
                    <a:pt x="2104" y="0"/>
                    <a:pt x="1362" y="380"/>
                    <a:pt x="609" y="1016"/>
                  </a:cubicBezTo>
                  <a:cubicBezTo>
                    <a:pt x="505" y="929"/>
                    <a:pt x="401" y="843"/>
                    <a:pt x="298" y="759"/>
                  </a:cubicBezTo>
                  <a:cubicBezTo>
                    <a:pt x="263" y="733"/>
                    <a:pt x="228" y="721"/>
                    <a:pt x="195" y="721"/>
                  </a:cubicBezTo>
                  <a:cubicBezTo>
                    <a:pt x="83" y="721"/>
                    <a:pt x="1" y="851"/>
                    <a:pt x="90" y="967"/>
                  </a:cubicBezTo>
                  <a:cubicBezTo>
                    <a:pt x="165" y="1062"/>
                    <a:pt x="260" y="1157"/>
                    <a:pt x="344" y="1256"/>
                  </a:cubicBezTo>
                  <a:cubicBezTo>
                    <a:pt x="300" y="1314"/>
                    <a:pt x="351" y="1381"/>
                    <a:pt x="413" y="1381"/>
                  </a:cubicBezTo>
                  <a:cubicBezTo>
                    <a:pt x="424" y="1381"/>
                    <a:pt x="436" y="1379"/>
                    <a:pt x="448" y="1374"/>
                  </a:cubicBezTo>
                  <a:cubicBezTo>
                    <a:pt x="1161" y="2168"/>
                    <a:pt x="2122" y="2942"/>
                    <a:pt x="3066" y="3308"/>
                  </a:cubicBezTo>
                  <a:cubicBezTo>
                    <a:pt x="3274" y="3392"/>
                    <a:pt x="4334" y="3467"/>
                    <a:pt x="5188" y="3490"/>
                  </a:cubicBezTo>
                  <a:cubicBezTo>
                    <a:pt x="5212" y="3536"/>
                    <a:pt x="5257" y="3569"/>
                    <a:pt x="5304" y="3569"/>
                  </a:cubicBezTo>
                  <a:cubicBezTo>
                    <a:pt x="5332" y="3569"/>
                    <a:pt x="5360" y="3557"/>
                    <a:pt x="5384" y="3531"/>
                  </a:cubicBezTo>
                  <a:cubicBezTo>
                    <a:pt x="5399" y="3516"/>
                    <a:pt x="5413" y="3507"/>
                    <a:pt x="5425" y="3493"/>
                  </a:cubicBezTo>
                  <a:cubicBezTo>
                    <a:pt x="5483" y="3494"/>
                    <a:pt x="5539" y="3494"/>
                    <a:pt x="5593" y="3494"/>
                  </a:cubicBezTo>
                  <a:cubicBezTo>
                    <a:pt x="5768" y="3494"/>
                    <a:pt x="5921" y="3490"/>
                    <a:pt x="6043" y="3481"/>
                  </a:cubicBezTo>
                  <a:lnTo>
                    <a:pt x="6043" y="3481"/>
                  </a:lnTo>
                  <a:cubicBezTo>
                    <a:pt x="5991" y="3578"/>
                    <a:pt x="6066" y="3683"/>
                    <a:pt x="6160" y="3683"/>
                  </a:cubicBezTo>
                  <a:cubicBezTo>
                    <a:pt x="6181" y="3683"/>
                    <a:pt x="6203" y="3678"/>
                    <a:pt x="6225" y="3666"/>
                  </a:cubicBezTo>
                  <a:cubicBezTo>
                    <a:pt x="6288" y="3634"/>
                    <a:pt x="6346" y="3606"/>
                    <a:pt x="6406" y="3577"/>
                  </a:cubicBezTo>
                  <a:cubicBezTo>
                    <a:pt x="6658" y="4091"/>
                    <a:pt x="7001" y="4555"/>
                    <a:pt x="7420" y="4948"/>
                  </a:cubicBezTo>
                  <a:cubicBezTo>
                    <a:pt x="7420" y="5025"/>
                    <a:pt x="7484" y="5088"/>
                    <a:pt x="7560" y="5088"/>
                  </a:cubicBezTo>
                  <a:cubicBezTo>
                    <a:pt x="7566" y="5088"/>
                    <a:pt x="7572" y="5088"/>
                    <a:pt x="7579" y="5087"/>
                  </a:cubicBezTo>
                  <a:cubicBezTo>
                    <a:pt x="7798" y="5274"/>
                    <a:pt x="8040" y="5439"/>
                    <a:pt x="8300" y="5572"/>
                  </a:cubicBezTo>
                  <a:cubicBezTo>
                    <a:pt x="8328" y="5613"/>
                    <a:pt x="8371" y="5638"/>
                    <a:pt x="8419" y="5638"/>
                  </a:cubicBezTo>
                  <a:cubicBezTo>
                    <a:pt x="8422" y="5638"/>
                    <a:pt x="8425" y="5638"/>
                    <a:pt x="8427" y="5638"/>
                  </a:cubicBezTo>
                  <a:cubicBezTo>
                    <a:pt x="8776" y="5799"/>
                    <a:pt x="9138" y="5890"/>
                    <a:pt x="9494" y="5890"/>
                  </a:cubicBezTo>
                  <a:cubicBezTo>
                    <a:pt x="10284" y="5890"/>
                    <a:pt x="11049" y="5444"/>
                    <a:pt x="11594" y="4324"/>
                  </a:cubicBezTo>
                  <a:cubicBezTo>
                    <a:pt x="12212" y="3054"/>
                    <a:pt x="8904" y="3005"/>
                    <a:pt x="8375" y="2962"/>
                  </a:cubicBezTo>
                  <a:cubicBezTo>
                    <a:pt x="8139" y="2942"/>
                    <a:pt x="7913" y="2864"/>
                    <a:pt x="7694" y="2765"/>
                  </a:cubicBezTo>
                  <a:cubicBezTo>
                    <a:pt x="7678" y="2703"/>
                    <a:pt x="7621" y="2663"/>
                    <a:pt x="7560" y="2663"/>
                  </a:cubicBezTo>
                  <a:cubicBezTo>
                    <a:pt x="7542" y="2663"/>
                    <a:pt x="7524" y="2666"/>
                    <a:pt x="7506" y="2673"/>
                  </a:cubicBezTo>
                  <a:cubicBezTo>
                    <a:pt x="6392" y="2084"/>
                    <a:pt x="5428" y="745"/>
                    <a:pt x="4290" y="286"/>
                  </a:cubicBezTo>
                  <a:cubicBezTo>
                    <a:pt x="3810" y="90"/>
                    <a:pt x="3370" y="0"/>
                    <a:pt x="2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65"/>
            <p:cNvSpPr/>
            <p:nvPr/>
          </p:nvSpPr>
          <p:spPr>
            <a:xfrm>
              <a:off x="2053850" y="2646725"/>
              <a:ext cx="613050" cy="516425"/>
            </a:xfrm>
            <a:custGeom>
              <a:avLst/>
              <a:gdLst/>
              <a:ahLst/>
              <a:cxnLst/>
              <a:rect l="l" t="t" r="r" b="b"/>
              <a:pathLst>
                <a:path w="24522" h="20657" extrusionOk="0">
                  <a:moveTo>
                    <a:pt x="19439" y="1"/>
                  </a:moveTo>
                  <a:cubicBezTo>
                    <a:pt x="19306" y="1"/>
                    <a:pt x="19174" y="135"/>
                    <a:pt x="19267" y="276"/>
                  </a:cubicBezTo>
                  <a:cubicBezTo>
                    <a:pt x="19695" y="920"/>
                    <a:pt x="19787" y="1223"/>
                    <a:pt x="20540" y="1538"/>
                  </a:cubicBezTo>
                  <a:cubicBezTo>
                    <a:pt x="22247" y="2257"/>
                    <a:pt x="21776" y="4864"/>
                    <a:pt x="19934" y="4968"/>
                  </a:cubicBezTo>
                  <a:cubicBezTo>
                    <a:pt x="19054" y="5017"/>
                    <a:pt x="18410" y="5173"/>
                    <a:pt x="17463" y="5256"/>
                  </a:cubicBezTo>
                  <a:cubicBezTo>
                    <a:pt x="15849" y="5395"/>
                    <a:pt x="14294" y="7939"/>
                    <a:pt x="12733" y="7939"/>
                  </a:cubicBezTo>
                  <a:cubicBezTo>
                    <a:pt x="12381" y="7939"/>
                    <a:pt x="12030" y="7810"/>
                    <a:pt x="11677" y="7497"/>
                  </a:cubicBezTo>
                  <a:cubicBezTo>
                    <a:pt x="11499" y="7337"/>
                    <a:pt x="11301" y="7269"/>
                    <a:pt x="11097" y="7269"/>
                  </a:cubicBezTo>
                  <a:cubicBezTo>
                    <a:pt x="10235" y="7269"/>
                    <a:pt x="9245" y="8464"/>
                    <a:pt x="8995" y="9012"/>
                  </a:cubicBezTo>
                  <a:cubicBezTo>
                    <a:pt x="8138" y="10886"/>
                    <a:pt x="6258" y="12249"/>
                    <a:pt x="5029" y="13888"/>
                  </a:cubicBezTo>
                  <a:cubicBezTo>
                    <a:pt x="3377" y="16097"/>
                    <a:pt x="2153" y="18519"/>
                    <a:pt x="77" y="20482"/>
                  </a:cubicBezTo>
                  <a:cubicBezTo>
                    <a:pt x="1" y="20554"/>
                    <a:pt x="74" y="20657"/>
                    <a:pt x="157" y="20657"/>
                  </a:cubicBezTo>
                  <a:cubicBezTo>
                    <a:pt x="181" y="20657"/>
                    <a:pt x="205" y="20649"/>
                    <a:pt x="227" y="20630"/>
                  </a:cubicBezTo>
                  <a:cubicBezTo>
                    <a:pt x="1977" y="19114"/>
                    <a:pt x="3371" y="18831"/>
                    <a:pt x="4457" y="16801"/>
                  </a:cubicBezTo>
                  <a:cubicBezTo>
                    <a:pt x="5828" y="14232"/>
                    <a:pt x="7159" y="12162"/>
                    <a:pt x="8969" y="9884"/>
                  </a:cubicBezTo>
                  <a:cubicBezTo>
                    <a:pt x="9584" y="9110"/>
                    <a:pt x="10372" y="8741"/>
                    <a:pt x="11188" y="8741"/>
                  </a:cubicBezTo>
                  <a:cubicBezTo>
                    <a:pt x="11789" y="8741"/>
                    <a:pt x="12407" y="8941"/>
                    <a:pt x="12982" y="9327"/>
                  </a:cubicBezTo>
                  <a:cubicBezTo>
                    <a:pt x="13035" y="9363"/>
                    <a:pt x="13101" y="9378"/>
                    <a:pt x="13174" y="9378"/>
                  </a:cubicBezTo>
                  <a:cubicBezTo>
                    <a:pt x="13496" y="9378"/>
                    <a:pt x="13956" y="9075"/>
                    <a:pt x="14074" y="8882"/>
                  </a:cubicBezTo>
                  <a:cubicBezTo>
                    <a:pt x="15638" y="6284"/>
                    <a:pt x="17985" y="5455"/>
                    <a:pt x="20740" y="5300"/>
                  </a:cubicBezTo>
                  <a:cubicBezTo>
                    <a:pt x="21326" y="5268"/>
                    <a:pt x="22651" y="5199"/>
                    <a:pt x="22994" y="4575"/>
                  </a:cubicBezTo>
                  <a:cubicBezTo>
                    <a:pt x="24522" y="1821"/>
                    <a:pt x="20725" y="1789"/>
                    <a:pt x="19593" y="86"/>
                  </a:cubicBezTo>
                  <a:cubicBezTo>
                    <a:pt x="19554" y="26"/>
                    <a:pt x="19496" y="1"/>
                    <a:pt x="194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65"/>
            <p:cNvSpPr/>
            <p:nvPr/>
          </p:nvSpPr>
          <p:spPr>
            <a:xfrm>
              <a:off x="2878850" y="956500"/>
              <a:ext cx="59000" cy="79050"/>
            </a:xfrm>
            <a:custGeom>
              <a:avLst/>
              <a:gdLst/>
              <a:ahLst/>
              <a:cxnLst/>
              <a:rect l="l" t="t" r="r" b="b"/>
              <a:pathLst>
                <a:path w="2360" h="3162" extrusionOk="0">
                  <a:moveTo>
                    <a:pt x="2359" y="0"/>
                  </a:moveTo>
                  <a:lnTo>
                    <a:pt x="2359" y="0"/>
                  </a:lnTo>
                  <a:cubicBezTo>
                    <a:pt x="1542" y="1034"/>
                    <a:pt x="757" y="2087"/>
                    <a:pt x="1" y="3161"/>
                  </a:cubicBezTo>
                  <a:cubicBezTo>
                    <a:pt x="780" y="2113"/>
                    <a:pt x="1568" y="1063"/>
                    <a:pt x="2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65"/>
            <p:cNvSpPr/>
            <p:nvPr/>
          </p:nvSpPr>
          <p:spPr>
            <a:xfrm>
              <a:off x="2591950" y="1603975"/>
              <a:ext cx="3275" cy="3925"/>
            </a:xfrm>
            <a:custGeom>
              <a:avLst/>
              <a:gdLst/>
              <a:ahLst/>
              <a:cxnLst/>
              <a:rect l="l" t="t" r="r" b="b"/>
              <a:pathLst>
                <a:path w="131" h="157" extrusionOk="0">
                  <a:moveTo>
                    <a:pt x="131" y="0"/>
                  </a:moveTo>
                  <a:cubicBezTo>
                    <a:pt x="88" y="52"/>
                    <a:pt x="47" y="104"/>
                    <a:pt x="1" y="156"/>
                  </a:cubicBezTo>
                  <a:cubicBezTo>
                    <a:pt x="47" y="107"/>
                    <a:pt x="90" y="55"/>
                    <a:pt x="1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65"/>
            <p:cNvSpPr/>
            <p:nvPr/>
          </p:nvSpPr>
          <p:spPr>
            <a:xfrm>
              <a:off x="2741575" y="1422025"/>
              <a:ext cx="117325" cy="137075"/>
            </a:xfrm>
            <a:custGeom>
              <a:avLst/>
              <a:gdLst/>
              <a:ahLst/>
              <a:cxnLst/>
              <a:rect l="l" t="t" r="r" b="b"/>
              <a:pathLst>
                <a:path w="4693" h="5483" extrusionOk="0">
                  <a:moveTo>
                    <a:pt x="4692" y="0"/>
                  </a:moveTo>
                  <a:lnTo>
                    <a:pt x="4692" y="0"/>
                  </a:lnTo>
                  <a:cubicBezTo>
                    <a:pt x="3061" y="1779"/>
                    <a:pt x="1476" y="3592"/>
                    <a:pt x="1" y="5483"/>
                  </a:cubicBezTo>
                  <a:cubicBezTo>
                    <a:pt x="1568" y="3661"/>
                    <a:pt x="3130" y="1834"/>
                    <a:pt x="4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65"/>
            <p:cNvSpPr/>
            <p:nvPr/>
          </p:nvSpPr>
          <p:spPr>
            <a:xfrm>
              <a:off x="2753550" y="1723425"/>
              <a:ext cx="46075" cy="54600"/>
            </a:xfrm>
            <a:custGeom>
              <a:avLst/>
              <a:gdLst/>
              <a:ahLst/>
              <a:cxnLst/>
              <a:rect l="l" t="t" r="r" b="b"/>
              <a:pathLst>
                <a:path w="1843" h="2184" extrusionOk="0">
                  <a:moveTo>
                    <a:pt x="1843" y="0"/>
                  </a:moveTo>
                  <a:cubicBezTo>
                    <a:pt x="1511" y="379"/>
                    <a:pt x="1185" y="766"/>
                    <a:pt x="853" y="1141"/>
                  </a:cubicBezTo>
                  <a:cubicBezTo>
                    <a:pt x="573" y="1490"/>
                    <a:pt x="287" y="1834"/>
                    <a:pt x="1" y="2183"/>
                  </a:cubicBezTo>
                  <a:cubicBezTo>
                    <a:pt x="362" y="1799"/>
                    <a:pt x="717" y="1406"/>
                    <a:pt x="1055" y="996"/>
                  </a:cubicBezTo>
                  <a:cubicBezTo>
                    <a:pt x="1323" y="670"/>
                    <a:pt x="1577" y="330"/>
                    <a:pt x="18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65"/>
            <p:cNvSpPr/>
            <p:nvPr/>
          </p:nvSpPr>
          <p:spPr>
            <a:xfrm>
              <a:off x="3013825" y="1258700"/>
              <a:ext cx="106550" cy="113700"/>
            </a:xfrm>
            <a:custGeom>
              <a:avLst/>
              <a:gdLst/>
              <a:ahLst/>
              <a:cxnLst/>
              <a:rect l="l" t="t" r="r" b="b"/>
              <a:pathLst>
                <a:path w="4262" h="4548" extrusionOk="0">
                  <a:moveTo>
                    <a:pt x="4262" y="0"/>
                  </a:moveTo>
                  <a:lnTo>
                    <a:pt x="4262" y="0"/>
                  </a:lnTo>
                  <a:cubicBezTo>
                    <a:pt x="3179" y="1103"/>
                    <a:pt x="2076" y="2191"/>
                    <a:pt x="1063" y="3346"/>
                  </a:cubicBezTo>
                  <a:cubicBezTo>
                    <a:pt x="711" y="3744"/>
                    <a:pt x="353" y="4146"/>
                    <a:pt x="0" y="4547"/>
                  </a:cubicBezTo>
                  <a:cubicBezTo>
                    <a:pt x="953" y="3603"/>
                    <a:pt x="1941" y="2636"/>
                    <a:pt x="2908" y="1649"/>
                  </a:cubicBezTo>
                  <a:cubicBezTo>
                    <a:pt x="3358" y="1097"/>
                    <a:pt x="3808" y="549"/>
                    <a:pt x="42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65"/>
            <p:cNvSpPr/>
            <p:nvPr/>
          </p:nvSpPr>
          <p:spPr>
            <a:xfrm>
              <a:off x="3189500" y="1467850"/>
              <a:ext cx="5950" cy="5300"/>
            </a:xfrm>
            <a:custGeom>
              <a:avLst/>
              <a:gdLst/>
              <a:ahLst/>
              <a:cxnLst/>
              <a:rect l="l" t="t" r="r" b="b"/>
              <a:pathLst>
                <a:path w="238" h="212" extrusionOk="0">
                  <a:moveTo>
                    <a:pt x="237" y="1"/>
                  </a:moveTo>
                  <a:lnTo>
                    <a:pt x="237" y="1"/>
                  </a:lnTo>
                  <a:cubicBezTo>
                    <a:pt x="142" y="53"/>
                    <a:pt x="64" y="125"/>
                    <a:pt x="0" y="211"/>
                  </a:cubicBezTo>
                  <a:cubicBezTo>
                    <a:pt x="78" y="139"/>
                    <a:pt x="159" y="73"/>
                    <a:pt x="2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65"/>
            <p:cNvSpPr/>
            <p:nvPr/>
          </p:nvSpPr>
          <p:spPr>
            <a:xfrm>
              <a:off x="1570450" y="549050"/>
              <a:ext cx="1813800" cy="1774475"/>
            </a:xfrm>
            <a:custGeom>
              <a:avLst/>
              <a:gdLst/>
              <a:ahLst/>
              <a:cxnLst/>
              <a:rect l="l" t="t" r="r" b="b"/>
              <a:pathLst>
                <a:path w="72552" h="70979" extrusionOk="0">
                  <a:moveTo>
                    <a:pt x="55353" y="377"/>
                  </a:moveTo>
                  <a:cubicBezTo>
                    <a:pt x="54860" y="734"/>
                    <a:pt x="54375" y="1110"/>
                    <a:pt x="53899" y="1499"/>
                  </a:cubicBezTo>
                  <a:cubicBezTo>
                    <a:pt x="54156" y="1153"/>
                    <a:pt x="54424" y="812"/>
                    <a:pt x="54664" y="454"/>
                  </a:cubicBezTo>
                  <a:cubicBezTo>
                    <a:pt x="54891" y="417"/>
                    <a:pt x="55121" y="394"/>
                    <a:pt x="55353" y="377"/>
                  </a:cubicBezTo>
                  <a:close/>
                  <a:moveTo>
                    <a:pt x="58324" y="682"/>
                  </a:moveTo>
                  <a:cubicBezTo>
                    <a:pt x="58503" y="734"/>
                    <a:pt x="58680" y="795"/>
                    <a:pt x="58856" y="861"/>
                  </a:cubicBezTo>
                  <a:cubicBezTo>
                    <a:pt x="58313" y="1208"/>
                    <a:pt x="57796" y="1583"/>
                    <a:pt x="57276" y="1958"/>
                  </a:cubicBezTo>
                  <a:cubicBezTo>
                    <a:pt x="57629" y="1534"/>
                    <a:pt x="57984" y="1115"/>
                    <a:pt x="58324" y="682"/>
                  </a:cubicBezTo>
                  <a:close/>
                  <a:moveTo>
                    <a:pt x="54008" y="584"/>
                  </a:moveTo>
                  <a:lnTo>
                    <a:pt x="54008" y="584"/>
                  </a:lnTo>
                  <a:cubicBezTo>
                    <a:pt x="52694" y="1778"/>
                    <a:pt x="52147" y="2227"/>
                    <a:pt x="52096" y="2227"/>
                  </a:cubicBezTo>
                  <a:cubicBezTo>
                    <a:pt x="52037" y="2227"/>
                    <a:pt x="52626" y="1642"/>
                    <a:pt x="53457" y="910"/>
                  </a:cubicBezTo>
                  <a:cubicBezTo>
                    <a:pt x="53509" y="870"/>
                    <a:pt x="53523" y="795"/>
                    <a:pt x="53492" y="737"/>
                  </a:cubicBezTo>
                  <a:lnTo>
                    <a:pt x="53486" y="737"/>
                  </a:lnTo>
                  <a:cubicBezTo>
                    <a:pt x="53656" y="679"/>
                    <a:pt x="53832" y="630"/>
                    <a:pt x="54008" y="584"/>
                  </a:cubicBezTo>
                  <a:close/>
                  <a:moveTo>
                    <a:pt x="55946" y="353"/>
                  </a:moveTo>
                  <a:cubicBezTo>
                    <a:pt x="56234" y="353"/>
                    <a:pt x="56523" y="368"/>
                    <a:pt x="56812" y="394"/>
                  </a:cubicBezTo>
                  <a:cubicBezTo>
                    <a:pt x="56041" y="1026"/>
                    <a:pt x="55279" y="1681"/>
                    <a:pt x="54525" y="2357"/>
                  </a:cubicBezTo>
                  <a:cubicBezTo>
                    <a:pt x="55016" y="1699"/>
                    <a:pt x="55495" y="1035"/>
                    <a:pt x="55946" y="353"/>
                  </a:cubicBezTo>
                  <a:close/>
                  <a:moveTo>
                    <a:pt x="52802" y="1027"/>
                  </a:moveTo>
                  <a:lnTo>
                    <a:pt x="52802" y="1027"/>
                  </a:lnTo>
                  <a:cubicBezTo>
                    <a:pt x="52127" y="1588"/>
                    <a:pt x="51523" y="2216"/>
                    <a:pt x="51023" y="2946"/>
                  </a:cubicBezTo>
                  <a:cubicBezTo>
                    <a:pt x="51253" y="2111"/>
                    <a:pt x="51914" y="1466"/>
                    <a:pt x="52802" y="1027"/>
                  </a:cubicBezTo>
                  <a:close/>
                  <a:moveTo>
                    <a:pt x="57242" y="446"/>
                  </a:moveTo>
                  <a:cubicBezTo>
                    <a:pt x="57476" y="480"/>
                    <a:pt x="57707" y="526"/>
                    <a:pt x="57935" y="578"/>
                  </a:cubicBezTo>
                  <a:cubicBezTo>
                    <a:pt x="57086" y="1395"/>
                    <a:pt x="56226" y="2198"/>
                    <a:pt x="55359" y="2992"/>
                  </a:cubicBezTo>
                  <a:cubicBezTo>
                    <a:pt x="56009" y="2158"/>
                    <a:pt x="56638" y="1309"/>
                    <a:pt x="57242" y="446"/>
                  </a:cubicBezTo>
                  <a:close/>
                  <a:moveTo>
                    <a:pt x="53570" y="1414"/>
                  </a:moveTo>
                  <a:cubicBezTo>
                    <a:pt x="53627" y="1414"/>
                    <a:pt x="53228" y="1840"/>
                    <a:pt x="52507" y="2663"/>
                  </a:cubicBezTo>
                  <a:cubicBezTo>
                    <a:pt x="52441" y="2738"/>
                    <a:pt x="52369" y="2807"/>
                    <a:pt x="52302" y="2882"/>
                  </a:cubicBezTo>
                  <a:cubicBezTo>
                    <a:pt x="51858" y="3289"/>
                    <a:pt x="51424" y="3711"/>
                    <a:pt x="50997" y="4138"/>
                  </a:cubicBezTo>
                  <a:cubicBezTo>
                    <a:pt x="50942" y="3855"/>
                    <a:pt x="50931" y="3566"/>
                    <a:pt x="50965" y="3278"/>
                  </a:cubicBezTo>
                  <a:lnTo>
                    <a:pt x="50965" y="3278"/>
                  </a:lnTo>
                  <a:cubicBezTo>
                    <a:pt x="50997" y="3308"/>
                    <a:pt x="51038" y="3323"/>
                    <a:pt x="51080" y="3323"/>
                  </a:cubicBezTo>
                  <a:cubicBezTo>
                    <a:pt x="51121" y="3323"/>
                    <a:pt x="51163" y="3308"/>
                    <a:pt x="51196" y="3278"/>
                  </a:cubicBezTo>
                  <a:cubicBezTo>
                    <a:pt x="52786" y="2018"/>
                    <a:pt x="53501" y="1414"/>
                    <a:pt x="53570" y="1414"/>
                  </a:cubicBezTo>
                  <a:close/>
                  <a:moveTo>
                    <a:pt x="47666" y="3252"/>
                  </a:moveTo>
                  <a:cubicBezTo>
                    <a:pt x="47775" y="3252"/>
                    <a:pt x="47888" y="3263"/>
                    <a:pt x="47995" y="3286"/>
                  </a:cubicBezTo>
                  <a:cubicBezTo>
                    <a:pt x="47429" y="3846"/>
                    <a:pt x="46269" y="4974"/>
                    <a:pt x="46201" y="4974"/>
                  </a:cubicBezTo>
                  <a:cubicBezTo>
                    <a:pt x="46165" y="4974"/>
                    <a:pt x="46448" y="4644"/>
                    <a:pt x="47319" y="3714"/>
                  </a:cubicBezTo>
                  <a:cubicBezTo>
                    <a:pt x="47585" y="3431"/>
                    <a:pt x="47547" y="3361"/>
                    <a:pt x="47469" y="3315"/>
                  </a:cubicBezTo>
                  <a:lnTo>
                    <a:pt x="47469" y="3315"/>
                  </a:lnTo>
                  <a:cubicBezTo>
                    <a:pt x="47491" y="3326"/>
                    <a:pt x="47514" y="3332"/>
                    <a:pt x="47536" y="3332"/>
                  </a:cubicBezTo>
                  <a:cubicBezTo>
                    <a:pt x="47589" y="3332"/>
                    <a:pt x="47639" y="3302"/>
                    <a:pt x="47666" y="3252"/>
                  </a:cubicBezTo>
                  <a:close/>
                  <a:moveTo>
                    <a:pt x="48413" y="3425"/>
                  </a:moveTo>
                  <a:cubicBezTo>
                    <a:pt x="48578" y="3500"/>
                    <a:pt x="48740" y="3587"/>
                    <a:pt x="48893" y="3688"/>
                  </a:cubicBezTo>
                  <a:cubicBezTo>
                    <a:pt x="47835" y="4793"/>
                    <a:pt x="47293" y="5332"/>
                    <a:pt x="47198" y="5332"/>
                  </a:cubicBezTo>
                  <a:cubicBezTo>
                    <a:pt x="47095" y="5332"/>
                    <a:pt x="47529" y="4684"/>
                    <a:pt x="48410" y="3425"/>
                  </a:cubicBezTo>
                  <a:close/>
                  <a:moveTo>
                    <a:pt x="24572" y="4280"/>
                  </a:moveTo>
                  <a:lnTo>
                    <a:pt x="24572" y="4280"/>
                  </a:lnTo>
                  <a:cubicBezTo>
                    <a:pt x="23923" y="4770"/>
                    <a:pt x="23305" y="5296"/>
                    <a:pt x="22713" y="5856"/>
                  </a:cubicBezTo>
                  <a:cubicBezTo>
                    <a:pt x="23063" y="5411"/>
                    <a:pt x="23397" y="4958"/>
                    <a:pt x="23732" y="4502"/>
                  </a:cubicBezTo>
                  <a:cubicBezTo>
                    <a:pt x="24012" y="4430"/>
                    <a:pt x="24287" y="4340"/>
                    <a:pt x="24572" y="4280"/>
                  </a:cubicBezTo>
                  <a:close/>
                  <a:moveTo>
                    <a:pt x="47036" y="3431"/>
                  </a:moveTo>
                  <a:lnTo>
                    <a:pt x="47036" y="3431"/>
                  </a:lnTo>
                  <a:cubicBezTo>
                    <a:pt x="46401" y="4245"/>
                    <a:pt x="45783" y="4952"/>
                    <a:pt x="45206" y="5870"/>
                  </a:cubicBezTo>
                  <a:cubicBezTo>
                    <a:pt x="45198" y="5890"/>
                    <a:pt x="45192" y="5912"/>
                    <a:pt x="45194" y="5936"/>
                  </a:cubicBezTo>
                  <a:lnTo>
                    <a:pt x="45194" y="5936"/>
                  </a:lnTo>
                  <a:cubicBezTo>
                    <a:pt x="45123" y="5859"/>
                    <a:pt x="45057" y="5780"/>
                    <a:pt x="44984" y="5706"/>
                  </a:cubicBezTo>
                  <a:cubicBezTo>
                    <a:pt x="44989" y="5700"/>
                    <a:pt x="44995" y="5697"/>
                    <a:pt x="44998" y="5688"/>
                  </a:cubicBezTo>
                  <a:cubicBezTo>
                    <a:pt x="45150" y="5016"/>
                    <a:pt x="45144" y="4277"/>
                    <a:pt x="45947" y="4277"/>
                  </a:cubicBezTo>
                  <a:cubicBezTo>
                    <a:pt x="46016" y="4277"/>
                    <a:pt x="46091" y="4283"/>
                    <a:pt x="46173" y="4294"/>
                  </a:cubicBezTo>
                  <a:cubicBezTo>
                    <a:pt x="46185" y="4295"/>
                    <a:pt x="46197" y="4296"/>
                    <a:pt x="46210" y="4296"/>
                  </a:cubicBezTo>
                  <a:cubicBezTo>
                    <a:pt x="46272" y="4296"/>
                    <a:pt x="46335" y="4276"/>
                    <a:pt x="46366" y="4216"/>
                  </a:cubicBezTo>
                  <a:cubicBezTo>
                    <a:pt x="46563" y="3826"/>
                    <a:pt x="46791" y="3581"/>
                    <a:pt x="47036" y="3431"/>
                  </a:cubicBezTo>
                  <a:close/>
                  <a:moveTo>
                    <a:pt x="49181" y="3887"/>
                  </a:moveTo>
                  <a:cubicBezTo>
                    <a:pt x="49334" y="4002"/>
                    <a:pt x="49479" y="4127"/>
                    <a:pt x="49617" y="4251"/>
                  </a:cubicBezTo>
                  <a:cubicBezTo>
                    <a:pt x="48205" y="5470"/>
                    <a:pt x="47619" y="6029"/>
                    <a:pt x="47574" y="6029"/>
                  </a:cubicBezTo>
                  <a:cubicBezTo>
                    <a:pt x="47521" y="6029"/>
                    <a:pt x="48210" y="5263"/>
                    <a:pt x="49181" y="3896"/>
                  </a:cubicBezTo>
                  <a:cubicBezTo>
                    <a:pt x="49181" y="3893"/>
                    <a:pt x="49178" y="3890"/>
                    <a:pt x="49181" y="3887"/>
                  </a:cubicBezTo>
                  <a:close/>
                  <a:moveTo>
                    <a:pt x="63247" y="4479"/>
                  </a:moveTo>
                  <a:cubicBezTo>
                    <a:pt x="63388" y="4496"/>
                    <a:pt x="63527" y="4525"/>
                    <a:pt x="63662" y="4562"/>
                  </a:cubicBezTo>
                  <a:cubicBezTo>
                    <a:pt x="63154" y="5056"/>
                    <a:pt x="62655" y="5558"/>
                    <a:pt x="62161" y="6067"/>
                  </a:cubicBezTo>
                  <a:cubicBezTo>
                    <a:pt x="62539" y="5556"/>
                    <a:pt x="62906" y="5030"/>
                    <a:pt x="63247" y="4479"/>
                  </a:cubicBezTo>
                  <a:close/>
                  <a:moveTo>
                    <a:pt x="61572" y="3110"/>
                  </a:moveTo>
                  <a:cubicBezTo>
                    <a:pt x="61647" y="3249"/>
                    <a:pt x="61728" y="3382"/>
                    <a:pt x="61792" y="3529"/>
                  </a:cubicBezTo>
                  <a:cubicBezTo>
                    <a:pt x="60928" y="4453"/>
                    <a:pt x="60077" y="5385"/>
                    <a:pt x="59222" y="6318"/>
                  </a:cubicBezTo>
                  <a:cubicBezTo>
                    <a:pt x="60054" y="5284"/>
                    <a:pt x="60848" y="4225"/>
                    <a:pt x="61572" y="3110"/>
                  </a:cubicBezTo>
                  <a:close/>
                  <a:moveTo>
                    <a:pt x="47285" y="4438"/>
                  </a:moveTo>
                  <a:cubicBezTo>
                    <a:pt x="47328" y="4438"/>
                    <a:pt x="46817" y="5090"/>
                    <a:pt x="45965" y="6517"/>
                  </a:cubicBezTo>
                  <a:cubicBezTo>
                    <a:pt x="45881" y="6656"/>
                    <a:pt x="45996" y="6778"/>
                    <a:pt x="46122" y="6778"/>
                  </a:cubicBezTo>
                  <a:cubicBezTo>
                    <a:pt x="46164" y="6778"/>
                    <a:pt x="46208" y="6764"/>
                    <a:pt x="46245" y="6733"/>
                  </a:cubicBezTo>
                  <a:cubicBezTo>
                    <a:pt x="46493" y="6549"/>
                    <a:pt x="46722" y="6344"/>
                    <a:pt x="46955" y="6142"/>
                  </a:cubicBezTo>
                  <a:lnTo>
                    <a:pt x="46955" y="6142"/>
                  </a:lnTo>
                  <a:cubicBezTo>
                    <a:pt x="46656" y="6459"/>
                    <a:pt x="46368" y="6787"/>
                    <a:pt x="46091" y="7124"/>
                  </a:cubicBezTo>
                  <a:lnTo>
                    <a:pt x="46091" y="7124"/>
                  </a:lnTo>
                  <a:cubicBezTo>
                    <a:pt x="45875" y="6776"/>
                    <a:pt x="45636" y="6444"/>
                    <a:pt x="45370" y="6130"/>
                  </a:cubicBezTo>
                  <a:cubicBezTo>
                    <a:pt x="45414" y="6130"/>
                    <a:pt x="45457" y="6116"/>
                    <a:pt x="45489" y="6087"/>
                  </a:cubicBezTo>
                  <a:cubicBezTo>
                    <a:pt x="46705" y="5023"/>
                    <a:pt x="47244" y="4438"/>
                    <a:pt x="47285" y="4438"/>
                  </a:cubicBezTo>
                  <a:close/>
                  <a:moveTo>
                    <a:pt x="32910" y="5752"/>
                  </a:moveTo>
                  <a:cubicBezTo>
                    <a:pt x="33095" y="5977"/>
                    <a:pt x="33265" y="6214"/>
                    <a:pt x="33421" y="6462"/>
                  </a:cubicBezTo>
                  <a:lnTo>
                    <a:pt x="33424" y="6462"/>
                  </a:lnTo>
                  <a:cubicBezTo>
                    <a:pt x="33410" y="6468"/>
                    <a:pt x="33395" y="6468"/>
                    <a:pt x="33384" y="6479"/>
                  </a:cubicBezTo>
                  <a:cubicBezTo>
                    <a:pt x="33098" y="6811"/>
                    <a:pt x="32823" y="7155"/>
                    <a:pt x="32543" y="7490"/>
                  </a:cubicBezTo>
                  <a:cubicBezTo>
                    <a:pt x="32766" y="6912"/>
                    <a:pt x="32896" y="6332"/>
                    <a:pt x="32910" y="5752"/>
                  </a:cubicBezTo>
                  <a:close/>
                  <a:moveTo>
                    <a:pt x="32246" y="5076"/>
                  </a:moveTo>
                  <a:cubicBezTo>
                    <a:pt x="32373" y="5183"/>
                    <a:pt x="32500" y="5302"/>
                    <a:pt x="32619" y="5426"/>
                  </a:cubicBezTo>
                  <a:cubicBezTo>
                    <a:pt x="31949" y="6162"/>
                    <a:pt x="31348" y="6953"/>
                    <a:pt x="30788" y="7773"/>
                  </a:cubicBezTo>
                  <a:cubicBezTo>
                    <a:pt x="31308" y="6898"/>
                    <a:pt x="31793" y="5997"/>
                    <a:pt x="32243" y="5076"/>
                  </a:cubicBezTo>
                  <a:close/>
                  <a:moveTo>
                    <a:pt x="60905" y="2192"/>
                  </a:moveTo>
                  <a:cubicBezTo>
                    <a:pt x="61076" y="2365"/>
                    <a:pt x="61232" y="2553"/>
                    <a:pt x="61373" y="2752"/>
                  </a:cubicBezTo>
                  <a:cubicBezTo>
                    <a:pt x="59635" y="4404"/>
                    <a:pt x="57969" y="6121"/>
                    <a:pt x="56347" y="7877"/>
                  </a:cubicBezTo>
                  <a:cubicBezTo>
                    <a:pt x="57923" y="6029"/>
                    <a:pt x="59468" y="4153"/>
                    <a:pt x="60905" y="2192"/>
                  </a:cubicBezTo>
                  <a:close/>
                  <a:moveTo>
                    <a:pt x="19191" y="6165"/>
                  </a:moveTo>
                  <a:cubicBezTo>
                    <a:pt x="18539" y="6757"/>
                    <a:pt x="17880" y="7351"/>
                    <a:pt x="17234" y="7960"/>
                  </a:cubicBezTo>
                  <a:cubicBezTo>
                    <a:pt x="17701" y="7383"/>
                    <a:pt x="18062" y="6927"/>
                    <a:pt x="18215" y="6733"/>
                  </a:cubicBezTo>
                  <a:cubicBezTo>
                    <a:pt x="18235" y="6702"/>
                    <a:pt x="18247" y="6667"/>
                    <a:pt x="18247" y="6630"/>
                  </a:cubicBezTo>
                  <a:lnTo>
                    <a:pt x="18244" y="6630"/>
                  </a:lnTo>
                  <a:cubicBezTo>
                    <a:pt x="18559" y="6471"/>
                    <a:pt x="18873" y="6315"/>
                    <a:pt x="19191" y="6165"/>
                  </a:cubicBezTo>
                  <a:close/>
                  <a:moveTo>
                    <a:pt x="15360" y="8272"/>
                  </a:moveTo>
                  <a:lnTo>
                    <a:pt x="15360" y="8272"/>
                  </a:lnTo>
                  <a:cubicBezTo>
                    <a:pt x="15358" y="8274"/>
                    <a:pt x="15356" y="8276"/>
                    <a:pt x="15354" y="8279"/>
                  </a:cubicBezTo>
                  <a:lnTo>
                    <a:pt x="15354" y="8279"/>
                  </a:lnTo>
                  <a:cubicBezTo>
                    <a:pt x="15356" y="8276"/>
                    <a:pt x="15358" y="8274"/>
                    <a:pt x="15360" y="8272"/>
                  </a:cubicBezTo>
                  <a:close/>
                  <a:moveTo>
                    <a:pt x="43179" y="7239"/>
                  </a:moveTo>
                  <a:lnTo>
                    <a:pt x="43179" y="7239"/>
                  </a:lnTo>
                  <a:cubicBezTo>
                    <a:pt x="42911" y="7628"/>
                    <a:pt x="42642" y="8012"/>
                    <a:pt x="42371" y="8399"/>
                  </a:cubicBezTo>
                  <a:cubicBezTo>
                    <a:pt x="42293" y="7787"/>
                    <a:pt x="42495" y="7299"/>
                    <a:pt x="43179" y="7239"/>
                  </a:cubicBezTo>
                  <a:close/>
                  <a:moveTo>
                    <a:pt x="55960" y="1588"/>
                  </a:moveTo>
                  <a:cubicBezTo>
                    <a:pt x="56013" y="1588"/>
                    <a:pt x="55782" y="1923"/>
                    <a:pt x="55100" y="2787"/>
                  </a:cubicBezTo>
                  <a:cubicBezTo>
                    <a:pt x="54632" y="3379"/>
                    <a:pt x="54147" y="3956"/>
                    <a:pt x="53668" y="4539"/>
                  </a:cubicBezTo>
                  <a:cubicBezTo>
                    <a:pt x="52227" y="5850"/>
                    <a:pt x="50792" y="7161"/>
                    <a:pt x="49386" y="8500"/>
                  </a:cubicBezTo>
                  <a:lnTo>
                    <a:pt x="49383" y="8500"/>
                  </a:lnTo>
                  <a:cubicBezTo>
                    <a:pt x="49915" y="7911"/>
                    <a:pt x="50440" y="7322"/>
                    <a:pt x="50963" y="6728"/>
                  </a:cubicBezTo>
                  <a:cubicBezTo>
                    <a:pt x="51390" y="6315"/>
                    <a:pt x="51817" y="5899"/>
                    <a:pt x="52239" y="5481"/>
                  </a:cubicBezTo>
                  <a:cubicBezTo>
                    <a:pt x="52752" y="4971"/>
                    <a:pt x="55791" y="1588"/>
                    <a:pt x="55960" y="1588"/>
                  </a:cubicBezTo>
                  <a:close/>
                  <a:moveTo>
                    <a:pt x="30629" y="4155"/>
                  </a:moveTo>
                  <a:cubicBezTo>
                    <a:pt x="30777" y="4207"/>
                    <a:pt x="30915" y="4271"/>
                    <a:pt x="31057" y="4332"/>
                  </a:cubicBezTo>
                  <a:cubicBezTo>
                    <a:pt x="29879" y="5700"/>
                    <a:pt x="28724" y="7117"/>
                    <a:pt x="27592" y="8564"/>
                  </a:cubicBezTo>
                  <a:cubicBezTo>
                    <a:pt x="28588" y="7048"/>
                    <a:pt x="29590" y="5561"/>
                    <a:pt x="30629" y="4155"/>
                  </a:cubicBezTo>
                  <a:close/>
                  <a:moveTo>
                    <a:pt x="43595" y="7262"/>
                  </a:moveTo>
                  <a:cubicBezTo>
                    <a:pt x="43687" y="7270"/>
                    <a:pt x="43759" y="7265"/>
                    <a:pt x="43863" y="7288"/>
                  </a:cubicBezTo>
                  <a:cubicBezTo>
                    <a:pt x="44210" y="7366"/>
                    <a:pt x="44550" y="7467"/>
                    <a:pt x="44880" y="7594"/>
                  </a:cubicBezTo>
                  <a:cubicBezTo>
                    <a:pt x="44530" y="7845"/>
                    <a:pt x="44195" y="8108"/>
                    <a:pt x="43872" y="8382"/>
                  </a:cubicBezTo>
                  <a:cubicBezTo>
                    <a:pt x="44060" y="8142"/>
                    <a:pt x="44250" y="7906"/>
                    <a:pt x="44435" y="7666"/>
                  </a:cubicBezTo>
                  <a:cubicBezTo>
                    <a:pt x="44532" y="7538"/>
                    <a:pt x="44401" y="7413"/>
                    <a:pt x="44273" y="7413"/>
                  </a:cubicBezTo>
                  <a:cubicBezTo>
                    <a:pt x="44233" y="7413"/>
                    <a:pt x="44193" y="7425"/>
                    <a:pt x="44161" y="7452"/>
                  </a:cubicBezTo>
                  <a:cubicBezTo>
                    <a:pt x="43368" y="8116"/>
                    <a:pt x="42733" y="8726"/>
                    <a:pt x="42565" y="8726"/>
                  </a:cubicBezTo>
                  <a:cubicBezTo>
                    <a:pt x="42451" y="8726"/>
                    <a:pt x="42550" y="8446"/>
                    <a:pt x="42959" y="7714"/>
                  </a:cubicBezTo>
                  <a:lnTo>
                    <a:pt x="42959" y="7714"/>
                  </a:lnTo>
                  <a:cubicBezTo>
                    <a:pt x="42891" y="7837"/>
                    <a:pt x="42999" y="7952"/>
                    <a:pt x="43107" y="7952"/>
                  </a:cubicBezTo>
                  <a:cubicBezTo>
                    <a:pt x="43156" y="7952"/>
                    <a:pt x="43204" y="7929"/>
                    <a:pt x="43237" y="7874"/>
                  </a:cubicBezTo>
                  <a:lnTo>
                    <a:pt x="43595" y="7262"/>
                  </a:lnTo>
                  <a:close/>
                  <a:moveTo>
                    <a:pt x="33612" y="6774"/>
                  </a:moveTo>
                  <a:cubicBezTo>
                    <a:pt x="33840" y="7172"/>
                    <a:pt x="34045" y="7559"/>
                    <a:pt x="34253" y="7940"/>
                  </a:cubicBezTo>
                  <a:cubicBezTo>
                    <a:pt x="34248" y="7940"/>
                    <a:pt x="34243" y="7940"/>
                    <a:pt x="34238" y="7940"/>
                  </a:cubicBezTo>
                  <a:cubicBezTo>
                    <a:pt x="34214" y="7940"/>
                    <a:pt x="34191" y="7946"/>
                    <a:pt x="34172" y="7958"/>
                  </a:cubicBezTo>
                  <a:cubicBezTo>
                    <a:pt x="33799" y="8232"/>
                    <a:pt x="33447" y="8529"/>
                    <a:pt x="33109" y="8844"/>
                  </a:cubicBezTo>
                  <a:cubicBezTo>
                    <a:pt x="33369" y="8454"/>
                    <a:pt x="33629" y="8067"/>
                    <a:pt x="33880" y="7669"/>
                  </a:cubicBezTo>
                  <a:cubicBezTo>
                    <a:pt x="33969" y="7528"/>
                    <a:pt x="33848" y="7401"/>
                    <a:pt x="33717" y="7401"/>
                  </a:cubicBezTo>
                  <a:cubicBezTo>
                    <a:pt x="33674" y="7401"/>
                    <a:pt x="33629" y="7415"/>
                    <a:pt x="33591" y="7447"/>
                  </a:cubicBezTo>
                  <a:cubicBezTo>
                    <a:pt x="33274" y="7709"/>
                    <a:pt x="32988" y="7998"/>
                    <a:pt x="32691" y="8275"/>
                  </a:cubicBezTo>
                  <a:cubicBezTo>
                    <a:pt x="33000" y="7776"/>
                    <a:pt x="33314" y="7279"/>
                    <a:pt x="33612" y="6774"/>
                  </a:cubicBezTo>
                  <a:close/>
                  <a:moveTo>
                    <a:pt x="15626" y="8027"/>
                  </a:moveTo>
                  <a:cubicBezTo>
                    <a:pt x="15444" y="8223"/>
                    <a:pt x="15253" y="8420"/>
                    <a:pt x="15080" y="8619"/>
                  </a:cubicBezTo>
                  <a:cubicBezTo>
                    <a:pt x="15217" y="8446"/>
                    <a:pt x="15313" y="8323"/>
                    <a:pt x="15354" y="8279"/>
                  </a:cubicBezTo>
                  <a:lnTo>
                    <a:pt x="15354" y="8279"/>
                  </a:lnTo>
                  <a:cubicBezTo>
                    <a:pt x="15111" y="8530"/>
                    <a:pt x="14718" y="8920"/>
                    <a:pt x="14300" y="9338"/>
                  </a:cubicBezTo>
                  <a:cubicBezTo>
                    <a:pt x="14286" y="9320"/>
                    <a:pt x="14269" y="9303"/>
                    <a:pt x="14251" y="9286"/>
                  </a:cubicBezTo>
                  <a:cubicBezTo>
                    <a:pt x="14471" y="8980"/>
                    <a:pt x="14667" y="8700"/>
                    <a:pt x="14832" y="8474"/>
                  </a:cubicBezTo>
                  <a:lnTo>
                    <a:pt x="14829" y="8474"/>
                  </a:lnTo>
                  <a:cubicBezTo>
                    <a:pt x="15103" y="8316"/>
                    <a:pt x="15372" y="8165"/>
                    <a:pt x="15626" y="8027"/>
                  </a:cubicBezTo>
                  <a:close/>
                  <a:moveTo>
                    <a:pt x="61901" y="3916"/>
                  </a:moveTo>
                  <a:cubicBezTo>
                    <a:pt x="61948" y="4072"/>
                    <a:pt x="62008" y="4222"/>
                    <a:pt x="62040" y="4392"/>
                  </a:cubicBezTo>
                  <a:cubicBezTo>
                    <a:pt x="60507" y="6113"/>
                    <a:pt x="58934" y="7779"/>
                    <a:pt x="57346" y="9427"/>
                  </a:cubicBezTo>
                  <a:cubicBezTo>
                    <a:pt x="58858" y="7585"/>
                    <a:pt x="60366" y="5737"/>
                    <a:pt x="61901" y="3916"/>
                  </a:cubicBezTo>
                  <a:close/>
                  <a:moveTo>
                    <a:pt x="38929" y="8428"/>
                  </a:moveTo>
                  <a:cubicBezTo>
                    <a:pt x="38470" y="8956"/>
                    <a:pt x="38032" y="9496"/>
                    <a:pt x="37610" y="10054"/>
                  </a:cubicBezTo>
                  <a:cubicBezTo>
                    <a:pt x="37821" y="9652"/>
                    <a:pt x="38020" y="9239"/>
                    <a:pt x="38196" y="8809"/>
                  </a:cubicBezTo>
                  <a:cubicBezTo>
                    <a:pt x="38225" y="8737"/>
                    <a:pt x="38188" y="8674"/>
                    <a:pt x="38133" y="8636"/>
                  </a:cubicBezTo>
                  <a:cubicBezTo>
                    <a:pt x="38393" y="8549"/>
                    <a:pt x="38658" y="8480"/>
                    <a:pt x="38927" y="8428"/>
                  </a:cubicBezTo>
                  <a:close/>
                  <a:moveTo>
                    <a:pt x="26634" y="3916"/>
                  </a:moveTo>
                  <a:cubicBezTo>
                    <a:pt x="24720" y="6055"/>
                    <a:pt x="22863" y="8238"/>
                    <a:pt x="21062" y="10466"/>
                  </a:cubicBezTo>
                  <a:cubicBezTo>
                    <a:pt x="22707" y="8362"/>
                    <a:pt x="24327" y="6237"/>
                    <a:pt x="25898" y="4109"/>
                  </a:cubicBezTo>
                  <a:cubicBezTo>
                    <a:pt x="25915" y="4083"/>
                    <a:pt x="25924" y="4051"/>
                    <a:pt x="25921" y="4023"/>
                  </a:cubicBezTo>
                  <a:cubicBezTo>
                    <a:pt x="26157" y="3982"/>
                    <a:pt x="26397" y="3948"/>
                    <a:pt x="26634" y="3916"/>
                  </a:cubicBezTo>
                  <a:close/>
                  <a:moveTo>
                    <a:pt x="62147" y="5400"/>
                  </a:moveTo>
                  <a:lnTo>
                    <a:pt x="62147" y="5400"/>
                  </a:lnTo>
                  <a:cubicBezTo>
                    <a:pt x="60842" y="6635"/>
                    <a:pt x="59159" y="9182"/>
                    <a:pt x="57588" y="10770"/>
                  </a:cubicBezTo>
                  <a:cubicBezTo>
                    <a:pt x="57539" y="10819"/>
                    <a:pt x="57493" y="10871"/>
                    <a:pt x="57444" y="10923"/>
                  </a:cubicBezTo>
                  <a:cubicBezTo>
                    <a:pt x="58639" y="9531"/>
                    <a:pt x="59800" y="8113"/>
                    <a:pt x="60900" y="6641"/>
                  </a:cubicBezTo>
                  <a:cubicBezTo>
                    <a:pt x="61315" y="6225"/>
                    <a:pt x="61720" y="5804"/>
                    <a:pt x="62147" y="5400"/>
                  </a:cubicBezTo>
                  <a:close/>
                  <a:moveTo>
                    <a:pt x="65230" y="8330"/>
                  </a:moveTo>
                  <a:cubicBezTo>
                    <a:pt x="65242" y="8598"/>
                    <a:pt x="65250" y="8867"/>
                    <a:pt x="65268" y="9133"/>
                  </a:cubicBezTo>
                  <a:lnTo>
                    <a:pt x="65268" y="9130"/>
                  </a:lnTo>
                  <a:cubicBezTo>
                    <a:pt x="65268" y="9150"/>
                    <a:pt x="65271" y="9173"/>
                    <a:pt x="65273" y="9193"/>
                  </a:cubicBezTo>
                  <a:cubicBezTo>
                    <a:pt x="64575" y="9750"/>
                    <a:pt x="63902" y="10345"/>
                    <a:pt x="63241" y="10963"/>
                  </a:cubicBezTo>
                  <a:cubicBezTo>
                    <a:pt x="63937" y="10103"/>
                    <a:pt x="64612" y="9231"/>
                    <a:pt x="65230" y="8330"/>
                  </a:cubicBezTo>
                  <a:close/>
                  <a:moveTo>
                    <a:pt x="19096" y="7322"/>
                  </a:moveTo>
                  <a:cubicBezTo>
                    <a:pt x="17941" y="8627"/>
                    <a:pt x="16812" y="9955"/>
                    <a:pt x="15675" y="11278"/>
                  </a:cubicBezTo>
                  <a:lnTo>
                    <a:pt x="15672" y="11278"/>
                  </a:lnTo>
                  <a:cubicBezTo>
                    <a:pt x="16679" y="9857"/>
                    <a:pt x="17866" y="8558"/>
                    <a:pt x="19096" y="7322"/>
                  </a:cubicBezTo>
                  <a:close/>
                  <a:moveTo>
                    <a:pt x="40558" y="8495"/>
                  </a:moveTo>
                  <a:cubicBezTo>
                    <a:pt x="40795" y="8570"/>
                    <a:pt x="41023" y="8668"/>
                    <a:pt x="41239" y="8795"/>
                  </a:cubicBezTo>
                  <a:cubicBezTo>
                    <a:pt x="40494" y="9646"/>
                    <a:pt x="39749" y="10498"/>
                    <a:pt x="39007" y="11353"/>
                  </a:cubicBezTo>
                  <a:cubicBezTo>
                    <a:pt x="39579" y="10443"/>
                    <a:pt x="40093" y="9499"/>
                    <a:pt x="40555" y="8526"/>
                  </a:cubicBezTo>
                  <a:cubicBezTo>
                    <a:pt x="40558" y="8518"/>
                    <a:pt x="40555" y="8506"/>
                    <a:pt x="40558" y="8495"/>
                  </a:cubicBezTo>
                  <a:close/>
                  <a:moveTo>
                    <a:pt x="34397" y="8203"/>
                  </a:moveTo>
                  <a:cubicBezTo>
                    <a:pt x="34417" y="8243"/>
                    <a:pt x="34443" y="8281"/>
                    <a:pt x="34463" y="8321"/>
                  </a:cubicBezTo>
                  <a:cubicBezTo>
                    <a:pt x="33802" y="9058"/>
                    <a:pt x="32581" y="10166"/>
                    <a:pt x="31293" y="11434"/>
                  </a:cubicBezTo>
                  <a:cubicBezTo>
                    <a:pt x="31371" y="11327"/>
                    <a:pt x="31452" y="11220"/>
                    <a:pt x="31530" y="11113"/>
                  </a:cubicBezTo>
                  <a:cubicBezTo>
                    <a:pt x="32362" y="10054"/>
                    <a:pt x="33271" y="9072"/>
                    <a:pt x="34354" y="8272"/>
                  </a:cubicBezTo>
                  <a:cubicBezTo>
                    <a:pt x="34377" y="8252"/>
                    <a:pt x="34382" y="8226"/>
                    <a:pt x="34394" y="8203"/>
                  </a:cubicBezTo>
                  <a:close/>
                  <a:moveTo>
                    <a:pt x="34677" y="8691"/>
                  </a:moveTo>
                  <a:cubicBezTo>
                    <a:pt x="34813" y="8919"/>
                    <a:pt x="34963" y="9144"/>
                    <a:pt x="35124" y="9366"/>
                  </a:cubicBezTo>
                  <a:cubicBezTo>
                    <a:pt x="34359" y="10030"/>
                    <a:pt x="33638" y="10732"/>
                    <a:pt x="32948" y="11462"/>
                  </a:cubicBezTo>
                  <a:cubicBezTo>
                    <a:pt x="33537" y="10547"/>
                    <a:pt x="34108" y="9620"/>
                    <a:pt x="34677" y="8691"/>
                  </a:cubicBezTo>
                  <a:close/>
                  <a:moveTo>
                    <a:pt x="31233" y="7657"/>
                  </a:moveTo>
                  <a:cubicBezTo>
                    <a:pt x="31308" y="8682"/>
                    <a:pt x="30947" y="9491"/>
                    <a:pt x="30150" y="10077"/>
                  </a:cubicBezTo>
                  <a:cubicBezTo>
                    <a:pt x="29726" y="10547"/>
                    <a:pt x="29313" y="11029"/>
                    <a:pt x="28900" y="11511"/>
                  </a:cubicBezTo>
                  <a:cubicBezTo>
                    <a:pt x="29671" y="10233"/>
                    <a:pt x="30436" y="8945"/>
                    <a:pt x="31233" y="7657"/>
                  </a:cubicBezTo>
                  <a:close/>
                  <a:moveTo>
                    <a:pt x="48789" y="5492"/>
                  </a:moveTo>
                  <a:lnTo>
                    <a:pt x="48789" y="5492"/>
                  </a:lnTo>
                  <a:cubicBezTo>
                    <a:pt x="47666" y="7152"/>
                    <a:pt x="46228" y="8656"/>
                    <a:pt x="44888" y="10152"/>
                  </a:cubicBezTo>
                  <a:cubicBezTo>
                    <a:pt x="44400" y="10697"/>
                    <a:pt x="43938" y="11257"/>
                    <a:pt x="43459" y="11812"/>
                  </a:cubicBezTo>
                  <a:cubicBezTo>
                    <a:pt x="44343" y="10585"/>
                    <a:pt x="45145" y="9314"/>
                    <a:pt x="45789" y="7966"/>
                  </a:cubicBezTo>
                  <a:cubicBezTo>
                    <a:pt x="45974" y="8050"/>
                    <a:pt x="46161" y="8139"/>
                    <a:pt x="46346" y="8229"/>
                  </a:cubicBezTo>
                  <a:cubicBezTo>
                    <a:pt x="46375" y="8243"/>
                    <a:pt x="46404" y="8249"/>
                    <a:pt x="46432" y="8249"/>
                  </a:cubicBezTo>
                  <a:cubicBezTo>
                    <a:pt x="46559" y="8249"/>
                    <a:pt x="46663" y="8118"/>
                    <a:pt x="46592" y="7984"/>
                  </a:cubicBezTo>
                  <a:cubicBezTo>
                    <a:pt x="46493" y="7802"/>
                    <a:pt x="46392" y="7626"/>
                    <a:pt x="46288" y="7449"/>
                  </a:cubicBezTo>
                  <a:cubicBezTo>
                    <a:pt x="46629" y="7187"/>
                    <a:pt x="48682" y="5648"/>
                    <a:pt x="48789" y="5492"/>
                  </a:cubicBezTo>
                  <a:close/>
                  <a:moveTo>
                    <a:pt x="17456" y="7045"/>
                  </a:moveTo>
                  <a:lnTo>
                    <a:pt x="13660" y="11226"/>
                  </a:lnTo>
                  <a:cubicBezTo>
                    <a:pt x="12926" y="12033"/>
                    <a:pt x="12589" y="12349"/>
                    <a:pt x="12512" y="12349"/>
                  </a:cubicBezTo>
                  <a:cubicBezTo>
                    <a:pt x="12433" y="12349"/>
                    <a:pt x="12630" y="12014"/>
                    <a:pt x="12952" y="11535"/>
                  </a:cubicBezTo>
                  <a:cubicBezTo>
                    <a:pt x="14208" y="10247"/>
                    <a:pt x="15317" y="8832"/>
                    <a:pt x="16570" y="7519"/>
                  </a:cubicBezTo>
                  <a:cubicBezTo>
                    <a:pt x="16708" y="7447"/>
                    <a:pt x="16835" y="7377"/>
                    <a:pt x="16939" y="7320"/>
                  </a:cubicBezTo>
                  <a:lnTo>
                    <a:pt x="16936" y="7320"/>
                  </a:lnTo>
                  <a:cubicBezTo>
                    <a:pt x="17107" y="7224"/>
                    <a:pt x="17286" y="7141"/>
                    <a:pt x="17456" y="7045"/>
                  </a:cubicBezTo>
                  <a:close/>
                  <a:moveTo>
                    <a:pt x="13793" y="9108"/>
                  </a:moveTo>
                  <a:cubicBezTo>
                    <a:pt x="13657" y="9272"/>
                    <a:pt x="13527" y="9439"/>
                    <a:pt x="13394" y="9606"/>
                  </a:cubicBezTo>
                  <a:cubicBezTo>
                    <a:pt x="12614" y="10521"/>
                    <a:pt x="11829" y="11428"/>
                    <a:pt x="11079" y="12372"/>
                  </a:cubicBezTo>
                  <a:cubicBezTo>
                    <a:pt x="10877" y="11286"/>
                    <a:pt x="12267" y="10091"/>
                    <a:pt x="13793" y="9108"/>
                  </a:cubicBezTo>
                  <a:close/>
                  <a:moveTo>
                    <a:pt x="37832" y="8740"/>
                  </a:moveTo>
                  <a:lnTo>
                    <a:pt x="37832" y="8740"/>
                  </a:lnTo>
                  <a:cubicBezTo>
                    <a:pt x="36707" y="10004"/>
                    <a:pt x="35618" y="11295"/>
                    <a:pt x="34544" y="12600"/>
                  </a:cubicBezTo>
                  <a:cubicBezTo>
                    <a:pt x="35110" y="11641"/>
                    <a:pt x="35641" y="10671"/>
                    <a:pt x="36132" y="9710"/>
                  </a:cubicBezTo>
                  <a:cubicBezTo>
                    <a:pt x="36167" y="9644"/>
                    <a:pt x="36155" y="9563"/>
                    <a:pt x="36100" y="9514"/>
                  </a:cubicBezTo>
                  <a:cubicBezTo>
                    <a:pt x="36698" y="9216"/>
                    <a:pt x="37275" y="8945"/>
                    <a:pt x="37832" y="8740"/>
                  </a:cubicBezTo>
                  <a:close/>
                  <a:moveTo>
                    <a:pt x="42198" y="9543"/>
                  </a:moveTo>
                  <a:cubicBezTo>
                    <a:pt x="42270" y="9615"/>
                    <a:pt x="42345" y="9696"/>
                    <a:pt x="42417" y="9774"/>
                  </a:cubicBezTo>
                  <a:cubicBezTo>
                    <a:pt x="41788" y="10443"/>
                    <a:pt x="41196" y="11145"/>
                    <a:pt x="40644" y="11878"/>
                  </a:cubicBezTo>
                  <a:cubicBezTo>
                    <a:pt x="40399" y="12144"/>
                    <a:pt x="40206" y="12360"/>
                    <a:pt x="40119" y="12467"/>
                  </a:cubicBezTo>
                  <a:cubicBezTo>
                    <a:pt x="40064" y="12531"/>
                    <a:pt x="40012" y="12600"/>
                    <a:pt x="39957" y="12666"/>
                  </a:cubicBezTo>
                  <a:cubicBezTo>
                    <a:pt x="40575" y="11763"/>
                    <a:pt x="41164" y="10836"/>
                    <a:pt x="41724" y="9889"/>
                  </a:cubicBezTo>
                  <a:cubicBezTo>
                    <a:pt x="41756" y="9886"/>
                    <a:pt x="41791" y="9875"/>
                    <a:pt x="41819" y="9854"/>
                  </a:cubicBezTo>
                  <a:cubicBezTo>
                    <a:pt x="41967" y="9730"/>
                    <a:pt x="42079" y="9641"/>
                    <a:pt x="42198" y="9543"/>
                  </a:cubicBezTo>
                  <a:close/>
                  <a:moveTo>
                    <a:pt x="28314" y="3795"/>
                  </a:moveTo>
                  <a:cubicBezTo>
                    <a:pt x="28531" y="3795"/>
                    <a:pt x="28747" y="3806"/>
                    <a:pt x="28958" y="3821"/>
                  </a:cubicBezTo>
                  <a:cubicBezTo>
                    <a:pt x="26354" y="6832"/>
                    <a:pt x="23729" y="9817"/>
                    <a:pt x="21232" y="12909"/>
                  </a:cubicBezTo>
                  <a:cubicBezTo>
                    <a:pt x="21530" y="12499"/>
                    <a:pt x="21833" y="12080"/>
                    <a:pt x="22142" y="11659"/>
                  </a:cubicBezTo>
                  <a:cubicBezTo>
                    <a:pt x="24249" y="9078"/>
                    <a:pt x="26354" y="6494"/>
                    <a:pt x="28314" y="3797"/>
                  </a:cubicBezTo>
                  <a:lnTo>
                    <a:pt x="28314" y="3795"/>
                  </a:lnTo>
                  <a:close/>
                  <a:moveTo>
                    <a:pt x="12499" y="11959"/>
                  </a:moveTo>
                  <a:cubicBezTo>
                    <a:pt x="12210" y="12395"/>
                    <a:pt x="11936" y="12854"/>
                    <a:pt x="11668" y="13316"/>
                  </a:cubicBezTo>
                  <a:cubicBezTo>
                    <a:pt x="11610" y="13241"/>
                    <a:pt x="11546" y="13166"/>
                    <a:pt x="11480" y="13096"/>
                  </a:cubicBezTo>
                  <a:lnTo>
                    <a:pt x="11474" y="13096"/>
                  </a:lnTo>
                  <a:cubicBezTo>
                    <a:pt x="11387" y="13001"/>
                    <a:pt x="11310" y="12897"/>
                    <a:pt x="11243" y="12785"/>
                  </a:cubicBezTo>
                  <a:lnTo>
                    <a:pt x="11393" y="12750"/>
                  </a:lnTo>
                  <a:cubicBezTo>
                    <a:pt x="11428" y="12790"/>
                    <a:pt x="11478" y="12810"/>
                    <a:pt x="11527" y="12810"/>
                  </a:cubicBezTo>
                  <a:cubicBezTo>
                    <a:pt x="11568" y="12810"/>
                    <a:pt x="11609" y="12796"/>
                    <a:pt x="11642" y="12767"/>
                  </a:cubicBezTo>
                  <a:cubicBezTo>
                    <a:pt x="11942" y="12510"/>
                    <a:pt x="12219" y="12233"/>
                    <a:pt x="12499" y="11959"/>
                  </a:cubicBezTo>
                  <a:close/>
                  <a:moveTo>
                    <a:pt x="15129" y="11477"/>
                  </a:moveTo>
                  <a:lnTo>
                    <a:pt x="15129" y="11477"/>
                  </a:lnTo>
                  <a:cubicBezTo>
                    <a:pt x="14777" y="11988"/>
                    <a:pt x="14445" y="12510"/>
                    <a:pt x="14133" y="13044"/>
                  </a:cubicBezTo>
                  <a:cubicBezTo>
                    <a:pt x="13688" y="13539"/>
                    <a:pt x="13489" y="13739"/>
                    <a:pt x="13456" y="13739"/>
                  </a:cubicBezTo>
                  <a:cubicBezTo>
                    <a:pt x="13374" y="13739"/>
                    <a:pt x="14341" y="12484"/>
                    <a:pt x="15129" y="11477"/>
                  </a:cubicBezTo>
                  <a:close/>
                  <a:moveTo>
                    <a:pt x="39645" y="8367"/>
                  </a:moveTo>
                  <a:cubicBezTo>
                    <a:pt x="39831" y="8367"/>
                    <a:pt x="40016" y="8382"/>
                    <a:pt x="40200" y="8414"/>
                  </a:cubicBezTo>
                  <a:lnTo>
                    <a:pt x="40203" y="8414"/>
                  </a:lnTo>
                  <a:cubicBezTo>
                    <a:pt x="38687" y="10221"/>
                    <a:pt x="37269" y="12106"/>
                    <a:pt x="35843" y="13983"/>
                  </a:cubicBezTo>
                  <a:cubicBezTo>
                    <a:pt x="37157" y="12173"/>
                    <a:pt x="38401" y="10273"/>
                    <a:pt x="39438" y="8373"/>
                  </a:cubicBezTo>
                  <a:cubicBezTo>
                    <a:pt x="39507" y="8369"/>
                    <a:pt x="39576" y="8367"/>
                    <a:pt x="39645" y="8367"/>
                  </a:cubicBezTo>
                  <a:close/>
                  <a:moveTo>
                    <a:pt x="22205" y="4941"/>
                  </a:moveTo>
                  <a:cubicBezTo>
                    <a:pt x="19613" y="7380"/>
                    <a:pt x="17433" y="10149"/>
                    <a:pt x="15149" y="12880"/>
                  </a:cubicBezTo>
                  <a:cubicBezTo>
                    <a:pt x="14357" y="13828"/>
                    <a:pt x="14010" y="14176"/>
                    <a:pt x="13927" y="14176"/>
                  </a:cubicBezTo>
                  <a:cubicBezTo>
                    <a:pt x="13835" y="14176"/>
                    <a:pt x="14074" y="13739"/>
                    <a:pt x="14390" y="13218"/>
                  </a:cubicBezTo>
                  <a:cubicBezTo>
                    <a:pt x="16798" y="10567"/>
                    <a:pt x="19084" y="7816"/>
                    <a:pt x="21521" y="5189"/>
                  </a:cubicBezTo>
                  <a:cubicBezTo>
                    <a:pt x="21749" y="5105"/>
                    <a:pt x="21974" y="5019"/>
                    <a:pt x="22205" y="4941"/>
                  </a:cubicBezTo>
                  <a:close/>
                  <a:moveTo>
                    <a:pt x="15117" y="10966"/>
                  </a:moveTo>
                  <a:cubicBezTo>
                    <a:pt x="14150" y="12196"/>
                    <a:pt x="13232" y="13469"/>
                    <a:pt x="12401" y="14832"/>
                  </a:cubicBezTo>
                  <a:lnTo>
                    <a:pt x="12398" y="14832"/>
                  </a:lnTo>
                  <a:cubicBezTo>
                    <a:pt x="12329" y="14647"/>
                    <a:pt x="12259" y="14459"/>
                    <a:pt x="12181" y="14271"/>
                  </a:cubicBezTo>
                  <a:cubicBezTo>
                    <a:pt x="13163" y="13244"/>
                    <a:pt x="14150" y="12103"/>
                    <a:pt x="15117" y="10966"/>
                  </a:cubicBezTo>
                  <a:close/>
                  <a:moveTo>
                    <a:pt x="25459" y="4106"/>
                  </a:moveTo>
                  <a:cubicBezTo>
                    <a:pt x="24217" y="5717"/>
                    <a:pt x="22941" y="7296"/>
                    <a:pt x="21674" y="8887"/>
                  </a:cubicBezTo>
                  <a:cubicBezTo>
                    <a:pt x="21186" y="9401"/>
                    <a:pt x="20707" y="9921"/>
                    <a:pt x="20277" y="10443"/>
                  </a:cubicBezTo>
                  <a:cubicBezTo>
                    <a:pt x="19032" y="11945"/>
                    <a:pt x="16457" y="14476"/>
                    <a:pt x="15683" y="16044"/>
                  </a:cubicBezTo>
                  <a:cubicBezTo>
                    <a:pt x="17863" y="11630"/>
                    <a:pt x="22410" y="8512"/>
                    <a:pt x="25026" y="4317"/>
                  </a:cubicBezTo>
                  <a:cubicBezTo>
                    <a:pt x="25046" y="4277"/>
                    <a:pt x="25049" y="4230"/>
                    <a:pt x="25029" y="4187"/>
                  </a:cubicBezTo>
                  <a:cubicBezTo>
                    <a:pt x="25173" y="4158"/>
                    <a:pt x="25314" y="4132"/>
                    <a:pt x="25459" y="4106"/>
                  </a:cubicBezTo>
                  <a:close/>
                  <a:moveTo>
                    <a:pt x="13521" y="14153"/>
                  </a:moveTo>
                  <a:lnTo>
                    <a:pt x="13521" y="14153"/>
                  </a:lnTo>
                  <a:cubicBezTo>
                    <a:pt x="13336" y="14514"/>
                    <a:pt x="13149" y="14875"/>
                    <a:pt x="12984" y="15247"/>
                  </a:cubicBezTo>
                  <a:cubicBezTo>
                    <a:pt x="12928" y="15374"/>
                    <a:pt x="13026" y="15515"/>
                    <a:pt x="13140" y="15515"/>
                  </a:cubicBezTo>
                  <a:cubicBezTo>
                    <a:pt x="13179" y="15515"/>
                    <a:pt x="13220" y="15498"/>
                    <a:pt x="13258" y="15458"/>
                  </a:cubicBezTo>
                  <a:cubicBezTo>
                    <a:pt x="13515" y="15190"/>
                    <a:pt x="13755" y="14904"/>
                    <a:pt x="14006" y="14629"/>
                  </a:cubicBezTo>
                  <a:lnTo>
                    <a:pt x="14006" y="14629"/>
                  </a:lnTo>
                  <a:cubicBezTo>
                    <a:pt x="13712" y="15109"/>
                    <a:pt x="13443" y="15602"/>
                    <a:pt x="13203" y="16110"/>
                  </a:cubicBezTo>
                  <a:cubicBezTo>
                    <a:pt x="13195" y="16142"/>
                    <a:pt x="13192" y="16174"/>
                    <a:pt x="13201" y="16206"/>
                  </a:cubicBezTo>
                  <a:lnTo>
                    <a:pt x="13198" y="16206"/>
                  </a:lnTo>
                  <a:cubicBezTo>
                    <a:pt x="12894" y="15972"/>
                    <a:pt x="12701" y="15597"/>
                    <a:pt x="12531" y="15172"/>
                  </a:cubicBezTo>
                  <a:cubicBezTo>
                    <a:pt x="12560" y="15169"/>
                    <a:pt x="12588" y="15155"/>
                    <a:pt x="12612" y="15135"/>
                  </a:cubicBezTo>
                  <a:cubicBezTo>
                    <a:pt x="12920" y="14814"/>
                    <a:pt x="13218" y="14479"/>
                    <a:pt x="13521" y="14153"/>
                  </a:cubicBezTo>
                  <a:close/>
                  <a:moveTo>
                    <a:pt x="44713" y="8825"/>
                  </a:moveTo>
                  <a:cubicBezTo>
                    <a:pt x="44871" y="8825"/>
                    <a:pt x="42923" y="11924"/>
                    <a:pt x="42264" y="12738"/>
                  </a:cubicBezTo>
                  <a:cubicBezTo>
                    <a:pt x="41268" y="13968"/>
                    <a:pt x="40269" y="15181"/>
                    <a:pt x="39273" y="16399"/>
                  </a:cubicBezTo>
                  <a:cubicBezTo>
                    <a:pt x="39481" y="16108"/>
                    <a:pt x="39697" y="15825"/>
                    <a:pt x="39902" y="15527"/>
                  </a:cubicBezTo>
                  <a:cubicBezTo>
                    <a:pt x="40266" y="14993"/>
                    <a:pt x="40639" y="14465"/>
                    <a:pt x="41008" y="13934"/>
                  </a:cubicBezTo>
                  <a:cubicBezTo>
                    <a:pt x="42359" y="12354"/>
                    <a:pt x="43632" y="10718"/>
                    <a:pt x="44608" y="8913"/>
                  </a:cubicBezTo>
                  <a:cubicBezTo>
                    <a:pt x="44664" y="8853"/>
                    <a:pt x="44698" y="8825"/>
                    <a:pt x="44713" y="8825"/>
                  </a:cubicBezTo>
                  <a:close/>
                  <a:moveTo>
                    <a:pt x="15438" y="14142"/>
                  </a:moveTo>
                  <a:cubicBezTo>
                    <a:pt x="14869" y="14892"/>
                    <a:pt x="14315" y="15657"/>
                    <a:pt x="13789" y="16442"/>
                  </a:cubicBezTo>
                  <a:cubicBezTo>
                    <a:pt x="13662" y="16428"/>
                    <a:pt x="13538" y="16393"/>
                    <a:pt x="13420" y="16341"/>
                  </a:cubicBezTo>
                  <a:lnTo>
                    <a:pt x="13417" y="16341"/>
                  </a:lnTo>
                  <a:cubicBezTo>
                    <a:pt x="13434" y="16333"/>
                    <a:pt x="13455" y="16333"/>
                    <a:pt x="13469" y="16318"/>
                  </a:cubicBezTo>
                  <a:cubicBezTo>
                    <a:pt x="14139" y="15608"/>
                    <a:pt x="14788" y="14875"/>
                    <a:pt x="15438" y="14142"/>
                  </a:cubicBezTo>
                  <a:close/>
                  <a:moveTo>
                    <a:pt x="60773" y="5105"/>
                  </a:moveTo>
                  <a:cubicBezTo>
                    <a:pt x="58785" y="7283"/>
                    <a:pt x="56717" y="9710"/>
                    <a:pt x="54658" y="12216"/>
                  </a:cubicBezTo>
                  <a:cubicBezTo>
                    <a:pt x="53255" y="13671"/>
                    <a:pt x="51866" y="15135"/>
                    <a:pt x="50506" y="16630"/>
                  </a:cubicBezTo>
                  <a:cubicBezTo>
                    <a:pt x="53844" y="12715"/>
                    <a:pt x="57312" y="8893"/>
                    <a:pt x="60773" y="5105"/>
                  </a:cubicBezTo>
                  <a:close/>
                  <a:moveTo>
                    <a:pt x="18611" y="13558"/>
                  </a:moveTo>
                  <a:lnTo>
                    <a:pt x="18611" y="13558"/>
                  </a:lnTo>
                  <a:cubicBezTo>
                    <a:pt x="17970" y="14384"/>
                    <a:pt x="17329" y="15213"/>
                    <a:pt x="16700" y="16047"/>
                  </a:cubicBezTo>
                  <a:cubicBezTo>
                    <a:pt x="15895" y="17119"/>
                    <a:pt x="15586" y="17522"/>
                    <a:pt x="15578" y="17522"/>
                  </a:cubicBezTo>
                  <a:cubicBezTo>
                    <a:pt x="15565" y="17522"/>
                    <a:pt x="16339" y="16462"/>
                    <a:pt x="17060" y="15472"/>
                  </a:cubicBezTo>
                  <a:cubicBezTo>
                    <a:pt x="17580" y="14837"/>
                    <a:pt x="18097" y="14199"/>
                    <a:pt x="18611" y="13558"/>
                  </a:cubicBezTo>
                  <a:close/>
                  <a:moveTo>
                    <a:pt x="70503" y="12383"/>
                  </a:moveTo>
                  <a:cubicBezTo>
                    <a:pt x="70537" y="12383"/>
                    <a:pt x="70288" y="12690"/>
                    <a:pt x="69514" y="13555"/>
                  </a:cubicBezTo>
                  <a:cubicBezTo>
                    <a:pt x="68308" y="14907"/>
                    <a:pt x="67034" y="16200"/>
                    <a:pt x="65802" y="17531"/>
                  </a:cubicBezTo>
                  <a:cubicBezTo>
                    <a:pt x="66801" y="16428"/>
                    <a:pt x="67788" y="15308"/>
                    <a:pt x="68738" y="14156"/>
                  </a:cubicBezTo>
                  <a:cubicBezTo>
                    <a:pt x="68941" y="13909"/>
                    <a:pt x="70426" y="12383"/>
                    <a:pt x="70503" y="12383"/>
                  </a:cubicBezTo>
                  <a:close/>
                  <a:moveTo>
                    <a:pt x="24043" y="5082"/>
                  </a:moveTo>
                  <a:cubicBezTo>
                    <a:pt x="24194" y="5082"/>
                    <a:pt x="23784" y="5718"/>
                    <a:pt x="22147" y="7669"/>
                  </a:cubicBezTo>
                  <a:cubicBezTo>
                    <a:pt x="19494" y="10833"/>
                    <a:pt x="16131" y="13732"/>
                    <a:pt x="14658" y="17675"/>
                  </a:cubicBezTo>
                  <a:cubicBezTo>
                    <a:pt x="14583" y="17309"/>
                    <a:pt x="14503" y="16942"/>
                    <a:pt x="14396" y="16570"/>
                  </a:cubicBezTo>
                  <a:lnTo>
                    <a:pt x="14393" y="16570"/>
                  </a:lnTo>
                  <a:cubicBezTo>
                    <a:pt x="14373" y="16503"/>
                    <a:pt x="14315" y="16457"/>
                    <a:pt x="14246" y="16451"/>
                  </a:cubicBezTo>
                  <a:cubicBezTo>
                    <a:pt x="15709" y="14820"/>
                    <a:pt x="17037" y="13102"/>
                    <a:pt x="18357" y="11350"/>
                  </a:cubicBezTo>
                  <a:cubicBezTo>
                    <a:pt x="19500" y="9831"/>
                    <a:pt x="20658" y="8391"/>
                    <a:pt x="21928" y="6985"/>
                  </a:cubicBezTo>
                  <a:cubicBezTo>
                    <a:pt x="22490" y="6362"/>
                    <a:pt x="23830" y="5082"/>
                    <a:pt x="24043" y="5082"/>
                  </a:cubicBezTo>
                  <a:close/>
                  <a:moveTo>
                    <a:pt x="35012" y="13708"/>
                  </a:moveTo>
                  <a:cubicBezTo>
                    <a:pt x="33889" y="15345"/>
                    <a:pt x="32740" y="16965"/>
                    <a:pt x="31409" y="18446"/>
                  </a:cubicBezTo>
                  <a:cubicBezTo>
                    <a:pt x="32673" y="16977"/>
                    <a:pt x="33788" y="15244"/>
                    <a:pt x="35012" y="13708"/>
                  </a:cubicBezTo>
                  <a:close/>
                  <a:moveTo>
                    <a:pt x="34495" y="8821"/>
                  </a:moveTo>
                  <a:cubicBezTo>
                    <a:pt x="33285" y="10157"/>
                    <a:pt x="32336" y="11740"/>
                    <a:pt x="31331" y="13273"/>
                  </a:cubicBezTo>
                  <a:cubicBezTo>
                    <a:pt x="29928" y="14921"/>
                    <a:pt x="28611" y="16647"/>
                    <a:pt x="27246" y="18342"/>
                  </a:cubicBezTo>
                  <a:cubicBezTo>
                    <a:pt x="27145" y="18468"/>
                    <a:pt x="27245" y="18633"/>
                    <a:pt x="27367" y="18633"/>
                  </a:cubicBezTo>
                  <a:cubicBezTo>
                    <a:pt x="27405" y="18633"/>
                    <a:pt x="27445" y="18617"/>
                    <a:pt x="27483" y="18579"/>
                  </a:cubicBezTo>
                  <a:cubicBezTo>
                    <a:pt x="29065" y="16953"/>
                    <a:pt x="30436" y="15175"/>
                    <a:pt x="31712" y="13322"/>
                  </a:cubicBezTo>
                  <a:cubicBezTo>
                    <a:pt x="32312" y="12611"/>
                    <a:pt x="32927" y="11910"/>
                    <a:pt x="33568" y="11226"/>
                  </a:cubicBezTo>
                  <a:cubicBezTo>
                    <a:pt x="34089" y="10672"/>
                    <a:pt x="34334" y="10447"/>
                    <a:pt x="34387" y="10447"/>
                  </a:cubicBezTo>
                  <a:cubicBezTo>
                    <a:pt x="34600" y="10447"/>
                    <a:pt x="31738" y="14060"/>
                    <a:pt x="31288" y="14615"/>
                  </a:cubicBezTo>
                  <a:cubicBezTo>
                    <a:pt x="30144" y="16021"/>
                    <a:pt x="29079" y="17459"/>
                    <a:pt x="28106" y="18986"/>
                  </a:cubicBezTo>
                  <a:cubicBezTo>
                    <a:pt x="27808" y="18904"/>
                    <a:pt x="27508" y="18858"/>
                    <a:pt x="27214" y="18858"/>
                  </a:cubicBezTo>
                  <a:cubicBezTo>
                    <a:pt x="26839" y="18858"/>
                    <a:pt x="26475" y="18932"/>
                    <a:pt x="26143" y="19096"/>
                  </a:cubicBezTo>
                  <a:cubicBezTo>
                    <a:pt x="26351" y="18807"/>
                    <a:pt x="26556" y="18518"/>
                    <a:pt x="26767" y="18232"/>
                  </a:cubicBezTo>
                  <a:cubicBezTo>
                    <a:pt x="26769" y="18426"/>
                    <a:pt x="26798" y="18619"/>
                    <a:pt x="26853" y="18807"/>
                  </a:cubicBezTo>
                  <a:cubicBezTo>
                    <a:pt x="26865" y="18848"/>
                    <a:pt x="26897" y="18865"/>
                    <a:pt x="26929" y="18865"/>
                  </a:cubicBezTo>
                  <a:cubicBezTo>
                    <a:pt x="26978" y="18865"/>
                    <a:pt x="27027" y="18826"/>
                    <a:pt x="27012" y="18764"/>
                  </a:cubicBezTo>
                  <a:cubicBezTo>
                    <a:pt x="26943" y="18495"/>
                    <a:pt x="26943" y="18209"/>
                    <a:pt x="26998" y="17912"/>
                  </a:cubicBezTo>
                  <a:cubicBezTo>
                    <a:pt x="27006" y="17900"/>
                    <a:pt x="27015" y="17886"/>
                    <a:pt x="27026" y="17874"/>
                  </a:cubicBezTo>
                  <a:cubicBezTo>
                    <a:pt x="27887" y="16662"/>
                    <a:pt x="28678" y="15351"/>
                    <a:pt x="29501" y="14058"/>
                  </a:cubicBezTo>
                  <a:cubicBezTo>
                    <a:pt x="30410" y="13088"/>
                    <a:pt x="31340" y="12230"/>
                    <a:pt x="31862" y="11662"/>
                  </a:cubicBezTo>
                  <a:cubicBezTo>
                    <a:pt x="32734" y="10709"/>
                    <a:pt x="33629" y="9776"/>
                    <a:pt x="34495" y="8821"/>
                  </a:cubicBezTo>
                  <a:close/>
                  <a:moveTo>
                    <a:pt x="27858" y="3809"/>
                  </a:moveTo>
                  <a:lnTo>
                    <a:pt x="27858" y="3809"/>
                  </a:lnTo>
                  <a:cubicBezTo>
                    <a:pt x="26166" y="5986"/>
                    <a:pt x="24466" y="8154"/>
                    <a:pt x="22797" y="10342"/>
                  </a:cubicBezTo>
                  <a:cubicBezTo>
                    <a:pt x="21864" y="11471"/>
                    <a:pt x="20926" y="12594"/>
                    <a:pt x="20002" y="13723"/>
                  </a:cubicBezTo>
                  <a:cubicBezTo>
                    <a:pt x="18713" y="15295"/>
                    <a:pt x="16570" y="17387"/>
                    <a:pt x="15774" y="19265"/>
                  </a:cubicBezTo>
                  <a:lnTo>
                    <a:pt x="15774" y="19265"/>
                  </a:lnTo>
                  <a:cubicBezTo>
                    <a:pt x="18246" y="13421"/>
                    <a:pt x="23543" y="9033"/>
                    <a:pt x="27119" y="3858"/>
                  </a:cubicBezTo>
                  <a:cubicBezTo>
                    <a:pt x="27366" y="3835"/>
                    <a:pt x="27613" y="3818"/>
                    <a:pt x="27858" y="3809"/>
                  </a:cubicBezTo>
                  <a:close/>
                  <a:moveTo>
                    <a:pt x="35211" y="10545"/>
                  </a:moveTo>
                  <a:cubicBezTo>
                    <a:pt x="35436" y="10545"/>
                    <a:pt x="34014" y="12709"/>
                    <a:pt x="33805" y="13027"/>
                  </a:cubicBezTo>
                  <a:cubicBezTo>
                    <a:pt x="33098" y="14116"/>
                    <a:pt x="32362" y="15192"/>
                    <a:pt x="31631" y="16266"/>
                  </a:cubicBezTo>
                  <a:cubicBezTo>
                    <a:pt x="30829" y="17317"/>
                    <a:pt x="30038" y="18377"/>
                    <a:pt x="29267" y="19454"/>
                  </a:cubicBezTo>
                  <a:cubicBezTo>
                    <a:pt x="29252" y="19474"/>
                    <a:pt x="29258" y="19491"/>
                    <a:pt x="29255" y="19508"/>
                  </a:cubicBezTo>
                  <a:cubicBezTo>
                    <a:pt x="28998" y="19344"/>
                    <a:pt x="28727" y="19208"/>
                    <a:pt x="28441" y="19099"/>
                  </a:cubicBezTo>
                  <a:cubicBezTo>
                    <a:pt x="30485" y="16567"/>
                    <a:pt x="32232" y="13812"/>
                    <a:pt x="34377" y="11361"/>
                  </a:cubicBezTo>
                  <a:cubicBezTo>
                    <a:pt x="34892" y="10772"/>
                    <a:pt x="35138" y="10545"/>
                    <a:pt x="35211" y="10545"/>
                  </a:cubicBezTo>
                  <a:close/>
                  <a:moveTo>
                    <a:pt x="37051" y="10278"/>
                  </a:moveTo>
                  <a:cubicBezTo>
                    <a:pt x="37106" y="10278"/>
                    <a:pt x="37052" y="10428"/>
                    <a:pt x="36839" y="10793"/>
                  </a:cubicBezTo>
                  <a:cubicBezTo>
                    <a:pt x="35015" y="13931"/>
                    <a:pt x="32044" y="16988"/>
                    <a:pt x="29824" y="19936"/>
                  </a:cubicBezTo>
                  <a:cubicBezTo>
                    <a:pt x="29720" y="19843"/>
                    <a:pt x="29607" y="19757"/>
                    <a:pt x="29495" y="19673"/>
                  </a:cubicBezTo>
                  <a:cubicBezTo>
                    <a:pt x="29506" y="19664"/>
                    <a:pt x="29518" y="19667"/>
                    <a:pt x="29529" y="19659"/>
                  </a:cubicBezTo>
                  <a:cubicBezTo>
                    <a:pt x="30808" y="18178"/>
                    <a:pt x="32027" y="16552"/>
                    <a:pt x="33141" y="14858"/>
                  </a:cubicBezTo>
                  <a:cubicBezTo>
                    <a:pt x="33485" y="14422"/>
                    <a:pt x="33817" y="13974"/>
                    <a:pt x="34166" y="13544"/>
                  </a:cubicBezTo>
                  <a:cubicBezTo>
                    <a:pt x="34427" y="13217"/>
                    <a:pt x="36807" y="10278"/>
                    <a:pt x="37051" y="10278"/>
                  </a:cubicBezTo>
                  <a:close/>
                  <a:moveTo>
                    <a:pt x="53226" y="13010"/>
                  </a:moveTo>
                  <a:lnTo>
                    <a:pt x="53226" y="13010"/>
                  </a:lnTo>
                  <a:cubicBezTo>
                    <a:pt x="51228" y="15296"/>
                    <a:pt x="49265" y="17606"/>
                    <a:pt x="47336" y="19942"/>
                  </a:cubicBezTo>
                  <a:cubicBezTo>
                    <a:pt x="47403" y="19849"/>
                    <a:pt x="47466" y="19754"/>
                    <a:pt x="47533" y="19662"/>
                  </a:cubicBezTo>
                  <a:cubicBezTo>
                    <a:pt x="49251" y="17303"/>
                    <a:pt x="51225" y="15143"/>
                    <a:pt x="53226" y="13010"/>
                  </a:cubicBezTo>
                  <a:close/>
                  <a:moveTo>
                    <a:pt x="25908" y="5044"/>
                  </a:moveTo>
                  <a:cubicBezTo>
                    <a:pt x="25931" y="5044"/>
                    <a:pt x="25496" y="5615"/>
                    <a:pt x="24313" y="7117"/>
                  </a:cubicBezTo>
                  <a:cubicBezTo>
                    <a:pt x="20984" y="11350"/>
                    <a:pt x="17306" y="15126"/>
                    <a:pt x="15094" y="20103"/>
                  </a:cubicBezTo>
                  <a:cubicBezTo>
                    <a:pt x="15028" y="19760"/>
                    <a:pt x="14967" y="19413"/>
                    <a:pt x="14910" y="19067"/>
                  </a:cubicBezTo>
                  <a:lnTo>
                    <a:pt x="14907" y="19067"/>
                  </a:lnTo>
                  <a:cubicBezTo>
                    <a:pt x="16980" y="16194"/>
                    <a:pt x="19119" y="13374"/>
                    <a:pt x="21327" y="10605"/>
                  </a:cubicBezTo>
                  <a:cubicBezTo>
                    <a:pt x="22031" y="9723"/>
                    <a:pt x="25844" y="5044"/>
                    <a:pt x="25908" y="5044"/>
                  </a:cubicBezTo>
                  <a:close/>
                  <a:moveTo>
                    <a:pt x="55573" y="12002"/>
                  </a:moveTo>
                  <a:lnTo>
                    <a:pt x="55573" y="12002"/>
                  </a:lnTo>
                  <a:cubicBezTo>
                    <a:pt x="54415" y="13431"/>
                    <a:pt x="53301" y="14901"/>
                    <a:pt x="52221" y="16396"/>
                  </a:cubicBezTo>
                  <a:cubicBezTo>
                    <a:pt x="50994" y="17710"/>
                    <a:pt x="49779" y="19023"/>
                    <a:pt x="48592" y="20354"/>
                  </a:cubicBezTo>
                  <a:cubicBezTo>
                    <a:pt x="50385" y="18053"/>
                    <a:pt x="52192" y="15764"/>
                    <a:pt x="54020" y="13489"/>
                  </a:cubicBezTo>
                  <a:cubicBezTo>
                    <a:pt x="54540" y="12995"/>
                    <a:pt x="55056" y="12499"/>
                    <a:pt x="55573" y="12002"/>
                  </a:cubicBezTo>
                  <a:close/>
                  <a:moveTo>
                    <a:pt x="32154" y="18085"/>
                  </a:moveTo>
                  <a:lnTo>
                    <a:pt x="32154" y="18085"/>
                  </a:lnTo>
                  <a:cubicBezTo>
                    <a:pt x="31568" y="18908"/>
                    <a:pt x="30979" y="19722"/>
                    <a:pt x="30381" y="20530"/>
                  </a:cubicBezTo>
                  <a:cubicBezTo>
                    <a:pt x="30289" y="20412"/>
                    <a:pt x="30191" y="20297"/>
                    <a:pt x="30087" y="20187"/>
                  </a:cubicBezTo>
                  <a:cubicBezTo>
                    <a:pt x="30823" y="19534"/>
                    <a:pt x="31516" y="18833"/>
                    <a:pt x="32154" y="18085"/>
                  </a:cubicBezTo>
                  <a:close/>
                  <a:moveTo>
                    <a:pt x="31324" y="6277"/>
                  </a:moveTo>
                  <a:cubicBezTo>
                    <a:pt x="31400" y="6277"/>
                    <a:pt x="29210" y="9473"/>
                    <a:pt x="28750" y="10120"/>
                  </a:cubicBezTo>
                  <a:cubicBezTo>
                    <a:pt x="27263" y="12216"/>
                    <a:pt x="25843" y="14347"/>
                    <a:pt x="24301" y="16405"/>
                  </a:cubicBezTo>
                  <a:cubicBezTo>
                    <a:pt x="23192" y="17886"/>
                    <a:pt x="22072" y="19350"/>
                    <a:pt x="20975" y="20825"/>
                  </a:cubicBezTo>
                  <a:cubicBezTo>
                    <a:pt x="23675" y="16289"/>
                    <a:pt x="27067" y="12040"/>
                    <a:pt x="30170" y="7793"/>
                  </a:cubicBezTo>
                  <a:cubicBezTo>
                    <a:pt x="30974" y="6693"/>
                    <a:pt x="31297" y="6277"/>
                    <a:pt x="31324" y="6277"/>
                  </a:cubicBezTo>
                  <a:close/>
                  <a:moveTo>
                    <a:pt x="64049" y="4730"/>
                  </a:moveTo>
                  <a:cubicBezTo>
                    <a:pt x="64456" y="4955"/>
                    <a:pt x="64760" y="5339"/>
                    <a:pt x="64947" y="5986"/>
                  </a:cubicBezTo>
                  <a:cubicBezTo>
                    <a:pt x="65129" y="6595"/>
                    <a:pt x="65181" y="7244"/>
                    <a:pt x="65210" y="7894"/>
                  </a:cubicBezTo>
                  <a:cubicBezTo>
                    <a:pt x="63925" y="8264"/>
                    <a:pt x="62678" y="9109"/>
                    <a:pt x="61480" y="10186"/>
                  </a:cubicBezTo>
                  <a:cubicBezTo>
                    <a:pt x="62571" y="8907"/>
                    <a:pt x="63688" y="7660"/>
                    <a:pt x="64863" y="6491"/>
                  </a:cubicBezTo>
                  <a:cubicBezTo>
                    <a:pt x="64966" y="6390"/>
                    <a:pt x="64867" y="6243"/>
                    <a:pt x="64754" y="6243"/>
                  </a:cubicBezTo>
                  <a:cubicBezTo>
                    <a:pt x="64721" y="6243"/>
                    <a:pt x="64686" y="6256"/>
                    <a:pt x="64656" y="6286"/>
                  </a:cubicBezTo>
                  <a:cubicBezTo>
                    <a:pt x="62626" y="8307"/>
                    <a:pt x="60764" y="10510"/>
                    <a:pt x="58974" y="12788"/>
                  </a:cubicBezTo>
                  <a:cubicBezTo>
                    <a:pt x="57375" y="14624"/>
                    <a:pt x="55902" y="16564"/>
                    <a:pt x="54600" y="17883"/>
                  </a:cubicBezTo>
                  <a:cubicBezTo>
                    <a:pt x="53656" y="18839"/>
                    <a:pt x="52741" y="19838"/>
                    <a:pt x="51834" y="20851"/>
                  </a:cubicBezTo>
                  <a:cubicBezTo>
                    <a:pt x="53344" y="18920"/>
                    <a:pt x="54877" y="17005"/>
                    <a:pt x="56474" y="15132"/>
                  </a:cubicBezTo>
                  <a:cubicBezTo>
                    <a:pt x="59188" y="11942"/>
                    <a:pt x="61364" y="8290"/>
                    <a:pt x="64448" y="5434"/>
                  </a:cubicBezTo>
                  <a:cubicBezTo>
                    <a:pt x="64576" y="5315"/>
                    <a:pt x="64456" y="5144"/>
                    <a:pt x="64320" y="5144"/>
                  </a:cubicBezTo>
                  <a:cubicBezTo>
                    <a:pt x="64281" y="5144"/>
                    <a:pt x="64241" y="5158"/>
                    <a:pt x="64205" y="5192"/>
                  </a:cubicBezTo>
                  <a:cubicBezTo>
                    <a:pt x="63914" y="5460"/>
                    <a:pt x="63636" y="5755"/>
                    <a:pt x="63348" y="6035"/>
                  </a:cubicBezTo>
                  <a:cubicBezTo>
                    <a:pt x="63608" y="5613"/>
                    <a:pt x="63841" y="5177"/>
                    <a:pt x="64049" y="4730"/>
                  </a:cubicBezTo>
                  <a:close/>
                  <a:moveTo>
                    <a:pt x="25912" y="8601"/>
                  </a:moveTo>
                  <a:lnTo>
                    <a:pt x="25912" y="8601"/>
                  </a:lnTo>
                  <a:cubicBezTo>
                    <a:pt x="25173" y="9641"/>
                    <a:pt x="24440" y="10686"/>
                    <a:pt x="23715" y="11740"/>
                  </a:cubicBezTo>
                  <a:cubicBezTo>
                    <a:pt x="23178" y="12516"/>
                    <a:pt x="22627" y="13284"/>
                    <a:pt x="22081" y="14058"/>
                  </a:cubicBezTo>
                  <a:cubicBezTo>
                    <a:pt x="21954" y="14231"/>
                    <a:pt x="21824" y="14404"/>
                    <a:pt x="21700" y="14580"/>
                  </a:cubicBezTo>
                  <a:cubicBezTo>
                    <a:pt x="21200" y="15270"/>
                    <a:pt x="20672" y="15963"/>
                    <a:pt x="20138" y="16662"/>
                  </a:cubicBezTo>
                  <a:cubicBezTo>
                    <a:pt x="18975" y="17984"/>
                    <a:pt x="17190" y="19742"/>
                    <a:pt x="16601" y="20940"/>
                  </a:cubicBezTo>
                  <a:lnTo>
                    <a:pt x="16599" y="20940"/>
                  </a:lnTo>
                  <a:cubicBezTo>
                    <a:pt x="18871" y="16310"/>
                    <a:pt x="22621" y="12603"/>
                    <a:pt x="25912" y="8601"/>
                  </a:cubicBezTo>
                  <a:close/>
                  <a:moveTo>
                    <a:pt x="39689" y="9545"/>
                  </a:moveTo>
                  <a:lnTo>
                    <a:pt x="39689" y="9545"/>
                  </a:lnTo>
                  <a:cubicBezTo>
                    <a:pt x="39140" y="10712"/>
                    <a:pt x="38462" y="11812"/>
                    <a:pt x="37714" y="12871"/>
                  </a:cubicBezTo>
                  <a:cubicBezTo>
                    <a:pt x="35589" y="15363"/>
                    <a:pt x="33519" y="17892"/>
                    <a:pt x="31614" y="20565"/>
                  </a:cubicBezTo>
                  <a:cubicBezTo>
                    <a:pt x="31744" y="20383"/>
                    <a:pt x="31920" y="20158"/>
                    <a:pt x="32119" y="19916"/>
                  </a:cubicBezTo>
                  <a:lnTo>
                    <a:pt x="32119" y="19916"/>
                  </a:lnTo>
                  <a:cubicBezTo>
                    <a:pt x="31703" y="20464"/>
                    <a:pt x="31305" y="21021"/>
                    <a:pt x="30930" y="21590"/>
                  </a:cubicBezTo>
                  <a:cubicBezTo>
                    <a:pt x="30855" y="21330"/>
                    <a:pt x="30742" y="21082"/>
                    <a:pt x="30600" y="20851"/>
                  </a:cubicBezTo>
                  <a:cubicBezTo>
                    <a:pt x="31917" y="19471"/>
                    <a:pt x="33173" y="18051"/>
                    <a:pt x="34339" y="16535"/>
                  </a:cubicBezTo>
                  <a:cubicBezTo>
                    <a:pt x="35956" y="14433"/>
                    <a:pt x="38583" y="11895"/>
                    <a:pt x="39689" y="9545"/>
                  </a:cubicBezTo>
                  <a:close/>
                  <a:moveTo>
                    <a:pt x="29781" y="3936"/>
                  </a:moveTo>
                  <a:lnTo>
                    <a:pt x="29781" y="3936"/>
                  </a:lnTo>
                  <a:cubicBezTo>
                    <a:pt x="29948" y="3968"/>
                    <a:pt x="30113" y="4005"/>
                    <a:pt x="30271" y="4051"/>
                  </a:cubicBezTo>
                  <a:cubicBezTo>
                    <a:pt x="28940" y="5769"/>
                    <a:pt x="27687" y="7539"/>
                    <a:pt x="26484" y="9343"/>
                  </a:cubicBezTo>
                  <a:cubicBezTo>
                    <a:pt x="25869" y="10224"/>
                    <a:pt x="25254" y="11107"/>
                    <a:pt x="24642" y="11988"/>
                  </a:cubicBezTo>
                  <a:cubicBezTo>
                    <a:pt x="23106" y="14196"/>
                    <a:pt x="21527" y="16365"/>
                    <a:pt x="19913" y="18515"/>
                  </a:cubicBezTo>
                  <a:cubicBezTo>
                    <a:pt x="19116" y="19708"/>
                    <a:pt x="18261" y="20860"/>
                    <a:pt x="17346" y="21968"/>
                  </a:cubicBezTo>
                  <a:lnTo>
                    <a:pt x="17343" y="21968"/>
                  </a:lnTo>
                  <a:cubicBezTo>
                    <a:pt x="18204" y="20929"/>
                    <a:pt x="19015" y="18868"/>
                    <a:pt x="19930" y="17713"/>
                  </a:cubicBezTo>
                  <a:cubicBezTo>
                    <a:pt x="23395" y="13330"/>
                    <a:pt x="26556" y="8575"/>
                    <a:pt x="29772" y="4000"/>
                  </a:cubicBezTo>
                  <a:cubicBezTo>
                    <a:pt x="29786" y="3976"/>
                    <a:pt x="29778" y="3956"/>
                    <a:pt x="29781" y="3936"/>
                  </a:cubicBezTo>
                  <a:close/>
                  <a:moveTo>
                    <a:pt x="28226" y="4971"/>
                  </a:moveTo>
                  <a:cubicBezTo>
                    <a:pt x="28263" y="4971"/>
                    <a:pt x="28078" y="5282"/>
                    <a:pt x="27520" y="6113"/>
                  </a:cubicBezTo>
                  <a:cubicBezTo>
                    <a:pt x="23790" y="11664"/>
                    <a:pt x="18671" y="15960"/>
                    <a:pt x="15686" y="22040"/>
                  </a:cubicBezTo>
                  <a:lnTo>
                    <a:pt x="15683" y="22040"/>
                  </a:lnTo>
                  <a:cubicBezTo>
                    <a:pt x="15675" y="22066"/>
                    <a:pt x="15672" y="22092"/>
                    <a:pt x="15675" y="22121"/>
                  </a:cubicBezTo>
                  <a:cubicBezTo>
                    <a:pt x="15475" y="21628"/>
                    <a:pt x="15317" y="21117"/>
                    <a:pt x="15201" y="20597"/>
                  </a:cubicBezTo>
                  <a:cubicBezTo>
                    <a:pt x="15204" y="20594"/>
                    <a:pt x="15210" y="20594"/>
                    <a:pt x="15213" y="20591"/>
                  </a:cubicBezTo>
                  <a:cubicBezTo>
                    <a:pt x="16373" y="18934"/>
                    <a:pt x="17597" y="17329"/>
                    <a:pt x="18847" y="15744"/>
                  </a:cubicBezTo>
                  <a:lnTo>
                    <a:pt x="18847" y="15744"/>
                  </a:lnTo>
                  <a:cubicBezTo>
                    <a:pt x="17713" y="17378"/>
                    <a:pt x="16613" y="19041"/>
                    <a:pt x="15582" y="20750"/>
                  </a:cubicBezTo>
                  <a:cubicBezTo>
                    <a:pt x="15506" y="20876"/>
                    <a:pt x="15616" y="20991"/>
                    <a:pt x="15727" y="20991"/>
                  </a:cubicBezTo>
                  <a:cubicBezTo>
                    <a:pt x="15776" y="20991"/>
                    <a:pt x="15826" y="20968"/>
                    <a:pt x="15859" y="20914"/>
                  </a:cubicBezTo>
                  <a:cubicBezTo>
                    <a:pt x="17918" y="17594"/>
                    <a:pt x="20259" y="14511"/>
                    <a:pt x="22748" y="11503"/>
                  </a:cubicBezTo>
                  <a:cubicBezTo>
                    <a:pt x="23822" y="10207"/>
                    <a:pt x="24936" y="8945"/>
                    <a:pt x="26039" y="7675"/>
                  </a:cubicBezTo>
                  <a:cubicBezTo>
                    <a:pt x="26350" y="7319"/>
                    <a:pt x="28125" y="4971"/>
                    <a:pt x="28226" y="4971"/>
                  </a:cubicBezTo>
                  <a:close/>
                  <a:moveTo>
                    <a:pt x="40708" y="9785"/>
                  </a:moveTo>
                  <a:cubicBezTo>
                    <a:pt x="40258" y="10539"/>
                    <a:pt x="39755" y="11266"/>
                    <a:pt x="39238" y="11985"/>
                  </a:cubicBezTo>
                  <a:cubicBezTo>
                    <a:pt x="38852" y="12476"/>
                    <a:pt x="38479" y="12978"/>
                    <a:pt x="38115" y="13489"/>
                  </a:cubicBezTo>
                  <a:cubicBezTo>
                    <a:pt x="37593" y="14165"/>
                    <a:pt x="37062" y="14837"/>
                    <a:pt x="36533" y="15498"/>
                  </a:cubicBezTo>
                  <a:cubicBezTo>
                    <a:pt x="34749" y="17745"/>
                    <a:pt x="32893" y="19924"/>
                    <a:pt x="31207" y="22245"/>
                  </a:cubicBezTo>
                  <a:cubicBezTo>
                    <a:pt x="31149" y="22326"/>
                    <a:pt x="31094" y="22413"/>
                    <a:pt x="31034" y="22494"/>
                  </a:cubicBezTo>
                  <a:cubicBezTo>
                    <a:pt x="31048" y="22338"/>
                    <a:pt x="31045" y="22182"/>
                    <a:pt x="31025" y="22026"/>
                  </a:cubicBezTo>
                  <a:cubicBezTo>
                    <a:pt x="31039" y="22014"/>
                    <a:pt x="31057" y="22014"/>
                    <a:pt x="31068" y="21997"/>
                  </a:cubicBezTo>
                  <a:cubicBezTo>
                    <a:pt x="33375" y="18567"/>
                    <a:pt x="35973" y="15389"/>
                    <a:pt x="38667" y="12262"/>
                  </a:cubicBezTo>
                  <a:cubicBezTo>
                    <a:pt x="39264" y="11569"/>
                    <a:pt x="40260" y="10533"/>
                    <a:pt x="40708" y="9785"/>
                  </a:cubicBezTo>
                  <a:close/>
                  <a:moveTo>
                    <a:pt x="26972" y="15588"/>
                  </a:moveTo>
                  <a:lnTo>
                    <a:pt x="26972" y="15588"/>
                  </a:lnTo>
                  <a:cubicBezTo>
                    <a:pt x="26394" y="16489"/>
                    <a:pt x="25817" y="17392"/>
                    <a:pt x="25231" y="18290"/>
                  </a:cubicBezTo>
                  <a:cubicBezTo>
                    <a:pt x="24073" y="19768"/>
                    <a:pt x="22901" y="21244"/>
                    <a:pt x="21737" y="22722"/>
                  </a:cubicBezTo>
                  <a:cubicBezTo>
                    <a:pt x="22185" y="22046"/>
                    <a:pt x="22632" y="21373"/>
                    <a:pt x="23091" y="20704"/>
                  </a:cubicBezTo>
                  <a:cubicBezTo>
                    <a:pt x="24313" y="18934"/>
                    <a:pt x="25641" y="17260"/>
                    <a:pt x="26972" y="15588"/>
                  </a:cubicBezTo>
                  <a:close/>
                  <a:moveTo>
                    <a:pt x="35231" y="17635"/>
                  </a:moveTo>
                  <a:lnTo>
                    <a:pt x="35231" y="17635"/>
                  </a:lnTo>
                  <a:cubicBezTo>
                    <a:pt x="33903" y="19485"/>
                    <a:pt x="32523" y="21296"/>
                    <a:pt x="31143" y="23106"/>
                  </a:cubicBezTo>
                  <a:cubicBezTo>
                    <a:pt x="32082" y="21729"/>
                    <a:pt x="33040" y="20369"/>
                    <a:pt x="34085" y="19061"/>
                  </a:cubicBezTo>
                  <a:cubicBezTo>
                    <a:pt x="34466" y="18585"/>
                    <a:pt x="34847" y="18111"/>
                    <a:pt x="35231" y="17635"/>
                  </a:cubicBezTo>
                  <a:close/>
                  <a:moveTo>
                    <a:pt x="37197" y="16826"/>
                  </a:moveTo>
                  <a:lnTo>
                    <a:pt x="37197" y="16826"/>
                  </a:lnTo>
                  <a:cubicBezTo>
                    <a:pt x="35650" y="19044"/>
                    <a:pt x="33952" y="21117"/>
                    <a:pt x="32281" y="23201"/>
                  </a:cubicBezTo>
                  <a:cubicBezTo>
                    <a:pt x="32304" y="23166"/>
                    <a:pt x="32327" y="23129"/>
                    <a:pt x="32350" y="23094"/>
                  </a:cubicBezTo>
                  <a:cubicBezTo>
                    <a:pt x="33935" y="20975"/>
                    <a:pt x="35560" y="18896"/>
                    <a:pt x="37197" y="16826"/>
                  </a:cubicBezTo>
                  <a:close/>
                  <a:moveTo>
                    <a:pt x="60475" y="16610"/>
                  </a:moveTo>
                  <a:lnTo>
                    <a:pt x="60475" y="16610"/>
                  </a:lnTo>
                  <a:cubicBezTo>
                    <a:pt x="58934" y="18287"/>
                    <a:pt x="57450" y="20019"/>
                    <a:pt x="55937" y="21708"/>
                  </a:cubicBezTo>
                  <a:cubicBezTo>
                    <a:pt x="55333" y="22384"/>
                    <a:pt x="54742" y="23077"/>
                    <a:pt x="54144" y="23761"/>
                  </a:cubicBezTo>
                  <a:cubicBezTo>
                    <a:pt x="55553" y="22069"/>
                    <a:pt x="56959" y="20375"/>
                    <a:pt x="58431" y="18732"/>
                  </a:cubicBezTo>
                  <a:cubicBezTo>
                    <a:pt x="59075" y="18013"/>
                    <a:pt x="59771" y="17314"/>
                    <a:pt x="60475" y="16610"/>
                  </a:cubicBezTo>
                  <a:close/>
                  <a:moveTo>
                    <a:pt x="63899" y="8743"/>
                  </a:moveTo>
                  <a:lnTo>
                    <a:pt x="63899" y="8743"/>
                  </a:lnTo>
                  <a:cubicBezTo>
                    <a:pt x="63893" y="9675"/>
                    <a:pt x="63495" y="10388"/>
                    <a:pt x="62704" y="10885"/>
                  </a:cubicBezTo>
                  <a:cubicBezTo>
                    <a:pt x="60784" y="12854"/>
                    <a:pt x="58962" y="14921"/>
                    <a:pt x="57129" y="16971"/>
                  </a:cubicBezTo>
                  <a:lnTo>
                    <a:pt x="57126" y="16971"/>
                  </a:lnTo>
                  <a:cubicBezTo>
                    <a:pt x="54929" y="19431"/>
                    <a:pt x="52790" y="21939"/>
                    <a:pt x="50711" y="24497"/>
                  </a:cubicBezTo>
                  <a:cubicBezTo>
                    <a:pt x="52960" y="21475"/>
                    <a:pt x="55172" y="18302"/>
                    <a:pt x="57484" y="15216"/>
                  </a:cubicBezTo>
                  <a:cubicBezTo>
                    <a:pt x="58853" y="13798"/>
                    <a:pt x="60215" y="12375"/>
                    <a:pt x="61538" y="10902"/>
                  </a:cubicBezTo>
                  <a:cubicBezTo>
                    <a:pt x="62254" y="10106"/>
                    <a:pt x="63045" y="9384"/>
                    <a:pt x="63899" y="8743"/>
                  </a:cubicBezTo>
                  <a:close/>
                  <a:moveTo>
                    <a:pt x="65288" y="9413"/>
                  </a:moveTo>
                  <a:cubicBezTo>
                    <a:pt x="65308" y="9729"/>
                    <a:pt x="65345" y="10043"/>
                    <a:pt x="65403" y="10357"/>
                  </a:cubicBezTo>
                  <a:lnTo>
                    <a:pt x="65403" y="10357"/>
                  </a:lnTo>
                  <a:cubicBezTo>
                    <a:pt x="65380" y="10357"/>
                    <a:pt x="65357" y="10363"/>
                    <a:pt x="65340" y="10374"/>
                  </a:cubicBezTo>
                  <a:cubicBezTo>
                    <a:pt x="60383" y="14017"/>
                    <a:pt x="56405" y="19419"/>
                    <a:pt x="52374" y="24021"/>
                  </a:cubicBezTo>
                  <a:cubicBezTo>
                    <a:pt x="52164" y="24260"/>
                    <a:pt x="51964" y="24512"/>
                    <a:pt x="51756" y="24754"/>
                  </a:cubicBezTo>
                  <a:cubicBezTo>
                    <a:pt x="54003" y="21916"/>
                    <a:pt x="56301" y="18888"/>
                    <a:pt x="58749" y="16021"/>
                  </a:cubicBezTo>
                  <a:cubicBezTo>
                    <a:pt x="59880" y="14829"/>
                    <a:pt x="60998" y="13628"/>
                    <a:pt x="62063" y="12392"/>
                  </a:cubicBezTo>
                  <a:cubicBezTo>
                    <a:pt x="63105" y="11335"/>
                    <a:pt x="64173" y="10331"/>
                    <a:pt x="65288" y="9413"/>
                  </a:cubicBezTo>
                  <a:close/>
                  <a:moveTo>
                    <a:pt x="52172" y="6347"/>
                  </a:moveTo>
                  <a:cubicBezTo>
                    <a:pt x="52106" y="6427"/>
                    <a:pt x="52037" y="6505"/>
                    <a:pt x="51967" y="6583"/>
                  </a:cubicBezTo>
                  <a:cubicBezTo>
                    <a:pt x="50428" y="8168"/>
                    <a:pt x="48973" y="9831"/>
                    <a:pt x="47608" y="11569"/>
                  </a:cubicBezTo>
                  <a:cubicBezTo>
                    <a:pt x="43748" y="15897"/>
                    <a:pt x="39850" y="20196"/>
                    <a:pt x="36334" y="24841"/>
                  </a:cubicBezTo>
                  <a:cubicBezTo>
                    <a:pt x="36663" y="24356"/>
                    <a:pt x="36992" y="23871"/>
                    <a:pt x="37321" y="23386"/>
                  </a:cubicBezTo>
                  <a:cubicBezTo>
                    <a:pt x="38944" y="21264"/>
                    <a:pt x="40564" y="19136"/>
                    <a:pt x="42177" y="17000"/>
                  </a:cubicBezTo>
                  <a:cubicBezTo>
                    <a:pt x="45186" y="13030"/>
                    <a:pt x="48566" y="9652"/>
                    <a:pt x="52172" y="6347"/>
                  </a:cubicBezTo>
                  <a:close/>
                  <a:moveTo>
                    <a:pt x="71371" y="13501"/>
                  </a:moveTo>
                  <a:cubicBezTo>
                    <a:pt x="71307" y="13931"/>
                    <a:pt x="71073" y="14364"/>
                    <a:pt x="70672" y="14797"/>
                  </a:cubicBezTo>
                  <a:lnTo>
                    <a:pt x="70675" y="14797"/>
                  </a:lnTo>
                  <a:cubicBezTo>
                    <a:pt x="70415" y="15230"/>
                    <a:pt x="70132" y="15643"/>
                    <a:pt x="69846" y="16053"/>
                  </a:cubicBezTo>
                  <a:cubicBezTo>
                    <a:pt x="69834" y="16049"/>
                    <a:pt x="69822" y="16047"/>
                    <a:pt x="69810" y="16047"/>
                  </a:cubicBezTo>
                  <a:cubicBezTo>
                    <a:pt x="69775" y="16047"/>
                    <a:pt x="69740" y="16062"/>
                    <a:pt x="69717" y="16087"/>
                  </a:cubicBezTo>
                  <a:cubicBezTo>
                    <a:pt x="67462" y="18616"/>
                    <a:pt x="65230" y="21169"/>
                    <a:pt x="63022" y="23738"/>
                  </a:cubicBezTo>
                  <a:cubicBezTo>
                    <a:pt x="62410" y="24292"/>
                    <a:pt x="61795" y="24844"/>
                    <a:pt x="61177" y="25389"/>
                  </a:cubicBezTo>
                  <a:cubicBezTo>
                    <a:pt x="62219" y="24107"/>
                    <a:pt x="63284" y="22846"/>
                    <a:pt x="64416" y="21639"/>
                  </a:cubicBezTo>
                  <a:cubicBezTo>
                    <a:pt x="66890" y="18997"/>
                    <a:pt x="69439" y="16555"/>
                    <a:pt x="71371" y="13501"/>
                  </a:cubicBezTo>
                  <a:close/>
                  <a:moveTo>
                    <a:pt x="69411" y="12054"/>
                  </a:moveTo>
                  <a:cubicBezTo>
                    <a:pt x="68744" y="12863"/>
                    <a:pt x="68059" y="13657"/>
                    <a:pt x="67358" y="14430"/>
                  </a:cubicBezTo>
                  <a:cubicBezTo>
                    <a:pt x="63888" y="18348"/>
                    <a:pt x="59988" y="21850"/>
                    <a:pt x="56316" y="25572"/>
                  </a:cubicBezTo>
                  <a:lnTo>
                    <a:pt x="56316" y="25572"/>
                  </a:lnTo>
                  <a:cubicBezTo>
                    <a:pt x="58874" y="22854"/>
                    <a:pt x="61506" y="20232"/>
                    <a:pt x="63966" y="17418"/>
                  </a:cubicBezTo>
                  <a:cubicBezTo>
                    <a:pt x="64988" y="16249"/>
                    <a:pt x="66036" y="15114"/>
                    <a:pt x="67112" y="14000"/>
                  </a:cubicBezTo>
                  <a:cubicBezTo>
                    <a:pt x="67791" y="13255"/>
                    <a:pt x="68562" y="12600"/>
                    <a:pt x="69411" y="12054"/>
                  </a:cubicBezTo>
                  <a:close/>
                  <a:moveTo>
                    <a:pt x="60440" y="4124"/>
                  </a:moveTo>
                  <a:cubicBezTo>
                    <a:pt x="60626" y="4124"/>
                    <a:pt x="55900" y="9463"/>
                    <a:pt x="55365" y="10022"/>
                  </a:cubicBezTo>
                  <a:cubicBezTo>
                    <a:pt x="53209" y="12268"/>
                    <a:pt x="51147" y="14592"/>
                    <a:pt x="49181" y="17000"/>
                  </a:cubicBezTo>
                  <a:lnTo>
                    <a:pt x="49181" y="17003"/>
                  </a:lnTo>
                  <a:cubicBezTo>
                    <a:pt x="47657" y="18873"/>
                    <a:pt x="46271" y="20839"/>
                    <a:pt x="44920" y="22829"/>
                  </a:cubicBezTo>
                  <a:cubicBezTo>
                    <a:pt x="44054" y="23848"/>
                    <a:pt x="43173" y="24867"/>
                    <a:pt x="42296" y="25895"/>
                  </a:cubicBezTo>
                  <a:cubicBezTo>
                    <a:pt x="43303" y="24388"/>
                    <a:pt x="44268" y="22889"/>
                    <a:pt x="45215" y="21501"/>
                  </a:cubicBezTo>
                  <a:cubicBezTo>
                    <a:pt x="45671" y="20831"/>
                    <a:pt x="46150" y="20181"/>
                    <a:pt x="46629" y="19532"/>
                  </a:cubicBezTo>
                  <a:cubicBezTo>
                    <a:pt x="50821" y="14681"/>
                    <a:pt x="54892" y="9739"/>
                    <a:pt x="59372" y="5146"/>
                  </a:cubicBezTo>
                  <a:cubicBezTo>
                    <a:pt x="60080" y="4421"/>
                    <a:pt x="60397" y="4124"/>
                    <a:pt x="60440" y="4124"/>
                  </a:cubicBezTo>
                  <a:close/>
                  <a:moveTo>
                    <a:pt x="31420" y="4516"/>
                  </a:moveTo>
                  <a:cubicBezTo>
                    <a:pt x="31602" y="4617"/>
                    <a:pt x="31778" y="4730"/>
                    <a:pt x="31949" y="4854"/>
                  </a:cubicBezTo>
                  <a:cubicBezTo>
                    <a:pt x="29059" y="8714"/>
                    <a:pt x="26250" y="12632"/>
                    <a:pt x="23478" y="16578"/>
                  </a:cubicBezTo>
                  <a:cubicBezTo>
                    <a:pt x="22361" y="18169"/>
                    <a:pt x="21223" y="19748"/>
                    <a:pt x="20222" y="21417"/>
                  </a:cubicBezTo>
                  <a:cubicBezTo>
                    <a:pt x="19809" y="22141"/>
                    <a:pt x="19396" y="22866"/>
                    <a:pt x="18977" y="23591"/>
                  </a:cubicBezTo>
                  <a:cubicBezTo>
                    <a:pt x="18908" y="23706"/>
                    <a:pt x="18833" y="23816"/>
                    <a:pt x="18752" y="23923"/>
                  </a:cubicBezTo>
                  <a:cubicBezTo>
                    <a:pt x="18726" y="23963"/>
                    <a:pt x="18697" y="24001"/>
                    <a:pt x="18671" y="24041"/>
                  </a:cubicBezTo>
                  <a:cubicBezTo>
                    <a:pt x="17896" y="25056"/>
                    <a:pt x="16512" y="26224"/>
                    <a:pt x="16216" y="26845"/>
                  </a:cubicBezTo>
                  <a:lnTo>
                    <a:pt x="16216" y="26845"/>
                  </a:lnTo>
                  <a:cubicBezTo>
                    <a:pt x="18026" y="23044"/>
                    <a:pt x="20935" y="19745"/>
                    <a:pt x="23481" y="16431"/>
                  </a:cubicBezTo>
                  <a:cubicBezTo>
                    <a:pt x="26383" y="12652"/>
                    <a:pt x="28822" y="8512"/>
                    <a:pt x="31420" y="4516"/>
                  </a:cubicBezTo>
                  <a:close/>
                  <a:moveTo>
                    <a:pt x="30404" y="23400"/>
                  </a:moveTo>
                  <a:lnTo>
                    <a:pt x="30404" y="23400"/>
                  </a:lnTo>
                  <a:cubicBezTo>
                    <a:pt x="29578" y="24636"/>
                    <a:pt x="28802" y="25912"/>
                    <a:pt x="27979" y="27148"/>
                  </a:cubicBezTo>
                  <a:cubicBezTo>
                    <a:pt x="27808" y="27195"/>
                    <a:pt x="27674" y="27219"/>
                    <a:pt x="27575" y="27219"/>
                  </a:cubicBezTo>
                  <a:cubicBezTo>
                    <a:pt x="27174" y="27219"/>
                    <a:pt x="27373" y="26822"/>
                    <a:pt x="28173" y="26027"/>
                  </a:cubicBezTo>
                  <a:cubicBezTo>
                    <a:pt x="28655" y="25282"/>
                    <a:pt x="29148" y="24546"/>
                    <a:pt x="29654" y="23819"/>
                  </a:cubicBezTo>
                  <a:cubicBezTo>
                    <a:pt x="29662" y="23801"/>
                    <a:pt x="29665" y="23778"/>
                    <a:pt x="29662" y="23758"/>
                  </a:cubicBezTo>
                  <a:cubicBezTo>
                    <a:pt x="29899" y="23631"/>
                    <a:pt x="30144" y="23513"/>
                    <a:pt x="30404" y="23400"/>
                  </a:cubicBezTo>
                  <a:close/>
                  <a:moveTo>
                    <a:pt x="29018" y="24145"/>
                  </a:moveTo>
                  <a:cubicBezTo>
                    <a:pt x="28207" y="25199"/>
                    <a:pt x="27410" y="26267"/>
                    <a:pt x="26593" y="27321"/>
                  </a:cubicBezTo>
                  <a:cubicBezTo>
                    <a:pt x="26969" y="26056"/>
                    <a:pt x="27780" y="24974"/>
                    <a:pt x="29018" y="24145"/>
                  </a:cubicBezTo>
                  <a:close/>
                  <a:moveTo>
                    <a:pt x="57871" y="10931"/>
                  </a:moveTo>
                  <a:lnTo>
                    <a:pt x="57871" y="10931"/>
                  </a:lnTo>
                  <a:cubicBezTo>
                    <a:pt x="55305" y="14046"/>
                    <a:pt x="52885" y="17303"/>
                    <a:pt x="50454" y="20464"/>
                  </a:cubicBezTo>
                  <a:cubicBezTo>
                    <a:pt x="48653" y="22808"/>
                    <a:pt x="46889" y="25181"/>
                    <a:pt x="45160" y="27586"/>
                  </a:cubicBezTo>
                  <a:cubicBezTo>
                    <a:pt x="46436" y="25571"/>
                    <a:pt x="47712" y="23553"/>
                    <a:pt x="49080" y="21602"/>
                  </a:cubicBezTo>
                  <a:cubicBezTo>
                    <a:pt x="51445" y="18232"/>
                    <a:pt x="53890" y="14973"/>
                    <a:pt x="56783" y="12037"/>
                  </a:cubicBezTo>
                  <a:cubicBezTo>
                    <a:pt x="57147" y="11667"/>
                    <a:pt x="57510" y="11298"/>
                    <a:pt x="57871" y="10931"/>
                  </a:cubicBezTo>
                  <a:close/>
                  <a:moveTo>
                    <a:pt x="27015" y="16942"/>
                  </a:moveTo>
                  <a:cubicBezTo>
                    <a:pt x="26928" y="17170"/>
                    <a:pt x="26865" y="17404"/>
                    <a:pt x="26819" y="17643"/>
                  </a:cubicBezTo>
                  <a:cubicBezTo>
                    <a:pt x="26391" y="18287"/>
                    <a:pt x="25958" y="18928"/>
                    <a:pt x="25516" y="19566"/>
                  </a:cubicBezTo>
                  <a:cubicBezTo>
                    <a:pt x="25488" y="19598"/>
                    <a:pt x="25453" y="19618"/>
                    <a:pt x="25427" y="19653"/>
                  </a:cubicBezTo>
                  <a:cubicBezTo>
                    <a:pt x="25280" y="19835"/>
                    <a:pt x="25153" y="20034"/>
                    <a:pt x="25049" y="20245"/>
                  </a:cubicBezTo>
                  <a:cubicBezTo>
                    <a:pt x="23267" y="22777"/>
                    <a:pt x="21388" y="25254"/>
                    <a:pt x="19506" y="27722"/>
                  </a:cubicBezTo>
                  <a:cubicBezTo>
                    <a:pt x="20360" y="26302"/>
                    <a:pt x="21212" y="24873"/>
                    <a:pt x="22113" y="23478"/>
                  </a:cubicBezTo>
                  <a:cubicBezTo>
                    <a:pt x="22930" y="22352"/>
                    <a:pt x="23738" y="21223"/>
                    <a:pt x="24526" y="20080"/>
                  </a:cubicBezTo>
                  <a:cubicBezTo>
                    <a:pt x="25349" y="19023"/>
                    <a:pt x="26183" y="17987"/>
                    <a:pt x="27015" y="16942"/>
                  </a:cubicBezTo>
                  <a:close/>
                  <a:moveTo>
                    <a:pt x="30395" y="5526"/>
                  </a:moveTo>
                  <a:cubicBezTo>
                    <a:pt x="30489" y="5526"/>
                    <a:pt x="27391" y="10027"/>
                    <a:pt x="26784" y="11050"/>
                  </a:cubicBezTo>
                  <a:cubicBezTo>
                    <a:pt x="23322" y="16867"/>
                    <a:pt x="18432" y="21645"/>
                    <a:pt x="15426" y="27754"/>
                  </a:cubicBezTo>
                  <a:cubicBezTo>
                    <a:pt x="15346" y="27529"/>
                    <a:pt x="15279" y="27298"/>
                    <a:pt x="15224" y="27067"/>
                  </a:cubicBezTo>
                  <a:cubicBezTo>
                    <a:pt x="15224" y="27067"/>
                    <a:pt x="15227" y="27067"/>
                    <a:pt x="15227" y="27064"/>
                  </a:cubicBezTo>
                  <a:cubicBezTo>
                    <a:pt x="16916" y="24870"/>
                    <a:pt x="18466" y="22592"/>
                    <a:pt x="19965" y="20276"/>
                  </a:cubicBezTo>
                  <a:cubicBezTo>
                    <a:pt x="20938" y="18980"/>
                    <a:pt x="21908" y="17684"/>
                    <a:pt x="22808" y="16344"/>
                  </a:cubicBezTo>
                  <a:cubicBezTo>
                    <a:pt x="24679" y="13555"/>
                    <a:pt x="26518" y="10755"/>
                    <a:pt x="28499" y="8044"/>
                  </a:cubicBezTo>
                  <a:cubicBezTo>
                    <a:pt x="29839" y="6208"/>
                    <a:pt x="30359" y="5526"/>
                    <a:pt x="30395" y="5526"/>
                  </a:cubicBezTo>
                  <a:close/>
                  <a:moveTo>
                    <a:pt x="43780" y="12562"/>
                  </a:moveTo>
                  <a:lnTo>
                    <a:pt x="43780" y="12562"/>
                  </a:lnTo>
                  <a:cubicBezTo>
                    <a:pt x="42351" y="14390"/>
                    <a:pt x="40948" y="16200"/>
                    <a:pt x="39542" y="17898"/>
                  </a:cubicBezTo>
                  <a:cubicBezTo>
                    <a:pt x="36926" y="21059"/>
                    <a:pt x="34599" y="24477"/>
                    <a:pt x="31920" y="27575"/>
                  </a:cubicBezTo>
                  <a:cubicBezTo>
                    <a:pt x="31865" y="27638"/>
                    <a:pt x="31807" y="27699"/>
                    <a:pt x="31752" y="27762"/>
                  </a:cubicBezTo>
                  <a:cubicBezTo>
                    <a:pt x="32171" y="27197"/>
                    <a:pt x="32578" y="26631"/>
                    <a:pt x="32979" y="26056"/>
                  </a:cubicBezTo>
                  <a:cubicBezTo>
                    <a:pt x="33620" y="25291"/>
                    <a:pt x="34264" y="24526"/>
                    <a:pt x="34888" y="23747"/>
                  </a:cubicBezTo>
                  <a:cubicBezTo>
                    <a:pt x="36978" y="21128"/>
                    <a:pt x="38924" y="18397"/>
                    <a:pt x="40997" y="15767"/>
                  </a:cubicBezTo>
                  <a:cubicBezTo>
                    <a:pt x="41868" y="14661"/>
                    <a:pt x="42813" y="13605"/>
                    <a:pt x="43780" y="12562"/>
                  </a:cubicBezTo>
                  <a:close/>
                  <a:moveTo>
                    <a:pt x="29425" y="9929"/>
                  </a:moveTo>
                  <a:cubicBezTo>
                    <a:pt x="28822" y="10946"/>
                    <a:pt x="28239" y="11979"/>
                    <a:pt x="27644" y="13004"/>
                  </a:cubicBezTo>
                  <a:cubicBezTo>
                    <a:pt x="26767" y="14069"/>
                    <a:pt x="25918" y="15158"/>
                    <a:pt x="25083" y="16261"/>
                  </a:cubicBezTo>
                  <a:cubicBezTo>
                    <a:pt x="23770" y="18001"/>
                    <a:pt x="22644" y="19884"/>
                    <a:pt x="21463" y="21714"/>
                  </a:cubicBezTo>
                  <a:cubicBezTo>
                    <a:pt x="20127" y="23779"/>
                    <a:pt x="17565" y="26042"/>
                    <a:pt x="16589" y="27849"/>
                  </a:cubicBezTo>
                  <a:lnTo>
                    <a:pt x="16589" y="27849"/>
                  </a:lnTo>
                  <a:cubicBezTo>
                    <a:pt x="16815" y="27430"/>
                    <a:pt x="17052" y="27019"/>
                    <a:pt x="17289" y="26611"/>
                  </a:cubicBezTo>
                  <a:cubicBezTo>
                    <a:pt x="18409" y="25308"/>
                    <a:pt x="19269" y="23799"/>
                    <a:pt x="20129" y="22280"/>
                  </a:cubicBezTo>
                  <a:cubicBezTo>
                    <a:pt x="23135" y="18105"/>
                    <a:pt x="26579" y="14202"/>
                    <a:pt x="29425" y="9929"/>
                  </a:cubicBezTo>
                  <a:close/>
                  <a:moveTo>
                    <a:pt x="16483" y="27462"/>
                  </a:moveTo>
                  <a:lnTo>
                    <a:pt x="16483" y="27462"/>
                  </a:lnTo>
                  <a:cubicBezTo>
                    <a:pt x="16241" y="27872"/>
                    <a:pt x="16007" y="28291"/>
                    <a:pt x="15779" y="28715"/>
                  </a:cubicBezTo>
                  <a:cubicBezTo>
                    <a:pt x="15718" y="28551"/>
                    <a:pt x="15654" y="28383"/>
                    <a:pt x="15594" y="28219"/>
                  </a:cubicBezTo>
                  <a:cubicBezTo>
                    <a:pt x="15906" y="27985"/>
                    <a:pt x="16203" y="27731"/>
                    <a:pt x="16483" y="27462"/>
                  </a:cubicBezTo>
                  <a:close/>
                  <a:moveTo>
                    <a:pt x="24203" y="18654"/>
                  </a:moveTo>
                  <a:lnTo>
                    <a:pt x="24203" y="18654"/>
                  </a:lnTo>
                  <a:cubicBezTo>
                    <a:pt x="22401" y="21249"/>
                    <a:pt x="20629" y="23862"/>
                    <a:pt x="18845" y="26426"/>
                  </a:cubicBezTo>
                  <a:cubicBezTo>
                    <a:pt x="17651" y="28138"/>
                    <a:pt x="17189" y="28739"/>
                    <a:pt x="17131" y="28739"/>
                  </a:cubicBezTo>
                  <a:cubicBezTo>
                    <a:pt x="17031" y="28739"/>
                    <a:pt x="18122" y="26966"/>
                    <a:pt x="18741" y="26004"/>
                  </a:cubicBezTo>
                  <a:cubicBezTo>
                    <a:pt x="19766" y="24711"/>
                    <a:pt x="20710" y="23363"/>
                    <a:pt x="21631" y="21991"/>
                  </a:cubicBezTo>
                  <a:cubicBezTo>
                    <a:pt x="22410" y="20972"/>
                    <a:pt x="23201" y="19965"/>
                    <a:pt x="23981" y="18951"/>
                  </a:cubicBezTo>
                  <a:cubicBezTo>
                    <a:pt x="24056" y="18853"/>
                    <a:pt x="24128" y="18752"/>
                    <a:pt x="24203" y="18654"/>
                  </a:cubicBezTo>
                  <a:close/>
                  <a:moveTo>
                    <a:pt x="67014" y="25837"/>
                  </a:moveTo>
                  <a:lnTo>
                    <a:pt x="67014" y="25837"/>
                  </a:lnTo>
                  <a:cubicBezTo>
                    <a:pt x="66948" y="26388"/>
                    <a:pt x="66824" y="26934"/>
                    <a:pt x="66645" y="27459"/>
                  </a:cubicBezTo>
                  <a:cubicBezTo>
                    <a:pt x="66033" y="28011"/>
                    <a:pt x="65441" y="28579"/>
                    <a:pt x="64866" y="29163"/>
                  </a:cubicBezTo>
                  <a:cubicBezTo>
                    <a:pt x="65643" y="28077"/>
                    <a:pt x="66359" y="26969"/>
                    <a:pt x="67014" y="25837"/>
                  </a:cubicBezTo>
                  <a:close/>
                  <a:moveTo>
                    <a:pt x="27835" y="25972"/>
                  </a:moveTo>
                  <a:lnTo>
                    <a:pt x="27835" y="25972"/>
                  </a:lnTo>
                  <a:cubicBezTo>
                    <a:pt x="27220" y="26986"/>
                    <a:pt x="26720" y="28063"/>
                    <a:pt x="26345" y="29186"/>
                  </a:cubicBezTo>
                  <a:cubicBezTo>
                    <a:pt x="26339" y="28782"/>
                    <a:pt x="26371" y="28380"/>
                    <a:pt x="26440" y="27985"/>
                  </a:cubicBezTo>
                  <a:lnTo>
                    <a:pt x="26440" y="27982"/>
                  </a:lnTo>
                  <a:cubicBezTo>
                    <a:pt x="26463" y="27979"/>
                    <a:pt x="26487" y="27967"/>
                    <a:pt x="26504" y="27950"/>
                  </a:cubicBezTo>
                  <a:cubicBezTo>
                    <a:pt x="27006" y="27309"/>
                    <a:pt x="27419" y="26642"/>
                    <a:pt x="27835" y="25972"/>
                  </a:cubicBezTo>
                  <a:close/>
                  <a:moveTo>
                    <a:pt x="17138" y="27898"/>
                  </a:moveTo>
                  <a:cubicBezTo>
                    <a:pt x="16789" y="28452"/>
                    <a:pt x="16446" y="29013"/>
                    <a:pt x="16116" y="29584"/>
                  </a:cubicBezTo>
                  <a:cubicBezTo>
                    <a:pt x="16108" y="29596"/>
                    <a:pt x="16116" y="29607"/>
                    <a:pt x="16111" y="29619"/>
                  </a:cubicBezTo>
                  <a:cubicBezTo>
                    <a:pt x="16096" y="29625"/>
                    <a:pt x="16088" y="29636"/>
                    <a:pt x="16073" y="29642"/>
                  </a:cubicBezTo>
                  <a:cubicBezTo>
                    <a:pt x="16038" y="29486"/>
                    <a:pt x="15986" y="29321"/>
                    <a:pt x="15929" y="29148"/>
                  </a:cubicBezTo>
                  <a:cubicBezTo>
                    <a:pt x="16347" y="28741"/>
                    <a:pt x="16749" y="28325"/>
                    <a:pt x="17138" y="27898"/>
                  </a:cubicBezTo>
                  <a:close/>
                  <a:moveTo>
                    <a:pt x="63642" y="12098"/>
                  </a:moveTo>
                  <a:cubicBezTo>
                    <a:pt x="63380" y="12378"/>
                    <a:pt x="62476" y="13980"/>
                    <a:pt x="61855" y="14586"/>
                  </a:cubicBezTo>
                  <a:cubicBezTo>
                    <a:pt x="58890" y="17490"/>
                    <a:pt x="56179" y="20753"/>
                    <a:pt x="53558" y="23963"/>
                  </a:cubicBezTo>
                  <a:cubicBezTo>
                    <a:pt x="51898" y="25996"/>
                    <a:pt x="50108" y="27962"/>
                    <a:pt x="48315" y="29931"/>
                  </a:cubicBezTo>
                  <a:cubicBezTo>
                    <a:pt x="52247" y="24610"/>
                    <a:pt x="56303" y="19431"/>
                    <a:pt x="61073" y="14774"/>
                  </a:cubicBezTo>
                  <a:cubicBezTo>
                    <a:pt x="61956" y="13908"/>
                    <a:pt x="62788" y="12993"/>
                    <a:pt x="63642" y="12098"/>
                  </a:cubicBezTo>
                  <a:close/>
                  <a:moveTo>
                    <a:pt x="21781" y="27875"/>
                  </a:moveTo>
                  <a:lnTo>
                    <a:pt x="21781" y="27875"/>
                  </a:lnTo>
                  <a:cubicBezTo>
                    <a:pt x="21726" y="27956"/>
                    <a:pt x="21671" y="28040"/>
                    <a:pt x="21622" y="28118"/>
                  </a:cubicBezTo>
                  <a:cubicBezTo>
                    <a:pt x="21484" y="28324"/>
                    <a:pt x="20080" y="29959"/>
                    <a:pt x="20018" y="29959"/>
                  </a:cubicBezTo>
                  <a:cubicBezTo>
                    <a:pt x="19993" y="29959"/>
                    <a:pt x="20181" y="29700"/>
                    <a:pt x="20747" y="28987"/>
                  </a:cubicBezTo>
                  <a:cubicBezTo>
                    <a:pt x="21062" y="28591"/>
                    <a:pt x="21420" y="28233"/>
                    <a:pt x="21781" y="27875"/>
                  </a:cubicBezTo>
                  <a:close/>
                  <a:moveTo>
                    <a:pt x="65822" y="24324"/>
                  </a:moveTo>
                  <a:lnTo>
                    <a:pt x="65822" y="24324"/>
                  </a:lnTo>
                  <a:cubicBezTo>
                    <a:pt x="64803" y="25866"/>
                    <a:pt x="63449" y="27275"/>
                    <a:pt x="62225" y="28640"/>
                  </a:cubicBezTo>
                  <a:cubicBezTo>
                    <a:pt x="61740" y="29183"/>
                    <a:pt x="61269" y="29734"/>
                    <a:pt x="60801" y="30289"/>
                  </a:cubicBezTo>
                  <a:cubicBezTo>
                    <a:pt x="61777" y="29116"/>
                    <a:pt x="62753" y="27941"/>
                    <a:pt x="63712" y="26755"/>
                  </a:cubicBezTo>
                  <a:cubicBezTo>
                    <a:pt x="64300" y="26027"/>
                    <a:pt x="65213" y="25147"/>
                    <a:pt x="65822" y="24324"/>
                  </a:cubicBezTo>
                  <a:close/>
                  <a:moveTo>
                    <a:pt x="23227" y="24841"/>
                  </a:moveTo>
                  <a:cubicBezTo>
                    <a:pt x="23267" y="24841"/>
                    <a:pt x="23252" y="24968"/>
                    <a:pt x="23149" y="25285"/>
                  </a:cubicBezTo>
                  <a:cubicBezTo>
                    <a:pt x="22996" y="25759"/>
                    <a:pt x="22780" y="26212"/>
                    <a:pt x="22534" y="26654"/>
                  </a:cubicBezTo>
                  <a:cubicBezTo>
                    <a:pt x="21483" y="27846"/>
                    <a:pt x="20213" y="28816"/>
                    <a:pt x="19589" y="30315"/>
                  </a:cubicBezTo>
                  <a:cubicBezTo>
                    <a:pt x="19615" y="30173"/>
                    <a:pt x="19644" y="30032"/>
                    <a:pt x="19662" y="29884"/>
                  </a:cubicBezTo>
                  <a:cubicBezTo>
                    <a:pt x="19665" y="29841"/>
                    <a:pt x="19644" y="29798"/>
                    <a:pt x="19610" y="29772"/>
                  </a:cubicBezTo>
                  <a:cubicBezTo>
                    <a:pt x="20441" y="28796"/>
                    <a:pt x="21255" y="27823"/>
                    <a:pt x="22003" y="26775"/>
                  </a:cubicBezTo>
                  <a:cubicBezTo>
                    <a:pt x="22166" y="26548"/>
                    <a:pt x="23077" y="24841"/>
                    <a:pt x="23227" y="24841"/>
                  </a:cubicBezTo>
                  <a:close/>
                  <a:moveTo>
                    <a:pt x="24275" y="22554"/>
                  </a:moveTo>
                  <a:lnTo>
                    <a:pt x="24275" y="22554"/>
                  </a:lnTo>
                  <a:cubicBezTo>
                    <a:pt x="24122" y="23169"/>
                    <a:pt x="23986" y="23761"/>
                    <a:pt x="23836" y="24232"/>
                  </a:cubicBezTo>
                  <a:cubicBezTo>
                    <a:pt x="23045" y="26680"/>
                    <a:pt x="22453" y="29197"/>
                    <a:pt x="20069" y="30502"/>
                  </a:cubicBezTo>
                  <a:cubicBezTo>
                    <a:pt x="20054" y="30456"/>
                    <a:pt x="20020" y="30418"/>
                    <a:pt x="19973" y="30404"/>
                  </a:cubicBezTo>
                  <a:cubicBezTo>
                    <a:pt x="21163" y="29391"/>
                    <a:pt x="22142" y="28152"/>
                    <a:pt x="22849" y="26761"/>
                  </a:cubicBezTo>
                  <a:cubicBezTo>
                    <a:pt x="22881" y="26726"/>
                    <a:pt x="22915" y="26691"/>
                    <a:pt x="22947" y="26654"/>
                  </a:cubicBezTo>
                  <a:cubicBezTo>
                    <a:pt x="22982" y="26613"/>
                    <a:pt x="22990" y="26556"/>
                    <a:pt x="22970" y="26507"/>
                  </a:cubicBezTo>
                  <a:cubicBezTo>
                    <a:pt x="23311" y="25811"/>
                    <a:pt x="23571" y="25078"/>
                    <a:pt x="23744" y="24324"/>
                  </a:cubicBezTo>
                  <a:cubicBezTo>
                    <a:pt x="23769" y="24220"/>
                    <a:pt x="23678" y="24118"/>
                    <a:pt x="23583" y="24118"/>
                  </a:cubicBezTo>
                  <a:cubicBezTo>
                    <a:pt x="23546" y="24118"/>
                    <a:pt x="23509" y="24133"/>
                    <a:pt x="23478" y="24168"/>
                  </a:cubicBezTo>
                  <a:cubicBezTo>
                    <a:pt x="23195" y="24494"/>
                    <a:pt x="22933" y="24832"/>
                    <a:pt x="22676" y="25179"/>
                  </a:cubicBezTo>
                  <a:cubicBezTo>
                    <a:pt x="23221" y="24312"/>
                    <a:pt x="23753" y="23438"/>
                    <a:pt x="24275" y="22554"/>
                  </a:cubicBezTo>
                  <a:close/>
                  <a:moveTo>
                    <a:pt x="40986" y="10409"/>
                  </a:moveTo>
                  <a:cubicBezTo>
                    <a:pt x="41013" y="10409"/>
                    <a:pt x="40977" y="10500"/>
                    <a:pt x="40858" y="10709"/>
                  </a:cubicBezTo>
                  <a:cubicBezTo>
                    <a:pt x="40067" y="12095"/>
                    <a:pt x="39111" y="13391"/>
                    <a:pt x="38188" y="14687"/>
                  </a:cubicBezTo>
                  <a:cubicBezTo>
                    <a:pt x="37350" y="15856"/>
                    <a:pt x="36478" y="17000"/>
                    <a:pt x="35604" y="18137"/>
                  </a:cubicBezTo>
                  <a:cubicBezTo>
                    <a:pt x="35465" y="18313"/>
                    <a:pt x="35329" y="18486"/>
                    <a:pt x="35191" y="18660"/>
                  </a:cubicBezTo>
                  <a:cubicBezTo>
                    <a:pt x="32211" y="22419"/>
                    <a:pt x="28738" y="26316"/>
                    <a:pt x="26515" y="30597"/>
                  </a:cubicBezTo>
                  <a:cubicBezTo>
                    <a:pt x="26466" y="30346"/>
                    <a:pt x="26426" y="30095"/>
                    <a:pt x="26397" y="29850"/>
                  </a:cubicBezTo>
                  <a:cubicBezTo>
                    <a:pt x="26423" y="29850"/>
                    <a:pt x="26446" y="29838"/>
                    <a:pt x="26461" y="29815"/>
                  </a:cubicBezTo>
                  <a:cubicBezTo>
                    <a:pt x="26726" y="29440"/>
                    <a:pt x="26998" y="29067"/>
                    <a:pt x="27266" y="28695"/>
                  </a:cubicBezTo>
                  <a:cubicBezTo>
                    <a:pt x="27592" y="28256"/>
                    <a:pt x="27916" y="27812"/>
                    <a:pt x="28230" y="27364"/>
                  </a:cubicBezTo>
                  <a:cubicBezTo>
                    <a:pt x="31530" y="22895"/>
                    <a:pt x="35070" y="18614"/>
                    <a:pt x="38173" y="13994"/>
                  </a:cubicBezTo>
                  <a:cubicBezTo>
                    <a:pt x="38248" y="13885"/>
                    <a:pt x="40821" y="10409"/>
                    <a:pt x="40986" y="10409"/>
                  </a:cubicBezTo>
                  <a:close/>
                  <a:moveTo>
                    <a:pt x="61953" y="24956"/>
                  </a:moveTo>
                  <a:lnTo>
                    <a:pt x="61953" y="24956"/>
                  </a:lnTo>
                  <a:cubicBezTo>
                    <a:pt x="60267" y="26914"/>
                    <a:pt x="58604" y="28888"/>
                    <a:pt x="56936" y="30863"/>
                  </a:cubicBezTo>
                  <a:cubicBezTo>
                    <a:pt x="58027" y="29402"/>
                    <a:pt x="59130" y="27953"/>
                    <a:pt x="60259" y="26521"/>
                  </a:cubicBezTo>
                  <a:cubicBezTo>
                    <a:pt x="60822" y="25996"/>
                    <a:pt x="61388" y="25476"/>
                    <a:pt x="61953" y="24956"/>
                  </a:cubicBezTo>
                  <a:close/>
                  <a:moveTo>
                    <a:pt x="37740" y="17681"/>
                  </a:moveTo>
                  <a:lnTo>
                    <a:pt x="37740" y="17681"/>
                  </a:lnTo>
                  <a:cubicBezTo>
                    <a:pt x="36906" y="18931"/>
                    <a:pt x="36083" y="20187"/>
                    <a:pt x="35251" y="21440"/>
                  </a:cubicBezTo>
                  <a:cubicBezTo>
                    <a:pt x="33909" y="23189"/>
                    <a:pt x="32679" y="25011"/>
                    <a:pt x="31484" y="26859"/>
                  </a:cubicBezTo>
                  <a:cubicBezTo>
                    <a:pt x="30325" y="28409"/>
                    <a:pt x="29112" y="29902"/>
                    <a:pt x="27795" y="31306"/>
                  </a:cubicBezTo>
                  <a:lnTo>
                    <a:pt x="27795" y="31306"/>
                  </a:lnTo>
                  <a:cubicBezTo>
                    <a:pt x="29397" y="29597"/>
                    <a:pt x="30571" y="27078"/>
                    <a:pt x="31891" y="25138"/>
                  </a:cubicBezTo>
                  <a:cubicBezTo>
                    <a:pt x="33666" y="22534"/>
                    <a:pt x="35679" y="20126"/>
                    <a:pt x="37705" y="17721"/>
                  </a:cubicBezTo>
                  <a:cubicBezTo>
                    <a:pt x="37717" y="17707"/>
                    <a:pt x="37729" y="17695"/>
                    <a:pt x="37740" y="17681"/>
                  </a:cubicBezTo>
                  <a:close/>
                  <a:moveTo>
                    <a:pt x="42931" y="17964"/>
                  </a:moveTo>
                  <a:cubicBezTo>
                    <a:pt x="39604" y="22773"/>
                    <a:pt x="36443" y="27693"/>
                    <a:pt x="32904" y="31969"/>
                  </a:cubicBezTo>
                  <a:cubicBezTo>
                    <a:pt x="33895" y="30623"/>
                    <a:pt x="34830" y="29238"/>
                    <a:pt x="35774" y="27861"/>
                  </a:cubicBezTo>
                  <a:cubicBezTo>
                    <a:pt x="38083" y="24489"/>
                    <a:pt x="40444" y="21198"/>
                    <a:pt x="42931" y="17964"/>
                  </a:cubicBezTo>
                  <a:close/>
                  <a:moveTo>
                    <a:pt x="44383" y="8740"/>
                  </a:moveTo>
                  <a:cubicBezTo>
                    <a:pt x="44331" y="8858"/>
                    <a:pt x="44268" y="8977"/>
                    <a:pt x="44210" y="9095"/>
                  </a:cubicBezTo>
                  <a:cubicBezTo>
                    <a:pt x="42149" y="11370"/>
                    <a:pt x="40327" y="13864"/>
                    <a:pt x="38583" y="16428"/>
                  </a:cubicBezTo>
                  <a:cubicBezTo>
                    <a:pt x="37474" y="17612"/>
                    <a:pt x="36386" y="18761"/>
                    <a:pt x="35459" y="19864"/>
                  </a:cubicBezTo>
                  <a:cubicBezTo>
                    <a:pt x="32266" y="23669"/>
                    <a:pt x="29674" y="27904"/>
                    <a:pt x="26902" y="32015"/>
                  </a:cubicBezTo>
                  <a:cubicBezTo>
                    <a:pt x="26894" y="31989"/>
                    <a:pt x="26882" y="31969"/>
                    <a:pt x="26873" y="31943"/>
                  </a:cubicBezTo>
                  <a:cubicBezTo>
                    <a:pt x="26836" y="31833"/>
                    <a:pt x="26813" y="31732"/>
                    <a:pt x="26781" y="31628"/>
                  </a:cubicBezTo>
                  <a:cubicBezTo>
                    <a:pt x="26911" y="31487"/>
                    <a:pt x="27041" y="31342"/>
                    <a:pt x="27171" y="31201"/>
                  </a:cubicBezTo>
                  <a:cubicBezTo>
                    <a:pt x="27191" y="31178"/>
                    <a:pt x="27171" y="31147"/>
                    <a:pt x="27146" y="31147"/>
                  </a:cubicBezTo>
                  <a:cubicBezTo>
                    <a:pt x="27139" y="31147"/>
                    <a:pt x="27131" y="31149"/>
                    <a:pt x="27125" y="31155"/>
                  </a:cubicBezTo>
                  <a:cubicBezTo>
                    <a:pt x="27662" y="30667"/>
                    <a:pt x="28198" y="29717"/>
                    <a:pt x="28712" y="28758"/>
                  </a:cubicBezTo>
                  <a:cubicBezTo>
                    <a:pt x="29630" y="27503"/>
                    <a:pt x="30436" y="26166"/>
                    <a:pt x="31256" y="24829"/>
                  </a:cubicBezTo>
                  <a:cubicBezTo>
                    <a:pt x="32783" y="22834"/>
                    <a:pt x="34408" y="20909"/>
                    <a:pt x="35985" y="18960"/>
                  </a:cubicBezTo>
                  <a:cubicBezTo>
                    <a:pt x="37125" y="17551"/>
                    <a:pt x="38150" y="16079"/>
                    <a:pt x="39160" y="14575"/>
                  </a:cubicBezTo>
                  <a:cubicBezTo>
                    <a:pt x="39562" y="13974"/>
                    <a:pt x="39977" y="13382"/>
                    <a:pt x="40396" y="12790"/>
                  </a:cubicBezTo>
                  <a:cubicBezTo>
                    <a:pt x="40581" y="12559"/>
                    <a:pt x="40766" y="12326"/>
                    <a:pt x="40950" y="12092"/>
                  </a:cubicBezTo>
                  <a:cubicBezTo>
                    <a:pt x="41776" y="11281"/>
                    <a:pt x="44216" y="9118"/>
                    <a:pt x="44383" y="8740"/>
                  </a:cubicBezTo>
                  <a:close/>
                  <a:moveTo>
                    <a:pt x="57142" y="17706"/>
                  </a:moveTo>
                  <a:cubicBezTo>
                    <a:pt x="55448" y="19804"/>
                    <a:pt x="53810" y="21931"/>
                    <a:pt x="52155" y="23923"/>
                  </a:cubicBezTo>
                  <a:cubicBezTo>
                    <a:pt x="49906" y="26631"/>
                    <a:pt x="47657" y="29345"/>
                    <a:pt x="45408" y="32064"/>
                  </a:cubicBezTo>
                  <a:cubicBezTo>
                    <a:pt x="47484" y="29295"/>
                    <a:pt x="49473" y="26455"/>
                    <a:pt x="51577" y="23856"/>
                  </a:cubicBezTo>
                  <a:cubicBezTo>
                    <a:pt x="53298" y="21735"/>
                    <a:pt x="55214" y="19721"/>
                    <a:pt x="57142" y="17706"/>
                  </a:cubicBezTo>
                  <a:close/>
                  <a:moveTo>
                    <a:pt x="59089" y="954"/>
                  </a:moveTo>
                  <a:lnTo>
                    <a:pt x="59089" y="954"/>
                  </a:lnTo>
                  <a:cubicBezTo>
                    <a:pt x="59364" y="1069"/>
                    <a:pt x="59629" y="1205"/>
                    <a:pt x="59886" y="1361"/>
                  </a:cubicBezTo>
                  <a:cubicBezTo>
                    <a:pt x="59843" y="1361"/>
                    <a:pt x="59805" y="1378"/>
                    <a:pt x="59777" y="1410"/>
                  </a:cubicBezTo>
                  <a:cubicBezTo>
                    <a:pt x="55212" y="6716"/>
                    <a:pt x="50235" y="11572"/>
                    <a:pt x="45786" y="16994"/>
                  </a:cubicBezTo>
                  <a:cubicBezTo>
                    <a:pt x="41687" y="21988"/>
                    <a:pt x="38465" y="27953"/>
                    <a:pt x="34102" y="32722"/>
                  </a:cubicBezTo>
                  <a:cubicBezTo>
                    <a:pt x="38574" y="27739"/>
                    <a:pt x="41808" y="21085"/>
                    <a:pt x="45977" y="15926"/>
                  </a:cubicBezTo>
                  <a:cubicBezTo>
                    <a:pt x="48332" y="13007"/>
                    <a:pt x="50801" y="10195"/>
                    <a:pt x="53382" y="7484"/>
                  </a:cubicBezTo>
                  <a:cubicBezTo>
                    <a:pt x="55359" y="5405"/>
                    <a:pt x="57672" y="3616"/>
                    <a:pt x="59084" y="1087"/>
                  </a:cubicBezTo>
                  <a:cubicBezTo>
                    <a:pt x="59104" y="1046"/>
                    <a:pt x="59107" y="997"/>
                    <a:pt x="59089" y="954"/>
                  </a:cubicBezTo>
                  <a:close/>
                  <a:moveTo>
                    <a:pt x="29783" y="29411"/>
                  </a:moveTo>
                  <a:cubicBezTo>
                    <a:pt x="29529" y="29821"/>
                    <a:pt x="29290" y="30237"/>
                    <a:pt x="29062" y="30655"/>
                  </a:cubicBezTo>
                  <a:cubicBezTo>
                    <a:pt x="28525" y="31490"/>
                    <a:pt x="28005" y="32330"/>
                    <a:pt x="27514" y="33176"/>
                  </a:cubicBezTo>
                  <a:cubicBezTo>
                    <a:pt x="27327" y="32924"/>
                    <a:pt x="27168" y="32656"/>
                    <a:pt x="27044" y="32370"/>
                  </a:cubicBezTo>
                  <a:cubicBezTo>
                    <a:pt x="28089" y="31464"/>
                    <a:pt x="28969" y="30465"/>
                    <a:pt x="29783" y="29411"/>
                  </a:cubicBezTo>
                  <a:close/>
                  <a:moveTo>
                    <a:pt x="39946" y="18972"/>
                  </a:moveTo>
                  <a:lnTo>
                    <a:pt x="39946" y="18972"/>
                  </a:lnTo>
                  <a:cubicBezTo>
                    <a:pt x="37558" y="22104"/>
                    <a:pt x="35182" y="25248"/>
                    <a:pt x="32849" y="28418"/>
                  </a:cubicBezTo>
                  <a:cubicBezTo>
                    <a:pt x="32292" y="29215"/>
                    <a:pt x="31744" y="30020"/>
                    <a:pt x="31204" y="30828"/>
                  </a:cubicBezTo>
                  <a:cubicBezTo>
                    <a:pt x="29981" y="32638"/>
                    <a:pt x="29486" y="33269"/>
                    <a:pt x="29397" y="33269"/>
                  </a:cubicBezTo>
                  <a:cubicBezTo>
                    <a:pt x="29214" y="33269"/>
                    <a:pt x="30747" y="30605"/>
                    <a:pt x="31201" y="30035"/>
                  </a:cubicBezTo>
                  <a:cubicBezTo>
                    <a:pt x="32269" y="28692"/>
                    <a:pt x="33450" y="27445"/>
                    <a:pt x="34498" y="26085"/>
                  </a:cubicBezTo>
                  <a:cubicBezTo>
                    <a:pt x="36334" y="23709"/>
                    <a:pt x="38115" y="21322"/>
                    <a:pt x="39946" y="18972"/>
                  </a:cubicBezTo>
                  <a:close/>
                  <a:moveTo>
                    <a:pt x="20187" y="31481"/>
                  </a:moveTo>
                  <a:cubicBezTo>
                    <a:pt x="20476" y="31772"/>
                    <a:pt x="20675" y="32099"/>
                    <a:pt x="20779" y="32442"/>
                  </a:cubicBezTo>
                  <a:cubicBezTo>
                    <a:pt x="20776" y="32448"/>
                    <a:pt x="20770" y="32445"/>
                    <a:pt x="20764" y="32451"/>
                  </a:cubicBezTo>
                  <a:cubicBezTo>
                    <a:pt x="20562" y="32691"/>
                    <a:pt x="20375" y="32939"/>
                    <a:pt x="20181" y="33187"/>
                  </a:cubicBezTo>
                  <a:cubicBezTo>
                    <a:pt x="20323" y="32867"/>
                    <a:pt x="20438" y="32535"/>
                    <a:pt x="20531" y="32197"/>
                  </a:cubicBezTo>
                  <a:cubicBezTo>
                    <a:pt x="20566" y="32061"/>
                    <a:pt x="20468" y="31978"/>
                    <a:pt x="20362" y="31978"/>
                  </a:cubicBezTo>
                  <a:cubicBezTo>
                    <a:pt x="20304" y="31978"/>
                    <a:pt x="20244" y="32003"/>
                    <a:pt x="20201" y="32058"/>
                  </a:cubicBezTo>
                  <a:cubicBezTo>
                    <a:pt x="19887" y="32471"/>
                    <a:pt x="19581" y="32890"/>
                    <a:pt x="19275" y="33311"/>
                  </a:cubicBezTo>
                  <a:cubicBezTo>
                    <a:pt x="19601" y="32711"/>
                    <a:pt x="19916" y="32107"/>
                    <a:pt x="20187" y="31481"/>
                  </a:cubicBezTo>
                  <a:close/>
                  <a:moveTo>
                    <a:pt x="14638" y="29498"/>
                  </a:moveTo>
                  <a:cubicBezTo>
                    <a:pt x="14757" y="29567"/>
                    <a:pt x="14875" y="29636"/>
                    <a:pt x="14988" y="29705"/>
                  </a:cubicBezTo>
                  <a:cubicBezTo>
                    <a:pt x="14160" y="30833"/>
                    <a:pt x="13024" y="32410"/>
                    <a:pt x="12475" y="33326"/>
                  </a:cubicBezTo>
                  <a:lnTo>
                    <a:pt x="12475" y="33326"/>
                  </a:lnTo>
                  <a:cubicBezTo>
                    <a:pt x="13239" y="32051"/>
                    <a:pt x="14032" y="30856"/>
                    <a:pt x="14638" y="29498"/>
                  </a:cubicBezTo>
                  <a:close/>
                  <a:moveTo>
                    <a:pt x="63354" y="5319"/>
                  </a:moveTo>
                  <a:cubicBezTo>
                    <a:pt x="63471" y="5319"/>
                    <a:pt x="62297" y="6873"/>
                    <a:pt x="61506" y="7926"/>
                  </a:cubicBezTo>
                  <a:cubicBezTo>
                    <a:pt x="59101" y="10530"/>
                    <a:pt x="56861" y="13405"/>
                    <a:pt x="54693" y="16298"/>
                  </a:cubicBezTo>
                  <a:cubicBezTo>
                    <a:pt x="55588" y="15164"/>
                    <a:pt x="56520" y="14061"/>
                    <a:pt x="57473" y="12981"/>
                  </a:cubicBezTo>
                  <a:lnTo>
                    <a:pt x="57473" y="12981"/>
                  </a:lnTo>
                  <a:cubicBezTo>
                    <a:pt x="55316" y="15666"/>
                    <a:pt x="53235" y="18368"/>
                    <a:pt x="51188" y="21117"/>
                  </a:cubicBezTo>
                  <a:cubicBezTo>
                    <a:pt x="51563" y="20559"/>
                    <a:pt x="51944" y="20008"/>
                    <a:pt x="52334" y="19459"/>
                  </a:cubicBezTo>
                  <a:lnTo>
                    <a:pt x="52334" y="19459"/>
                  </a:lnTo>
                  <a:cubicBezTo>
                    <a:pt x="51537" y="20528"/>
                    <a:pt x="50740" y="21590"/>
                    <a:pt x="49946" y="22615"/>
                  </a:cubicBezTo>
                  <a:cubicBezTo>
                    <a:pt x="47229" y="26116"/>
                    <a:pt x="44049" y="29617"/>
                    <a:pt x="41360" y="33354"/>
                  </a:cubicBezTo>
                  <a:lnTo>
                    <a:pt x="41360" y="33354"/>
                  </a:lnTo>
                  <a:cubicBezTo>
                    <a:pt x="41610" y="32999"/>
                    <a:pt x="41858" y="32641"/>
                    <a:pt x="42102" y="32281"/>
                  </a:cubicBezTo>
                  <a:cubicBezTo>
                    <a:pt x="44054" y="29780"/>
                    <a:pt x="45858" y="27156"/>
                    <a:pt x="47738" y="24613"/>
                  </a:cubicBezTo>
                  <a:cubicBezTo>
                    <a:pt x="50657" y="20666"/>
                    <a:pt x="53737" y="16861"/>
                    <a:pt x="56768" y="13007"/>
                  </a:cubicBezTo>
                  <a:cubicBezTo>
                    <a:pt x="58108" y="11304"/>
                    <a:pt x="59453" y="9615"/>
                    <a:pt x="60853" y="7963"/>
                  </a:cubicBezTo>
                  <a:cubicBezTo>
                    <a:pt x="61543" y="7164"/>
                    <a:pt x="62262" y="6387"/>
                    <a:pt x="63004" y="5636"/>
                  </a:cubicBezTo>
                  <a:cubicBezTo>
                    <a:pt x="63217" y="5415"/>
                    <a:pt x="63325" y="5319"/>
                    <a:pt x="63354" y="5319"/>
                  </a:cubicBezTo>
                  <a:close/>
                  <a:moveTo>
                    <a:pt x="7666" y="32382"/>
                  </a:moveTo>
                  <a:lnTo>
                    <a:pt x="7666" y="32382"/>
                  </a:lnTo>
                  <a:cubicBezTo>
                    <a:pt x="7649" y="32411"/>
                    <a:pt x="7634" y="32439"/>
                    <a:pt x="7617" y="32468"/>
                  </a:cubicBezTo>
                  <a:cubicBezTo>
                    <a:pt x="7392" y="32832"/>
                    <a:pt x="7155" y="33187"/>
                    <a:pt x="6915" y="33545"/>
                  </a:cubicBezTo>
                  <a:lnTo>
                    <a:pt x="6913" y="33545"/>
                  </a:lnTo>
                  <a:cubicBezTo>
                    <a:pt x="6895" y="33522"/>
                    <a:pt x="6878" y="33499"/>
                    <a:pt x="6861" y="33479"/>
                  </a:cubicBezTo>
                  <a:cubicBezTo>
                    <a:pt x="6269" y="32743"/>
                    <a:pt x="6967" y="32439"/>
                    <a:pt x="7666" y="32382"/>
                  </a:cubicBezTo>
                  <a:close/>
                  <a:moveTo>
                    <a:pt x="18957" y="27705"/>
                  </a:moveTo>
                  <a:lnTo>
                    <a:pt x="18957" y="27705"/>
                  </a:lnTo>
                  <a:cubicBezTo>
                    <a:pt x="18311" y="28834"/>
                    <a:pt x="17658" y="29959"/>
                    <a:pt x="16971" y="31065"/>
                  </a:cubicBezTo>
                  <a:cubicBezTo>
                    <a:pt x="16350" y="31888"/>
                    <a:pt x="15738" y="32714"/>
                    <a:pt x="15129" y="33539"/>
                  </a:cubicBezTo>
                  <a:cubicBezTo>
                    <a:pt x="14913" y="33554"/>
                    <a:pt x="14696" y="33568"/>
                    <a:pt x="14479" y="33591"/>
                  </a:cubicBezTo>
                  <a:cubicBezTo>
                    <a:pt x="14494" y="33568"/>
                    <a:pt x="14505" y="33545"/>
                    <a:pt x="14520" y="33525"/>
                  </a:cubicBezTo>
                  <a:cubicBezTo>
                    <a:pt x="14527" y="33527"/>
                    <a:pt x="14535" y="33528"/>
                    <a:pt x="14542" y="33528"/>
                  </a:cubicBezTo>
                  <a:cubicBezTo>
                    <a:pt x="14580" y="33528"/>
                    <a:pt x="14614" y="33503"/>
                    <a:pt x="14624" y="33464"/>
                  </a:cubicBezTo>
                  <a:cubicBezTo>
                    <a:pt x="14661" y="33343"/>
                    <a:pt x="14725" y="33228"/>
                    <a:pt x="14771" y="33109"/>
                  </a:cubicBezTo>
                  <a:cubicBezTo>
                    <a:pt x="15080" y="32618"/>
                    <a:pt x="15357" y="32107"/>
                    <a:pt x="15602" y="31582"/>
                  </a:cubicBezTo>
                  <a:cubicBezTo>
                    <a:pt x="16561" y="30208"/>
                    <a:pt x="17903" y="28955"/>
                    <a:pt x="18957" y="27705"/>
                  </a:cubicBezTo>
                  <a:close/>
                  <a:moveTo>
                    <a:pt x="33297" y="29090"/>
                  </a:moveTo>
                  <a:cubicBezTo>
                    <a:pt x="32685" y="30020"/>
                    <a:pt x="32102" y="30964"/>
                    <a:pt x="31556" y="31957"/>
                  </a:cubicBezTo>
                  <a:cubicBezTo>
                    <a:pt x="31250" y="32780"/>
                    <a:pt x="30670" y="33329"/>
                    <a:pt x="29815" y="33603"/>
                  </a:cubicBezTo>
                  <a:cubicBezTo>
                    <a:pt x="29977" y="33245"/>
                    <a:pt x="30159" y="32896"/>
                    <a:pt x="30358" y="32558"/>
                  </a:cubicBezTo>
                  <a:cubicBezTo>
                    <a:pt x="31386" y="31487"/>
                    <a:pt x="32359" y="30312"/>
                    <a:pt x="33297" y="29090"/>
                  </a:cubicBezTo>
                  <a:close/>
                  <a:moveTo>
                    <a:pt x="8567" y="32460"/>
                  </a:moveTo>
                  <a:lnTo>
                    <a:pt x="8567" y="32460"/>
                  </a:lnTo>
                  <a:cubicBezTo>
                    <a:pt x="8671" y="32488"/>
                    <a:pt x="8766" y="32517"/>
                    <a:pt x="8861" y="32546"/>
                  </a:cubicBezTo>
                  <a:cubicBezTo>
                    <a:pt x="8570" y="32947"/>
                    <a:pt x="8220" y="33297"/>
                    <a:pt x="7848" y="33623"/>
                  </a:cubicBezTo>
                  <a:cubicBezTo>
                    <a:pt x="8067" y="33262"/>
                    <a:pt x="8313" y="32916"/>
                    <a:pt x="8550" y="32564"/>
                  </a:cubicBezTo>
                  <a:cubicBezTo>
                    <a:pt x="8567" y="32532"/>
                    <a:pt x="8576" y="32494"/>
                    <a:pt x="8567" y="32460"/>
                  </a:cubicBezTo>
                  <a:close/>
                  <a:moveTo>
                    <a:pt x="15328" y="29925"/>
                  </a:moveTo>
                  <a:cubicBezTo>
                    <a:pt x="15449" y="30003"/>
                    <a:pt x="15551" y="30075"/>
                    <a:pt x="15637" y="30136"/>
                  </a:cubicBezTo>
                  <a:cubicBezTo>
                    <a:pt x="14676" y="31328"/>
                    <a:pt x="13613" y="32442"/>
                    <a:pt x="12678" y="33629"/>
                  </a:cubicBezTo>
                  <a:cubicBezTo>
                    <a:pt x="12730" y="33562"/>
                    <a:pt x="12698" y="33464"/>
                    <a:pt x="12617" y="33441"/>
                  </a:cubicBezTo>
                  <a:cubicBezTo>
                    <a:pt x="13619" y="32347"/>
                    <a:pt x="14445" y="31132"/>
                    <a:pt x="15328" y="29925"/>
                  </a:cubicBezTo>
                  <a:close/>
                  <a:moveTo>
                    <a:pt x="23916" y="22709"/>
                  </a:moveTo>
                  <a:cubicBezTo>
                    <a:pt x="23973" y="22709"/>
                    <a:pt x="23052" y="23981"/>
                    <a:pt x="22912" y="24209"/>
                  </a:cubicBezTo>
                  <a:cubicBezTo>
                    <a:pt x="21732" y="26143"/>
                    <a:pt x="20450" y="28014"/>
                    <a:pt x="19122" y="29847"/>
                  </a:cubicBezTo>
                  <a:cubicBezTo>
                    <a:pt x="19001" y="30011"/>
                    <a:pt x="18873" y="30173"/>
                    <a:pt x="18752" y="30335"/>
                  </a:cubicBezTo>
                  <a:cubicBezTo>
                    <a:pt x="17811" y="31429"/>
                    <a:pt x="16879" y="32523"/>
                    <a:pt x="16064" y="33727"/>
                  </a:cubicBezTo>
                  <a:cubicBezTo>
                    <a:pt x="15909" y="33652"/>
                    <a:pt x="15744" y="33591"/>
                    <a:pt x="15577" y="33551"/>
                  </a:cubicBezTo>
                  <a:cubicBezTo>
                    <a:pt x="15680" y="33424"/>
                    <a:pt x="15773" y="33288"/>
                    <a:pt x="15874" y="33158"/>
                  </a:cubicBezTo>
                  <a:cubicBezTo>
                    <a:pt x="17774" y="30869"/>
                    <a:pt x="19690" y="28499"/>
                    <a:pt x="21402" y="26068"/>
                  </a:cubicBezTo>
                  <a:cubicBezTo>
                    <a:pt x="22092" y="25089"/>
                    <a:pt x="22739" y="24105"/>
                    <a:pt x="23504" y="23175"/>
                  </a:cubicBezTo>
                  <a:cubicBezTo>
                    <a:pt x="23780" y="22839"/>
                    <a:pt x="23898" y="22709"/>
                    <a:pt x="23916" y="22709"/>
                  </a:cubicBezTo>
                  <a:close/>
                  <a:moveTo>
                    <a:pt x="14918" y="31868"/>
                  </a:moveTo>
                  <a:cubicBezTo>
                    <a:pt x="14981" y="31868"/>
                    <a:pt x="15001" y="31929"/>
                    <a:pt x="14962" y="32070"/>
                  </a:cubicBezTo>
                  <a:cubicBezTo>
                    <a:pt x="14632" y="32590"/>
                    <a:pt x="14309" y="33112"/>
                    <a:pt x="13997" y="33640"/>
                  </a:cubicBezTo>
                  <a:lnTo>
                    <a:pt x="14000" y="33640"/>
                  </a:lnTo>
                  <a:cubicBezTo>
                    <a:pt x="13582" y="33687"/>
                    <a:pt x="13163" y="33727"/>
                    <a:pt x="12744" y="33753"/>
                  </a:cubicBezTo>
                  <a:cubicBezTo>
                    <a:pt x="13509" y="33047"/>
                    <a:pt x="14640" y="31868"/>
                    <a:pt x="14918" y="31868"/>
                  </a:cubicBezTo>
                  <a:close/>
                  <a:moveTo>
                    <a:pt x="18744" y="31879"/>
                  </a:moveTo>
                  <a:lnTo>
                    <a:pt x="18744" y="31879"/>
                  </a:lnTo>
                  <a:cubicBezTo>
                    <a:pt x="18576" y="32246"/>
                    <a:pt x="18391" y="32607"/>
                    <a:pt x="18201" y="32962"/>
                  </a:cubicBezTo>
                  <a:cubicBezTo>
                    <a:pt x="17932" y="33279"/>
                    <a:pt x="17618" y="33551"/>
                    <a:pt x="17263" y="33767"/>
                  </a:cubicBezTo>
                  <a:cubicBezTo>
                    <a:pt x="17280" y="33710"/>
                    <a:pt x="17289" y="33646"/>
                    <a:pt x="17306" y="33591"/>
                  </a:cubicBezTo>
                  <a:cubicBezTo>
                    <a:pt x="17704" y="32985"/>
                    <a:pt x="18209" y="32413"/>
                    <a:pt x="18744" y="31879"/>
                  </a:cubicBezTo>
                  <a:close/>
                  <a:moveTo>
                    <a:pt x="66440" y="29578"/>
                  </a:moveTo>
                  <a:cubicBezTo>
                    <a:pt x="66659" y="29907"/>
                    <a:pt x="66792" y="30176"/>
                    <a:pt x="66864" y="30398"/>
                  </a:cubicBezTo>
                  <a:cubicBezTo>
                    <a:pt x="66844" y="30404"/>
                    <a:pt x="66824" y="30404"/>
                    <a:pt x="66806" y="30424"/>
                  </a:cubicBezTo>
                  <a:cubicBezTo>
                    <a:pt x="65836" y="31550"/>
                    <a:pt x="64861" y="32667"/>
                    <a:pt x="63879" y="33779"/>
                  </a:cubicBezTo>
                  <a:cubicBezTo>
                    <a:pt x="64869" y="32445"/>
                    <a:pt x="65744" y="31054"/>
                    <a:pt x="66440" y="29578"/>
                  </a:cubicBezTo>
                  <a:close/>
                  <a:moveTo>
                    <a:pt x="53696" y="2429"/>
                  </a:moveTo>
                  <a:cubicBezTo>
                    <a:pt x="53845" y="2429"/>
                    <a:pt x="53297" y="3167"/>
                    <a:pt x="52019" y="4485"/>
                  </a:cubicBezTo>
                  <a:cubicBezTo>
                    <a:pt x="50824" y="5717"/>
                    <a:pt x="49660" y="6999"/>
                    <a:pt x="48514" y="8301"/>
                  </a:cubicBezTo>
                  <a:cubicBezTo>
                    <a:pt x="45630" y="11396"/>
                    <a:pt x="42893" y="14647"/>
                    <a:pt x="40330" y="17788"/>
                  </a:cubicBezTo>
                  <a:cubicBezTo>
                    <a:pt x="37691" y="21018"/>
                    <a:pt x="35448" y="24564"/>
                    <a:pt x="32760" y="27754"/>
                  </a:cubicBezTo>
                  <a:cubicBezTo>
                    <a:pt x="31094" y="29728"/>
                    <a:pt x="29356" y="31542"/>
                    <a:pt x="28432" y="33984"/>
                  </a:cubicBezTo>
                  <a:cubicBezTo>
                    <a:pt x="28314" y="33912"/>
                    <a:pt x="28201" y="33834"/>
                    <a:pt x="28092" y="33747"/>
                  </a:cubicBezTo>
                  <a:cubicBezTo>
                    <a:pt x="28109" y="33733"/>
                    <a:pt x="28123" y="33713"/>
                    <a:pt x="28129" y="33689"/>
                  </a:cubicBezTo>
                  <a:cubicBezTo>
                    <a:pt x="28222" y="33135"/>
                    <a:pt x="28415" y="32595"/>
                    <a:pt x="28666" y="32070"/>
                  </a:cubicBezTo>
                  <a:cubicBezTo>
                    <a:pt x="28837" y="31747"/>
                    <a:pt x="29013" y="31426"/>
                    <a:pt x="29197" y="31114"/>
                  </a:cubicBezTo>
                  <a:lnTo>
                    <a:pt x="29252" y="31031"/>
                  </a:lnTo>
                  <a:cubicBezTo>
                    <a:pt x="29815" y="30323"/>
                    <a:pt x="30447" y="29495"/>
                    <a:pt x="30794" y="29033"/>
                  </a:cubicBezTo>
                  <a:cubicBezTo>
                    <a:pt x="32027" y="27624"/>
                    <a:pt x="33418" y="26299"/>
                    <a:pt x="34388" y="25008"/>
                  </a:cubicBezTo>
                  <a:cubicBezTo>
                    <a:pt x="38208" y="19918"/>
                    <a:pt x="42382" y="15126"/>
                    <a:pt x="46416" y="10209"/>
                  </a:cubicBezTo>
                  <a:cubicBezTo>
                    <a:pt x="47270" y="9164"/>
                    <a:pt x="48142" y="8142"/>
                    <a:pt x="49037" y="7141"/>
                  </a:cubicBezTo>
                  <a:cubicBezTo>
                    <a:pt x="49969" y="6176"/>
                    <a:pt x="50882" y="5200"/>
                    <a:pt x="51754" y="4199"/>
                  </a:cubicBezTo>
                  <a:cubicBezTo>
                    <a:pt x="51771" y="4181"/>
                    <a:pt x="51785" y="4161"/>
                    <a:pt x="51803" y="4147"/>
                  </a:cubicBezTo>
                  <a:cubicBezTo>
                    <a:pt x="52931" y="2969"/>
                    <a:pt x="53569" y="2429"/>
                    <a:pt x="53696" y="2429"/>
                  </a:cubicBezTo>
                  <a:close/>
                  <a:moveTo>
                    <a:pt x="67121" y="24491"/>
                  </a:moveTo>
                  <a:lnTo>
                    <a:pt x="67121" y="24491"/>
                  </a:lnTo>
                  <a:cubicBezTo>
                    <a:pt x="67110" y="24740"/>
                    <a:pt x="67095" y="24985"/>
                    <a:pt x="67075" y="25233"/>
                  </a:cubicBezTo>
                  <a:cubicBezTo>
                    <a:pt x="67060" y="25239"/>
                    <a:pt x="67043" y="25239"/>
                    <a:pt x="67029" y="25257"/>
                  </a:cubicBezTo>
                  <a:cubicBezTo>
                    <a:pt x="64604" y="28204"/>
                    <a:pt x="62127" y="31114"/>
                    <a:pt x="59635" y="34010"/>
                  </a:cubicBezTo>
                  <a:cubicBezTo>
                    <a:pt x="60022" y="33502"/>
                    <a:pt x="60403" y="32991"/>
                    <a:pt x="60784" y="32480"/>
                  </a:cubicBezTo>
                  <a:cubicBezTo>
                    <a:pt x="63030" y="29913"/>
                    <a:pt x="65210" y="27298"/>
                    <a:pt x="67121" y="24491"/>
                  </a:cubicBezTo>
                  <a:close/>
                  <a:moveTo>
                    <a:pt x="17060" y="33314"/>
                  </a:moveTo>
                  <a:lnTo>
                    <a:pt x="17060" y="33314"/>
                  </a:lnTo>
                  <a:cubicBezTo>
                    <a:pt x="16965" y="33551"/>
                    <a:pt x="16899" y="33796"/>
                    <a:pt x="16861" y="34045"/>
                  </a:cubicBezTo>
                  <a:cubicBezTo>
                    <a:pt x="16855" y="34085"/>
                    <a:pt x="16864" y="34125"/>
                    <a:pt x="16884" y="34163"/>
                  </a:cubicBezTo>
                  <a:cubicBezTo>
                    <a:pt x="16881" y="34163"/>
                    <a:pt x="16881" y="34163"/>
                    <a:pt x="16881" y="34166"/>
                  </a:cubicBezTo>
                  <a:cubicBezTo>
                    <a:pt x="16723" y="34073"/>
                    <a:pt x="16549" y="33972"/>
                    <a:pt x="16362" y="33874"/>
                  </a:cubicBezTo>
                  <a:cubicBezTo>
                    <a:pt x="16506" y="33701"/>
                    <a:pt x="16636" y="33525"/>
                    <a:pt x="16778" y="33352"/>
                  </a:cubicBezTo>
                  <a:cubicBezTo>
                    <a:pt x="16814" y="33375"/>
                    <a:pt x="16850" y="33385"/>
                    <a:pt x="16886" y="33385"/>
                  </a:cubicBezTo>
                  <a:cubicBezTo>
                    <a:pt x="16944" y="33385"/>
                    <a:pt x="17002" y="33359"/>
                    <a:pt x="17060" y="33314"/>
                  </a:cubicBezTo>
                  <a:close/>
                  <a:moveTo>
                    <a:pt x="29769" y="33150"/>
                  </a:moveTo>
                  <a:cubicBezTo>
                    <a:pt x="29553" y="33536"/>
                    <a:pt x="29350" y="33932"/>
                    <a:pt x="29157" y="34336"/>
                  </a:cubicBezTo>
                  <a:cubicBezTo>
                    <a:pt x="29004" y="34278"/>
                    <a:pt x="28854" y="34215"/>
                    <a:pt x="28709" y="34143"/>
                  </a:cubicBezTo>
                  <a:cubicBezTo>
                    <a:pt x="29070" y="33825"/>
                    <a:pt x="29423" y="33493"/>
                    <a:pt x="29769" y="33150"/>
                  </a:cubicBezTo>
                  <a:close/>
                  <a:moveTo>
                    <a:pt x="43609" y="23005"/>
                  </a:moveTo>
                  <a:lnTo>
                    <a:pt x="43609" y="23005"/>
                  </a:lnTo>
                  <a:cubicBezTo>
                    <a:pt x="41254" y="26273"/>
                    <a:pt x="38961" y="29596"/>
                    <a:pt x="36447" y="32748"/>
                  </a:cubicBezTo>
                  <a:cubicBezTo>
                    <a:pt x="36161" y="33107"/>
                    <a:pt x="34846" y="34546"/>
                    <a:pt x="34637" y="34546"/>
                  </a:cubicBezTo>
                  <a:cubicBezTo>
                    <a:pt x="34529" y="34546"/>
                    <a:pt x="34715" y="34164"/>
                    <a:pt x="35485" y="33057"/>
                  </a:cubicBezTo>
                  <a:cubicBezTo>
                    <a:pt x="36750" y="31241"/>
                    <a:pt x="38150" y="29521"/>
                    <a:pt x="39542" y="27800"/>
                  </a:cubicBezTo>
                  <a:cubicBezTo>
                    <a:pt x="40861" y="26172"/>
                    <a:pt x="42232" y="24584"/>
                    <a:pt x="43609" y="23005"/>
                  </a:cubicBezTo>
                  <a:close/>
                  <a:moveTo>
                    <a:pt x="64792" y="12711"/>
                  </a:moveTo>
                  <a:cubicBezTo>
                    <a:pt x="64973" y="12711"/>
                    <a:pt x="62293" y="16014"/>
                    <a:pt x="61982" y="16327"/>
                  </a:cubicBezTo>
                  <a:cubicBezTo>
                    <a:pt x="60871" y="17450"/>
                    <a:pt x="59759" y="18550"/>
                    <a:pt x="58685" y="19713"/>
                  </a:cubicBezTo>
                  <a:cubicBezTo>
                    <a:pt x="55798" y="22843"/>
                    <a:pt x="53148" y="26189"/>
                    <a:pt x="50440" y="29469"/>
                  </a:cubicBezTo>
                  <a:cubicBezTo>
                    <a:pt x="48965" y="31253"/>
                    <a:pt x="47394" y="32945"/>
                    <a:pt x="45835" y="34642"/>
                  </a:cubicBezTo>
                  <a:cubicBezTo>
                    <a:pt x="47438" y="32543"/>
                    <a:pt x="48999" y="30421"/>
                    <a:pt x="50633" y="28435"/>
                  </a:cubicBezTo>
                  <a:cubicBezTo>
                    <a:pt x="55053" y="23068"/>
                    <a:pt x="59520" y="17652"/>
                    <a:pt x="64581" y="12877"/>
                  </a:cubicBezTo>
                  <a:cubicBezTo>
                    <a:pt x="64702" y="12762"/>
                    <a:pt x="64769" y="12711"/>
                    <a:pt x="64792" y="12711"/>
                  </a:cubicBezTo>
                  <a:close/>
                  <a:moveTo>
                    <a:pt x="19171" y="32794"/>
                  </a:moveTo>
                  <a:lnTo>
                    <a:pt x="19171" y="32794"/>
                  </a:lnTo>
                  <a:cubicBezTo>
                    <a:pt x="18810" y="33461"/>
                    <a:pt x="18446" y="34125"/>
                    <a:pt x="18129" y="34815"/>
                  </a:cubicBezTo>
                  <a:cubicBezTo>
                    <a:pt x="18004" y="34763"/>
                    <a:pt x="17880" y="34703"/>
                    <a:pt x="17756" y="34639"/>
                  </a:cubicBezTo>
                  <a:cubicBezTo>
                    <a:pt x="18293" y="34073"/>
                    <a:pt x="18738" y="33438"/>
                    <a:pt x="19171" y="32794"/>
                  </a:cubicBezTo>
                  <a:close/>
                  <a:moveTo>
                    <a:pt x="20860" y="33043"/>
                  </a:moveTo>
                  <a:lnTo>
                    <a:pt x="20860" y="33043"/>
                  </a:lnTo>
                  <a:cubicBezTo>
                    <a:pt x="20834" y="33614"/>
                    <a:pt x="20542" y="34186"/>
                    <a:pt x="19878" y="34654"/>
                  </a:cubicBezTo>
                  <a:cubicBezTo>
                    <a:pt x="19716" y="34769"/>
                    <a:pt x="19535" y="34856"/>
                    <a:pt x="19344" y="34914"/>
                  </a:cubicBezTo>
                  <a:cubicBezTo>
                    <a:pt x="19517" y="34671"/>
                    <a:pt x="19696" y="34431"/>
                    <a:pt x="19872" y="34192"/>
                  </a:cubicBezTo>
                  <a:cubicBezTo>
                    <a:pt x="19874" y="34293"/>
                    <a:pt x="19961" y="34370"/>
                    <a:pt x="20050" y="34370"/>
                  </a:cubicBezTo>
                  <a:cubicBezTo>
                    <a:pt x="20100" y="34370"/>
                    <a:pt x="20151" y="34345"/>
                    <a:pt x="20187" y="34284"/>
                  </a:cubicBezTo>
                  <a:cubicBezTo>
                    <a:pt x="20427" y="33880"/>
                    <a:pt x="20637" y="33458"/>
                    <a:pt x="20860" y="33043"/>
                  </a:cubicBezTo>
                  <a:close/>
                  <a:moveTo>
                    <a:pt x="19763" y="33248"/>
                  </a:moveTo>
                  <a:lnTo>
                    <a:pt x="19763" y="33248"/>
                  </a:lnTo>
                  <a:cubicBezTo>
                    <a:pt x="19535" y="33756"/>
                    <a:pt x="19272" y="34250"/>
                    <a:pt x="19015" y="34752"/>
                  </a:cubicBezTo>
                  <a:cubicBezTo>
                    <a:pt x="18972" y="34827"/>
                    <a:pt x="18992" y="34925"/>
                    <a:pt x="19067" y="34977"/>
                  </a:cubicBezTo>
                  <a:cubicBezTo>
                    <a:pt x="19008" y="34983"/>
                    <a:pt x="18949" y="34987"/>
                    <a:pt x="18890" y="34987"/>
                  </a:cubicBezTo>
                  <a:cubicBezTo>
                    <a:pt x="18761" y="34987"/>
                    <a:pt x="18632" y="34971"/>
                    <a:pt x="18507" y="34940"/>
                  </a:cubicBezTo>
                  <a:cubicBezTo>
                    <a:pt x="18931" y="34379"/>
                    <a:pt x="19347" y="33814"/>
                    <a:pt x="19763" y="33248"/>
                  </a:cubicBezTo>
                  <a:close/>
                  <a:moveTo>
                    <a:pt x="39025" y="30502"/>
                  </a:moveTo>
                  <a:cubicBezTo>
                    <a:pt x="38164" y="31689"/>
                    <a:pt x="37382" y="32901"/>
                    <a:pt x="36735" y="34146"/>
                  </a:cubicBezTo>
                  <a:cubicBezTo>
                    <a:pt x="36222" y="34733"/>
                    <a:pt x="35956" y="34999"/>
                    <a:pt x="35891" y="34999"/>
                  </a:cubicBezTo>
                  <a:cubicBezTo>
                    <a:pt x="35802" y="34999"/>
                    <a:pt x="36089" y="34502"/>
                    <a:pt x="36634" y="33652"/>
                  </a:cubicBezTo>
                  <a:cubicBezTo>
                    <a:pt x="37339" y="32552"/>
                    <a:pt x="38170" y="31516"/>
                    <a:pt x="39025" y="30502"/>
                  </a:cubicBezTo>
                  <a:close/>
                  <a:moveTo>
                    <a:pt x="57147" y="2550"/>
                  </a:moveTo>
                  <a:lnTo>
                    <a:pt x="57300" y="3093"/>
                  </a:lnTo>
                  <a:cubicBezTo>
                    <a:pt x="56667" y="3731"/>
                    <a:pt x="56026" y="4360"/>
                    <a:pt x="55374" y="4978"/>
                  </a:cubicBezTo>
                  <a:cubicBezTo>
                    <a:pt x="54234" y="6075"/>
                    <a:pt x="53151" y="7239"/>
                    <a:pt x="52060" y="8385"/>
                  </a:cubicBezTo>
                  <a:cubicBezTo>
                    <a:pt x="49453" y="11119"/>
                    <a:pt x="47059" y="14043"/>
                    <a:pt x="44686" y="16977"/>
                  </a:cubicBezTo>
                  <a:cubicBezTo>
                    <a:pt x="40018" y="22751"/>
                    <a:pt x="36216" y="29174"/>
                    <a:pt x="31660" y="35041"/>
                  </a:cubicBezTo>
                  <a:cubicBezTo>
                    <a:pt x="31657" y="35049"/>
                    <a:pt x="31657" y="35052"/>
                    <a:pt x="31654" y="35058"/>
                  </a:cubicBezTo>
                  <a:cubicBezTo>
                    <a:pt x="31553" y="35026"/>
                    <a:pt x="31449" y="34994"/>
                    <a:pt x="31348" y="34966"/>
                  </a:cubicBezTo>
                  <a:cubicBezTo>
                    <a:pt x="30814" y="34815"/>
                    <a:pt x="30309" y="34697"/>
                    <a:pt x="29838" y="34561"/>
                  </a:cubicBezTo>
                  <a:cubicBezTo>
                    <a:pt x="31262" y="33513"/>
                    <a:pt x="31986" y="31848"/>
                    <a:pt x="32855" y="30283"/>
                  </a:cubicBezTo>
                  <a:cubicBezTo>
                    <a:pt x="35026" y="26368"/>
                    <a:pt x="38240" y="22595"/>
                    <a:pt x="41098" y="19191"/>
                  </a:cubicBezTo>
                  <a:cubicBezTo>
                    <a:pt x="42088" y="18013"/>
                    <a:pt x="43116" y="16855"/>
                    <a:pt x="44155" y="15701"/>
                  </a:cubicBezTo>
                  <a:lnTo>
                    <a:pt x="44155" y="15701"/>
                  </a:lnTo>
                  <a:cubicBezTo>
                    <a:pt x="39365" y="21778"/>
                    <a:pt x="35254" y="28403"/>
                    <a:pt x="30566" y="34547"/>
                  </a:cubicBezTo>
                  <a:cubicBezTo>
                    <a:pt x="30481" y="34656"/>
                    <a:pt x="30599" y="34785"/>
                    <a:pt x="30714" y="34785"/>
                  </a:cubicBezTo>
                  <a:cubicBezTo>
                    <a:pt x="30751" y="34785"/>
                    <a:pt x="30788" y="34772"/>
                    <a:pt x="30817" y="34740"/>
                  </a:cubicBezTo>
                  <a:cubicBezTo>
                    <a:pt x="35275" y="30037"/>
                    <a:pt x="38771" y="24636"/>
                    <a:pt x="42460" y="19332"/>
                  </a:cubicBezTo>
                  <a:cubicBezTo>
                    <a:pt x="44663" y="16162"/>
                    <a:pt x="47059" y="13151"/>
                    <a:pt x="49609" y="10276"/>
                  </a:cubicBezTo>
                  <a:cubicBezTo>
                    <a:pt x="51326" y="8477"/>
                    <a:pt x="53064" y="6702"/>
                    <a:pt x="54739" y="4871"/>
                  </a:cubicBezTo>
                  <a:cubicBezTo>
                    <a:pt x="55533" y="4089"/>
                    <a:pt x="56335" y="3315"/>
                    <a:pt x="57147" y="2550"/>
                  </a:cubicBezTo>
                  <a:close/>
                  <a:moveTo>
                    <a:pt x="13477" y="29024"/>
                  </a:moveTo>
                  <a:cubicBezTo>
                    <a:pt x="13662" y="29024"/>
                    <a:pt x="13948" y="29135"/>
                    <a:pt x="14260" y="29293"/>
                  </a:cubicBezTo>
                  <a:cubicBezTo>
                    <a:pt x="12935" y="31365"/>
                    <a:pt x="11474" y="33329"/>
                    <a:pt x="9941" y="35246"/>
                  </a:cubicBezTo>
                  <a:cubicBezTo>
                    <a:pt x="10227" y="34830"/>
                    <a:pt x="10510" y="34411"/>
                    <a:pt x="10781" y="33990"/>
                  </a:cubicBezTo>
                  <a:cubicBezTo>
                    <a:pt x="11148" y="33458"/>
                    <a:pt x="11486" y="32913"/>
                    <a:pt x="11800" y="32356"/>
                  </a:cubicBezTo>
                  <a:cubicBezTo>
                    <a:pt x="12144" y="32081"/>
                    <a:pt x="12280" y="31810"/>
                    <a:pt x="12239" y="31536"/>
                  </a:cubicBezTo>
                  <a:cubicBezTo>
                    <a:pt x="12381" y="31259"/>
                    <a:pt x="12519" y="30979"/>
                    <a:pt x="12643" y="30693"/>
                  </a:cubicBezTo>
                  <a:lnTo>
                    <a:pt x="12877" y="30782"/>
                  </a:lnTo>
                  <a:cubicBezTo>
                    <a:pt x="12892" y="30788"/>
                    <a:pt x="12907" y="30791"/>
                    <a:pt x="12921" y="30791"/>
                  </a:cubicBezTo>
                  <a:cubicBezTo>
                    <a:pt x="13000" y="30791"/>
                    <a:pt x="13063" y="30711"/>
                    <a:pt x="13068" y="30635"/>
                  </a:cubicBezTo>
                  <a:cubicBezTo>
                    <a:pt x="13105" y="30150"/>
                    <a:pt x="13232" y="29677"/>
                    <a:pt x="13267" y="29192"/>
                  </a:cubicBezTo>
                  <a:cubicBezTo>
                    <a:pt x="13276" y="29074"/>
                    <a:pt x="13354" y="29024"/>
                    <a:pt x="13477" y="29024"/>
                  </a:cubicBezTo>
                  <a:close/>
                  <a:moveTo>
                    <a:pt x="60059" y="1470"/>
                  </a:moveTo>
                  <a:cubicBezTo>
                    <a:pt x="60276" y="1618"/>
                    <a:pt x="60484" y="1782"/>
                    <a:pt x="60677" y="1961"/>
                  </a:cubicBezTo>
                  <a:cubicBezTo>
                    <a:pt x="50605" y="12536"/>
                    <a:pt x="42610" y="24899"/>
                    <a:pt x="32356" y="35272"/>
                  </a:cubicBezTo>
                  <a:cubicBezTo>
                    <a:pt x="32252" y="35240"/>
                    <a:pt x="32145" y="35202"/>
                    <a:pt x="32041" y="35170"/>
                  </a:cubicBezTo>
                  <a:cubicBezTo>
                    <a:pt x="37394" y="30771"/>
                    <a:pt x="40670" y="23940"/>
                    <a:pt x="44952" y="18590"/>
                  </a:cubicBezTo>
                  <a:cubicBezTo>
                    <a:pt x="49701" y="12655"/>
                    <a:pt x="55094" y="7415"/>
                    <a:pt x="60042" y="1673"/>
                  </a:cubicBezTo>
                  <a:cubicBezTo>
                    <a:pt x="60088" y="1615"/>
                    <a:pt x="60097" y="1534"/>
                    <a:pt x="60059" y="1470"/>
                  </a:cubicBezTo>
                  <a:close/>
                  <a:moveTo>
                    <a:pt x="10467" y="32714"/>
                  </a:moveTo>
                  <a:lnTo>
                    <a:pt x="10467" y="32714"/>
                  </a:lnTo>
                  <a:cubicBezTo>
                    <a:pt x="9823" y="33637"/>
                    <a:pt x="9127" y="34524"/>
                    <a:pt x="8376" y="35367"/>
                  </a:cubicBezTo>
                  <a:cubicBezTo>
                    <a:pt x="8934" y="34530"/>
                    <a:pt x="9470" y="33698"/>
                    <a:pt x="9921" y="32786"/>
                  </a:cubicBezTo>
                  <a:cubicBezTo>
                    <a:pt x="9966" y="32790"/>
                    <a:pt x="10009" y="32791"/>
                    <a:pt x="10051" y="32791"/>
                  </a:cubicBezTo>
                  <a:cubicBezTo>
                    <a:pt x="10207" y="32791"/>
                    <a:pt x="10344" y="32766"/>
                    <a:pt x="10467" y="32714"/>
                  </a:cubicBezTo>
                  <a:close/>
                  <a:moveTo>
                    <a:pt x="9188" y="32636"/>
                  </a:moveTo>
                  <a:cubicBezTo>
                    <a:pt x="9280" y="32662"/>
                    <a:pt x="9375" y="32688"/>
                    <a:pt x="9459" y="32708"/>
                  </a:cubicBezTo>
                  <a:cubicBezTo>
                    <a:pt x="8809" y="33637"/>
                    <a:pt x="8171" y="34576"/>
                    <a:pt x="7542" y="35517"/>
                  </a:cubicBezTo>
                  <a:cubicBezTo>
                    <a:pt x="7565" y="35263"/>
                    <a:pt x="7556" y="35006"/>
                    <a:pt x="7510" y="34752"/>
                  </a:cubicBezTo>
                  <a:cubicBezTo>
                    <a:pt x="7738" y="34382"/>
                    <a:pt x="7992" y="34030"/>
                    <a:pt x="8270" y="33695"/>
                  </a:cubicBezTo>
                  <a:lnTo>
                    <a:pt x="8267" y="33695"/>
                  </a:lnTo>
                  <a:cubicBezTo>
                    <a:pt x="8596" y="33392"/>
                    <a:pt x="8893" y="33057"/>
                    <a:pt x="9153" y="32696"/>
                  </a:cubicBezTo>
                  <a:lnTo>
                    <a:pt x="9156" y="32693"/>
                  </a:lnTo>
                  <a:cubicBezTo>
                    <a:pt x="9164" y="32682"/>
                    <a:pt x="9173" y="32673"/>
                    <a:pt x="9182" y="32662"/>
                  </a:cubicBezTo>
                  <a:cubicBezTo>
                    <a:pt x="9190" y="32650"/>
                    <a:pt x="9182" y="32644"/>
                    <a:pt x="9188" y="32636"/>
                  </a:cubicBezTo>
                  <a:close/>
                  <a:moveTo>
                    <a:pt x="36435" y="31311"/>
                  </a:moveTo>
                  <a:lnTo>
                    <a:pt x="36435" y="31311"/>
                  </a:lnTo>
                  <a:cubicBezTo>
                    <a:pt x="35376" y="32717"/>
                    <a:pt x="34348" y="34148"/>
                    <a:pt x="33375" y="35627"/>
                  </a:cubicBezTo>
                  <a:cubicBezTo>
                    <a:pt x="33372" y="35632"/>
                    <a:pt x="33372" y="35635"/>
                    <a:pt x="33372" y="35641"/>
                  </a:cubicBezTo>
                  <a:cubicBezTo>
                    <a:pt x="33124" y="35537"/>
                    <a:pt x="32873" y="35442"/>
                    <a:pt x="32619" y="35355"/>
                  </a:cubicBezTo>
                  <a:cubicBezTo>
                    <a:pt x="33929" y="34042"/>
                    <a:pt x="35194" y="32685"/>
                    <a:pt x="36435" y="31311"/>
                  </a:cubicBezTo>
                  <a:close/>
                  <a:moveTo>
                    <a:pt x="52190" y="15265"/>
                  </a:moveTo>
                  <a:cubicBezTo>
                    <a:pt x="50896" y="16876"/>
                    <a:pt x="49623" y="18489"/>
                    <a:pt x="48393" y="20063"/>
                  </a:cubicBezTo>
                  <a:cubicBezTo>
                    <a:pt x="47212" y="21573"/>
                    <a:pt x="46078" y="23143"/>
                    <a:pt x="44952" y="24725"/>
                  </a:cubicBezTo>
                  <a:cubicBezTo>
                    <a:pt x="43171" y="27015"/>
                    <a:pt x="41490" y="29391"/>
                    <a:pt x="39865" y="31798"/>
                  </a:cubicBezTo>
                  <a:cubicBezTo>
                    <a:pt x="38771" y="33248"/>
                    <a:pt x="37645" y="34662"/>
                    <a:pt x="36455" y="36005"/>
                  </a:cubicBezTo>
                  <a:cubicBezTo>
                    <a:pt x="36608" y="35477"/>
                    <a:pt x="36761" y="34951"/>
                    <a:pt x="36914" y="34426"/>
                  </a:cubicBezTo>
                  <a:cubicBezTo>
                    <a:pt x="36995" y="34293"/>
                    <a:pt x="37088" y="34169"/>
                    <a:pt x="37168" y="34036"/>
                  </a:cubicBezTo>
                  <a:cubicBezTo>
                    <a:pt x="38635" y="32347"/>
                    <a:pt x="39977" y="30571"/>
                    <a:pt x="41259" y="28756"/>
                  </a:cubicBezTo>
                  <a:cubicBezTo>
                    <a:pt x="41612" y="28337"/>
                    <a:pt x="41967" y="27924"/>
                    <a:pt x="42313" y="27500"/>
                  </a:cubicBezTo>
                  <a:cubicBezTo>
                    <a:pt x="44467" y="24858"/>
                    <a:pt x="46340" y="21971"/>
                    <a:pt x="48471" y="19301"/>
                  </a:cubicBezTo>
                  <a:cubicBezTo>
                    <a:pt x="49594" y="17898"/>
                    <a:pt x="50867" y="16567"/>
                    <a:pt x="52190" y="15265"/>
                  </a:cubicBezTo>
                  <a:close/>
                  <a:moveTo>
                    <a:pt x="55850" y="16910"/>
                  </a:moveTo>
                  <a:cubicBezTo>
                    <a:pt x="52885" y="20975"/>
                    <a:pt x="50042" y="25141"/>
                    <a:pt x="46941" y="28987"/>
                  </a:cubicBezTo>
                  <a:cubicBezTo>
                    <a:pt x="45610" y="30635"/>
                    <a:pt x="44230" y="32243"/>
                    <a:pt x="42905" y="33897"/>
                  </a:cubicBezTo>
                  <a:cubicBezTo>
                    <a:pt x="42403" y="34550"/>
                    <a:pt x="41880" y="35188"/>
                    <a:pt x="41343" y="35811"/>
                  </a:cubicBezTo>
                  <a:cubicBezTo>
                    <a:pt x="41069" y="36139"/>
                    <a:pt x="40929" y="36271"/>
                    <a:pt x="40883" y="36271"/>
                  </a:cubicBezTo>
                  <a:cubicBezTo>
                    <a:pt x="40856" y="36271"/>
                    <a:pt x="40861" y="36225"/>
                    <a:pt x="40890" y="36146"/>
                  </a:cubicBezTo>
                  <a:lnTo>
                    <a:pt x="40887" y="36146"/>
                  </a:lnTo>
                  <a:cubicBezTo>
                    <a:pt x="41531" y="35179"/>
                    <a:pt x="42151" y="34189"/>
                    <a:pt x="42815" y="33204"/>
                  </a:cubicBezTo>
                  <a:cubicBezTo>
                    <a:pt x="43843" y="31680"/>
                    <a:pt x="44897" y="30170"/>
                    <a:pt x="45954" y="28666"/>
                  </a:cubicBezTo>
                  <a:cubicBezTo>
                    <a:pt x="48405" y="25407"/>
                    <a:pt x="50954" y="22179"/>
                    <a:pt x="53665" y="19234"/>
                  </a:cubicBezTo>
                  <a:cubicBezTo>
                    <a:pt x="54387" y="18449"/>
                    <a:pt x="55117" y="17678"/>
                    <a:pt x="55850" y="16910"/>
                  </a:cubicBezTo>
                  <a:close/>
                  <a:moveTo>
                    <a:pt x="50994" y="18114"/>
                  </a:moveTo>
                  <a:lnTo>
                    <a:pt x="50994" y="18114"/>
                  </a:lnTo>
                  <a:cubicBezTo>
                    <a:pt x="47042" y="23738"/>
                    <a:pt x="43384" y="29607"/>
                    <a:pt x="39057" y="34841"/>
                  </a:cubicBezTo>
                  <a:cubicBezTo>
                    <a:pt x="38701" y="35270"/>
                    <a:pt x="37633" y="36419"/>
                    <a:pt x="37411" y="36419"/>
                  </a:cubicBezTo>
                  <a:cubicBezTo>
                    <a:pt x="37280" y="36419"/>
                    <a:pt x="37445" y="36018"/>
                    <a:pt x="38225" y="34830"/>
                  </a:cubicBezTo>
                  <a:cubicBezTo>
                    <a:pt x="39175" y="33386"/>
                    <a:pt x="40154" y="31966"/>
                    <a:pt x="41132" y="30546"/>
                  </a:cubicBezTo>
                  <a:cubicBezTo>
                    <a:pt x="43653" y="26896"/>
                    <a:pt x="46349" y="23383"/>
                    <a:pt x="49274" y="20048"/>
                  </a:cubicBezTo>
                  <a:cubicBezTo>
                    <a:pt x="49842" y="19399"/>
                    <a:pt x="50417" y="18755"/>
                    <a:pt x="50994" y="18114"/>
                  </a:cubicBezTo>
                  <a:close/>
                  <a:moveTo>
                    <a:pt x="1925" y="33554"/>
                  </a:moveTo>
                  <a:cubicBezTo>
                    <a:pt x="2971" y="33554"/>
                    <a:pt x="3816" y="33809"/>
                    <a:pt x="4571" y="34252"/>
                  </a:cubicBezTo>
                  <a:cubicBezTo>
                    <a:pt x="4542" y="34255"/>
                    <a:pt x="4514" y="34264"/>
                    <a:pt x="4490" y="34281"/>
                  </a:cubicBezTo>
                  <a:cubicBezTo>
                    <a:pt x="3643" y="34959"/>
                    <a:pt x="2933" y="35723"/>
                    <a:pt x="2212" y="36531"/>
                  </a:cubicBezTo>
                  <a:lnTo>
                    <a:pt x="2212" y="36531"/>
                  </a:lnTo>
                  <a:cubicBezTo>
                    <a:pt x="2601" y="36094"/>
                    <a:pt x="3137" y="35207"/>
                    <a:pt x="3489" y="34506"/>
                  </a:cubicBezTo>
                  <a:cubicBezTo>
                    <a:pt x="3566" y="34369"/>
                    <a:pt x="3453" y="34230"/>
                    <a:pt x="3327" y="34230"/>
                  </a:cubicBezTo>
                  <a:cubicBezTo>
                    <a:pt x="3284" y="34230"/>
                    <a:pt x="3239" y="34246"/>
                    <a:pt x="3200" y="34284"/>
                  </a:cubicBezTo>
                  <a:cubicBezTo>
                    <a:pt x="2455" y="34947"/>
                    <a:pt x="2159" y="35311"/>
                    <a:pt x="2103" y="35311"/>
                  </a:cubicBezTo>
                  <a:cubicBezTo>
                    <a:pt x="2040" y="35311"/>
                    <a:pt x="2285" y="34843"/>
                    <a:pt x="2530" y="33814"/>
                  </a:cubicBezTo>
                  <a:cubicBezTo>
                    <a:pt x="2557" y="33690"/>
                    <a:pt x="2458" y="33594"/>
                    <a:pt x="2351" y="33594"/>
                  </a:cubicBezTo>
                  <a:cubicBezTo>
                    <a:pt x="2310" y="33594"/>
                    <a:pt x="2269" y="33608"/>
                    <a:pt x="2233" y="33640"/>
                  </a:cubicBezTo>
                  <a:cubicBezTo>
                    <a:pt x="1748" y="34100"/>
                    <a:pt x="1531" y="34357"/>
                    <a:pt x="1466" y="34357"/>
                  </a:cubicBezTo>
                  <a:cubicBezTo>
                    <a:pt x="1401" y="34357"/>
                    <a:pt x="1483" y="34109"/>
                    <a:pt x="1601" y="33562"/>
                  </a:cubicBezTo>
                  <a:cubicBezTo>
                    <a:pt x="1711" y="33557"/>
                    <a:pt x="1819" y="33554"/>
                    <a:pt x="1925" y="33554"/>
                  </a:cubicBezTo>
                  <a:close/>
                  <a:moveTo>
                    <a:pt x="65539" y="32604"/>
                  </a:moveTo>
                  <a:cubicBezTo>
                    <a:pt x="65533" y="32679"/>
                    <a:pt x="65533" y="32754"/>
                    <a:pt x="65542" y="32826"/>
                  </a:cubicBezTo>
                  <a:cubicBezTo>
                    <a:pt x="65574" y="32997"/>
                    <a:pt x="65614" y="33167"/>
                    <a:pt x="65663" y="33331"/>
                  </a:cubicBezTo>
                  <a:cubicBezTo>
                    <a:pt x="65164" y="33903"/>
                    <a:pt x="64658" y="34472"/>
                    <a:pt x="64153" y="35038"/>
                  </a:cubicBezTo>
                  <a:cubicBezTo>
                    <a:pt x="63504" y="35500"/>
                    <a:pt x="62912" y="36054"/>
                    <a:pt x="62358" y="36657"/>
                  </a:cubicBezTo>
                  <a:cubicBezTo>
                    <a:pt x="63437" y="35323"/>
                    <a:pt x="64497" y="33972"/>
                    <a:pt x="65539" y="32604"/>
                  </a:cubicBezTo>
                  <a:close/>
                  <a:moveTo>
                    <a:pt x="1874" y="34625"/>
                  </a:moveTo>
                  <a:cubicBezTo>
                    <a:pt x="2081" y="34625"/>
                    <a:pt x="1602" y="35525"/>
                    <a:pt x="1323" y="36198"/>
                  </a:cubicBezTo>
                  <a:cubicBezTo>
                    <a:pt x="1273" y="36319"/>
                    <a:pt x="1393" y="36423"/>
                    <a:pt x="1507" y="36423"/>
                  </a:cubicBezTo>
                  <a:cubicBezTo>
                    <a:pt x="1551" y="36423"/>
                    <a:pt x="1594" y="36408"/>
                    <a:pt x="1627" y="36371"/>
                  </a:cubicBezTo>
                  <a:cubicBezTo>
                    <a:pt x="2343" y="35567"/>
                    <a:pt x="2639" y="35252"/>
                    <a:pt x="2688" y="35252"/>
                  </a:cubicBezTo>
                  <a:cubicBezTo>
                    <a:pt x="2772" y="35252"/>
                    <a:pt x="2160" y="36140"/>
                    <a:pt x="1678" y="37090"/>
                  </a:cubicBezTo>
                  <a:cubicBezTo>
                    <a:pt x="1254" y="36758"/>
                    <a:pt x="1139" y="36074"/>
                    <a:pt x="994" y="35381"/>
                  </a:cubicBezTo>
                  <a:cubicBezTo>
                    <a:pt x="1514" y="34835"/>
                    <a:pt x="1774" y="34625"/>
                    <a:pt x="1874" y="34625"/>
                  </a:cubicBezTo>
                  <a:close/>
                  <a:moveTo>
                    <a:pt x="4799" y="34405"/>
                  </a:moveTo>
                  <a:lnTo>
                    <a:pt x="4799" y="34405"/>
                  </a:lnTo>
                  <a:cubicBezTo>
                    <a:pt x="5212" y="34677"/>
                    <a:pt x="5602" y="34983"/>
                    <a:pt x="5963" y="35321"/>
                  </a:cubicBezTo>
                  <a:cubicBezTo>
                    <a:pt x="5934" y="35323"/>
                    <a:pt x="5908" y="35335"/>
                    <a:pt x="5885" y="35352"/>
                  </a:cubicBezTo>
                  <a:cubicBezTo>
                    <a:pt x="5157" y="35982"/>
                    <a:pt x="4551" y="36822"/>
                    <a:pt x="4222" y="37382"/>
                  </a:cubicBezTo>
                  <a:cubicBezTo>
                    <a:pt x="4661" y="36631"/>
                    <a:pt x="4955" y="35820"/>
                    <a:pt x="5241" y="35000"/>
                  </a:cubicBezTo>
                  <a:cubicBezTo>
                    <a:pt x="5285" y="34871"/>
                    <a:pt x="5162" y="34755"/>
                    <a:pt x="5042" y="34755"/>
                  </a:cubicBezTo>
                  <a:cubicBezTo>
                    <a:pt x="4996" y="34755"/>
                    <a:pt x="4950" y="34772"/>
                    <a:pt x="4915" y="34812"/>
                  </a:cubicBezTo>
                  <a:cubicBezTo>
                    <a:pt x="4277" y="35534"/>
                    <a:pt x="3645" y="36259"/>
                    <a:pt x="3024" y="36995"/>
                  </a:cubicBezTo>
                  <a:cubicBezTo>
                    <a:pt x="3486" y="36447"/>
                    <a:pt x="4306" y="35419"/>
                    <a:pt x="4782" y="34506"/>
                  </a:cubicBezTo>
                  <a:cubicBezTo>
                    <a:pt x="4799" y="34475"/>
                    <a:pt x="4805" y="34440"/>
                    <a:pt x="4799" y="34405"/>
                  </a:cubicBezTo>
                  <a:close/>
                  <a:moveTo>
                    <a:pt x="36530" y="33305"/>
                  </a:moveTo>
                  <a:cubicBezTo>
                    <a:pt x="35907" y="34238"/>
                    <a:pt x="35306" y="35182"/>
                    <a:pt x="34769" y="36161"/>
                  </a:cubicBezTo>
                  <a:cubicBezTo>
                    <a:pt x="34702" y="36280"/>
                    <a:pt x="34804" y="36404"/>
                    <a:pt x="34913" y="36404"/>
                  </a:cubicBezTo>
                  <a:cubicBezTo>
                    <a:pt x="34950" y="36404"/>
                    <a:pt x="34988" y="36390"/>
                    <a:pt x="35020" y="36357"/>
                  </a:cubicBezTo>
                  <a:cubicBezTo>
                    <a:pt x="35474" y="35907"/>
                    <a:pt x="35901" y="35439"/>
                    <a:pt x="36328" y="34971"/>
                  </a:cubicBezTo>
                  <a:lnTo>
                    <a:pt x="36328" y="34971"/>
                  </a:lnTo>
                  <a:cubicBezTo>
                    <a:pt x="36057" y="35549"/>
                    <a:pt x="35820" y="36138"/>
                    <a:pt x="35615" y="36741"/>
                  </a:cubicBezTo>
                  <a:cubicBezTo>
                    <a:pt x="35578" y="36858"/>
                    <a:pt x="35671" y="36934"/>
                    <a:pt x="35768" y="36934"/>
                  </a:cubicBezTo>
                  <a:cubicBezTo>
                    <a:pt x="35808" y="36934"/>
                    <a:pt x="35848" y="36922"/>
                    <a:pt x="35881" y="36894"/>
                  </a:cubicBezTo>
                  <a:cubicBezTo>
                    <a:pt x="36669" y="36236"/>
                    <a:pt x="37324" y="35494"/>
                    <a:pt x="37928" y="34706"/>
                  </a:cubicBezTo>
                  <a:lnTo>
                    <a:pt x="37928" y="34706"/>
                  </a:lnTo>
                  <a:cubicBezTo>
                    <a:pt x="37310" y="35647"/>
                    <a:pt x="36695" y="36591"/>
                    <a:pt x="36086" y="37532"/>
                  </a:cubicBezTo>
                  <a:cubicBezTo>
                    <a:pt x="35462" y="36738"/>
                    <a:pt x="34602" y="36187"/>
                    <a:pt x="33672" y="35771"/>
                  </a:cubicBezTo>
                  <a:cubicBezTo>
                    <a:pt x="34680" y="35055"/>
                    <a:pt x="35627" y="34218"/>
                    <a:pt x="36530" y="33305"/>
                  </a:cubicBezTo>
                  <a:close/>
                  <a:moveTo>
                    <a:pt x="4125" y="35050"/>
                  </a:moveTo>
                  <a:lnTo>
                    <a:pt x="4125" y="35050"/>
                  </a:lnTo>
                  <a:cubicBezTo>
                    <a:pt x="3465" y="35698"/>
                    <a:pt x="2961" y="36802"/>
                    <a:pt x="2487" y="37627"/>
                  </a:cubicBezTo>
                  <a:cubicBezTo>
                    <a:pt x="2323" y="37521"/>
                    <a:pt x="2156" y="37414"/>
                    <a:pt x="1992" y="37305"/>
                  </a:cubicBezTo>
                  <a:lnTo>
                    <a:pt x="1992" y="37305"/>
                  </a:lnTo>
                  <a:cubicBezTo>
                    <a:pt x="2702" y="36549"/>
                    <a:pt x="3384" y="35775"/>
                    <a:pt x="4125" y="35050"/>
                  </a:cubicBezTo>
                  <a:close/>
                  <a:moveTo>
                    <a:pt x="66356" y="35967"/>
                  </a:moveTo>
                  <a:lnTo>
                    <a:pt x="66356" y="35967"/>
                  </a:lnTo>
                  <a:cubicBezTo>
                    <a:pt x="66469" y="36718"/>
                    <a:pt x="66422" y="37359"/>
                    <a:pt x="66004" y="37604"/>
                  </a:cubicBezTo>
                  <a:lnTo>
                    <a:pt x="66001" y="37601"/>
                  </a:lnTo>
                  <a:cubicBezTo>
                    <a:pt x="66027" y="37570"/>
                    <a:pt x="66053" y="37538"/>
                    <a:pt x="66079" y="37506"/>
                  </a:cubicBezTo>
                  <a:cubicBezTo>
                    <a:pt x="66162" y="37393"/>
                    <a:pt x="66054" y="37283"/>
                    <a:pt x="65942" y="37283"/>
                  </a:cubicBezTo>
                  <a:cubicBezTo>
                    <a:pt x="65894" y="37283"/>
                    <a:pt x="65846" y="37303"/>
                    <a:pt x="65810" y="37350"/>
                  </a:cubicBezTo>
                  <a:cubicBezTo>
                    <a:pt x="65649" y="37570"/>
                    <a:pt x="65478" y="37786"/>
                    <a:pt x="65311" y="38006"/>
                  </a:cubicBezTo>
                  <a:cubicBezTo>
                    <a:pt x="65689" y="37336"/>
                    <a:pt x="66041" y="36657"/>
                    <a:pt x="66356" y="35967"/>
                  </a:cubicBezTo>
                  <a:close/>
                  <a:moveTo>
                    <a:pt x="6199" y="35542"/>
                  </a:moveTo>
                  <a:cubicBezTo>
                    <a:pt x="6337" y="35677"/>
                    <a:pt x="6477" y="35809"/>
                    <a:pt x="6618" y="35950"/>
                  </a:cubicBezTo>
                  <a:cubicBezTo>
                    <a:pt x="6583" y="35956"/>
                    <a:pt x="6552" y="35970"/>
                    <a:pt x="6529" y="35993"/>
                  </a:cubicBezTo>
                  <a:cubicBezTo>
                    <a:pt x="5947" y="36638"/>
                    <a:pt x="5033" y="37437"/>
                    <a:pt x="4679" y="38223"/>
                  </a:cubicBezTo>
                  <a:lnTo>
                    <a:pt x="4679" y="38223"/>
                  </a:lnTo>
                  <a:cubicBezTo>
                    <a:pt x="5092" y="37305"/>
                    <a:pt x="5750" y="36499"/>
                    <a:pt x="6191" y="35589"/>
                  </a:cubicBezTo>
                  <a:cubicBezTo>
                    <a:pt x="6199" y="35573"/>
                    <a:pt x="6194" y="35559"/>
                    <a:pt x="6199" y="35542"/>
                  </a:cubicBezTo>
                  <a:close/>
                  <a:moveTo>
                    <a:pt x="12051" y="30950"/>
                  </a:moveTo>
                  <a:cubicBezTo>
                    <a:pt x="11722" y="31619"/>
                    <a:pt x="11373" y="32275"/>
                    <a:pt x="10992" y="32910"/>
                  </a:cubicBezTo>
                  <a:lnTo>
                    <a:pt x="10799" y="33207"/>
                  </a:lnTo>
                  <a:cubicBezTo>
                    <a:pt x="9854" y="34683"/>
                    <a:pt x="8685" y="36013"/>
                    <a:pt x="7504" y="37301"/>
                  </a:cubicBezTo>
                  <a:cubicBezTo>
                    <a:pt x="7144" y="37685"/>
                    <a:pt x="6774" y="38060"/>
                    <a:pt x="6396" y="38424"/>
                  </a:cubicBezTo>
                  <a:cubicBezTo>
                    <a:pt x="6959" y="37870"/>
                    <a:pt x="7372" y="36882"/>
                    <a:pt x="7808" y="36221"/>
                  </a:cubicBezTo>
                  <a:lnTo>
                    <a:pt x="7914" y="36060"/>
                  </a:lnTo>
                  <a:cubicBezTo>
                    <a:pt x="9514" y="34556"/>
                    <a:pt x="10833" y="32777"/>
                    <a:pt x="12051" y="30950"/>
                  </a:cubicBezTo>
                  <a:close/>
                  <a:moveTo>
                    <a:pt x="38569" y="35794"/>
                  </a:moveTo>
                  <a:cubicBezTo>
                    <a:pt x="37858" y="36672"/>
                    <a:pt x="37200" y="37581"/>
                    <a:pt x="36640" y="38540"/>
                  </a:cubicBezTo>
                  <a:cubicBezTo>
                    <a:pt x="36530" y="38251"/>
                    <a:pt x="36435" y="38029"/>
                    <a:pt x="36360" y="37904"/>
                  </a:cubicBezTo>
                  <a:cubicBezTo>
                    <a:pt x="36331" y="37861"/>
                    <a:pt x="36299" y="37824"/>
                    <a:pt x="36271" y="37783"/>
                  </a:cubicBezTo>
                  <a:cubicBezTo>
                    <a:pt x="36273" y="37783"/>
                    <a:pt x="36276" y="37783"/>
                    <a:pt x="36282" y="37780"/>
                  </a:cubicBezTo>
                  <a:cubicBezTo>
                    <a:pt x="37088" y="37171"/>
                    <a:pt x="37850" y="36507"/>
                    <a:pt x="38569" y="35794"/>
                  </a:cubicBezTo>
                  <a:close/>
                  <a:moveTo>
                    <a:pt x="4541" y="35822"/>
                  </a:moveTo>
                  <a:lnTo>
                    <a:pt x="4541" y="35822"/>
                  </a:lnTo>
                  <a:cubicBezTo>
                    <a:pt x="4108" y="36320"/>
                    <a:pt x="3828" y="37286"/>
                    <a:pt x="3486" y="37873"/>
                  </a:cubicBezTo>
                  <a:cubicBezTo>
                    <a:pt x="3404" y="38013"/>
                    <a:pt x="3533" y="38171"/>
                    <a:pt x="3665" y="38171"/>
                  </a:cubicBezTo>
                  <a:cubicBezTo>
                    <a:pt x="3709" y="38171"/>
                    <a:pt x="3754" y="38153"/>
                    <a:pt x="3792" y="38109"/>
                  </a:cubicBezTo>
                  <a:cubicBezTo>
                    <a:pt x="4329" y="37483"/>
                    <a:pt x="5189" y="36764"/>
                    <a:pt x="5541" y="36042"/>
                  </a:cubicBezTo>
                  <a:lnTo>
                    <a:pt x="5541" y="36042"/>
                  </a:lnTo>
                  <a:cubicBezTo>
                    <a:pt x="5111" y="36926"/>
                    <a:pt x="4519" y="37708"/>
                    <a:pt x="4092" y="38597"/>
                  </a:cubicBezTo>
                  <a:cubicBezTo>
                    <a:pt x="3668" y="38358"/>
                    <a:pt x="3250" y="38107"/>
                    <a:pt x="2835" y="37851"/>
                  </a:cubicBezTo>
                  <a:lnTo>
                    <a:pt x="2835" y="37851"/>
                  </a:lnTo>
                  <a:cubicBezTo>
                    <a:pt x="3393" y="37163"/>
                    <a:pt x="3960" y="36487"/>
                    <a:pt x="4541" y="35822"/>
                  </a:cubicBezTo>
                  <a:close/>
                  <a:moveTo>
                    <a:pt x="15421" y="37148"/>
                  </a:moveTo>
                  <a:cubicBezTo>
                    <a:pt x="15419" y="37150"/>
                    <a:pt x="15418" y="37150"/>
                    <a:pt x="15416" y="37150"/>
                  </a:cubicBezTo>
                  <a:cubicBezTo>
                    <a:pt x="15414" y="37150"/>
                    <a:pt x="15412" y="37150"/>
                    <a:pt x="15409" y="37151"/>
                  </a:cubicBezTo>
                  <a:cubicBezTo>
                    <a:pt x="14774" y="37587"/>
                    <a:pt x="14173" y="38072"/>
                    <a:pt x="13616" y="38603"/>
                  </a:cubicBezTo>
                  <a:cubicBezTo>
                    <a:pt x="13613" y="38606"/>
                    <a:pt x="13613" y="38606"/>
                    <a:pt x="13610" y="38606"/>
                  </a:cubicBezTo>
                  <a:cubicBezTo>
                    <a:pt x="13870" y="38176"/>
                    <a:pt x="14136" y="37751"/>
                    <a:pt x="14378" y="37307"/>
                  </a:cubicBezTo>
                  <a:cubicBezTo>
                    <a:pt x="14390" y="37284"/>
                    <a:pt x="14393" y="37258"/>
                    <a:pt x="14393" y="37232"/>
                  </a:cubicBezTo>
                  <a:cubicBezTo>
                    <a:pt x="14517" y="37217"/>
                    <a:pt x="14638" y="37206"/>
                    <a:pt x="14762" y="37191"/>
                  </a:cubicBezTo>
                  <a:cubicBezTo>
                    <a:pt x="15005" y="37165"/>
                    <a:pt x="15219" y="37154"/>
                    <a:pt x="15421" y="37148"/>
                  </a:cubicBezTo>
                  <a:close/>
                  <a:moveTo>
                    <a:pt x="43390" y="31542"/>
                  </a:moveTo>
                  <a:lnTo>
                    <a:pt x="43390" y="31542"/>
                  </a:lnTo>
                  <a:cubicBezTo>
                    <a:pt x="42125" y="33317"/>
                    <a:pt x="40896" y="35101"/>
                    <a:pt x="39697" y="36877"/>
                  </a:cubicBezTo>
                  <a:cubicBezTo>
                    <a:pt x="39054" y="37708"/>
                    <a:pt x="38482" y="38467"/>
                    <a:pt x="38335" y="38794"/>
                  </a:cubicBezTo>
                  <a:cubicBezTo>
                    <a:pt x="39544" y="36103"/>
                    <a:pt x="41456" y="33802"/>
                    <a:pt x="43390" y="31542"/>
                  </a:cubicBezTo>
                  <a:close/>
                  <a:moveTo>
                    <a:pt x="6206" y="36944"/>
                  </a:moveTo>
                  <a:lnTo>
                    <a:pt x="6206" y="36944"/>
                  </a:lnTo>
                  <a:cubicBezTo>
                    <a:pt x="6208" y="36944"/>
                    <a:pt x="6102" y="37077"/>
                    <a:pt x="5888" y="37344"/>
                  </a:cubicBezTo>
                  <a:cubicBezTo>
                    <a:pt x="5556" y="37948"/>
                    <a:pt x="5273" y="38453"/>
                    <a:pt x="5053" y="39071"/>
                  </a:cubicBezTo>
                  <a:lnTo>
                    <a:pt x="5053" y="39074"/>
                  </a:lnTo>
                  <a:cubicBezTo>
                    <a:pt x="4877" y="38996"/>
                    <a:pt x="4690" y="38935"/>
                    <a:pt x="4525" y="38846"/>
                  </a:cubicBezTo>
                  <a:cubicBezTo>
                    <a:pt x="4514" y="38837"/>
                    <a:pt x="4502" y="38831"/>
                    <a:pt x="4490" y="38825"/>
                  </a:cubicBezTo>
                  <a:cubicBezTo>
                    <a:pt x="4900" y="38476"/>
                    <a:pt x="5276" y="38086"/>
                    <a:pt x="5611" y="37665"/>
                  </a:cubicBezTo>
                  <a:cubicBezTo>
                    <a:pt x="6005" y="37185"/>
                    <a:pt x="6203" y="36944"/>
                    <a:pt x="6206" y="36944"/>
                  </a:cubicBezTo>
                  <a:close/>
                  <a:moveTo>
                    <a:pt x="15591" y="37154"/>
                  </a:moveTo>
                  <a:lnTo>
                    <a:pt x="15591" y="37154"/>
                  </a:lnTo>
                  <a:cubicBezTo>
                    <a:pt x="15839" y="37157"/>
                    <a:pt x="16088" y="37177"/>
                    <a:pt x="16333" y="37214"/>
                  </a:cubicBezTo>
                  <a:cubicBezTo>
                    <a:pt x="15989" y="37506"/>
                    <a:pt x="15660" y="37818"/>
                    <a:pt x="15351" y="38150"/>
                  </a:cubicBezTo>
                  <a:cubicBezTo>
                    <a:pt x="15037" y="38441"/>
                    <a:pt x="14762" y="38773"/>
                    <a:pt x="14529" y="39134"/>
                  </a:cubicBezTo>
                  <a:cubicBezTo>
                    <a:pt x="14904" y="38551"/>
                    <a:pt x="15325" y="38023"/>
                    <a:pt x="15678" y="37419"/>
                  </a:cubicBezTo>
                  <a:cubicBezTo>
                    <a:pt x="15738" y="37318"/>
                    <a:pt x="15678" y="37203"/>
                    <a:pt x="15591" y="37154"/>
                  </a:cubicBezTo>
                  <a:close/>
                  <a:moveTo>
                    <a:pt x="13850" y="37278"/>
                  </a:moveTo>
                  <a:lnTo>
                    <a:pt x="13850" y="37278"/>
                  </a:lnTo>
                  <a:cubicBezTo>
                    <a:pt x="13143" y="37870"/>
                    <a:pt x="12470" y="38491"/>
                    <a:pt x="11809" y="39137"/>
                  </a:cubicBezTo>
                  <a:cubicBezTo>
                    <a:pt x="12066" y="38886"/>
                    <a:pt x="12741" y="38023"/>
                    <a:pt x="13085" y="37417"/>
                  </a:cubicBezTo>
                  <a:cubicBezTo>
                    <a:pt x="13105" y="37379"/>
                    <a:pt x="13111" y="37333"/>
                    <a:pt x="13102" y="37290"/>
                  </a:cubicBezTo>
                  <a:lnTo>
                    <a:pt x="13102" y="37290"/>
                  </a:lnTo>
                  <a:cubicBezTo>
                    <a:pt x="13190" y="37294"/>
                    <a:pt x="13279" y="37296"/>
                    <a:pt x="13367" y="37296"/>
                  </a:cubicBezTo>
                  <a:cubicBezTo>
                    <a:pt x="13528" y="37296"/>
                    <a:pt x="13690" y="37289"/>
                    <a:pt x="13850" y="37278"/>
                  </a:cubicBezTo>
                  <a:close/>
                  <a:moveTo>
                    <a:pt x="16861" y="38612"/>
                  </a:moveTo>
                  <a:cubicBezTo>
                    <a:pt x="16968" y="38612"/>
                    <a:pt x="16955" y="38798"/>
                    <a:pt x="16708" y="39308"/>
                  </a:cubicBezTo>
                  <a:cubicBezTo>
                    <a:pt x="16437" y="39374"/>
                    <a:pt x="16165" y="39429"/>
                    <a:pt x="15891" y="39478"/>
                  </a:cubicBezTo>
                  <a:cubicBezTo>
                    <a:pt x="16213" y="39089"/>
                    <a:pt x="16691" y="38612"/>
                    <a:pt x="16861" y="38612"/>
                  </a:cubicBezTo>
                  <a:close/>
                  <a:moveTo>
                    <a:pt x="7782" y="37601"/>
                  </a:moveTo>
                  <a:cubicBezTo>
                    <a:pt x="7669" y="37757"/>
                    <a:pt x="7556" y="37913"/>
                    <a:pt x="7444" y="38069"/>
                  </a:cubicBezTo>
                  <a:lnTo>
                    <a:pt x="7441" y="38069"/>
                  </a:lnTo>
                  <a:cubicBezTo>
                    <a:pt x="7210" y="38225"/>
                    <a:pt x="7103" y="38372"/>
                    <a:pt x="7123" y="38511"/>
                  </a:cubicBezTo>
                  <a:cubicBezTo>
                    <a:pt x="6915" y="38799"/>
                    <a:pt x="6705" y="39088"/>
                    <a:pt x="6500" y="39377"/>
                  </a:cubicBezTo>
                  <a:cubicBezTo>
                    <a:pt x="6465" y="39429"/>
                    <a:pt x="6462" y="39498"/>
                    <a:pt x="6497" y="39550"/>
                  </a:cubicBezTo>
                  <a:cubicBezTo>
                    <a:pt x="6156" y="39472"/>
                    <a:pt x="5818" y="39374"/>
                    <a:pt x="5486" y="39258"/>
                  </a:cubicBezTo>
                  <a:cubicBezTo>
                    <a:pt x="5709" y="38941"/>
                    <a:pt x="5934" y="38618"/>
                    <a:pt x="6159" y="38291"/>
                  </a:cubicBezTo>
                  <a:lnTo>
                    <a:pt x="6159" y="38291"/>
                  </a:lnTo>
                  <a:cubicBezTo>
                    <a:pt x="6044" y="38522"/>
                    <a:pt x="5931" y="38753"/>
                    <a:pt x="5830" y="38993"/>
                  </a:cubicBezTo>
                  <a:cubicBezTo>
                    <a:pt x="5770" y="39136"/>
                    <a:pt x="5903" y="39239"/>
                    <a:pt x="6031" y="39239"/>
                  </a:cubicBezTo>
                  <a:cubicBezTo>
                    <a:pt x="6081" y="39239"/>
                    <a:pt x="6131" y="39224"/>
                    <a:pt x="6168" y="39189"/>
                  </a:cubicBezTo>
                  <a:cubicBezTo>
                    <a:pt x="6716" y="38681"/>
                    <a:pt x="7253" y="38150"/>
                    <a:pt x="7782" y="37601"/>
                  </a:cubicBezTo>
                  <a:close/>
                  <a:moveTo>
                    <a:pt x="16069" y="38133"/>
                  </a:moveTo>
                  <a:cubicBezTo>
                    <a:pt x="16174" y="38133"/>
                    <a:pt x="16057" y="38430"/>
                    <a:pt x="15551" y="39267"/>
                  </a:cubicBezTo>
                  <a:cubicBezTo>
                    <a:pt x="15493" y="39362"/>
                    <a:pt x="15536" y="39466"/>
                    <a:pt x="15608" y="39527"/>
                  </a:cubicBezTo>
                  <a:cubicBezTo>
                    <a:pt x="15305" y="39573"/>
                    <a:pt x="14999" y="39614"/>
                    <a:pt x="14693" y="39637"/>
                  </a:cubicBezTo>
                  <a:cubicBezTo>
                    <a:pt x="14531" y="39654"/>
                    <a:pt x="14361" y="39668"/>
                    <a:pt x="14197" y="39686"/>
                  </a:cubicBezTo>
                  <a:cubicBezTo>
                    <a:pt x="14867" y="39200"/>
                    <a:pt x="15868" y="38133"/>
                    <a:pt x="16069" y="38133"/>
                  </a:cubicBezTo>
                  <a:close/>
                  <a:moveTo>
                    <a:pt x="14959" y="37938"/>
                  </a:moveTo>
                  <a:cubicBezTo>
                    <a:pt x="15084" y="37938"/>
                    <a:pt x="14009" y="39205"/>
                    <a:pt x="13830" y="39484"/>
                  </a:cubicBezTo>
                  <a:cubicBezTo>
                    <a:pt x="13781" y="39562"/>
                    <a:pt x="13795" y="39660"/>
                    <a:pt x="13862" y="39720"/>
                  </a:cubicBezTo>
                  <a:cubicBezTo>
                    <a:pt x="13576" y="39749"/>
                    <a:pt x="13281" y="39775"/>
                    <a:pt x="12984" y="39798"/>
                  </a:cubicBezTo>
                  <a:cubicBezTo>
                    <a:pt x="13463" y="39313"/>
                    <a:pt x="13942" y="38831"/>
                    <a:pt x="14442" y="38364"/>
                  </a:cubicBezTo>
                  <a:cubicBezTo>
                    <a:pt x="14769" y="38058"/>
                    <a:pt x="14921" y="37938"/>
                    <a:pt x="14959" y="37938"/>
                  </a:cubicBezTo>
                  <a:close/>
                  <a:moveTo>
                    <a:pt x="10802" y="35207"/>
                  </a:moveTo>
                  <a:cubicBezTo>
                    <a:pt x="10820" y="35207"/>
                    <a:pt x="10740" y="35417"/>
                    <a:pt x="10495" y="35988"/>
                  </a:cubicBezTo>
                  <a:cubicBezTo>
                    <a:pt x="10241" y="36582"/>
                    <a:pt x="9892" y="37137"/>
                    <a:pt x="9537" y="37679"/>
                  </a:cubicBezTo>
                  <a:cubicBezTo>
                    <a:pt x="8974" y="38358"/>
                    <a:pt x="8448" y="39071"/>
                    <a:pt x="7963" y="39807"/>
                  </a:cubicBezTo>
                  <a:cubicBezTo>
                    <a:pt x="7614" y="39767"/>
                    <a:pt x="7268" y="39715"/>
                    <a:pt x="6930" y="39651"/>
                  </a:cubicBezTo>
                  <a:cubicBezTo>
                    <a:pt x="6959" y="39637"/>
                    <a:pt x="6979" y="39619"/>
                    <a:pt x="7008" y="39605"/>
                  </a:cubicBezTo>
                  <a:cubicBezTo>
                    <a:pt x="7032" y="39594"/>
                    <a:pt x="7016" y="39561"/>
                    <a:pt x="6993" y="39561"/>
                  </a:cubicBezTo>
                  <a:cubicBezTo>
                    <a:pt x="6991" y="39561"/>
                    <a:pt x="6990" y="39561"/>
                    <a:pt x="6988" y="39562"/>
                  </a:cubicBezTo>
                  <a:cubicBezTo>
                    <a:pt x="6915" y="39573"/>
                    <a:pt x="6875" y="39582"/>
                    <a:pt x="6835" y="39588"/>
                  </a:cubicBezTo>
                  <a:lnTo>
                    <a:pt x="6864" y="39550"/>
                  </a:lnTo>
                  <a:cubicBezTo>
                    <a:pt x="7071" y="39489"/>
                    <a:pt x="7450" y="39377"/>
                    <a:pt x="7580" y="39290"/>
                  </a:cubicBezTo>
                  <a:cubicBezTo>
                    <a:pt x="8128" y="38926"/>
                    <a:pt x="8576" y="38398"/>
                    <a:pt x="9011" y="37913"/>
                  </a:cubicBezTo>
                  <a:cubicBezTo>
                    <a:pt x="9274" y="37622"/>
                    <a:pt x="9629" y="37125"/>
                    <a:pt x="9863" y="36810"/>
                  </a:cubicBezTo>
                  <a:cubicBezTo>
                    <a:pt x="10123" y="36464"/>
                    <a:pt x="10757" y="35207"/>
                    <a:pt x="10802" y="35207"/>
                  </a:cubicBezTo>
                  <a:close/>
                  <a:moveTo>
                    <a:pt x="13764" y="37831"/>
                  </a:moveTo>
                  <a:cubicBezTo>
                    <a:pt x="13356" y="38194"/>
                    <a:pt x="12876" y="39093"/>
                    <a:pt x="12542" y="39703"/>
                  </a:cubicBezTo>
                  <a:cubicBezTo>
                    <a:pt x="12519" y="39744"/>
                    <a:pt x="12513" y="39790"/>
                    <a:pt x="12522" y="39833"/>
                  </a:cubicBezTo>
                  <a:cubicBezTo>
                    <a:pt x="12216" y="39856"/>
                    <a:pt x="11907" y="39876"/>
                    <a:pt x="11595" y="39891"/>
                  </a:cubicBezTo>
                  <a:cubicBezTo>
                    <a:pt x="12304" y="39185"/>
                    <a:pt x="13016" y="38493"/>
                    <a:pt x="13764" y="37831"/>
                  </a:cubicBezTo>
                  <a:close/>
                  <a:moveTo>
                    <a:pt x="10917" y="36508"/>
                  </a:moveTo>
                  <a:cubicBezTo>
                    <a:pt x="10977" y="36508"/>
                    <a:pt x="10931" y="36695"/>
                    <a:pt x="10703" y="37200"/>
                  </a:cubicBezTo>
                  <a:lnTo>
                    <a:pt x="10703" y="37197"/>
                  </a:lnTo>
                  <a:cubicBezTo>
                    <a:pt x="10406" y="37853"/>
                    <a:pt x="10028" y="38476"/>
                    <a:pt x="9647" y="39091"/>
                  </a:cubicBezTo>
                  <a:cubicBezTo>
                    <a:pt x="9499" y="39334"/>
                    <a:pt x="9352" y="39573"/>
                    <a:pt x="9208" y="39813"/>
                  </a:cubicBezTo>
                  <a:cubicBezTo>
                    <a:pt x="9196" y="39842"/>
                    <a:pt x="9193" y="39871"/>
                    <a:pt x="9196" y="39899"/>
                  </a:cubicBezTo>
                  <a:cubicBezTo>
                    <a:pt x="8928" y="39888"/>
                    <a:pt x="8659" y="39871"/>
                    <a:pt x="8394" y="39847"/>
                  </a:cubicBezTo>
                  <a:cubicBezTo>
                    <a:pt x="8838" y="39267"/>
                    <a:pt x="9263" y="38678"/>
                    <a:pt x="9658" y="38072"/>
                  </a:cubicBezTo>
                  <a:cubicBezTo>
                    <a:pt x="9670" y="38057"/>
                    <a:pt x="9681" y="38040"/>
                    <a:pt x="9693" y="38026"/>
                  </a:cubicBezTo>
                  <a:cubicBezTo>
                    <a:pt x="9925" y="37735"/>
                    <a:pt x="10765" y="36508"/>
                    <a:pt x="10917" y="36508"/>
                  </a:cubicBezTo>
                  <a:close/>
                  <a:moveTo>
                    <a:pt x="12365" y="38005"/>
                  </a:moveTo>
                  <a:cubicBezTo>
                    <a:pt x="12491" y="38005"/>
                    <a:pt x="11398" y="39439"/>
                    <a:pt x="11249" y="39703"/>
                  </a:cubicBezTo>
                  <a:cubicBezTo>
                    <a:pt x="11214" y="39767"/>
                    <a:pt x="11223" y="39847"/>
                    <a:pt x="11269" y="39902"/>
                  </a:cubicBezTo>
                  <a:cubicBezTo>
                    <a:pt x="11053" y="39911"/>
                    <a:pt x="10842" y="39917"/>
                    <a:pt x="10625" y="39920"/>
                  </a:cubicBezTo>
                  <a:cubicBezTo>
                    <a:pt x="11058" y="39339"/>
                    <a:pt x="11535" y="38791"/>
                    <a:pt x="12046" y="38277"/>
                  </a:cubicBezTo>
                  <a:cubicBezTo>
                    <a:pt x="12238" y="38085"/>
                    <a:pt x="12335" y="38005"/>
                    <a:pt x="12365" y="38005"/>
                  </a:cubicBezTo>
                  <a:close/>
                  <a:moveTo>
                    <a:pt x="11796" y="37384"/>
                  </a:moveTo>
                  <a:cubicBezTo>
                    <a:pt x="11154" y="38054"/>
                    <a:pt x="10636" y="39118"/>
                    <a:pt x="10129" y="39922"/>
                  </a:cubicBezTo>
                  <a:cubicBezTo>
                    <a:pt x="9947" y="39922"/>
                    <a:pt x="9771" y="39922"/>
                    <a:pt x="9592" y="39917"/>
                  </a:cubicBezTo>
                  <a:cubicBezTo>
                    <a:pt x="10297" y="39045"/>
                    <a:pt x="11017" y="38193"/>
                    <a:pt x="11796" y="37384"/>
                  </a:cubicBezTo>
                  <a:close/>
                  <a:moveTo>
                    <a:pt x="65978" y="28885"/>
                  </a:moveTo>
                  <a:cubicBezTo>
                    <a:pt x="65978" y="28894"/>
                    <a:pt x="65978" y="28906"/>
                    <a:pt x="65981" y="28914"/>
                  </a:cubicBezTo>
                  <a:cubicBezTo>
                    <a:pt x="65063" y="30563"/>
                    <a:pt x="63022" y="32272"/>
                    <a:pt x="61870" y="33666"/>
                  </a:cubicBezTo>
                  <a:lnTo>
                    <a:pt x="61867" y="33666"/>
                  </a:lnTo>
                  <a:cubicBezTo>
                    <a:pt x="59982" y="35950"/>
                    <a:pt x="58059" y="38213"/>
                    <a:pt x="56064" y="40402"/>
                  </a:cubicBezTo>
                  <a:cubicBezTo>
                    <a:pt x="55997" y="40474"/>
                    <a:pt x="55937" y="40549"/>
                    <a:pt x="55870" y="40621"/>
                  </a:cubicBezTo>
                  <a:cubicBezTo>
                    <a:pt x="56145" y="40255"/>
                    <a:pt x="56413" y="39894"/>
                    <a:pt x="56685" y="39539"/>
                  </a:cubicBezTo>
                  <a:cubicBezTo>
                    <a:pt x="57978" y="37844"/>
                    <a:pt x="59280" y="36155"/>
                    <a:pt x="60594" y="34472"/>
                  </a:cubicBezTo>
                  <a:cubicBezTo>
                    <a:pt x="61174" y="33811"/>
                    <a:pt x="61745" y="33141"/>
                    <a:pt x="62306" y="32462"/>
                  </a:cubicBezTo>
                  <a:cubicBezTo>
                    <a:pt x="63498" y="31325"/>
                    <a:pt x="65268" y="29933"/>
                    <a:pt x="65978" y="28885"/>
                  </a:cubicBezTo>
                  <a:close/>
                  <a:moveTo>
                    <a:pt x="40993" y="33870"/>
                  </a:moveTo>
                  <a:cubicBezTo>
                    <a:pt x="39628" y="35813"/>
                    <a:pt x="38405" y="37823"/>
                    <a:pt x="37457" y="39931"/>
                  </a:cubicBezTo>
                  <a:cubicBezTo>
                    <a:pt x="37399" y="40056"/>
                    <a:pt x="37493" y="40187"/>
                    <a:pt x="37606" y="40187"/>
                  </a:cubicBezTo>
                  <a:cubicBezTo>
                    <a:pt x="37645" y="40187"/>
                    <a:pt x="37685" y="40172"/>
                    <a:pt x="37723" y="40136"/>
                  </a:cubicBezTo>
                  <a:cubicBezTo>
                    <a:pt x="38730" y="39152"/>
                    <a:pt x="39568" y="38069"/>
                    <a:pt x="40347" y="36946"/>
                  </a:cubicBezTo>
                  <a:cubicBezTo>
                    <a:pt x="41282" y="36299"/>
                    <a:pt x="42169" y="35502"/>
                    <a:pt x="43017" y="34616"/>
                  </a:cubicBezTo>
                  <a:lnTo>
                    <a:pt x="43017" y="34616"/>
                  </a:lnTo>
                  <a:cubicBezTo>
                    <a:pt x="41300" y="36842"/>
                    <a:pt x="39475" y="38970"/>
                    <a:pt x="37373" y="40789"/>
                  </a:cubicBezTo>
                  <a:cubicBezTo>
                    <a:pt x="37157" y="40090"/>
                    <a:pt x="36963" y="39472"/>
                    <a:pt x="36796" y="38981"/>
                  </a:cubicBezTo>
                  <a:cubicBezTo>
                    <a:pt x="38334" y="37381"/>
                    <a:pt x="39708" y="35659"/>
                    <a:pt x="40993" y="33870"/>
                  </a:cubicBezTo>
                  <a:close/>
                  <a:moveTo>
                    <a:pt x="48994" y="28175"/>
                  </a:moveTo>
                  <a:lnTo>
                    <a:pt x="48994" y="28175"/>
                  </a:lnTo>
                  <a:cubicBezTo>
                    <a:pt x="47637" y="29942"/>
                    <a:pt x="46323" y="31755"/>
                    <a:pt x="45024" y="33574"/>
                  </a:cubicBezTo>
                  <a:cubicBezTo>
                    <a:pt x="43474" y="35332"/>
                    <a:pt x="41970" y="37116"/>
                    <a:pt x="40607" y="38978"/>
                  </a:cubicBezTo>
                  <a:cubicBezTo>
                    <a:pt x="40245" y="39472"/>
                    <a:pt x="38898" y="40868"/>
                    <a:pt x="38731" y="40868"/>
                  </a:cubicBezTo>
                  <a:cubicBezTo>
                    <a:pt x="38642" y="40868"/>
                    <a:pt x="38888" y="40472"/>
                    <a:pt x="39796" y="39334"/>
                  </a:cubicBezTo>
                  <a:cubicBezTo>
                    <a:pt x="40927" y="37916"/>
                    <a:pt x="42094" y="36527"/>
                    <a:pt x="43251" y="35136"/>
                  </a:cubicBezTo>
                  <a:cubicBezTo>
                    <a:pt x="45177" y="32823"/>
                    <a:pt x="47091" y="30502"/>
                    <a:pt x="48994" y="28175"/>
                  </a:cubicBezTo>
                  <a:close/>
                  <a:moveTo>
                    <a:pt x="65662" y="30178"/>
                  </a:moveTo>
                  <a:cubicBezTo>
                    <a:pt x="65773" y="30178"/>
                    <a:pt x="65661" y="30504"/>
                    <a:pt x="65141" y="31403"/>
                  </a:cubicBezTo>
                  <a:cubicBezTo>
                    <a:pt x="63735" y="33834"/>
                    <a:pt x="61503" y="35895"/>
                    <a:pt x="59577" y="37913"/>
                  </a:cubicBezTo>
                  <a:cubicBezTo>
                    <a:pt x="58567" y="38976"/>
                    <a:pt x="57559" y="40076"/>
                    <a:pt x="56563" y="41190"/>
                  </a:cubicBezTo>
                  <a:lnTo>
                    <a:pt x="56563" y="41187"/>
                  </a:lnTo>
                  <a:cubicBezTo>
                    <a:pt x="58893" y="38271"/>
                    <a:pt x="61203" y="35326"/>
                    <a:pt x="63573" y="32393"/>
                  </a:cubicBezTo>
                  <a:cubicBezTo>
                    <a:pt x="63884" y="32009"/>
                    <a:pt x="65399" y="30178"/>
                    <a:pt x="65662" y="30178"/>
                  </a:cubicBezTo>
                  <a:close/>
                  <a:moveTo>
                    <a:pt x="66244" y="26642"/>
                  </a:moveTo>
                  <a:lnTo>
                    <a:pt x="66244" y="26642"/>
                  </a:lnTo>
                  <a:cubicBezTo>
                    <a:pt x="65602" y="27787"/>
                    <a:pt x="64856" y="28915"/>
                    <a:pt x="64038" y="30029"/>
                  </a:cubicBezTo>
                  <a:cubicBezTo>
                    <a:pt x="62300" y="31882"/>
                    <a:pt x="60692" y="33848"/>
                    <a:pt x="59127" y="35858"/>
                  </a:cubicBezTo>
                  <a:lnTo>
                    <a:pt x="59124" y="35858"/>
                  </a:lnTo>
                  <a:cubicBezTo>
                    <a:pt x="57398" y="37717"/>
                    <a:pt x="55625" y="39515"/>
                    <a:pt x="53979" y="41251"/>
                  </a:cubicBezTo>
                  <a:cubicBezTo>
                    <a:pt x="54961" y="40035"/>
                    <a:pt x="55931" y="38811"/>
                    <a:pt x="56892" y="37572"/>
                  </a:cubicBezTo>
                  <a:cubicBezTo>
                    <a:pt x="58160" y="36091"/>
                    <a:pt x="59427" y="34610"/>
                    <a:pt x="60698" y="33126"/>
                  </a:cubicBezTo>
                  <a:cubicBezTo>
                    <a:pt x="62442" y="31100"/>
                    <a:pt x="64933" y="28979"/>
                    <a:pt x="66244" y="26642"/>
                  </a:cubicBezTo>
                  <a:close/>
                  <a:moveTo>
                    <a:pt x="65591" y="38130"/>
                  </a:moveTo>
                  <a:cubicBezTo>
                    <a:pt x="65623" y="38335"/>
                    <a:pt x="65675" y="38580"/>
                    <a:pt x="65727" y="38843"/>
                  </a:cubicBezTo>
                  <a:cubicBezTo>
                    <a:pt x="64819" y="39609"/>
                    <a:pt x="63949" y="40473"/>
                    <a:pt x="63113" y="41403"/>
                  </a:cubicBezTo>
                  <a:lnTo>
                    <a:pt x="63113" y="41403"/>
                  </a:lnTo>
                  <a:cubicBezTo>
                    <a:pt x="63387" y="41018"/>
                    <a:pt x="63660" y="40630"/>
                    <a:pt x="63922" y="40240"/>
                  </a:cubicBezTo>
                  <a:cubicBezTo>
                    <a:pt x="64497" y="39553"/>
                    <a:pt x="65045" y="38843"/>
                    <a:pt x="65591" y="38130"/>
                  </a:cubicBezTo>
                  <a:close/>
                  <a:moveTo>
                    <a:pt x="59855" y="31435"/>
                  </a:moveTo>
                  <a:cubicBezTo>
                    <a:pt x="58570" y="33002"/>
                    <a:pt x="57317" y="34596"/>
                    <a:pt x="56029" y="36158"/>
                  </a:cubicBezTo>
                  <a:cubicBezTo>
                    <a:pt x="54540" y="37962"/>
                    <a:pt x="53047" y="39769"/>
                    <a:pt x="51549" y="41577"/>
                  </a:cubicBezTo>
                  <a:cubicBezTo>
                    <a:pt x="54239" y="38144"/>
                    <a:pt x="57051" y="34789"/>
                    <a:pt x="59855" y="31435"/>
                  </a:cubicBezTo>
                  <a:close/>
                  <a:moveTo>
                    <a:pt x="40976" y="37495"/>
                  </a:moveTo>
                  <a:lnTo>
                    <a:pt x="40976" y="37495"/>
                  </a:lnTo>
                  <a:cubicBezTo>
                    <a:pt x="39856" y="38883"/>
                    <a:pt x="38748" y="40280"/>
                    <a:pt x="37645" y="41681"/>
                  </a:cubicBezTo>
                  <a:lnTo>
                    <a:pt x="37417" y="40936"/>
                  </a:lnTo>
                  <a:cubicBezTo>
                    <a:pt x="37425" y="40933"/>
                    <a:pt x="37434" y="40936"/>
                    <a:pt x="37440" y="40930"/>
                  </a:cubicBezTo>
                  <a:cubicBezTo>
                    <a:pt x="38696" y="39882"/>
                    <a:pt x="39856" y="38716"/>
                    <a:pt x="40976" y="37495"/>
                  </a:cubicBezTo>
                  <a:close/>
                  <a:moveTo>
                    <a:pt x="50620" y="27915"/>
                  </a:moveTo>
                  <a:cubicBezTo>
                    <a:pt x="48266" y="30770"/>
                    <a:pt x="45971" y="33679"/>
                    <a:pt x="43774" y="36631"/>
                  </a:cubicBezTo>
                  <a:cubicBezTo>
                    <a:pt x="42546" y="38286"/>
                    <a:pt x="40229" y="40425"/>
                    <a:pt x="39251" y="41857"/>
                  </a:cubicBezTo>
                  <a:lnTo>
                    <a:pt x="39251" y="41857"/>
                  </a:lnTo>
                  <a:cubicBezTo>
                    <a:pt x="40731" y="39688"/>
                    <a:pt x="42410" y="37689"/>
                    <a:pt x="44037" y="35641"/>
                  </a:cubicBezTo>
                  <a:cubicBezTo>
                    <a:pt x="46254" y="33106"/>
                    <a:pt x="48364" y="30470"/>
                    <a:pt x="50593" y="27944"/>
                  </a:cubicBezTo>
                  <a:cubicBezTo>
                    <a:pt x="50602" y="27935"/>
                    <a:pt x="50611" y="27925"/>
                    <a:pt x="50620" y="27915"/>
                  </a:cubicBezTo>
                  <a:close/>
                  <a:moveTo>
                    <a:pt x="70279" y="11347"/>
                  </a:moveTo>
                  <a:cubicBezTo>
                    <a:pt x="70453" y="11497"/>
                    <a:pt x="70614" y="11659"/>
                    <a:pt x="70765" y="11832"/>
                  </a:cubicBezTo>
                  <a:cubicBezTo>
                    <a:pt x="68071" y="14020"/>
                    <a:pt x="66030" y="17011"/>
                    <a:pt x="63616" y="19491"/>
                  </a:cubicBezTo>
                  <a:cubicBezTo>
                    <a:pt x="59621" y="23588"/>
                    <a:pt x="55648" y="27641"/>
                    <a:pt x="51959" y="32021"/>
                  </a:cubicBezTo>
                  <a:cubicBezTo>
                    <a:pt x="49305" y="35168"/>
                    <a:pt x="46883" y="38534"/>
                    <a:pt x="44014" y="41484"/>
                  </a:cubicBezTo>
                  <a:cubicBezTo>
                    <a:pt x="43731" y="41773"/>
                    <a:pt x="43396" y="42088"/>
                    <a:pt x="43038" y="42420"/>
                  </a:cubicBezTo>
                  <a:cubicBezTo>
                    <a:pt x="46846" y="37746"/>
                    <a:pt x="50189" y="32737"/>
                    <a:pt x="54193" y="28190"/>
                  </a:cubicBezTo>
                  <a:cubicBezTo>
                    <a:pt x="59335" y="22349"/>
                    <a:pt x="65380" y="17418"/>
                    <a:pt x="70279" y="11347"/>
                  </a:cubicBezTo>
                  <a:close/>
                  <a:moveTo>
                    <a:pt x="41609" y="38335"/>
                  </a:moveTo>
                  <a:lnTo>
                    <a:pt x="41609" y="38335"/>
                  </a:lnTo>
                  <a:cubicBezTo>
                    <a:pt x="40491" y="39862"/>
                    <a:pt x="39354" y="41375"/>
                    <a:pt x="38167" y="42844"/>
                  </a:cubicBezTo>
                  <a:cubicBezTo>
                    <a:pt x="38089" y="42929"/>
                    <a:pt x="38164" y="43039"/>
                    <a:pt x="38251" y="43039"/>
                  </a:cubicBezTo>
                  <a:cubicBezTo>
                    <a:pt x="38277" y="43039"/>
                    <a:pt x="38304" y="43029"/>
                    <a:pt x="38329" y="43006"/>
                  </a:cubicBezTo>
                  <a:cubicBezTo>
                    <a:pt x="39010" y="42428"/>
                    <a:pt x="39660" y="41811"/>
                    <a:pt x="40295" y="41175"/>
                  </a:cubicBezTo>
                  <a:lnTo>
                    <a:pt x="40295" y="41175"/>
                  </a:lnTo>
                  <a:cubicBezTo>
                    <a:pt x="39617" y="42094"/>
                    <a:pt x="38961" y="43032"/>
                    <a:pt x="38367" y="44025"/>
                  </a:cubicBezTo>
                  <a:cubicBezTo>
                    <a:pt x="38153" y="43352"/>
                    <a:pt x="37951" y="42694"/>
                    <a:pt x="37760" y="42068"/>
                  </a:cubicBezTo>
                  <a:lnTo>
                    <a:pt x="37763" y="42068"/>
                  </a:lnTo>
                  <a:cubicBezTo>
                    <a:pt x="39475" y="41320"/>
                    <a:pt x="40393" y="39741"/>
                    <a:pt x="41609" y="38335"/>
                  </a:cubicBezTo>
                  <a:close/>
                  <a:moveTo>
                    <a:pt x="47830" y="35023"/>
                  </a:moveTo>
                  <a:lnTo>
                    <a:pt x="47830" y="35023"/>
                  </a:lnTo>
                  <a:cubicBezTo>
                    <a:pt x="47279" y="35768"/>
                    <a:pt x="46730" y="36516"/>
                    <a:pt x="46173" y="37255"/>
                  </a:cubicBezTo>
                  <a:cubicBezTo>
                    <a:pt x="44891" y="38961"/>
                    <a:pt x="43552" y="40598"/>
                    <a:pt x="42157" y="42215"/>
                  </a:cubicBezTo>
                  <a:cubicBezTo>
                    <a:pt x="41470" y="42997"/>
                    <a:pt x="40754" y="43754"/>
                    <a:pt x="40012" y="44484"/>
                  </a:cubicBezTo>
                  <a:cubicBezTo>
                    <a:pt x="40644" y="43618"/>
                    <a:pt x="41306" y="42775"/>
                    <a:pt x="42001" y="41955"/>
                  </a:cubicBezTo>
                  <a:cubicBezTo>
                    <a:pt x="43907" y="39628"/>
                    <a:pt x="45850" y="37316"/>
                    <a:pt x="47830" y="35023"/>
                  </a:cubicBezTo>
                  <a:close/>
                  <a:moveTo>
                    <a:pt x="64716" y="35248"/>
                  </a:moveTo>
                  <a:cubicBezTo>
                    <a:pt x="63818" y="36496"/>
                    <a:pt x="62072" y="38641"/>
                    <a:pt x="61653" y="39172"/>
                  </a:cubicBezTo>
                  <a:cubicBezTo>
                    <a:pt x="60172" y="41048"/>
                    <a:pt x="58570" y="42830"/>
                    <a:pt x="56956" y="44594"/>
                  </a:cubicBezTo>
                  <a:cubicBezTo>
                    <a:pt x="58830" y="41825"/>
                    <a:pt x="60752" y="39094"/>
                    <a:pt x="62903" y="36608"/>
                  </a:cubicBezTo>
                  <a:cubicBezTo>
                    <a:pt x="63302" y="36146"/>
                    <a:pt x="64199" y="35422"/>
                    <a:pt x="64716" y="35248"/>
                  </a:cubicBezTo>
                  <a:close/>
                  <a:moveTo>
                    <a:pt x="53229" y="35809"/>
                  </a:moveTo>
                  <a:lnTo>
                    <a:pt x="53229" y="35811"/>
                  </a:lnTo>
                  <a:cubicBezTo>
                    <a:pt x="50867" y="38791"/>
                    <a:pt x="48526" y="41808"/>
                    <a:pt x="46101" y="44839"/>
                  </a:cubicBezTo>
                  <a:cubicBezTo>
                    <a:pt x="45798" y="45217"/>
                    <a:pt x="45460" y="45636"/>
                    <a:pt x="45108" y="46069"/>
                  </a:cubicBezTo>
                  <a:cubicBezTo>
                    <a:pt x="45832" y="45160"/>
                    <a:pt x="46548" y="44244"/>
                    <a:pt x="47259" y="43329"/>
                  </a:cubicBezTo>
                  <a:cubicBezTo>
                    <a:pt x="49227" y="40797"/>
                    <a:pt x="51217" y="38291"/>
                    <a:pt x="53229" y="35809"/>
                  </a:cubicBezTo>
                  <a:close/>
                  <a:moveTo>
                    <a:pt x="52112" y="30150"/>
                  </a:moveTo>
                  <a:lnTo>
                    <a:pt x="52112" y="30150"/>
                  </a:lnTo>
                  <a:cubicBezTo>
                    <a:pt x="47625" y="35451"/>
                    <a:pt x="43976" y="41360"/>
                    <a:pt x="39152" y="46424"/>
                  </a:cubicBezTo>
                  <a:cubicBezTo>
                    <a:pt x="39074" y="46190"/>
                    <a:pt x="38993" y="45956"/>
                    <a:pt x="38915" y="45722"/>
                  </a:cubicBezTo>
                  <a:lnTo>
                    <a:pt x="38915" y="45722"/>
                  </a:lnTo>
                  <a:cubicBezTo>
                    <a:pt x="38942" y="45743"/>
                    <a:pt x="38974" y="45754"/>
                    <a:pt x="39005" y="45754"/>
                  </a:cubicBezTo>
                  <a:cubicBezTo>
                    <a:pt x="39039" y="45754"/>
                    <a:pt x="39073" y="45742"/>
                    <a:pt x="39100" y="45717"/>
                  </a:cubicBezTo>
                  <a:cubicBezTo>
                    <a:pt x="43445" y="41649"/>
                    <a:pt x="46857" y="36799"/>
                    <a:pt x="50414" y="32064"/>
                  </a:cubicBezTo>
                  <a:cubicBezTo>
                    <a:pt x="50980" y="31426"/>
                    <a:pt x="51543" y="30785"/>
                    <a:pt x="52112" y="30150"/>
                  </a:cubicBezTo>
                  <a:close/>
                  <a:moveTo>
                    <a:pt x="63443" y="20083"/>
                  </a:moveTo>
                  <a:lnTo>
                    <a:pt x="63443" y="20083"/>
                  </a:lnTo>
                  <a:cubicBezTo>
                    <a:pt x="60859" y="22869"/>
                    <a:pt x="58232" y="25615"/>
                    <a:pt x="55738" y="28481"/>
                  </a:cubicBezTo>
                  <a:cubicBezTo>
                    <a:pt x="50391" y="34625"/>
                    <a:pt x="45570" y="41005"/>
                    <a:pt x="39897" y="46860"/>
                  </a:cubicBezTo>
                  <a:cubicBezTo>
                    <a:pt x="40047" y="46222"/>
                    <a:pt x="40408" y="45575"/>
                    <a:pt x="40890" y="44949"/>
                  </a:cubicBezTo>
                  <a:cubicBezTo>
                    <a:pt x="41204" y="44591"/>
                    <a:pt x="41519" y="44230"/>
                    <a:pt x="41828" y="43866"/>
                  </a:cubicBezTo>
                  <a:cubicBezTo>
                    <a:pt x="42862" y="42786"/>
                    <a:pt x="44065" y="41793"/>
                    <a:pt x="44848" y="40999"/>
                  </a:cubicBezTo>
                  <a:cubicBezTo>
                    <a:pt x="47504" y="38303"/>
                    <a:pt x="49750" y="35142"/>
                    <a:pt x="52166" y="32232"/>
                  </a:cubicBezTo>
                  <a:cubicBezTo>
                    <a:pt x="55703" y="27973"/>
                    <a:pt x="59650" y="24096"/>
                    <a:pt x="63443" y="20083"/>
                  </a:cubicBezTo>
                  <a:close/>
                  <a:moveTo>
                    <a:pt x="71027" y="12173"/>
                  </a:moveTo>
                  <a:cubicBezTo>
                    <a:pt x="71163" y="12380"/>
                    <a:pt x="71264" y="12609"/>
                    <a:pt x="71322" y="12848"/>
                  </a:cubicBezTo>
                  <a:cubicBezTo>
                    <a:pt x="66134" y="17488"/>
                    <a:pt x="61590" y="23452"/>
                    <a:pt x="56965" y="28660"/>
                  </a:cubicBezTo>
                  <a:cubicBezTo>
                    <a:pt x="55128" y="30725"/>
                    <a:pt x="53330" y="32820"/>
                    <a:pt x="51537" y="34922"/>
                  </a:cubicBezTo>
                  <a:cubicBezTo>
                    <a:pt x="54135" y="32090"/>
                    <a:pt x="56829" y="29330"/>
                    <a:pt x="59318" y="26432"/>
                  </a:cubicBezTo>
                  <a:cubicBezTo>
                    <a:pt x="62970" y="22179"/>
                    <a:pt x="66824" y="17938"/>
                    <a:pt x="70649" y="13847"/>
                  </a:cubicBezTo>
                  <a:lnTo>
                    <a:pt x="70649" y="13847"/>
                  </a:lnTo>
                  <a:cubicBezTo>
                    <a:pt x="69029" y="15579"/>
                    <a:pt x="67179" y="18365"/>
                    <a:pt x="65204" y="20380"/>
                  </a:cubicBezTo>
                  <a:cubicBezTo>
                    <a:pt x="63267" y="22364"/>
                    <a:pt x="61503" y="24460"/>
                    <a:pt x="59788" y="26625"/>
                  </a:cubicBezTo>
                  <a:cubicBezTo>
                    <a:pt x="58983" y="27347"/>
                    <a:pt x="58186" y="28068"/>
                    <a:pt x="57429" y="28808"/>
                  </a:cubicBezTo>
                  <a:cubicBezTo>
                    <a:pt x="53650" y="32494"/>
                    <a:pt x="50567" y="36744"/>
                    <a:pt x="47062" y="40664"/>
                  </a:cubicBezTo>
                  <a:cubicBezTo>
                    <a:pt x="46193" y="41640"/>
                    <a:pt x="45307" y="42579"/>
                    <a:pt x="44458" y="43534"/>
                  </a:cubicBezTo>
                  <a:cubicBezTo>
                    <a:pt x="45012" y="42827"/>
                    <a:pt x="45547" y="42105"/>
                    <a:pt x="46078" y="41389"/>
                  </a:cubicBezTo>
                  <a:cubicBezTo>
                    <a:pt x="46326" y="41057"/>
                    <a:pt x="46589" y="40731"/>
                    <a:pt x="46846" y="40402"/>
                  </a:cubicBezTo>
                  <a:lnTo>
                    <a:pt x="46846" y="40402"/>
                  </a:lnTo>
                  <a:cubicBezTo>
                    <a:pt x="45440" y="42039"/>
                    <a:pt x="44028" y="43670"/>
                    <a:pt x="42596" y="45278"/>
                  </a:cubicBezTo>
                  <a:cubicBezTo>
                    <a:pt x="42220" y="45700"/>
                    <a:pt x="40613" y="47000"/>
                    <a:pt x="40395" y="47000"/>
                  </a:cubicBezTo>
                  <a:cubicBezTo>
                    <a:pt x="40281" y="47000"/>
                    <a:pt x="40542" y="46649"/>
                    <a:pt x="41545" y="45642"/>
                  </a:cubicBezTo>
                  <a:cubicBezTo>
                    <a:pt x="43156" y="44022"/>
                    <a:pt x="44727" y="42362"/>
                    <a:pt x="46271" y="40679"/>
                  </a:cubicBezTo>
                  <a:cubicBezTo>
                    <a:pt x="49357" y="37307"/>
                    <a:pt x="51956" y="33536"/>
                    <a:pt x="54846" y="30003"/>
                  </a:cubicBezTo>
                  <a:cubicBezTo>
                    <a:pt x="59921" y="23796"/>
                    <a:pt x="66024" y="18429"/>
                    <a:pt x="71027" y="12173"/>
                  </a:cubicBezTo>
                  <a:close/>
                  <a:moveTo>
                    <a:pt x="40050" y="45867"/>
                  </a:moveTo>
                  <a:lnTo>
                    <a:pt x="40050" y="45867"/>
                  </a:lnTo>
                  <a:cubicBezTo>
                    <a:pt x="39859" y="46236"/>
                    <a:pt x="39723" y="46615"/>
                    <a:pt x="39663" y="46996"/>
                  </a:cubicBezTo>
                  <a:cubicBezTo>
                    <a:pt x="39657" y="47025"/>
                    <a:pt x="39666" y="47056"/>
                    <a:pt x="39689" y="47079"/>
                  </a:cubicBezTo>
                  <a:cubicBezTo>
                    <a:pt x="39612" y="47154"/>
                    <a:pt x="39540" y="47231"/>
                    <a:pt x="39466" y="47305"/>
                  </a:cubicBezTo>
                  <a:lnTo>
                    <a:pt x="39466" y="47305"/>
                  </a:lnTo>
                  <a:cubicBezTo>
                    <a:pt x="39397" y="47115"/>
                    <a:pt x="39328" y="46923"/>
                    <a:pt x="39259" y="46730"/>
                  </a:cubicBezTo>
                  <a:cubicBezTo>
                    <a:pt x="39530" y="46447"/>
                    <a:pt x="39784" y="46153"/>
                    <a:pt x="40050" y="45867"/>
                  </a:cubicBezTo>
                  <a:close/>
                  <a:moveTo>
                    <a:pt x="60937" y="35222"/>
                  </a:moveTo>
                  <a:lnTo>
                    <a:pt x="60937" y="35222"/>
                  </a:lnTo>
                  <a:cubicBezTo>
                    <a:pt x="58922" y="37855"/>
                    <a:pt x="57005" y="40578"/>
                    <a:pt x="54869" y="43101"/>
                  </a:cubicBezTo>
                  <a:cubicBezTo>
                    <a:pt x="53422" y="44807"/>
                    <a:pt x="51904" y="46462"/>
                    <a:pt x="50371" y="48101"/>
                  </a:cubicBezTo>
                  <a:lnTo>
                    <a:pt x="50622" y="47755"/>
                  </a:lnTo>
                  <a:cubicBezTo>
                    <a:pt x="51456" y="46684"/>
                    <a:pt x="52259" y="45593"/>
                    <a:pt x="53047" y="44510"/>
                  </a:cubicBezTo>
                  <a:cubicBezTo>
                    <a:pt x="53448" y="43990"/>
                    <a:pt x="53847" y="43471"/>
                    <a:pt x="54262" y="42963"/>
                  </a:cubicBezTo>
                  <a:cubicBezTo>
                    <a:pt x="56413" y="40324"/>
                    <a:pt x="58714" y="37803"/>
                    <a:pt x="60937" y="35222"/>
                  </a:cubicBezTo>
                  <a:close/>
                  <a:moveTo>
                    <a:pt x="58714" y="27991"/>
                  </a:moveTo>
                  <a:cubicBezTo>
                    <a:pt x="55071" y="32662"/>
                    <a:pt x="51497" y="37304"/>
                    <a:pt x="47565" y="41750"/>
                  </a:cubicBezTo>
                  <a:cubicBezTo>
                    <a:pt x="45746" y="43806"/>
                    <a:pt x="44204" y="46078"/>
                    <a:pt x="42371" y="48116"/>
                  </a:cubicBezTo>
                  <a:cubicBezTo>
                    <a:pt x="42151" y="47908"/>
                    <a:pt x="41935" y="47697"/>
                    <a:pt x="41715" y="47489"/>
                  </a:cubicBezTo>
                  <a:cubicBezTo>
                    <a:pt x="42460" y="46277"/>
                    <a:pt x="43324" y="45136"/>
                    <a:pt x="44291" y="44091"/>
                  </a:cubicBezTo>
                  <a:cubicBezTo>
                    <a:pt x="45235" y="42980"/>
                    <a:pt x="46271" y="41938"/>
                    <a:pt x="47264" y="40869"/>
                  </a:cubicBezTo>
                  <a:cubicBezTo>
                    <a:pt x="51173" y="36663"/>
                    <a:pt x="54534" y="32055"/>
                    <a:pt x="58671" y="28031"/>
                  </a:cubicBezTo>
                  <a:cubicBezTo>
                    <a:pt x="58685" y="28016"/>
                    <a:pt x="58700" y="28002"/>
                    <a:pt x="58714" y="27991"/>
                  </a:cubicBezTo>
                  <a:close/>
                  <a:moveTo>
                    <a:pt x="66036" y="34582"/>
                  </a:moveTo>
                  <a:cubicBezTo>
                    <a:pt x="66140" y="34942"/>
                    <a:pt x="66235" y="35318"/>
                    <a:pt x="66304" y="35681"/>
                  </a:cubicBezTo>
                  <a:cubicBezTo>
                    <a:pt x="66288" y="35676"/>
                    <a:pt x="66271" y="35673"/>
                    <a:pt x="66254" y="35673"/>
                  </a:cubicBezTo>
                  <a:cubicBezTo>
                    <a:pt x="66220" y="35673"/>
                    <a:pt x="66187" y="35684"/>
                    <a:pt x="66160" y="35707"/>
                  </a:cubicBezTo>
                  <a:cubicBezTo>
                    <a:pt x="65756" y="36034"/>
                    <a:pt x="65377" y="36395"/>
                    <a:pt x="64996" y="36753"/>
                  </a:cubicBezTo>
                  <a:cubicBezTo>
                    <a:pt x="65046" y="36728"/>
                    <a:pt x="65096" y="36716"/>
                    <a:pt x="65146" y="36716"/>
                  </a:cubicBezTo>
                  <a:cubicBezTo>
                    <a:pt x="65285" y="36716"/>
                    <a:pt x="65423" y="36812"/>
                    <a:pt x="65559" y="37012"/>
                  </a:cubicBezTo>
                  <a:lnTo>
                    <a:pt x="65562" y="37012"/>
                  </a:lnTo>
                  <a:cubicBezTo>
                    <a:pt x="65155" y="37907"/>
                    <a:pt x="64644" y="38762"/>
                    <a:pt x="64081" y="39596"/>
                  </a:cubicBezTo>
                  <a:cubicBezTo>
                    <a:pt x="61506" y="42807"/>
                    <a:pt x="58700" y="45835"/>
                    <a:pt x="56084" y="49019"/>
                  </a:cubicBezTo>
                  <a:cubicBezTo>
                    <a:pt x="57175" y="47533"/>
                    <a:pt x="58264" y="46063"/>
                    <a:pt x="59375" y="44654"/>
                  </a:cubicBezTo>
                  <a:cubicBezTo>
                    <a:pt x="60247" y="43543"/>
                    <a:pt x="61009" y="42339"/>
                    <a:pt x="61792" y="41167"/>
                  </a:cubicBezTo>
                  <a:cubicBezTo>
                    <a:pt x="62574" y="39977"/>
                    <a:pt x="63432" y="38837"/>
                    <a:pt x="64355" y="37754"/>
                  </a:cubicBezTo>
                  <a:cubicBezTo>
                    <a:pt x="64491" y="37396"/>
                    <a:pt x="64627" y="37139"/>
                    <a:pt x="64762" y="36963"/>
                  </a:cubicBezTo>
                  <a:lnTo>
                    <a:pt x="64762" y="36963"/>
                  </a:lnTo>
                  <a:cubicBezTo>
                    <a:pt x="64725" y="37001"/>
                    <a:pt x="64682" y="37033"/>
                    <a:pt x="64644" y="37070"/>
                  </a:cubicBezTo>
                  <a:cubicBezTo>
                    <a:pt x="65155" y="36268"/>
                    <a:pt x="65620" y="35436"/>
                    <a:pt x="66036" y="34582"/>
                  </a:cubicBezTo>
                  <a:close/>
                  <a:moveTo>
                    <a:pt x="58029" y="40401"/>
                  </a:moveTo>
                  <a:cubicBezTo>
                    <a:pt x="56729" y="41891"/>
                    <a:pt x="55431" y="43387"/>
                    <a:pt x="54158" y="44908"/>
                  </a:cubicBezTo>
                  <a:cubicBezTo>
                    <a:pt x="52862" y="46462"/>
                    <a:pt x="51583" y="48058"/>
                    <a:pt x="50296" y="49657"/>
                  </a:cubicBezTo>
                  <a:cubicBezTo>
                    <a:pt x="51364" y="48145"/>
                    <a:pt x="52449" y="46638"/>
                    <a:pt x="53630" y="45209"/>
                  </a:cubicBezTo>
                  <a:cubicBezTo>
                    <a:pt x="54978" y="43583"/>
                    <a:pt x="56496" y="42000"/>
                    <a:pt x="58029" y="40401"/>
                  </a:cubicBezTo>
                  <a:close/>
                  <a:moveTo>
                    <a:pt x="43145" y="45090"/>
                  </a:moveTo>
                  <a:lnTo>
                    <a:pt x="43145" y="45090"/>
                  </a:lnTo>
                  <a:cubicBezTo>
                    <a:pt x="42042" y="46470"/>
                    <a:pt x="41080" y="47951"/>
                    <a:pt x="40419" y="49681"/>
                  </a:cubicBezTo>
                  <a:cubicBezTo>
                    <a:pt x="40162" y="49118"/>
                    <a:pt x="39905" y="48491"/>
                    <a:pt x="39654" y="47821"/>
                  </a:cubicBezTo>
                  <a:cubicBezTo>
                    <a:pt x="41002" y="47140"/>
                    <a:pt x="42134" y="46184"/>
                    <a:pt x="43145" y="45090"/>
                  </a:cubicBezTo>
                  <a:close/>
                  <a:moveTo>
                    <a:pt x="60039" y="39729"/>
                  </a:moveTo>
                  <a:lnTo>
                    <a:pt x="60039" y="39732"/>
                  </a:lnTo>
                  <a:cubicBezTo>
                    <a:pt x="59468" y="40604"/>
                    <a:pt x="58931" y="41479"/>
                    <a:pt x="58408" y="42293"/>
                  </a:cubicBezTo>
                  <a:cubicBezTo>
                    <a:pt x="57874" y="43124"/>
                    <a:pt x="57331" y="43956"/>
                    <a:pt x="56780" y="44790"/>
                  </a:cubicBezTo>
                  <a:cubicBezTo>
                    <a:pt x="56338" y="45269"/>
                    <a:pt x="55899" y="45751"/>
                    <a:pt x="55460" y="46233"/>
                  </a:cubicBezTo>
                  <a:cubicBezTo>
                    <a:pt x="54274" y="47533"/>
                    <a:pt x="53142" y="48864"/>
                    <a:pt x="52042" y="50212"/>
                  </a:cubicBezTo>
                  <a:cubicBezTo>
                    <a:pt x="54667" y="46716"/>
                    <a:pt x="57224" y="43095"/>
                    <a:pt x="60039" y="39729"/>
                  </a:cubicBezTo>
                  <a:close/>
                  <a:moveTo>
                    <a:pt x="49935" y="39394"/>
                  </a:moveTo>
                  <a:lnTo>
                    <a:pt x="49935" y="39394"/>
                  </a:lnTo>
                  <a:cubicBezTo>
                    <a:pt x="46981" y="43179"/>
                    <a:pt x="44083" y="47007"/>
                    <a:pt x="40858" y="50570"/>
                  </a:cubicBezTo>
                  <a:cubicBezTo>
                    <a:pt x="40754" y="50376"/>
                    <a:pt x="40650" y="50174"/>
                    <a:pt x="40546" y="49958"/>
                  </a:cubicBezTo>
                  <a:cubicBezTo>
                    <a:pt x="40561" y="49952"/>
                    <a:pt x="40572" y="49958"/>
                    <a:pt x="40584" y="49946"/>
                  </a:cubicBezTo>
                  <a:cubicBezTo>
                    <a:pt x="43101" y="48136"/>
                    <a:pt x="44724" y="45633"/>
                    <a:pt x="46646" y="43243"/>
                  </a:cubicBezTo>
                  <a:cubicBezTo>
                    <a:pt x="47706" y="41926"/>
                    <a:pt x="48817" y="40659"/>
                    <a:pt x="49935" y="39394"/>
                  </a:cubicBezTo>
                  <a:close/>
                  <a:moveTo>
                    <a:pt x="67528" y="20031"/>
                  </a:moveTo>
                  <a:lnTo>
                    <a:pt x="67528" y="20031"/>
                  </a:lnTo>
                  <a:cubicBezTo>
                    <a:pt x="67130" y="21397"/>
                    <a:pt x="67173" y="22857"/>
                    <a:pt x="67127" y="24310"/>
                  </a:cubicBezTo>
                  <a:cubicBezTo>
                    <a:pt x="67100" y="24275"/>
                    <a:pt x="67060" y="24257"/>
                    <a:pt x="67019" y="24257"/>
                  </a:cubicBezTo>
                  <a:cubicBezTo>
                    <a:pt x="66986" y="24257"/>
                    <a:pt x="66952" y="24269"/>
                    <a:pt x="66925" y="24292"/>
                  </a:cubicBezTo>
                  <a:cubicBezTo>
                    <a:pt x="63798" y="27254"/>
                    <a:pt x="61116" y="30912"/>
                    <a:pt x="58532" y="34527"/>
                  </a:cubicBezTo>
                  <a:cubicBezTo>
                    <a:pt x="57588" y="35604"/>
                    <a:pt x="56644" y="36680"/>
                    <a:pt x="55715" y="37772"/>
                  </a:cubicBezTo>
                  <a:cubicBezTo>
                    <a:pt x="53578" y="40272"/>
                    <a:pt x="51347" y="42708"/>
                    <a:pt x="49326" y="45304"/>
                  </a:cubicBezTo>
                  <a:cubicBezTo>
                    <a:pt x="48358" y="46548"/>
                    <a:pt x="47674" y="47458"/>
                    <a:pt x="46724" y="48607"/>
                  </a:cubicBezTo>
                  <a:cubicBezTo>
                    <a:pt x="46534" y="48837"/>
                    <a:pt x="43793" y="51310"/>
                    <a:pt x="43624" y="51310"/>
                  </a:cubicBezTo>
                  <a:cubicBezTo>
                    <a:pt x="43588" y="51310"/>
                    <a:pt x="43671" y="51195"/>
                    <a:pt x="43924" y="50919"/>
                  </a:cubicBezTo>
                  <a:cubicBezTo>
                    <a:pt x="44242" y="50570"/>
                    <a:pt x="44545" y="50212"/>
                    <a:pt x="44859" y="49860"/>
                  </a:cubicBezTo>
                  <a:cubicBezTo>
                    <a:pt x="46008" y="48806"/>
                    <a:pt x="47010" y="47570"/>
                    <a:pt x="47960" y="46300"/>
                  </a:cubicBezTo>
                  <a:cubicBezTo>
                    <a:pt x="50743" y="43014"/>
                    <a:pt x="53445" y="39657"/>
                    <a:pt x="56226" y="36354"/>
                  </a:cubicBezTo>
                  <a:cubicBezTo>
                    <a:pt x="59906" y="31980"/>
                    <a:pt x="64173" y="27633"/>
                    <a:pt x="67141" y="22736"/>
                  </a:cubicBezTo>
                  <a:cubicBezTo>
                    <a:pt x="67202" y="22637"/>
                    <a:pt x="67110" y="22526"/>
                    <a:pt x="67016" y="22526"/>
                  </a:cubicBezTo>
                  <a:cubicBezTo>
                    <a:pt x="66984" y="22526"/>
                    <a:pt x="66952" y="22539"/>
                    <a:pt x="66925" y="22569"/>
                  </a:cubicBezTo>
                  <a:cubicBezTo>
                    <a:pt x="66532" y="23013"/>
                    <a:pt x="66151" y="23475"/>
                    <a:pt x="65761" y="23926"/>
                  </a:cubicBezTo>
                  <a:cubicBezTo>
                    <a:pt x="66495" y="22800"/>
                    <a:pt x="67095" y="21587"/>
                    <a:pt x="67473" y="20224"/>
                  </a:cubicBezTo>
                  <a:cubicBezTo>
                    <a:pt x="67482" y="20184"/>
                    <a:pt x="67473" y="20144"/>
                    <a:pt x="67444" y="20112"/>
                  </a:cubicBezTo>
                  <a:cubicBezTo>
                    <a:pt x="67473" y="20086"/>
                    <a:pt x="67499" y="20060"/>
                    <a:pt x="67528" y="20031"/>
                  </a:cubicBezTo>
                  <a:close/>
                  <a:moveTo>
                    <a:pt x="65900" y="21636"/>
                  </a:moveTo>
                  <a:lnTo>
                    <a:pt x="65900" y="21636"/>
                  </a:lnTo>
                  <a:cubicBezTo>
                    <a:pt x="61310" y="26827"/>
                    <a:pt x="57077" y="32307"/>
                    <a:pt x="52802" y="37760"/>
                  </a:cubicBezTo>
                  <a:cubicBezTo>
                    <a:pt x="49259" y="42278"/>
                    <a:pt x="44845" y="46378"/>
                    <a:pt x="41571" y="51046"/>
                  </a:cubicBezTo>
                  <a:cubicBezTo>
                    <a:pt x="41496" y="51151"/>
                    <a:pt x="41596" y="51254"/>
                    <a:pt x="41699" y="51254"/>
                  </a:cubicBezTo>
                  <a:cubicBezTo>
                    <a:pt x="41743" y="51254"/>
                    <a:pt x="41787" y="51235"/>
                    <a:pt x="41819" y="51190"/>
                  </a:cubicBezTo>
                  <a:cubicBezTo>
                    <a:pt x="45414" y="46072"/>
                    <a:pt x="50218" y="41528"/>
                    <a:pt x="54095" y="36571"/>
                  </a:cubicBezTo>
                  <a:cubicBezTo>
                    <a:pt x="56260" y="33802"/>
                    <a:pt x="58414" y="31022"/>
                    <a:pt x="60608" y="28276"/>
                  </a:cubicBezTo>
                  <a:cubicBezTo>
                    <a:pt x="61702" y="26911"/>
                    <a:pt x="62825" y="25565"/>
                    <a:pt x="63951" y="24226"/>
                  </a:cubicBezTo>
                  <a:lnTo>
                    <a:pt x="63951" y="24226"/>
                  </a:lnTo>
                  <a:cubicBezTo>
                    <a:pt x="63950" y="24228"/>
                    <a:pt x="63949" y="24228"/>
                    <a:pt x="63949" y="24228"/>
                  </a:cubicBezTo>
                  <a:cubicBezTo>
                    <a:pt x="63951" y="24228"/>
                    <a:pt x="66083" y="21685"/>
                    <a:pt x="66525" y="21685"/>
                  </a:cubicBezTo>
                  <a:cubicBezTo>
                    <a:pt x="66647" y="21685"/>
                    <a:pt x="66640" y="21880"/>
                    <a:pt x="66422" y="22378"/>
                  </a:cubicBezTo>
                  <a:cubicBezTo>
                    <a:pt x="66111" y="23094"/>
                    <a:pt x="65715" y="23801"/>
                    <a:pt x="65268" y="24500"/>
                  </a:cubicBezTo>
                  <a:cubicBezTo>
                    <a:pt x="64165" y="25785"/>
                    <a:pt x="63074" y="27081"/>
                    <a:pt x="61997" y="28386"/>
                  </a:cubicBezTo>
                  <a:cubicBezTo>
                    <a:pt x="62796" y="27572"/>
                    <a:pt x="63579" y="26743"/>
                    <a:pt x="64306" y="25880"/>
                  </a:cubicBezTo>
                  <a:lnTo>
                    <a:pt x="64306" y="25880"/>
                  </a:lnTo>
                  <a:cubicBezTo>
                    <a:pt x="63232" y="27303"/>
                    <a:pt x="61962" y="28689"/>
                    <a:pt x="60643" y="30037"/>
                  </a:cubicBezTo>
                  <a:cubicBezTo>
                    <a:pt x="58203" y="33034"/>
                    <a:pt x="55792" y="36054"/>
                    <a:pt x="53318" y="39019"/>
                  </a:cubicBezTo>
                  <a:cubicBezTo>
                    <a:pt x="51670" y="40996"/>
                    <a:pt x="50073" y="43014"/>
                    <a:pt x="48532" y="45076"/>
                  </a:cubicBezTo>
                  <a:cubicBezTo>
                    <a:pt x="48257" y="45442"/>
                    <a:pt x="47980" y="45789"/>
                    <a:pt x="47703" y="46147"/>
                  </a:cubicBezTo>
                  <a:cubicBezTo>
                    <a:pt x="46600" y="47440"/>
                    <a:pt x="45483" y="48719"/>
                    <a:pt x="44351" y="49989"/>
                  </a:cubicBezTo>
                  <a:cubicBezTo>
                    <a:pt x="44135" y="49949"/>
                    <a:pt x="43921" y="49721"/>
                    <a:pt x="43719" y="49279"/>
                  </a:cubicBezTo>
                  <a:cubicBezTo>
                    <a:pt x="44415" y="48396"/>
                    <a:pt x="45125" y="47518"/>
                    <a:pt x="45844" y="46652"/>
                  </a:cubicBezTo>
                  <a:cubicBezTo>
                    <a:pt x="49675" y="41981"/>
                    <a:pt x="53731" y="37466"/>
                    <a:pt x="57735" y="32933"/>
                  </a:cubicBezTo>
                  <a:lnTo>
                    <a:pt x="57735" y="32933"/>
                  </a:lnTo>
                  <a:cubicBezTo>
                    <a:pt x="56595" y="34062"/>
                    <a:pt x="55510" y="35162"/>
                    <a:pt x="54580" y="36227"/>
                  </a:cubicBezTo>
                  <a:cubicBezTo>
                    <a:pt x="50160" y="41308"/>
                    <a:pt x="45623" y="46267"/>
                    <a:pt x="41584" y="51665"/>
                  </a:cubicBezTo>
                  <a:lnTo>
                    <a:pt x="41584" y="51665"/>
                  </a:lnTo>
                  <a:cubicBezTo>
                    <a:pt x="41359" y="51400"/>
                    <a:pt x="41161" y="51112"/>
                    <a:pt x="40991" y="50807"/>
                  </a:cubicBezTo>
                  <a:cubicBezTo>
                    <a:pt x="41008" y="50798"/>
                    <a:pt x="41025" y="50801"/>
                    <a:pt x="41043" y="50786"/>
                  </a:cubicBezTo>
                  <a:cubicBezTo>
                    <a:pt x="45177" y="46707"/>
                    <a:pt x="48638" y="42114"/>
                    <a:pt x="52086" y="37457"/>
                  </a:cubicBezTo>
                  <a:cubicBezTo>
                    <a:pt x="56306" y="31755"/>
                    <a:pt x="60908" y="26608"/>
                    <a:pt x="65900" y="21636"/>
                  </a:cubicBezTo>
                  <a:close/>
                  <a:moveTo>
                    <a:pt x="62805" y="47351"/>
                  </a:moveTo>
                  <a:cubicBezTo>
                    <a:pt x="61760" y="48843"/>
                    <a:pt x="60542" y="50232"/>
                    <a:pt x="59355" y="51595"/>
                  </a:cubicBezTo>
                  <a:cubicBezTo>
                    <a:pt x="59323" y="51629"/>
                    <a:pt x="59294" y="51661"/>
                    <a:pt x="59266" y="51696"/>
                  </a:cubicBezTo>
                  <a:cubicBezTo>
                    <a:pt x="60149" y="50584"/>
                    <a:pt x="61047" y="49481"/>
                    <a:pt x="61982" y="48407"/>
                  </a:cubicBezTo>
                  <a:cubicBezTo>
                    <a:pt x="62248" y="48107"/>
                    <a:pt x="62531" y="47735"/>
                    <a:pt x="62805" y="47351"/>
                  </a:cubicBezTo>
                  <a:close/>
                  <a:moveTo>
                    <a:pt x="57920" y="47204"/>
                  </a:moveTo>
                  <a:cubicBezTo>
                    <a:pt x="57764" y="47409"/>
                    <a:pt x="57600" y="47611"/>
                    <a:pt x="57450" y="47818"/>
                  </a:cubicBezTo>
                  <a:cubicBezTo>
                    <a:pt x="56379" y="49285"/>
                    <a:pt x="55253" y="50705"/>
                    <a:pt x="54121" y="52126"/>
                  </a:cubicBezTo>
                  <a:cubicBezTo>
                    <a:pt x="55212" y="50645"/>
                    <a:pt x="56309" y="49172"/>
                    <a:pt x="57464" y="47746"/>
                  </a:cubicBezTo>
                  <a:cubicBezTo>
                    <a:pt x="57611" y="47562"/>
                    <a:pt x="57770" y="47385"/>
                    <a:pt x="57920" y="47204"/>
                  </a:cubicBezTo>
                  <a:close/>
                  <a:moveTo>
                    <a:pt x="43514" y="50925"/>
                  </a:moveTo>
                  <a:lnTo>
                    <a:pt x="43514" y="50925"/>
                  </a:lnTo>
                  <a:cubicBezTo>
                    <a:pt x="43196" y="51277"/>
                    <a:pt x="42885" y="51638"/>
                    <a:pt x="42567" y="51987"/>
                  </a:cubicBezTo>
                  <a:cubicBezTo>
                    <a:pt x="42518" y="52042"/>
                    <a:pt x="42518" y="52123"/>
                    <a:pt x="42570" y="52175"/>
                  </a:cubicBezTo>
                  <a:lnTo>
                    <a:pt x="42567" y="52172"/>
                  </a:lnTo>
                  <a:cubicBezTo>
                    <a:pt x="42523" y="52182"/>
                    <a:pt x="42478" y="52187"/>
                    <a:pt x="42433" y="52187"/>
                  </a:cubicBezTo>
                  <a:cubicBezTo>
                    <a:pt x="42230" y="52187"/>
                    <a:pt x="42023" y="52087"/>
                    <a:pt x="41811" y="51901"/>
                  </a:cubicBezTo>
                  <a:cubicBezTo>
                    <a:pt x="42408" y="51629"/>
                    <a:pt x="42977" y="51303"/>
                    <a:pt x="43514" y="50925"/>
                  </a:cubicBezTo>
                  <a:close/>
                  <a:moveTo>
                    <a:pt x="56670" y="37119"/>
                  </a:moveTo>
                  <a:lnTo>
                    <a:pt x="56670" y="37119"/>
                  </a:lnTo>
                  <a:cubicBezTo>
                    <a:pt x="56257" y="37694"/>
                    <a:pt x="55844" y="38265"/>
                    <a:pt x="55429" y="38825"/>
                  </a:cubicBezTo>
                  <a:cubicBezTo>
                    <a:pt x="55339" y="38944"/>
                    <a:pt x="55253" y="39059"/>
                    <a:pt x="55163" y="39178"/>
                  </a:cubicBezTo>
                  <a:lnTo>
                    <a:pt x="55051" y="39308"/>
                  </a:lnTo>
                  <a:cubicBezTo>
                    <a:pt x="51653" y="43205"/>
                    <a:pt x="48578" y="47429"/>
                    <a:pt x="45142" y="51303"/>
                  </a:cubicBezTo>
                  <a:cubicBezTo>
                    <a:pt x="44167" y="52218"/>
                    <a:pt x="43182" y="53128"/>
                    <a:pt x="42261" y="54101"/>
                  </a:cubicBezTo>
                  <a:cubicBezTo>
                    <a:pt x="42547" y="53483"/>
                    <a:pt x="42700" y="53240"/>
                    <a:pt x="42781" y="52472"/>
                  </a:cubicBezTo>
                  <a:lnTo>
                    <a:pt x="42778" y="52469"/>
                  </a:lnTo>
                  <a:cubicBezTo>
                    <a:pt x="42888" y="52400"/>
                    <a:pt x="42896" y="52247"/>
                    <a:pt x="42798" y="52166"/>
                  </a:cubicBezTo>
                  <a:cubicBezTo>
                    <a:pt x="47741" y="49398"/>
                    <a:pt x="51124" y="43572"/>
                    <a:pt x="54730" y="39348"/>
                  </a:cubicBezTo>
                  <a:cubicBezTo>
                    <a:pt x="55368" y="38603"/>
                    <a:pt x="56015" y="37858"/>
                    <a:pt x="56670" y="37119"/>
                  </a:cubicBezTo>
                  <a:close/>
                  <a:moveTo>
                    <a:pt x="64937" y="35211"/>
                  </a:moveTo>
                  <a:lnTo>
                    <a:pt x="64937" y="35211"/>
                  </a:lnTo>
                  <a:cubicBezTo>
                    <a:pt x="65201" y="35232"/>
                    <a:pt x="65198" y="35605"/>
                    <a:pt x="64589" y="36640"/>
                  </a:cubicBezTo>
                  <a:cubicBezTo>
                    <a:pt x="64202" y="37304"/>
                    <a:pt x="63738" y="37933"/>
                    <a:pt x="63247" y="38551"/>
                  </a:cubicBezTo>
                  <a:cubicBezTo>
                    <a:pt x="62857" y="38993"/>
                    <a:pt x="62479" y="39452"/>
                    <a:pt x="62106" y="39920"/>
                  </a:cubicBezTo>
                  <a:cubicBezTo>
                    <a:pt x="61688" y="40396"/>
                    <a:pt x="61266" y="40867"/>
                    <a:pt x="60856" y="41331"/>
                  </a:cubicBezTo>
                  <a:cubicBezTo>
                    <a:pt x="58809" y="43641"/>
                    <a:pt x="56823" y="45907"/>
                    <a:pt x="54978" y="48381"/>
                  </a:cubicBezTo>
                  <a:cubicBezTo>
                    <a:pt x="53411" y="50483"/>
                    <a:pt x="51745" y="52533"/>
                    <a:pt x="50076" y="54580"/>
                  </a:cubicBezTo>
                  <a:cubicBezTo>
                    <a:pt x="50515" y="53922"/>
                    <a:pt x="50951" y="53278"/>
                    <a:pt x="51404" y="52669"/>
                  </a:cubicBezTo>
                  <a:cubicBezTo>
                    <a:pt x="52914" y="50625"/>
                    <a:pt x="54346" y="48482"/>
                    <a:pt x="55784" y="46337"/>
                  </a:cubicBezTo>
                  <a:cubicBezTo>
                    <a:pt x="59014" y="42758"/>
                    <a:pt x="62229" y="39200"/>
                    <a:pt x="64937" y="35211"/>
                  </a:cubicBezTo>
                  <a:close/>
                  <a:moveTo>
                    <a:pt x="65805" y="47917"/>
                  </a:moveTo>
                  <a:cubicBezTo>
                    <a:pt x="65903" y="48289"/>
                    <a:pt x="65955" y="48673"/>
                    <a:pt x="65961" y="49057"/>
                  </a:cubicBezTo>
                  <a:cubicBezTo>
                    <a:pt x="65922" y="49022"/>
                    <a:pt x="65870" y="48998"/>
                    <a:pt x="65820" y="48998"/>
                  </a:cubicBezTo>
                  <a:cubicBezTo>
                    <a:pt x="65780" y="48998"/>
                    <a:pt x="65742" y="49013"/>
                    <a:pt x="65712" y="49048"/>
                  </a:cubicBezTo>
                  <a:cubicBezTo>
                    <a:pt x="64107" y="50994"/>
                    <a:pt x="61899" y="53055"/>
                    <a:pt x="60568" y="55102"/>
                  </a:cubicBezTo>
                  <a:cubicBezTo>
                    <a:pt x="62181" y="52617"/>
                    <a:pt x="64162" y="50388"/>
                    <a:pt x="65805" y="47917"/>
                  </a:cubicBezTo>
                  <a:close/>
                  <a:moveTo>
                    <a:pt x="65963" y="49325"/>
                  </a:moveTo>
                  <a:lnTo>
                    <a:pt x="65963" y="49325"/>
                  </a:lnTo>
                  <a:cubicBezTo>
                    <a:pt x="65894" y="51315"/>
                    <a:pt x="64684" y="53301"/>
                    <a:pt x="63001" y="54733"/>
                  </a:cubicBezTo>
                  <a:lnTo>
                    <a:pt x="63001" y="54730"/>
                  </a:lnTo>
                  <a:cubicBezTo>
                    <a:pt x="63700" y="53818"/>
                    <a:pt x="64399" y="52905"/>
                    <a:pt x="65100" y="51996"/>
                  </a:cubicBezTo>
                  <a:cubicBezTo>
                    <a:pt x="65205" y="51860"/>
                    <a:pt x="65088" y="51683"/>
                    <a:pt x="64965" y="51683"/>
                  </a:cubicBezTo>
                  <a:cubicBezTo>
                    <a:pt x="64926" y="51683"/>
                    <a:pt x="64886" y="51701"/>
                    <a:pt x="64852" y="51745"/>
                  </a:cubicBezTo>
                  <a:cubicBezTo>
                    <a:pt x="64432" y="52288"/>
                    <a:pt x="62405" y="55181"/>
                    <a:pt x="62379" y="55181"/>
                  </a:cubicBezTo>
                  <a:cubicBezTo>
                    <a:pt x="62370" y="55181"/>
                    <a:pt x="62558" y="54896"/>
                    <a:pt x="63053" y="54167"/>
                  </a:cubicBezTo>
                  <a:cubicBezTo>
                    <a:pt x="64156" y="52547"/>
                    <a:pt x="65210" y="51127"/>
                    <a:pt x="65963" y="49325"/>
                  </a:cubicBezTo>
                  <a:close/>
                  <a:moveTo>
                    <a:pt x="57854" y="37506"/>
                  </a:moveTo>
                  <a:lnTo>
                    <a:pt x="57854" y="37506"/>
                  </a:lnTo>
                  <a:cubicBezTo>
                    <a:pt x="56728" y="38973"/>
                    <a:pt x="55608" y="40445"/>
                    <a:pt x="54456" y="41889"/>
                  </a:cubicBezTo>
                  <a:cubicBezTo>
                    <a:pt x="52776" y="44002"/>
                    <a:pt x="51075" y="46095"/>
                    <a:pt x="49441" y="48243"/>
                  </a:cubicBezTo>
                  <a:lnTo>
                    <a:pt x="49438" y="48240"/>
                  </a:lnTo>
                  <a:cubicBezTo>
                    <a:pt x="47370" y="50958"/>
                    <a:pt x="43825" y="53775"/>
                    <a:pt x="42252" y="55435"/>
                  </a:cubicBezTo>
                  <a:lnTo>
                    <a:pt x="42252" y="55435"/>
                  </a:lnTo>
                  <a:cubicBezTo>
                    <a:pt x="44034" y="53550"/>
                    <a:pt x="46006" y="52132"/>
                    <a:pt x="47553" y="49995"/>
                  </a:cubicBezTo>
                  <a:cubicBezTo>
                    <a:pt x="50018" y="46594"/>
                    <a:pt x="52412" y="43349"/>
                    <a:pt x="55287" y="40263"/>
                  </a:cubicBezTo>
                  <a:cubicBezTo>
                    <a:pt x="56125" y="39360"/>
                    <a:pt x="56988" y="38439"/>
                    <a:pt x="57854" y="37506"/>
                  </a:cubicBezTo>
                  <a:close/>
                  <a:moveTo>
                    <a:pt x="52605" y="42579"/>
                  </a:moveTo>
                  <a:lnTo>
                    <a:pt x="52605" y="42579"/>
                  </a:lnTo>
                  <a:cubicBezTo>
                    <a:pt x="52317" y="42960"/>
                    <a:pt x="52028" y="43341"/>
                    <a:pt x="51739" y="43719"/>
                  </a:cubicBezTo>
                  <a:cubicBezTo>
                    <a:pt x="51147" y="44418"/>
                    <a:pt x="50587" y="45134"/>
                    <a:pt x="50042" y="45861"/>
                  </a:cubicBezTo>
                  <a:cubicBezTo>
                    <a:pt x="49750" y="46233"/>
                    <a:pt x="49458" y="46606"/>
                    <a:pt x="49164" y="46973"/>
                  </a:cubicBezTo>
                  <a:cubicBezTo>
                    <a:pt x="49305" y="46811"/>
                    <a:pt x="49447" y="46646"/>
                    <a:pt x="49588" y="46482"/>
                  </a:cubicBezTo>
                  <a:lnTo>
                    <a:pt x="49588" y="46482"/>
                  </a:lnTo>
                  <a:cubicBezTo>
                    <a:pt x="49089" y="47175"/>
                    <a:pt x="48601" y="47876"/>
                    <a:pt x="48125" y="48601"/>
                  </a:cubicBezTo>
                  <a:cubicBezTo>
                    <a:pt x="46260" y="51442"/>
                    <a:pt x="43918" y="53359"/>
                    <a:pt x="41635" y="55688"/>
                  </a:cubicBezTo>
                  <a:cubicBezTo>
                    <a:pt x="41707" y="55481"/>
                    <a:pt x="41782" y="55270"/>
                    <a:pt x="41866" y="55050"/>
                  </a:cubicBezTo>
                  <a:lnTo>
                    <a:pt x="41863" y="55050"/>
                  </a:lnTo>
                  <a:cubicBezTo>
                    <a:pt x="43840" y="53237"/>
                    <a:pt x="45619" y="51231"/>
                    <a:pt x="47322" y="49155"/>
                  </a:cubicBezTo>
                  <a:lnTo>
                    <a:pt x="47322" y="49155"/>
                  </a:lnTo>
                  <a:cubicBezTo>
                    <a:pt x="46901" y="49603"/>
                    <a:pt x="46465" y="50039"/>
                    <a:pt x="46023" y="50463"/>
                  </a:cubicBezTo>
                  <a:cubicBezTo>
                    <a:pt x="46745" y="49689"/>
                    <a:pt x="47463" y="48913"/>
                    <a:pt x="48174" y="48113"/>
                  </a:cubicBezTo>
                  <a:cubicBezTo>
                    <a:pt x="49655" y="46274"/>
                    <a:pt x="51101" y="44397"/>
                    <a:pt x="52605" y="42579"/>
                  </a:cubicBezTo>
                  <a:close/>
                  <a:moveTo>
                    <a:pt x="64871" y="48529"/>
                  </a:moveTo>
                  <a:cubicBezTo>
                    <a:pt x="65033" y="48529"/>
                    <a:pt x="62071" y="52456"/>
                    <a:pt x="62080" y="52456"/>
                  </a:cubicBezTo>
                  <a:cubicBezTo>
                    <a:pt x="62080" y="52456"/>
                    <a:pt x="62092" y="52442"/>
                    <a:pt x="62115" y="52412"/>
                  </a:cubicBezTo>
                  <a:lnTo>
                    <a:pt x="62115" y="52412"/>
                  </a:lnTo>
                  <a:cubicBezTo>
                    <a:pt x="61162" y="53642"/>
                    <a:pt x="60279" y="54895"/>
                    <a:pt x="59433" y="56199"/>
                  </a:cubicBezTo>
                  <a:cubicBezTo>
                    <a:pt x="59346" y="56332"/>
                    <a:pt x="59467" y="56462"/>
                    <a:pt x="59594" y="56462"/>
                  </a:cubicBezTo>
                  <a:cubicBezTo>
                    <a:pt x="59636" y="56462"/>
                    <a:pt x="59678" y="56448"/>
                    <a:pt x="59713" y="56416"/>
                  </a:cubicBezTo>
                  <a:cubicBezTo>
                    <a:pt x="61687" y="54628"/>
                    <a:pt x="63311" y="52604"/>
                    <a:pt x="64961" y="50521"/>
                  </a:cubicBezTo>
                  <a:lnTo>
                    <a:pt x="64961" y="50521"/>
                  </a:lnTo>
                  <a:cubicBezTo>
                    <a:pt x="63779" y="52017"/>
                    <a:pt x="62644" y="53934"/>
                    <a:pt x="61673" y="55686"/>
                  </a:cubicBezTo>
                  <a:lnTo>
                    <a:pt x="61673" y="55683"/>
                  </a:lnTo>
                  <a:cubicBezTo>
                    <a:pt x="60712" y="56257"/>
                    <a:pt x="59670" y="56653"/>
                    <a:pt x="58636" y="56791"/>
                  </a:cubicBezTo>
                  <a:cubicBezTo>
                    <a:pt x="58685" y="56710"/>
                    <a:pt x="58642" y="56612"/>
                    <a:pt x="58564" y="56560"/>
                  </a:cubicBezTo>
                  <a:cubicBezTo>
                    <a:pt x="60501" y="54268"/>
                    <a:pt x="62080" y="51707"/>
                    <a:pt x="64041" y="49421"/>
                  </a:cubicBezTo>
                  <a:cubicBezTo>
                    <a:pt x="64586" y="48783"/>
                    <a:pt x="64830" y="48529"/>
                    <a:pt x="64871" y="48529"/>
                  </a:cubicBezTo>
                  <a:close/>
                  <a:moveTo>
                    <a:pt x="44968" y="54583"/>
                  </a:moveTo>
                  <a:cubicBezTo>
                    <a:pt x="44608" y="55002"/>
                    <a:pt x="44261" y="55428"/>
                    <a:pt x="43889" y="55839"/>
                  </a:cubicBezTo>
                  <a:cubicBezTo>
                    <a:pt x="42746" y="57104"/>
                    <a:pt x="42195" y="57641"/>
                    <a:pt x="42141" y="57641"/>
                  </a:cubicBezTo>
                  <a:cubicBezTo>
                    <a:pt x="42073" y="57641"/>
                    <a:pt x="42780" y="56804"/>
                    <a:pt x="44074" y="55504"/>
                  </a:cubicBezTo>
                  <a:cubicBezTo>
                    <a:pt x="44383" y="55203"/>
                    <a:pt x="44671" y="54890"/>
                    <a:pt x="44968" y="54583"/>
                  </a:cubicBezTo>
                  <a:close/>
                  <a:moveTo>
                    <a:pt x="44810" y="54040"/>
                  </a:moveTo>
                  <a:lnTo>
                    <a:pt x="44810" y="54040"/>
                  </a:lnTo>
                  <a:cubicBezTo>
                    <a:pt x="43566" y="55400"/>
                    <a:pt x="42353" y="56783"/>
                    <a:pt x="41190" y="58200"/>
                  </a:cubicBezTo>
                  <a:cubicBezTo>
                    <a:pt x="41196" y="57611"/>
                    <a:pt x="41274" y="57025"/>
                    <a:pt x="41418" y="56453"/>
                  </a:cubicBezTo>
                  <a:lnTo>
                    <a:pt x="41415" y="56451"/>
                  </a:lnTo>
                  <a:cubicBezTo>
                    <a:pt x="42605" y="55772"/>
                    <a:pt x="43736" y="54958"/>
                    <a:pt x="44810" y="54040"/>
                  </a:cubicBezTo>
                  <a:close/>
                  <a:moveTo>
                    <a:pt x="64943" y="39709"/>
                  </a:moveTo>
                  <a:cubicBezTo>
                    <a:pt x="65081" y="39709"/>
                    <a:pt x="64998" y="40181"/>
                    <a:pt x="64693" y="41123"/>
                  </a:cubicBezTo>
                  <a:lnTo>
                    <a:pt x="64696" y="41126"/>
                  </a:lnTo>
                  <a:cubicBezTo>
                    <a:pt x="63807" y="42772"/>
                    <a:pt x="62519" y="44201"/>
                    <a:pt x="61321" y="45627"/>
                  </a:cubicBezTo>
                  <a:cubicBezTo>
                    <a:pt x="59367" y="47957"/>
                    <a:pt x="57403" y="50261"/>
                    <a:pt x="55518" y="52651"/>
                  </a:cubicBezTo>
                  <a:cubicBezTo>
                    <a:pt x="53939" y="54655"/>
                    <a:pt x="52340" y="56606"/>
                    <a:pt x="50772" y="58575"/>
                  </a:cubicBezTo>
                  <a:cubicBezTo>
                    <a:pt x="50925" y="58359"/>
                    <a:pt x="51075" y="58139"/>
                    <a:pt x="51231" y="57929"/>
                  </a:cubicBezTo>
                  <a:cubicBezTo>
                    <a:pt x="55180" y="52614"/>
                    <a:pt x="59621" y="47527"/>
                    <a:pt x="63319" y="42044"/>
                  </a:cubicBezTo>
                  <a:cubicBezTo>
                    <a:pt x="64225" y="40488"/>
                    <a:pt x="64766" y="39709"/>
                    <a:pt x="64943" y="39709"/>
                  </a:cubicBezTo>
                  <a:close/>
                  <a:moveTo>
                    <a:pt x="64318" y="45468"/>
                  </a:moveTo>
                  <a:cubicBezTo>
                    <a:pt x="64967" y="46098"/>
                    <a:pt x="65403" y="46776"/>
                    <a:pt x="65663" y="47478"/>
                  </a:cubicBezTo>
                  <a:lnTo>
                    <a:pt x="65666" y="47478"/>
                  </a:lnTo>
                  <a:cubicBezTo>
                    <a:pt x="62513" y="50067"/>
                    <a:pt x="60608" y="53656"/>
                    <a:pt x="58001" y="56748"/>
                  </a:cubicBezTo>
                  <a:cubicBezTo>
                    <a:pt x="58088" y="55963"/>
                    <a:pt x="58414" y="55224"/>
                    <a:pt x="58931" y="54629"/>
                  </a:cubicBezTo>
                  <a:cubicBezTo>
                    <a:pt x="59811" y="53214"/>
                    <a:pt x="61064" y="51924"/>
                    <a:pt x="62153" y="50653"/>
                  </a:cubicBezTo>
                  <a:cubicBezTo>
                    <a:pt x="63247" y="49375"/>
                    <a:pt x="64208" y="48049"/>
                    <a:pt x="65011" y="46565"/>
                  </a:cubicBezTo>
                  <a:cubicBezTo>
                    <a:pt x="65075" y="46447"/>
                    <a:pt x="64969" y="46311"/>
                    <a:pt x="64860" y="46311"/>
                  </a:cubicBezTo>
                  <a:cubicBezTo>
                    <a:pt x="64823" y="46311"/>
                    <a:pt x="64785" y="46326"/>
                    <a:pt x="64754" y="46363"/>
                  </a:cubicBezTo>
                  <a:cubicBezTo>
                    <a:pt x="62817" y="48644"/>
                    <a:pt x="61032" y="51032"/>
                    <a:pt x="59191" y="53385"/>
                  </a:cubicBezTo>
                  <a:cubicBezTo>
                    <a:pt x="57819" y="55134"/>
                    <a:pt x="54860" y="57221"/>
                    <a:pt x="53925" y="58769"/>
                  </a:cubicBezTo>
                  <a:cubicBezTo>
                    <a:pt x="54135" y="58420"/>
                    <a:pt x="54372" y="58090"/>
                    <a:pt x="54597" y="57753"/>
                  </a:cubicBezTo>
                  <a:cubicBezTo>
                    <a:pt x="55481" y="56598"/>
                    <a:pt x="56361" y="55440"/>
                    <a:pt x="57245" y="54282"/>
                  </a:cubicBezTo>
                  <a:cubicBezTo>
                    <a:pt x="59678" y="51410"/>
                    <a:pt x="62332" y="48708"/>
                    <a:pt x="64318" y="45468"/>
                  </a:cubicBezTo>
                  <a:close/>
                  <a:moveTo>
                    <a:pt x="51407" y="47475"/>
                  </a:moveTo>
                  <a:lnTo>
                    <a:pt x="51407" y="47475"/>
                  </a:lnTo>
                  <a:cubicBezTo>
                    <a:pt x="51367" y="47527"/>
                    <a:pt x="51326" y="47579"/>
                    <a:pt x="51286" y="47631"/>
                  </a:cubicBezTo>
                  <a:cubicBezTo>
                    <a:pt x="50018" y="49363"/>
                    <a:pt x="48832" y="51193"/>
                    <a:pt x="47585" y="52980"/>
                  </a:cubicBezTo>
                  <a:cubicBezTo>
                    <a:pt x="45613" y="55339"/>
                    <a:pt x="43566" y="57620"/>
                    <a:pt x="41337" y="59675"/>
                  </a:cubicBezTo>
                  <a:cubicBezTo>
                    <a:pt x="41282" y="59366"/>
                    <a:pt x="41242" y="59052"/>
                    <a:pt x="41222" y="58740"/>
                  </a:cubicBezTo>
                  <a:cubicBezTo>
                    <a:pt x="43722" y="56627"/>
                    <a:pt x="45818" y="54167"/>
                    <a:pt x="47781" y="51595"/>
                  </a:cubicBezTo>
                  <a:cubicBezTo>
                    <a:pt x="49017" y="50238"/>
                    <a:pt x="50223" y="48864"/>
                    <a:pt x="51407" y="47475"/>
                  </a:cubicBezTo>
                  <a:close/>
                  <a:moveTo>
                    <a:pt x="60975" y="38369"/>
                  </a:moveTo>
                  <a:lnTo>
                    <a:pt x="60975" y="38369"/>
                  </a:lnTo>
                  <a:cubicBezTo>
                    <a:pt x="60721" y="38719"/>
                    <a:pt x="60475" y="39074"/>
                    <a:pt x="60236" y="39435"/>
                  </a:cubicBezTo>
                  <a:lnTo>
                    <a:pt x="60233" y="39435"/>
                  </a:lnTo>
                  <a:cubicBezTo>
                    <a:pt x="58379" y="41522"/>
                    <a:pt x="56552" y="43638"/>
                    <a:pt x="54820" y="45867"/>
                  </a:cubicBezTo>
                  <a:cubicBezTo>
                    <a:pt x="50971" y="50812"/>
                    <a:pt x="47729" y="56846"/>
                    <a:pt x="42688" y="60686"/>
                  </a:cubicBezTo>
                  <a:cubicBezTo>
                    <a:pt x="43572" y="60013"/>
                    <a:pt x="44709" y="57839"/>
                    <a:pt x="45572" y="56921"/>
                  </a:cubicBezTo>
                  <a:cubicBezTo>
                    <a:pt x="46612" y="55810"/>
                    <a:pt x="47663" y="54718"/>
                    <a:pt x="48667" y="53572"/>
                  </a:cubicBezTo>
                  <a:cubicBezTo>
                    <a:pt x="50896" y="51037"/>
                    <a:pt x="52819" y="48202"/>
                    <a:pt x="54967" y="45593"/>
                  </a:cubicBezTo>
                  <a:cubicBezTo>
                    <a:pt x="56962" y="43173"/>
                    <a:pt x="58986" y="40783"/>
                    <a:pt x="60975" y="38369"/>
                  </a:cubicBezTo>
                  <a:close/>
                  <a:moveTo>
                    <a:pt x="65611" y="32240"/>
                  </a:moveTo>
                  <a:cubicBezTo>
                    <a:pt x="65603" y="32260"/>
                    <a:pt x="65594" y="32281"/>
                    <a:pt x="65585" y="32304"/>
                  </a:cubicBezTo>
                  <a:cubicBezTo>
                    <a:pt x="63818" y="34296"/>
                    <a:pt x="62089" y="36568"/>
                    <a:pt x="60360" y="38661"/>
                  </a:cubicBezTo>
                  <a:cubicBezTo>
                    <a:pt x="57025" y="42703"/>
                    <a:pt x="53595" y="46655"/>
                    <a:pt x="50382" y="50798"/>
                  </a:cubicBezTo>
                  <a:cubicBezTo>
                    <a:pt x="47625" y="54355"/>
                    <a:pt x="44207" y="57409"/>
                    <a:pt x="41710" y="61156"/>
                  </a:cubicBezTo>
                  <a:cubicBezTo>
                    <a:pt x="41672" y="61032"/>
                    <a:pt x="41632" y="60917"/>
                    <a:pt x="41597" y="60793"/>
                  </a:cubicBezTo>
                  <a:cubicBezTo>
                    <a:pt x="41525" y="60539"/>
                    <a:pt x="41467" y="60296"/>
                    <a:pt x="41412" y="60056"/>
                  </a:cubicBezTo>
                  <a:cubicBezTo>
                    <a:pt x="44190" y="57911"/>
                    <a:pt x="46317" y="55232"/>
                    <a:pt x="48327" y="52443"/>
                  </a:cubicBezTo>
                  <a:cubicBezTo>
                    <a:pt x="49568" y="50856"/>
                    <a:pt x="50801" y="49262"/>
                    <a:pt x="52117" y="47772"/>
                  </a:cubicBezTo>
                  <a:cubicBezTo>
                    <a:pt x="54785" y="44752"/>
                    <a:pt x="57233" y="41548"/>
                    <a:pt x="59849" y="38491"/>
                  </a:cubicBezTo>
                  <a:cubicBezTo>
                    <a:pt x="60744" y="37541"/>
                    <a:pt x="61621" y="36576"/>
                    <a:pt x="62447" y="35586"/>
                  </a:cubicBezTo>
                  <a:cubicBezTo>
                    <a:pt x="63501" y="34466"/>
                    <a:pt x="64566" y="33363"/>
                    <a:pt x="65611" y="32240"/>
                  </a:cubicBezTo>
                  <a:close/>
                  <a:moveTo>
                    <a:pt x="58804" y="54311"/>
                  </a:moveTo>
                  <a:cubicBezTo>
                    <a:pt x="58189" y="55252"/>
                    <a:pt x="57655" y="56217"/>
                    <a:pt x="57268" y="57169"/>
                  </a:cubicBezTo>
                  <a:lnTo>
                    <a:pt x="57271" y="57169"/>
                  </a:lnTo>
                  <a:cubicBezTo>
                    <a:pt x="55281" y="58307"/>
                    <a:pt x="53483" y="59719"/>
                    <a:pt x="51840" y="61333"/>
                  </a:cubicBezTo>
                  <a:cubicBezTo>
                    <a:pt x="51748" y="61425"/>
                    <a:pt x="51676" y="61520"/>
                    <a:pt x="51589" y="61613"/>
                  </a:cubicBezTo>
                  <a:cubicBezTo>
                    <a:pt x="52016" y="61081"/>
                    <a:pt x="52438" y="60541"/>
                    <a:pt x="52859" y="60004"/>
                  </a:cubicBezTo>
                  <a:cubicBezTo>
                    <a:pt x="52889" y="60072"/>
                    <a:pt x="52954" y="60110"/>
                    <a:pt x="53021" y="60110"/>
                  </a:cubicBezTo>
                  <a:cubicBezTo>
                    <a:pt x="53059" y="60110"/>
                    <a:pt x="53098" y="60097"/>
                    <a:pt x="53131" y="60071"/>
                  </a:cubicBezTo>
                  <a:cubicBezTo>
                    <a:pt x="55261" y="58350"/>
                    <a:pt x="57086" y="56378"/>
                    <a:pt x="58804" y="54311"/>
                  </a:cubicBezTo>
                  <a:close/>
                  <a:moveTo>
                    <a:pt x="55648" y="46488"/>
                  </a:moveTo>
                  <a:cubicBezTo>
                    <a:pt x="53232" y="50091"/>
                    <a:pt x="50682" y="53676"/>
                    <a:pt x="48041" y="57100"/>
                  </a:cubicBezTo>
                  <a:cubicBezTo>
                    <a:pt x="47420" y="57877"/>
                    <a:pt x="46805" y="58656"/>
                    <a:pt x="46199" y="59439"/>
                  </a:cubicBezTo>
                  <a:cubicBezTo>
                    <a:pt x="46055" y="59621"/>
                    <a:pt x="45913" y="59800"/>
                    <a:pt x="45772" y="59981"/>
                  </a:cubicBezTo>
                  <a:cubicBezTo>
                    <a:pt x="45553" y="60250"/>
                    <a:pt x="43291" y="62352"/>
                    <a:pt x="43057" y="62352"/>
                  </a:cubicBezTo>
                  <a:cubicBezTo>
                    <a:pt x="42992" y="62352"/>
                    <a:pt x="43086" y="62187"/>
                    <a:pt x="43430" y="61768"/>
                  </a:cubicBezTo>
                  <a:cubicBezTo>
                    <a:pt x="44129" y="60923"/>
                    <a:pt x="44871" y="59880"/>
                    <a:pt x="45521" y="58997"/>
                  </a:cubicBezTo>
                  <a:cubicBezTo>
                    <a:pt x="48107" y="55489"/>
                    <a:pt x="50691" y="52045"/>
                    <a:pt x="53587" y="48786"/>
                  </a:cubicBezTo>
                  <a:cubicBezTo>
                    <a:pt x="54271" y="48015"/>
                    <a:pt x="54958" y="47250"/>
                    <a:pt x="55648" y="46488"/>
                  </a:cubicBezTo>
                  <a:close/>
                  <a:moveTo>
                    <a:pt x="45590" y="58483"/>
                  </a:moveTo>
                  <a:cubicBezTo>
                    <a:pt x="44504" y="59892"/>
                    <a:pt x="43401" y="61295"/>
                    <a:pt x="42267" y="62681"/>
                  </a:cubicBezTo>
                  <a:cubicBezTo>
                    <a:pt x="42117" y="62320"/>
                    <a:pt x="41972" y="61950"/>
                    <a:pt x="41840" y="61563"/>
                  </a:cubicBezTo>
                  <a:cubicBezTo>
                    <a:pt x="43263" y="60715"/>
                    <a:pt x="44484" y="59655"/>
                    <a:pt x="45590" y="58483"/>
                  </a:cubicBezTo>
                  <a:close/>
                  <a:moveTo>
                    <a:pt x="58737" y="44504"/>
                  </a:moveTo>
                  <a:cubicBezTo>
                    <a:pt x="57556" y="46196"/>
                    <a:pt x="56381" y="47873"/>
                    <a:pt x="55123" y="49403"/>
                  </a:cubicBezTo>
                  <a:cubicBezTo>
                    <a:pt x="51308" y="54035"/>
                    <a:pt x="48203" y="59277"/>
                    <a:pt x="43809" y="63402"/>
                  </a:cubicBezTo>
                  <a:lnTo>
                    <a:pt x="43809" y="63402"/>
                  </a:lnTo>
                  <a:cubicBezTo>
                    <a:pt x="45707" y="61620"/>
                    <a:pt x="47619" y="58452"/>
                    <a:pt x="49409" y="56277"/>
                  </a:cubicBezTo>
                  <a:cubicBezTo>
                    <a:pt x="51116" y="54210"/>
                    <a:pt x="52703" y="52039"/>
                    <a:pt x="54285" y="49874"/>
                  </a:cubicBezTo>
                  <a:cubicBezTo>
                    <a:pt x="55637" y="48023"/>
                    <a:pt x="57181" y="46265"/>
                    <a:pt x="58737" y="44504"/>
                  </a:cubicBezTo>
                  <a:close/>
                  <a:moveTo>
                    <a:pt x="44571" y="61618"/>
                  </a:moveTo>
                  <a:cubicBezTo>
                    <a:pt x="43993" y="62409"/>
                    <a:pt x="43430" y="63209"/>
                    <a:pt x="42890" y="64023"/>
                  </a:cubicBezTo>
                  <a:cubicBezTo>
                    <a:pt x="42729" y="63703"/>
                    <a:pt x="42576" y="63377"/>
                    <a:pt x="42429" y="63047"/>
                  </a:cubicBezTo>
                  <a:lnTo>
                    <a:pt x="42429" y="63045"/>
                  </a:lnTo>
                  <a:cubicBezTo>
                    <a:pt x="43194" y="62655"/>
                    <a:pt x="43912" y="62176"/>
                    <a:pt x="44571" y="61618"/>
                  </a:cubicBezTo>
                  <a:close/>
                  <a:moveTo>
                    <a:pt x="48924" y="59006"/>
                  </a:moveTo>
                  <a:lnTo>
                    <a:pt x="48924" y="59006"/>
                  </a:lnTo>
                  <a:cubicBezTo>
                    <a:pt x="47530" y="61038"/>
                    <a:pt x="46159" y="63047"/>
                    <a:pt x="44579" y="64956"/>
                  </a:cubicBezTo>
                  <a:cubicBezTo>
                    <a:pt x="45676" y="63628"/>
                    <a:pt x="47284" y="61021"/>
                    <a:pt x="48705" y="59286"/>
                  </a:cubicBezTo>
                  <a:cubicBezTo>
                    <a:pt x="48780" y="59190"/>
                    <a:pt x="48849" y="59095"/>
                    <a:pt x="48924" y="59006"/>
                  </a:cubicBezTo>
                  <a:close/>
                  <a:moveTo>
                    <a:pt x="46947" y="60683"/>
                  </a:moveTo>
                  <a:lnTo>
                    <a:pt x="46947" y="60683"/>
                  </a:lnTo>
                  <a:cubicBezTo>
                    <a:pt x="45783" y="62288"/>
                    <a:pt x="44704" y="63931"/>
                    <a:pt x="43771" y="65640"/>
                  </a:cubicBezTo>
                  <a:cubicBezTo>
                    <a:pt x="43534" y="65230"/>
                    <a:pt x="43312" y="64823"/>
                    <a:pt x="43098" y="64413"/>
                  </a:cubicBezTo>
                  <a:cubicBezTo>
                    <a:pt x="44449" y="63264"/>
                    <a:pt x="45726" y="62008"/>
                    <a:pt x="46947" y="60683"/>
                  </a:cubicBezTo>
                  <a:close/>
                  <a:moveTo>
                    <a:pt x="59055" y="46557"/>
                  </a:moveTo>
                  <a:lnTo>
                    <a:pt x="59055" y="46557"/>
                  </a:lnTo>
                  <a:cubicBezTo>
                    <a:pt x="57926" y="48119"/>
                    <a:pt x="56835" y="49683"/>
                    <a:pt x="55764" y="51118"/>
                  </a:cubicBezTo>
                  <a:cubicBezTo>
                    <a:pt x="53795" y="53757"/>
                    <a:pt x="51938" y="56477"/>
                    <a:pt x="49978" y="59124"/>
                  </a:cubicBezTo>
                  <a:cubicBezTo>
                    <a:pt x="49141" y="60253"/>
                    <a:pt x="48399" y="61512"/>
                    <a:pt x="47596" y="62715"/>
                  </a:cubicBezTo>
                  <a:cubicBezTo>
                    <a:pt x="47259" y="63177"/>
                    <a:pt x="46918" y="63639"/>
                    <a:pt x="46589" y="64107"/>
                  </a:cubicBezTo>
                  <a:cubicBezTo>
                    <a:pt x="45988" y="64875"/>
                    <a:pt x="45330" y="65591"/>
                    <a:pt x="44553" y="66183"/>
                  </a:cubicBezTo>
                  <a:cubicBezTo>
                    <a:pt x="44637" y="66118"/>
                    <a:pt x="44584" y="65987"/>
                    <a:pt x="44505" y="65987"/>
                  </a:cubicBezTo>
                  <a:cubicBezTo>
                    <a:pt x="44488" y="65987"/>
                    <a:pt x="44470" y="65993"/>
                    <a:pt x="44452" y="66007"/>
                  </a:cubicBezTo>
                  <a:lnTo>
                    <a:pt x="44126" y="66249"/>
                  </a:lnTo>
                  <a:lnTo>
                    <a:pt x="44002" y="66038"/>
                  </a:lnTo>
                  <a:cubicBezTo>
                    <a:pt x="48306" y="61350"/>
                    <a:pt x="51638" y="55743"/>
                    <a:pt x="55593" y="50757"/>
                  </a:cubicBezTo>
                  <a:cubicBezTo>
                    <a:pt x="56690" y="49372"/>
                    <a:pt x="57871" y="47974"/>
                    <a:pt x="59055" y="46557"/>
                  </a:cubicBezTo>
                  <a:close/>
                  <a:moveTo>
                    <a:pt x="65829" y="39399"/>
                  </a:moveTo>
                  <a:lnTo>
                    <a:pt x="65829" y="39399"/>
                  </a:lnTo>
                  <a:cubicBezTo>
                    <a:pt x="65903" y="39825"/>
                    <a:pt x="65949" y="40262"/>
                    <a:pt x="65917" y="40647"/>
                  </a:cubicBezTo>
                  <a:cubicBezTo>
                    <a:pt x="62724" y="44894"/>
                    <a:pt x="59592" y="49181"/>
                    <a:pt x="56381" y="53411"/>
                  </a:cubicBezTo>
                  <a:cubicBezTo>
                    <a:pt x="54866" y="55316"/>
                    <a:pt x="53356" y="57230"/>
                    <a:pt x="51849" y="59159"/>
                  </a:cubicBezTo>
                  <a:cubicBezTo>
                    <a:pt x="51144" y="60025"/>
                    <a:pt x="50440" y="60891"/>
                    <a:pt x="49721" y="61745"/>
                  </a:cubicBezTo>
                  <a:cubicBezTo>
                    <a:pt x="49260" y="62294"/>
                    <a:pt x="45788" y="66515"/>
                    <a:pt x="45444" y="66515"/>
                  </a:cubicBezTo>
                  <a:cubicBezTo>
                    <a:pt x="45343" y="66515"/>
                    <a:pt x="45514" y="66148"/>
                    <a:pt x="46115" y="65210"/>
                  </a:cubicBezTo>
                  <a:cubicBezTo>
                    <a:pt x="46343" y="64849"/>
                    <a:pt x="46592" y="64500"/>
                    <a:pt x="46828" y="64144"/>
                  </a:cubicBezTo>
                  <a:cubicBezTo>
                    <a:pt x="47899" y="62909"/>
                    <a:pt x="48817" y="61506"/>
                    <a:pt x="49724" y="60123"/>
                  </a:cubicBezTo>
                  <a:cubicBezTo>
                    <a:pt x="52628" y="56332"/>
                    <a:pt x="55821" y="52703"/>
                    <a:pt x="58781" y="49019"/>
                  </a:cubicBezTo>
                  <a:cubicBezTo>
                    <a:pt x="61317" y="45868"/>
                    <a:pt x="64134" y="43095"/>
                    <a:pt x="65829" y="39399"/>
                  </a:cubicBezTo>
                  <a:close/>
                  <a:moveTo>
                    <a:pt x="45887" y="65129"/>
                  </a:moveTo>
                  <a:lnTo>
                    <a:pt x="45887" y="65129"/>
                  </a:lnTo>
                  <a:cubicBezTo>
                    <a:pt x="45448" y="65773"/>
                    <a:pt x="45021" y="66422"/>
                    <a:pt x="44605" y="67086"/>
                  </a:cubicBezTo>
                  <a:lnTo>
                    <a:pt x="44605" y="67083"/>
                  </a:lnTo>
                  <a:cubicBezTo>
                    <a:pt x="44478" y="66861"/>
                    <a:pt x="44354" y="66647"/>
                    <a:pt x="44230" y="66434"/>
                  </a:cubicBezTo>
                  <a:cubicBezTo>
                    <a:pt x="44833" y="66061"/>
                    <a:pt x="45376" y="65614"/>
                    <a:pt x="45887" y="65129"/>
                  </a:cubicBezTo>
                  <a:close/>
                  <a:moveTo>
                    <a:pt x="65103" y="42544"/>
                  </a:moveTo>
                  <a:cubicBezTo>
                    <a:pt x="64863" y="43263"/>
                    <a:pt x="64621" y="43982"/>
                    <a:pt x="64381" y="44698"/>
                  </a:cubicBezTo>
                  <a:cubicBezTo>
                    <a:pt x="61745" y="48581"/>
                    <a:pt x="58449" y="52065"/>
                    <a:pt x="55665" y="55856"/>
                  </a:cubicBezTo>
                  <a:cubicBezTo>
                    <a:pt x="53694" y="58538"/>
                    <a:pt x="51673" y="61177"/>
                    <a:pt x="49528" y="63723"/>
                  </a:cubicBezTo>
                  <a:cubicBezTo>
                    <a:pt x="49214" y="64093"/>
                    <a:pt x="46444" y="67302"/>
                    <a:pt x="46232" y="67302"/>
                  </a:cubicBezTo>
                  <a:cubicBezTo>
                    <a:pt x="46163" y="67302"/>
                    <a:pt x="46367" y="66960"/>
                    <a:pt x="47019" y="66064"/>
                  </a:cubicBezTo>
                  <a:cubicBezTo>
                    <a:pt x="52854" y="58050"/>
                    <a:pt x="59678" y="50850"/>
                    <a:pt x="65103" y="42544"/>
                  </a:cubicBezTo>
                  <a:close/>
                  <a:moveTo>
                    <a:pt x="48589" y="63431"/>
                  </a:moveTo>
                  <a:cubicBezTo>
                    <a:pt x="47429" y="64979"/>
                    <a:pt x="46288" y="66535"/>
                    <a:pt x="45191" y="68100"/>
                  </a:cubicBezTo>
                  <a:cubicBezTo>
                    <a:pt x="45076" y="67906"/>
                    <a:pt x="44963" y="67716"/>
                    <a:pt x="44857" y="67525"/>
                  </a:cubicBezTo>
                  <a:cubicBezTo>
                    <a:pt x="46133" y="66186"/>
                    <a:pt x="47377" y="64820"/>
                    <a:pt x="48589" y="63431"/>
                  </a:cubicBezTo>
                  <a:close/>
                  <a:moveTo>
                    <a:pt x="51130" y="62173"/>
                  </a:moveTo>
                  <a:lnTo>
                    <a:pt x="51130" y="62173"/>
                  </a:lnTo>
                  <a:cubicBezTo>
                    <a:pt x="50045" y="63665"/>
                    <a:pt x="49926" y="65272"/>
                    <a:pt x="49883" y="67266"/>
                  </a:cubicBezTo>
                  <a:lnTo>
                    <a:pt x="49883" y="67266"/>
                  </a:lnTo>
                  <a:cubicBezTo>
                    <a:pt x="49853" y="67243"/>
                    <a:pt x="49817" y="67231"/>
                    <a:pt x="49781" y="67231"/>
                  </a:cubicBezTo>
                  <a:cubicBezTo>
                    <a:pt x="49741" y="67231"/>
                    <a:pt x="49701" y="67245"/>
                    <a:pt x="49669" y="67274"/>
                  </a:cubicBezTo>
                  <a:cubicBezTo>
                    <a:pt x="49453" y="67491"/>
                    <a:pt x="49245" y="67721"/>
                    <a:pt x="49048" y="67961"/>
                  </a:cubicBezTo>
                  <a:cubicBezTo>
                    <a:pt x="49274" y="67551"/>
                    <a:pt x="49484" y="67133"/>
                    <a:pt x="49635" y="66682"/>
                  </a:cubicBezTo>
                  <a:cubicBezTo>
                    <a:pt x="49674" y="66557"/>
                    <a:pt x="49563" y="66456"/>
                    <a:pt x="49452" y="66456"/>
                  </a:cubicBezTo>
                  <a:cubicBezTo>
                    <a:pt x="49409" y="66456"/>
                    <a:pt x="49366" y="66471"/>
                    <a:pt x="49331" y="66506"/>
                  </a:cubicBezTo>
                  <a:cubicBezTo>
                    <a:pt x="48587" y="67274"/>
                    <a:pt x="47908" y="68103"/>
                    <a:pt x="47198" y="68902"/>
                  </a:cubicBezTo>
                  <a:cubicBezTo>
                    <a:pt x="48234" y="67343"/>
                    <a:pt x="49372" y="65851"/>
                    <a:pt x="50140" y="64133"/>
                  </a:cubicBezTo>
                  <a:cubicBezTo>
                    <a:pt x="50201" y="63997"/>
                    <a:pt x="50105" y="63889"/>
                    <a:pt x="49998" y="63889"/>
                  </a:cubicBezTo>
                  <a:cubicBezTo>
                    <a:pt x="49949" y="63889"/>
                    <a:pt x="49897" y="63912"/>
                    <a:pt x="49857" y="63965"/>
                  </a:cubicBezTo>
                  <a:cubicBezTo>
                    <a:pt x="48549" y="65675"/>
                    <a:pt x="47123" y="67277"/>
                    <a:pt x="45708" y="68896"/>
                  </a:cubicBezTo>
                  <a:cubicBezTo>
                    <a:pt x="45601" y="68746"/>
                    <a:pt x="45492" y="68596"/>
                    <a:pt x="45396" y="68437"/>
                  </a:cubicBezTo>
                  <a:cubicBezTo>
                    <a:pt x="47466" y="66477"/>
                    <a:pt x="49343" y="64361"/>
                    <a:pt x="51130" y="62173"/>
                  </a:cubicBezTo>
                  <a:close/>
                  <a:moveTo>
                    <a:pt x="49886" y="67516"/>
                  </a:moveTo>
                  <a:lnTo>
                    <a:pt x="49886" y="67516"/>
                  </a:lnTo>
                  <a:cubicBezTo>
                    <a:pt x="49966" y="68641"/>
                    <a:pt x="49425" y="69325"/>
                    <a:pt x="48261" y="69568"/>
                  </a:cubicBezTo>
                  <a:lnTo>
                    <a:pt x="48261" y="69568"/>
                  </a:lnTo>
                  <a:cubicBezTo>
                    <a:pt x="48809" y="68890"/>
                    <a:pt x="49355" y="68209"/>
                    <a:pt x="49886" y="67516"/>
                  </a:cubicBezTo>
                  <a:close/>
                  <a:moveTo>
                    <a:pt x="49109" y="65377"/>
                  </a:moveTo>
                  <a:cubicBezTo>
                    <a:pt x="48249" y="66832"/>
                    <a:pt x="47207" y="68178"/>
                    <a:pt x="46320" y="69618"/>
                  </a:cubicBezTo>
                  <a:cubicBezTo>
                    <a:pt x="46133" y="69442"/>
                    <a:pt x="45962" y="69249"/>
                    <a:pt x="45806" y="69044"/>
                  </a:cubicBezTo>
                  <a:lnTo>
                    <a:pt x="45809" y="69041"/>
                  </a:lnTo>
                  <a:cubicBezTo>
                    <a:pt x="45844" y="69000"/>
                    <a:pt x="45879" y="68954"/>
                    <a:pt x="45916" y="68911"/>
                  </a:cubicBezTo>
                  <a:lnTo>
                    <a:pt x="45916" y="68908"/>
                  </a:lnTo>
                  <a:cubicBezTo>
                    <a:pt x="46112" y="68755"/>
                    <a:pt x="46346" y="68562"/>
                    <a:pt x="46421" y="68481"/>
                  </a:cubicBezTo>
                  <a:cubicBezTo>
                    <a:pt x="46857" y="68013"/>
                    <a:pt x="47284" y="67542"/>
                    <a:pt x="47706" y="67063"/>
                  </a:cubicBezTo>
                  <a:cubicBezTo>
                    <a:pt x="48191" y="66518"/>
                    <a:pt x="48644" y="65943"/>
                    <a:pt x="49109" y="65377"/>
                  </a:cubicBezTo>
                  <a:close/>
                  <a:moveTo>
                    <a:pt x="48884" y="67528"/>
                  </a:moveTo>
                  <a:lnTo>
                    <a:pt x="48884" y="67528"/>
                  </a:lnTo>
                  <a:cubicBezTo>
                    <a:pt x="48511" y="68253"/>
                    <a:pt x="48050" y="68934"/>
                    <a:pt x="47657" y="69653"/>
                  </a:cubicBezTo>
                  <a:cubicBezTo>
                    <a:pt x="47471" y="69667"/>
                    <a:pt x="47280" y="69674"/>
                    <a:pt x="47091" y="69674"/>
                  </a:cubicBezTo>
                  <a:cubicBezTo>
                    <a:pt x="47055" y="69674"/>
                    <a:pt x="47018" y="69674"/>
                    <a:pt x="46981" y="69673"/>
                  </a:cubicBezTo>
                  <a:lnTo>
                    <a:pt x="46984" y="69670"/>
                  </a:lnTo>
                  <a:cubicBezTo>
                    <a:pt x="47637" y="68974"/>
                    <a:pt x="48249" y="68241"/>
                    <a:pt x="48884" y="67528"/>
                  </a:cubicBezTo>
                  <a:close/>
                  <a:moveTo>
                    <a:pt x="56030" y="1"/>
                  </a:moveTo>
                  <a:cubicBezTo>
                    <a:pt x="52889" y="1"/>
                    <a:pt x="49939" y="1620"/>
                    <a:pt x="50763" y="4375"/>
                  </a:cubicBezTo>
                  <a:cubicBezTo>
                    <a:pt x="49929" y="5218"/>
                    <a:pt x="49118" y="6095"/>
                    <a:pt x="48330" y="6999"/>
                  </a:cubicBezTo>
                  <a:cubicBezTo>
                    <a:pt x="48162" y="7172"/>
                    <a:pt x="47989" y="7346"/>
                    <a:pt x="47827" y="7522"/>
                  </a:cubicBezTo>
                  <a:cubicBezTo>
                    <a:pt x="47599" y="7767"/>
                    <a:pt x="47374" y="8012"/>
                    <a:pt x="47146" y="8261"/>
                  </a:cubicBezTo>
                  <a:cubicBezTo>
                    <a:pt x="48093" y="7034"/>
                    <a:pt x="49020" y="5789"/>
                    <a:pt x="49883" y="4502"/>
                  </a:cubicBezTo>
                  <a:cubicBezTo>
                    <a:pt x="49941" y="4560"/>
                    <a:pt x="49998" y="4617"/>
                    <a:pt x="50053" y="4672"/>
                  </a:cubicBezTo>
                  <a:cubicBezTo>
                    <a:pt x="50084" y="4704"/>
                    <a:pt x="50119" y="4718"/>
                    <a:pt x="50154" y="4718"/>
                  </a:cubicBezTo>
                  <a:cubicBezTo>
                    <a:pt x="50254" y="4718"/>
                    <a:pt x="50345" y="4601"/>
                    <a:pt x="50287" y="4493"/>
                  </a:cubicBezTo>
                  <a:cubicBezTo>
                    <a:pt x="49949" y="3835"/>
                    <a:pt x="49253" y="3278"/>
                    <a:pt x="48497" y="3035"/>
                  </a:cubicBezTo>
                  <a:cubicBezTo>
                    <a:pt x="48462" y="3005"/>
                    <a:pt x="48418" y="2988"/>
                    <a:pt x="48372" y="2988"/>
                  </a:cubicBezTo>
                  <a:cubicBezTo>
                    <a:pt x="48366" y="2988"/>
                    <a:pt x="48359" y="2988"/>
                    <a:pt x="48353" y="2989"/>
                  </a:cubicBezTo>
                  <a:cubicBezTo>
                    <a:pt x="48153" y="2937"/>
                    <a:pt x="47951" y="2908"/>
                    <a:pt x="47744" y="2905"/>
                  </a:cubicBezTo>
                  <a:cubicBezTo>
                    <a:pt x="47711" y="2845"/>
                    <a:pt x="47651" y="2815"/>
                    <a:pt x="47592" y="2815"/>
                  </a:cubicBezTo>
                  <a:cubicBezTo>
                    <a:pt x="47537" y="2815"/>
                    <a:pt x="47482" y="2841"/>
                    <a:pt x="47449" y="2894"/>
                  </a:cubicBezTo>
                  <a:cubicBezTo>
                    <a:pt x="47438" y="2911"/>
                    <a:pt x="47423" y="2928"/>
                    <a:pt x="47412" y="2943"/>
                  </a:cubicBezTo>
                  <a:cubicBezTo>
                    <a:pt x="47172" y="2986"/>
                    <a:pt x="46938" y="3053"/>
                    <a:pt x="46722" y="3194"/>
                  </a:cubicBezTo>
                  <a:cubicBezTo>
                    <a:pt x="46527" y="3318"/>
                    <a:pt x="46202" y="3928"/>
                    <a:pt x="45956" y="3928"/>
                  </a:cubicBezTo>
                  <a:cubicBezTo>
                    <a:pt x="45950" y="3928"/>
                    <a:pt x="45945" y="3928"/>
                    <a:pt x="45939" y="3927"/>
                  </a:cubicBezTo>
                  <a:cubicBezTo>
                    <a:pt x="45894" y="3921"/>
                    <a:pt x="45848" y="3918"/>
                    <a:pt x="45802" y="3918"/>
                  </a:cubicBezTo>
                  <a:cubicBezTo>
                    <a:pt x="45586" y="3918"/>
                    <a:pt x="45373" y="3986"/>
                    <a:pt x="45191" y="4112"/>
                  </a:cubicBezTo>
                  <a:cubicBezTo>
                    <a:pt x="44819" y="4381"/>
                    <a:pt x="44851" y="5108"/>
                    <a:pt x="44813" y="5550"/>
                  </a:cubicBezTo>
                  <a:cubicBezTo>
                    <a:pt x="44735" y="5478"/>
                    <a:pt x="44663" y="5397"/>
                    <a:pt x="44579" y="5330"/>
                  </a:cubicBezTo>
                  <a:cubicBezTo>
                    <a:pt x="44545" y="5303"/>
                    <a:pt x="44508" y="5292"/>
                    <a:pt x="44472" y="5292"/>
                  </a:cubicBezTo>
                  <a:cubicBezTo>
                    <a:pt x="44338" y="5292"/>
                    <a:pt x="44223" y="5449"/>
                    <a:pt x="44348" y="5558"/>
                  </a:cubicBezTo>
                  <a:cubicBezTo>
                    <a:pt x="44894" y="6035"/>
                    <a:pt x="45318" y="6592"/>
                    <a:pt x="45720" y="7190"/>
                  </a:cubicBezTo>
                  <a:cubicBezTo>
                    <a:pt x="45947" y="7526"/>
                    <a:pt x="46197" y="7719"/>
                    <a:pt x="46136" y="7719"/>
                  </a:cubicBezTo>
                  <a:cubicBezTo>
                    <a:pt x="46109" y="7719"/>
                    <a:pt x="46024" y="7682"/>
                    <a:pt x="45853" y="7605"/>
                  </a:cubicBezTo>
                  <a:cubicBezTo>
                    <a:pt x="45134" y="7279"/>
                    <a:pt x="44377" y="7031"/>
                    <a:pt x="43604" y="6869"/>
                  </a:cubicBezTo>
                  <a:cubicBezTo>
                    <a:pt x="43386" y="6822"/>
                    <a:pt x="43155" y="6792"/>
                    <a:pt x="42931" y="6792"/>
                  </a:cubicBezTo>
                  <a:cubicBezTo>
                    <a:pt x="42352" y="6792"/>
                    <a:pt x="41822" y="6997"/>
                    <a:pt x="41695" y="7660"/>
                  </a:cubicBezTo>
                  <a:cubicBezTo>
                    <a:pt x="41635" y="7981"/>
                    <a:pt x="41770" y="8399"/>
                    <a:pt x="41909" y="8714"/>
                  </a:cubicBezTo>
                  <a:cubicBezTo>
                    <a:pt x="41851" y="8659"/>
                    <a:pt x="41782" y="8604"/>
                    <a:pt x="41707" y="8547"/>
                  </a:cubicBezTo>
                  <a:cubicBezTo>
                    <a:pt x="41689" y="8529"/>
                    <a:pt x="41669" y="8512"/>
                    <a:pt x="41646" y="8503"/>
                  </a:cubicBezTo>
                  <a:cubicBezTo>
                    <a:pt x="41447" y="8359"/>
                    <a:pt x="41219" y="8223"/>
                    <a:pt x="41031" y="8154"/>
                  </a:cubicBezTo>
                  <a:cubicBezTo>
                    <a:pt x="40608" y="8000"/>
                    <a:pt x="40192" y="7933"/>
                    <a:pt x="39782" y="7933"/>
                  </a:cubicBezTo>
                  <a:cubicBezTo>
                    <a:pt x="38319" y="7933"/>
                    <a:pt x="36941" y="8782"/>
                    <a:pt x="35656" y="9519"/>
                  </a:cubicBezTo>
                  <a:cubicBezTo>
                    <a:pt x="35627" y="9485"/>
                    <a:pt x="35604" y="9447"/>
                    <a:pt x="35572" y="9413"/>
                  </a:cubicBezTo>
                  <a:cubicBezTo>
                    <a:pt x="35578" y="9404"/>
                    <a:pt x="35583" y="9395"/>
                    <a:pt x="35589" y="9387"/>
                  </a:cubicBezTo>
                  <a:cubicBezTo>
                    <a:pt x="35670" y="9260"/>
                    <a:pt x="35562" y="9153"/>
                    <a:pt x="35445" y="9153"/>
                  </a:cubicBezTo>
                  <a:cubicBezTo>
                    <a:pt x="35424" y="9153"/>
                    <a:pt x="35402" y="9157"/>
                    <a:pt x="35381" y="9164"/>
                  </a:cubicBezTo>
                  <a:cubicBezTo>
                    <a:pt x="35188" y="8910"/>
                    <a:pt x="35009" y="8653"/>
                    <a:pt x="34844" y="8396"/>
                  </a:cubicBezTo>
                  <a:cubicBezTo>
                    <a:pt x="34891" y="8284"/>
                    <a:pt x="34801" y="8168"/>
                    <a:pt x="34694" y="8160"/>
                  </a:cubicBezTo>
                  <a:cubicBezTo>
                    <a:pt x="33935" y="6921"/>
                    <a:pt x="33395" y="5706"/>
                    <a:pt x="32364" y="4773"/>
                  </a:cubicBezTo>
                  <a:cubicBezTo>
                    <a:pt x="32364" y="4686"/>
                    <a:pt x="32292" y="4618"/>
                    <a:pt x="32207" y="4618"/>
                  </a:cubicBezTo>
                  <a:cubicBezTo>
                    <a:pt x="32199" y="4618"/>
                    <a:pt x="32191" y="4619"/>
                    <a:pt x="32183" y="4620"/>
                  </a:cubicBezTo>
                  <a:cubicBezTo>
                    <a:pt x="32004" y="4470"/>
                    <a:pt x="31813" y="4332"/>
                    <a:pt x="31614" y="4207"/>
                  </a:cubicBezTo>
                  <a:cubicBezTo>
                    <a:pt x="31680" y="4085"/>
                    <a:pt x="31564" y="3950"/>
                    <a:pt x="31446" y="3950"/>
                  </a:cubicBezTo>
                  <a:cubicBezTo>
                    <a:pt x="31405" y="3950"/>
                    <a:pt x="31364" y="3967"/>
                    <a:pt x="31331" y="4005"/>
                  </a:cubicBezTo>
                  <a:cubicBezTo>
                    <a:pt x="31325" y="4014"/>
                    <a:pt x="31316" y="4023"/>
                    <a:pt x="31308" y="4034"/>
                  </a:cubicBezTo>
                  <a:cubicBezTo>
                    <a:pt x="31111" y="3927"/>
                    <a:pt x="30912" y="3832"/>
                    <a:pt x="30704" y="3748"/>
                  </a:cubicBezTo>
                  <a:cubicBezTo>
                    <a:pt x="30035" y="3477"/>
                    <a:pt x="29258" y="3370"/>
                    <a:pt x="28444" y="3359"/>
                  </a:cubicBezTo>
                  <a:cubicBezTo>
                    <a:pt x="28407" y="3326"/>
                    <a:pt x="28361" y="3305"/>
                    <a:pt x="28316" y="3305"/>
                  </a:cubicBezTo>
                  <a:cubicBezTo>
                    <a:pt x="28277" y="3305"/>
                    <a:pt x="28240" y="3321"/>
                    <a:pt x="28210" y="3359"/>
                  </a:cubicBezTo>
                  <a:cubicBezTo>
                    <a:pt x="26795" y="3370"/>
                    <a:pt x="25280" y="3662"/>
                    <a:pt x="23926" y="4031"/>
                  </a:cubicBezTo>
                  <a:cubicBezTo>
                    <a:pt x="23890" y="3992"/>
                    <a:pt x="23840" y="3965"/>
                    <a:pt x="23790" y="3965"/>
                  </a:cubicBezTo>
                  <a:cubicBezTo>
                    <a:pt x="23755" y="3965"/>
                    <a:pt x="23721" y="3979"/>
                    <a:pt x="23692" y="4011"/>
                  </a:cubicBezTo>
                  <a:cubicBezTo>
                    <a:pt x="23657" y="4049"/>
                    <a:pt x="23623" y="4089"/>
                    <a:pt x="23588" y="4127"/>
                  </a:cubicBezTo>
                  <a:cubicBezTo>
                    <a:pt x="23094" y="4268"/>
                    <a:pt x="22618" y="4412"/>
                    <a:pt x="22194" y="4551"/>
                  </a:cubicBezTo>
                  <a:cubicBezTo>
                    <a:pt x="22110" y="4580"/>
                    <a:pt x="22015" y="4614"/>
                    <a:pt x="21925" y="4643"/>
                  </a:cubicBezTo>
                  <a:cubicBezTo>
                    <a:pt x="21908" y="4555"/>
                    <a:pt x="21832" y="4501"/>
                    <a:pt x="21753" y="4501"/>
                  </a:cubicBezTo>
                  <a:cubicBezTo>
                    <a:pt x="21712" y="4501"/>
                    <a:pt x="21671" y="4515"/>
                    <a:pt x="21636" y="4545"/>
                  </a:cubicBezTo>
                  <a:cubicBezTo>
                    <a:pt x="21506" y="4652"/>
                    <a:pt x="21382" y="4767"/>
                    <a:pt x="21252" y="4874"/>
                  </a:cubicBezTo>
                  <a:cubicBezTo>
                    <a:pt x="17407" y="6225"/>
                    <a:pt x="11050" y="8936"/>
                    <a:pt x="10123" y="12848"/>
                  </a:cubicBezTo>
                  <a:cubicBezTo>
                    <a:pt x="10100" y="12938"/>
                    <a:pt x="10155" y="13033"/>
                    <a:pt x="10244" y="13059"/>
                  </a:cubicBezTo>
                  <a:cubicBezTo>
                    <a:pt x="11803" y="14017"/>
                    <a:pt x="12493" y="15276"/>
                    <a:pt x="12311" y="16835"/>
                  </a:cubicBezTo>
                  <a:cubicBezTo>
                    <a:pt x="12311" y="16914"/>
                    <a:pt x="12378" y="17006"/>
                    <a:pt x="12466" y="17006"/>
                  </a:cubicBezTo>
                  <a:cubicBezTo>
                    <a:pt x="12471" y="17006"/>
                    <a:pt x="12476" y="17006"/>
                    <a:pt x="12482" y="17005"/>
                  </a:cubicBezTo>
                  <a:cubicBezTo>
                    <a:pt x="12543" y="16998"/>
                    <a:pt x="12602" y="16994"/>
                    <a:pt x="12660" y="16994"/>
                  </a:cubicBezTo>
                  <a:cubicBezTo>
                    <a:pt x="13880" y="16994"/>
                    <a:pt x="14436" y="18635"/>
                    <a:pt x="14970" y="20360"/>
                  </a:cubicBezTo>
                  <a:cubicBezTo>
                    <a:pt x="14962" y="20383"/>
                    <a:pt x="14947" y="20406"/>
                    <a:pt x="14938" y="20429"/>
                  </a:cubicBezTo>
                  <a:cubicBezTo>
                    <a:pt x="14889" y="20528"/>
                    <a:pt x="14953" y="20646"/>
                    <a:pt x="15063" y="20658"/>
                  </a:cubicBezTo>
                  <a:cubicBezTo>
                    <a:pt x="15424" y="21824"/>
                    <a:pt x="15796" y="22990"/>
                    <a:pt x="16373" y="23677"/>
                  </a:cubicBezTo>
                  <a:cubicBezTo>
                    <a:pt x="16386" y="23692"/>
                    <a:pt x="16403" y="23699"/>
                    <a:pt x="16419" y="23699"/>
                  </a:cubicBezTo>
                  <a:cubicBezTo>
                    <a:pt x="16469" y="23699"/>
                    <a:pt x="16520" y="23641"/>
                    <a:pt x="16483" y="23591"/>
                  </a:cubicBezTo>
                  <a:cubicBezTo>
                    <a:pt x="16189" y="23178"/>
                    <a:pt x="15940" y="22730"/>
                    <a:pt x="15744" y="22263"/>
                  </a:cubicBezTo>
                  <a:lnTo>
                    <a:pt x="15744" y="22263"/>
                  </a:lnTo>
                  <a:cubicBezTo>
                    <a:pt x="15771" y="22286"/>
                    <a:pt x="15806" y="22298"/>
                    <a:pt x="15840" y="22298"/>
                  </a:cubicBezTo>
                  <a:cubicBezTo>
                    <a:pt x="15882" y="22298"/>
                    <a:pt x="15923" y="22280"/>
                    <a:pt x="15952" y="22245"/>
                  </a:cubicBezTo>
                  <a:cubicBezTo>
                    <a:pt x="16460" y="21703"/>
                    <a:pt x="16951" y="21148"/>
                    <a:pt x="17433" y="20591"/>
                  </a:cubicBezTo>
                  <a:lnTo>
                    <a:pt x="17433" y="20591"/>
                  </a:lnTo>
                  <a:cubicBezTo>
                    <a:pt x="16994" y="21350"/>
                    <a:pt x="16610" y="22133"/>
                    <a:pt x="16318" y="22944"/>
                  </a:cubicBezTo>
                  <a:cubicBezTo>
                    <a:pt x="16277" y="23062"/>
                    <a:pt x="16378" y="23146"/>
                    <a:pt x="16480" y="23146"/>
                  </a:cubicBezTo>
                  <a:cubicBezTo>
                    <a:pt x="16520" y="23146"/>
                    <a:pt x="16561" y="23132"/>
                    <a:pt x="16593" y="23103"/>
                  </a:cubicBezTo>
                  <a:cubicBezTo>
                    <a:pt x="17387" y="22381"/>
                    <a:pt x="18143" y="21604"/>
                    <a:pt x="18871" y="20793"/>
                  </a:cubicBezTo>
                  <a:lnTo>
                    <a:pt x="18871" y="20793"/>
                  </a:lnTo>
                  <a:cubicBezTo>
                    <a:pt x="18241" y="21746"/>
                    <a:pt x="17621" y="22696"/>
                    <a:pt x="17008" y="23646"/>
                  </a:cubicBezTo>
                  <a:cubicBezTo>
                    <a:pt x="17003" y="23625"/>
                    <a:pt x="17006" y="23608"/>
                    <a:pt x="17000" y="23588"/>
                  </a:cubicBezTo>
                  <a:cubicBezTo>
                    <a:pt x="16986" y="23516"/>
                    <a:pt x="16924" y="23484"/>
                    <a:pt x="16861" y="23484"/>
                  </a:cubicBezTo>
                  <a:cubicBezTo>
                    <a:pt x="16782" y="23484"/>
                    <a:pt x="16701" y="23535"/>
                    <a:pt x="16711" y="23625"/>
                  </a:cubicBezTo>
                  <a:cubicBezTo>
                    <a:pt x="16731" y="23790"/>
                    <a:pt x="16728" y="23954"/>
                    <a:pt x="16700" y="24119"/>
                  </a:cubicBezTo>
                  <a:cubicBezTo>
                    <a:pt x="16512" y="24411"/>
                    <a:pt x="16327" y="24699"/>
                    <a:pt x="16142" y="24991"/>
                  </a:cubicBezTo>
                  <a:cubicBezTo>
                    <a:pt x="15455" y="25505"/>
                    <a:pt x="14451" y="25672"/>
                    <a:pt x="14754" y="26798"/>
                  </a:cubicBezTo>
                  <a:cubicBezTo>
                    <a:pt x="14849" y="27145"/>
                    <a:pt x="14976" y="27480"/>
                    <a:pt x="15135" y="27803"/>
                  </a:cubicBezTo>
                  <a:cubicBezTo>
                    <a:pt x="15164" y="27863"/>
                    <a:pt x="15207" y="27970"/>
                    <a:pt x="15250" y="28092"/>
                  </a:cubicBezTo>
                  <a:cubicBezTo>
                    <a:pt x="15224" y="28172"/>
                    <a:pt x="15259" y="28262"/>
                    <a:pt x="15331" y="28308"/>
                  </a:cubicBezTo>
                  <a:cubicBezTo>
                    <a:pt x="15415" y="28551"/>
                    <a:pt x="15504" y="28828"/>
                    <a:pt x="15582" y="29079"/>
                  </a:cubicBezTo>
                  <a:cubicBezTo>
                    <a:pt x="15559" y="29142"/>
                    <a:pt x="15579" y="29215"/>
                    <a:pt x="15637" y="29255"/>
                  </a:cubicBezTo>
                  <a:cubicBezTo>
                    <a:pt x="15716" y="29537"/>
                    <a:pt x="15763" y="29744"/>
                    <a:pt x="15733" y="29744"/>
                  </a:cubicBezTo>
                  <a:cubicBezTo>
                    <a:pt x="15730" y="29744"/>
                    <a:pt x="15726" y="29742"/>
                    <a:pt x="15721" y="29737"/>
                  </a:cubicBezTo>
                  <a:cubicBezTo>
                    <a:pt x="14996" y="29064"/>
                    <a:pt x="14101" y="28782"/>
                    <a:pt x="13137" y="28727"/>
                  </a:cubicBezTo>
                  <a:cubicBezTo>
                    <a:pt x="13134" y="28726"/>
                    <a:pt x="13131" y="28726"/>
                    <a:pt x="13128" y="28726"/>
                  </a:cubicBezTo>
                  <a:cubicBezTo>
                    <a:pt x="13043" y="28726"/>
                    <a:pt x="12987" y="28804"/>
                    <a:pt x="12981" y="28883"/>
                  </a:cubicBezTo>
                  <a:cubicBezTo>
                    <a:pt x="12921" y="29707"/>
                    <a:pt x="13015" y="30240"/>
                    <a:pt x="12508" y="30240"/>
                  </a:cubicBezTo>
                  <a:cubicBezTo>
                    <a:pt x="12478" y="30240"/>
                    <a:pt x="12445" y="30238"/>
                    <a:pt x="12409" y="30234"/>
                  </a:cubicBezTo>
                  <a:cubicBezTo>
                    <a:pt x="12377" y="30184"/>
                    <a:pt x="12324" y="30152"/>
                    <a:pt x="12269" y="30152"/>
                  </a:cubicBezTo>
                  <a:cubicBezTo>
                    <a:pt x="12238" y="30152"/>
                    <a:pt x="12205" y="30163"/>
                    <a:pt x="12176" y="30188"/>
                  </a:cubicBezTo>
                  <a:cubicBezTo>
                    <a:pt x="12109" y="30167"/>
                    <a:pt x="12051" y="30159"/>
                    <a:pt x="11974" y="30130"/>
                  </a:cubicBezTo>
                  <a:cubicBezTo>
                    <a:pt x="11354" y="29917"/>
                    <a:pt x="10734" y="29803"/>
                    <a:pt x="10098" y="29803"/>
                  </a:cubicBezTo>
                  <a:cubicBezTo>
                    <a:pt x="9872" y="29803"/>
                    <a:pt x="9644" y="29817"/>
                    <a:pt x="9413" y="29847"/>
                  </a:cubicBezTo>
                  <a:cubicBezTo>
                    <a:pt x="9303" y="29861"/>
                    <a:pt x="9242" y="29977"/>
                    <a:pt x="9320" y="30066"/>
                  </a:cubicBezTo>
                  <a:cubicBezTo>
                    <a:pt x="9488" y="30263"/>
                    <a:pt x="9647" y="30468"/>
                    <a:pt x="9794" y="30681"/>
                  </a:cubicBezTo>
                  <a:cubicBezTo>
                    <a:pt x="9797" y="30696"/>
                    <a:pt x="9814" y="30701"/>
                    <a:pt x="9820" y="30716"/>
                  </a:cubicBezTo>
                  <a:cubicBezTo>
                    <a:pt x="10025" y="31002"/>
                    <a:pt x="10227" y="31290"/>
                    <a:pt x="10458" y="31559"/>
                  </a:cubicBezTo>
                  <a:cubicBezTo>
                    <a:pt x="10471" y="31574"/>
                    <a:pt x="10486" y="31580"/>
                    <a:pt x="10503" y="31580"/>
                  </a:cubicBezTo>
                  <a:cubicBezTo>
                    <a:pt x="10553" y="31580"/>
                    <a:pt x="10605" y="31520"/>
                    <a:pt x="10568" y="31472"/>
                  </a:cubicBezTo>
                  <a:cubicBezTo>
                    <a:pt x="10556" y="31458"/>
                    <a:pt x="10518" y="31409"/>
                    <a:pt x="10472" y="31348"/>
                  </a:cubicBezTo>
                  <a:cubicBezTo>
                    <a:pt x="10510" y="31342"/>
                    <a:pt x="10544" y="31328"/>
                    <a:pt x="10570" y="31305"/>
                  </a:cubicBezTo>
                  <a:cubicBezTo>
                    <a:pt x="10637" y="31253"/>
                    <a:pt x="10703" y="31204"/>
                    <a:pt x="10770" y="31155"/>
                  </a:cubicBezTo>
                  <a:lnTo>
                    <a:pt x="10770" y="31155"/>
                  </a:lnTo>
                  <a:cubicBezTo>
                    <a:pt x="10709" y="32116"/>
                    <a:pt x="10374" y="32405"/>
                    <a:pt x="9906" y="32416"/>
                  </a:cubicBezTo>
                  <a:cubicBezTo>
                    <a:pt x="9874" y="32395"/>
                    <a:pt x="9838" y="32384"/>
                    <a:pt x="9803" y="32384"/>
                  </a:cubicBezTo>
                  <a:cubicBezTo>
                    <a:pt x="9771" y="32384"/>
                    <a:pt x="9739" y="32393"/>
                    <a:pt x="9710" y="32411"/>
                  </a:cubicBezTo>
                  <a:cubicBezTo>
                    <a:pt x="9248" y="32361"/>
                    <a:pt x="8694" y="32130"/>
                    <a:pt x="8151" y="32029"/>
                  </a:cubicBezTo>
                  <a:cubicBezTo>
                    <a:pt x="8145" y="32027"/>
                    <a:pt x="8142" y="32018"/>
                    <a:pt x="8134" y="32018"/>
                  </a:cubicBezTo>
                  <a:cubicBezTo>
                    <a:pt x="8132" y="32017"/>
                    <a:pt x="8130" y="32017"/>
                    <a:pt x="8129" y="32017"/>
                  </a:cubicBezTo>
                  <a:cubicBezTo>
                    <a:pt x="8122" y="32017"/>
                    <a:pt x="8114" y="32021"/>
                    <a:pt x="8105" y="32021"/>
                  </a:cubicBezTo>
                  <a:cubicBezTo>
                    <a:pt x="7960" y="31995"/>
                    <a:pt x="7816" y="31978"/>
                    <a:pt x="7675" y="31978"/>
                  </a:cubicBezTo>
                  <a:cubicBezTo>
                    <a:pt x="7579" y="31978"/>
                    <a:pt x="7486" y="31986"/>
                    <a:pt x="7395" y="32003"/>
                  </a:cubicBezTo>
                  <a:cubicBezTo>
                    <a:pt x="6878" y="32102"/>
                    <a:pt x="5997" y="32543"/>
                    <a:pt x="6237" y="33181"/>
                  </a:cubicBezTo>
                  <a:cubicBezTo>
                    <a:pt x="6324" y="33415"/>
                    <a:pt x="6534" y="33637"/>
                    <a:pt x="6716" y="33842"/>
                  </a:cubicBezTo>
                  <a:cubicBezTo>
                    <a:pt x="6685" y="33892"/>
                    <a:pt x="6653" y="33944"/>
                    <a:pt x="6621" y="33993"/>
                  </a:cubicBezTo>
                  <a:cubicBezTo>
                    <a:pt x="6539" y="34112"/>
                    <a:pt x="6654" y="34269"/>
                    <a:pt x="6781" y="34269"/>
                  </a:cubicBezTo>
                  <a:cubicBezTo>
                    <a:pt x="6811" y="34269"/>
                    <a:pt x="6841" y="34261"/>
                    <a:pt x="6869" y="34241"/>
                  </a:cubicBezTo>
                  <a:cubicBezTo>
                    <a:pt x="6901" y="34221"/>
                    <a:pt x="6927" y="34195"/>
                    <a:pt x="6956" y="34174"/>
                  </a:cubicBezTo>
                  <a:cubicBezTo>
                    <a:pt x="7086" y="34379"/>
                    <a:pt x="7175" y="34610"/>
                    <a:pt x="7216" y="34850"/>
                  </a:cubicBezTo>
                  <a:cubicBezTo>
                    <a:pt x="7187" y="34905"/>
                    <a:pt x="7155" y="34951"/>
                    <a:pt x="7126" y="35006"/>
                  </a:cubicBezTo>
                  <a:cubicBezTo>
                    <a:pt x="7093" y="35072"/>
                    <a:pt x="7143" y="35146"/>
                    <a:pt x="7211" y="35146"/>
                  </a:cubicBezTo>
                  <a:cubicBezTo>
                    <a:pt x="7220" y="35146"/>
                    <a:pt x="7230" y="35144"/>
                    <a:pt x="7239" y="35142"/>
                  </a:cubicBezTo>
                  <a:lnTo>
                    <a:pt x="7239" y="35142"/>
                  </a:lnTo>
                  <a:cubicBezTo>
                    <a:pt x="7248" y="35370"/>
                    <a:pt x="7236" y="35598"/>
                    <a:pt x="7201" y="35826"/>
                  </a:cubicBezTo>
                  <a:cubicBezTo>
                    <a:pt x="7198" y="35845"/>
                    <a:pt x="7187" y="35854"/>
                    <a:pt x="7168" y="35854"/>
                  </a:cubicBezTo>
                  <a:cubicBezTo>
                    <a:pt x="6972" y="35854"/>
                    <a:pt x="6004" y="34900"/>
                    <a:pt x="5917" y="34818"/>
                  </a:cubicBezTo>
                  <a:cubicBezTo>
                    <a:pt x="4813" y="33776"/>
                    <a:pt x="3606" y="33350"/>
                    <a:pt x="2205" y="33350"/>
                  </a:cubicBezTo>
                  <a:cubicBezTo>
                    <a:pt x="2020" y="33350"/>
                    <a:pt x="1831" y="33357"/>
                    <a:pt x="1638" y="33372"/>
                  </a:cubicBezTo>
                  <a:lnTo>
                    <a:pt x="1638" y="33369"/>
                  </a:lnTo>
                  <a:cubicBezTo>
                    <a:pt x="1659" y="33267"/>
                    <a:pt x="1579" y="33182"/>
                    <a:pt x="1492" y="33182"/>
                  </a:cubicBezTo>
                  <a:cubicBezTo>
                    <a:pt x="1458" y="33182"/>
                    <a:pt x="1423" y="33195"/>
                    <a:pt x="1393" y="33225"/>
                  </a:cubicBezTo>
                  <a:cubicBezTo>
                    <a:pt x="827" y="33773"/>
                    <a:pt x="965" y="33516"/>
                    <a:pt x="755" y="34163"/>
                  </a:cubicBezTo>
                  <a:cubicBezTo>
                    <a:pt x="734" y="34232"/>
                    <a:pt x="800" y="34288"/>
                    <a:pt x="860" y="34288"/>
                  </a:cubicBezTo>
                  <a:cubicBezTo>
                    <a:pt x="891" y="34288"/>
                    <a:pt x="921" y="34273"/>
                    <a:pt x="937" y="34238"/>
                  </a:cubicBezTo>
                  <a:lnTo>
                    <a:pt x="937" y="34238"/>
                  </a:lnTo>
                  <a:cubicBezTo>
                    <a:pt x="899" y="34394"/>
                    <a:pt x="859" y="34547"/>
                    <a:pt x="821" y="34700"/>
                  </a:cubicBezTo>
                  <a:cubicBezTo>
                    <a:pt x="711" y="34356"/>
                    <a:pt x="564" y="34039"/>
                    <a:pt x="319" y="33811"/>
                  </a:cubicBezTo>
                  <a:cubicBezTo>
                    <a:pt x="286" y="33780"/>
                    <a:pt x="250" y="33767"/>
                    <a:pt x="216" y="33767"/>
                  </a:cubicBezTo>
                  <a:cubicBezTo>
                    <a:pt x="100" y="33767"/>
                    <a:pt x="0" y="33915"/>
                    <a:pt x="105" y="34021"/>
                  </a:cubicBezTo>
                  <a:cubicBezTo>
                    <a:pt x="1058" y="35015"/>
                    <a:pt x="411" y="36545"/>
                    <a:pt x="1511" y="37393"/>
                  </a:cubicBezTo>
                  <a:cubicBezTo>
                    <a:pt x="2495" y="38156"/>
                    <a:pt x="3647" y="38759"/>
                    <a:pt x="4739" y="39351"/>
                  </a:cubicBezTo>
                  <a:cubicBezTo>
                    <a:pt x="4814" y="39394"/>
                    <a:pt x="4900" y="39414"/>
                    <a:pt x="4978" y="39452"/>
                  </a:cubicBezTo>
                  <a:cubicBezTo>
                    <a:pt x="5017" y="39519"/>
                    <a:pt x="5087" y="39558"/>
                    <a:pt x="5160" y="39558"/>
                  </a:cubicBezTo>
                  <a:cubicBezTo>
                    <a:pt x="5176" y="39558"/>
                    <a:pt x="5191" y="39556"/>
                    <a:pt x="5206" y="39553"/>
                  </a:cubicBezTo>
                  <a:cubicBezTo>
                    <a:pt x="5989" y="39899"/>
                    <a:pt x="6884" y="40099"/>
                    <a:pt x="7825" y="40208"/>
                  </a:cubicBezTo>
                  <a:cubicBezTo>
                    <a:pt x="7862" y="40265"/>
                    <a:pt x="7923" y="40305"/>
                    <a:pt x="7983" y="40305"/>
                  </a:cubicBezTo>
                  <a:cubicBezTo>
                    <a:pt x="8022" y="40305"/>
                    <a:pt x="8060" y="40288"/>
                    <a:pt x="8091" y="40249"/>
                  </a:cubicBezTo>
                  <a:lnTo>
                    <a:pt x="8102" y="40234"/>
                  </a:lnTo>
                  <a:cubicBezTo>
                    <a:pt x="8694" y="40292"/>
                    <a:pt x="9302" y="40317"/>
                    <a:pt x="9915" y="40317"/>
                  </a:cubicBezTo>
                  <a:cubicBezTo>
                    <a:pt x="11853" y="40317"/>
                    <a:pt x="13825" y="40075"/>
                    <a:pt x="15400" y="39908"/>
                  </a:cubicBezTo>
                  <a:cubicBezTo>
                    <a:pt x="15816" y="39853"/>
                    <a:pt x="16226" y="39775"/>
                    <a:pt x="16633" y="39680"/>
                  </a:cubicBezTo>
                  <a:cubicBezTo>
                    <a:pt x="16673" y="39745"/>
                    <a:pt x="16742" y="39779"/>
                    <a:pt x="16810" y="39779"/>
                  </a:cubicBezTo>
                  <a:cubicBezTo>
                    <a:pt x="16875" y="39779"/>
                    <a:pt x="16940" y="39749"/>
                    <a:pt x="16982" y="39689"/>
                  </a:cubicBezTo>
                  <a:cubicBezTo>
                    <a:pt x="17017" y="39645"/>
                    <a:pt x="17052" y="39605"/>
                    <a:pt x="17086" y="39562"/>
                  </a:cubicBezTo>
                  <a:cubicBezTo>
                    <a:pt x="18209" y="39250"/>
                    <a:pt x="19387" y="38722"/>
                    <a:pt x="18937" y="37951"/>
                  </a:cubicBezTo>
                  <a:cubicBezTo>
                    <a:pt x="18579" y="37344"/>
                    <a:pt x="17901" y="37090"/>
                    <a:pt x="17101" y="36986"/>
                  </a:cubicBezTo>
                  <a:cubicBezTo>
                    <a:pt x="17092" y="36884"/>
                    <a:pt x="17004" y="36791"/>
                    <a:pt x="16906" y="36791"/>
                  </a:cubicBezTo>
                  <a:cubicBezTo>
                    <a:pt x="16874" y="36791"/>
                    <a:pt x="16841" y="36801"/>
                    <a:pt x="16809" y="36825"/>
                  </a:cubicBezTo>
                  <a:cubicBezTo>
                    <a:pt x="16754" y="36862"/>
                    <a:pt x="16711" y="36906"/>
                    <a:pt x="16659" y="36946"/>
                  </a:cubicBezTo>
                  <a:cubicBezTo>
                    <a:pt x="16285" y="36920"/>
                    <a:pt x="15895" y="36916"/>
                    <a:pt x="15505" y="36916"/>
                  </a:cubicBezTo>
                  <a:cubicBezTo>
                    <a:pt x="15350" y="36916"/>
                    <a:pt x="15195" y="36917"/>
                    <a:pt x="15041" y="36917"/>
                  </a:cubicBezTo>
                  <a:cubicBezTo>
                    <a:pt x="13126" y="36917"/>
                    <a:pt x="11418" y="36826"/>
                    <a:pt x="12121" y="34382"/>
                  </a:cubicBezTo>
                  <a:cubicBezTo>
                    <a:pt x="12138" y="34320"/>
                    <a:pt x="12090" y="34281"/>
                    <a:pt x="12042" y="34281"/>
                  </a:cubicBezTo>
                  <a:cubicBezTo>
                    <a:pt x="12010" y="34281"/>
                    <a:pt x="11978" y="34298"/>
                    <a:pt x="11965" y="34339"/>
                  </a:cubicBezTo>
                  <a:cubicBezTo>
                    <a:pt x="11769" y="34922"/>
                    <a:pt x="11327" y="36227"/>
                    <a:pt x="11832" y="36865"/>
                  </a:cubicBezTo>
                  <a:cubicBezTo>
                    <a:pt x="11408" y="37275"/>
                    <a:pt x="10998" y="37691"/>
                    <a:pt x="10599" y="38133"/>
                  </a:cubicBezTo>
                  <a:cubicBezTo>
                    <a:pt x="10597" y="38138"/>
                    <a:pt x="10591" y="38141"/>
                    <a:pt x="10588" y="38146"/>
                  </a:cubicBezTo>
                  <a:lnTo>
                    <a:pt x="10588" y="38146"/>
                  </a:lnTo>
                  <a:cubicBezTo>
                    <a:pt x="10969" y="37442"/>
                    <a:pt x="11313" y="36729"/>
                    <a:pt x="11590" y="35967"/>
                  </a:cubicBezTo>
                  <a:cubicBezTo>
                    <a:pt x="11635" y="35839"/>
                    <a:pt x="11523" y="35743"/>
                    <a:pt x="11410" y="35743"/>
                  </a:cubicBezTo>
                  <a:cubicBezTo>
                    <a:pt x="11366" y="35743"/>
                    <a:pt x="11321" y="35758"/>
                    <a:pt x="11286" y="35791"/>
                  </a:cubicBezTo>
                  <a:cubicBezTo>
                    <a:pt x="11038" y="36028"/>
                    <a:pt x="10804" y="36273"/>
                    <a:pt x="10570" y="36522"/>
                  </a:cubicBezTo>
                  <a:cubicBezTo>
                    <a:pt x="10874" y="35927"/>
                    <a:pt x="11154" y="35321"/>
                    <a:pt x="11367" y="34671"/>
                  </a:cubicBezTo>
                  <a:cubicBezTo>
                    <a:pt x="11412" y="34540"/>
                    <a:pt x="11310" y="34457"/>
                    <a:pt x="11203" y="34457"/>
                  </a:cubicBezTo>
                  <a:cubicBezTo>
                    <a:pt x="11145" y="34457"/>
                    <a:pt x="11085" y="34482"/>
                    <a:pt x="11047" y="34535"/>
                  </a:cubicBezTo>
                  <a:cubicBezTo>
                    <a:pt x="9834" y="36204"/>
                    <a:pt x="8804" y="38037"/>
                    <a:pt x="7126" y="39244"/>
                  </a:cubicBezTo>
                  <a:cubicBezTo>
                    <a:pt x="8752" y="37353"/>
                    <a:pt x="10348" y="35445"/>
                    <a:pt x="11867" y="33464"/>
                  </a:cubicBezTo>
                  <a:cubicBezTo>
                    <a:pt x="12054" y="33222"/>
                    <a:pt x="12242" y="32959"/>
                    <a:pt x="12427" y="32693"/>
                  </a:cubicBezTo>
                  <a:lnTo>
                    <a:pt x="12427" y="32693"/>
                  </a:lnTo>
                  <a:cubicBezTo>
                    <a:pt x="12167" y="33086"/>
                    <a:pt x="11910" y="33482"/>
                    <a:pt x="11670" y="33877"/>
                  </a:cubicBezTo>
                  <a:cubicBezTo>
                    <a:pt x="11581" y="34027"/>
                    <a:pt x="11713" y="34177"/>
                    <a:pt x="11853" y="34177"/>
                  </a:cubicBezTo>
                  <a:cubicBezTo>
                    <a:pt x="11900" y="34177"/>
                    <a:pt x="11947" y="34160"/>
                    <a:pt x="11988" y="34123"/>
                  </a:cubicBezTo>
                  <a:cubicBezTo>
                    <a:pt x="11997" y="34114"/>
                    <a:pt x="12002" y="34105"/>
                    <a:pt x="12011" y="34097"/>
                  </a:cubicBezTo>
                  <a:cubicBezTo>
                    <a:pt x="12020" y="34098"/>
                    <a:pt x="12028" y="34098"/>
                    <a:pt x="12037" y="34098"/>
                  </a:cubicBezTo>
                  <a:cubicBezTo>
                    <a:pt x="12045" y="34098"/>
                    <a:pt x="12053" y="34098"/>
                    <a:pt x="12060" y="34099"/>
                  </a:cubicBezTo>
                  <a:cubicBezTo>
                    <a:pt x="12069" y="34159"/>
                    <a:pt x="12110" y="34212"/>
                    <a:pt x="12165" y="34212"/>
                  </a:cubicBezTo>
                  <a:cubicBezTo>
                    <a:pt x="12186" y="34212"/>
                    <a:pt x="12207" y="34205"/>
                    <a:pt x="12230" y="34189"/>
                  </a:cubicBezTo>
                  <a:cubicBezTo>
                    <a:pt x="12256" y="34172"/>
                    <a:pt x="12294" y="34140"/>
                    <a:pt x="12329" y="34114"/>
                  </a:cubicBezTo>
                  <a:cubicBezTo>
                    <a:pt x="12457" y="34122"/>
                    <a:pt x="12586" y="34126"/>
                    <a:pt x="12715" y="34126"/>
                  </a:cubicBezTo>
                  <a:cubicBezTo>
                    <a:pt x="12991" y="34126"/>
                    <a:pt x="13267" y="34107"/>
                    <a:pt x="13541" y="34068"/>
                  </a:cubicBezTo>
                  <a:cubicBezTo>
                    <a:pt x="13642" y="34053"/>
                    <a:pt x="13735" y="34045"/>
                    <a:pt x="13830" y="34036"/>
                  </a:cubicBezTo>
                  <a:cubicBezTo>
                    <a:pt x="13862" y="34110"/>
                    <a:pt x="13933" y="34150"/>
                    <a:pt x="14004" y="34150"/>
                  </a:cubicBezTo>
                  <a:cubicBezTo>
                    <a:pt x="14061" y="34150"/>
                    <a:pt x="14118" y="34124"/>
                    <a:pt x="14156" y="34071"/>
                  </a:cubicBezTo>
                  <a:cubicBezTo>
                    <a:pt x="14171" y="34047"/>
                    <a:pt x="14185" y="34024"/>
                    <a:pt x="14202" y="34001"/>
                  </a:cubicBezTo>
                  <a:cubicBezTo>
                    <a:pt x="14342" y="33992"/>
                    <a:pt x="14475" y="33987"/>
                    <a:pt x="14605" y="33987"/>
                  </a:cubicBezTo>
                  <a:cubicBezTo>
                    <a:pt x="15423" y="33987"/>
                    <a:pt x="16084" y="34174"/>
                    <a:pt x="16971" y="34625"/>
                  </a:cubicBezTo>
                  <a:cubicBezTo>
                    <a:pt x="17092" y="34688"/>
                    <a:pt x="17205" y="34749"/>
                    <a:pt x="17314" y="34804"/>
                  </a:cubicBezTo>
                  <a:cubicBezTo>
                    <a:pt x="17340" y="34861"/>
                    <a:pt x="17397" y="34895"/>
                    <a:pt x="17458" y="34895"/>
                  </a:cubicBezTo>
                  <a:cubicBezTo>
                    <a:pt x="17465" y="34895"/>
                    <a:pt x="17472" y="34894"/>
                    <a:pt x="17479" y="34893"/>
                  </a:cubicBezTo>
                  <a:cubicBezTo>
                    <a:pt x="17684" y="35006"/>
                    <a:pt x="17898" y="35110"/>
                    <a:pt x="18117" y="35199"/>
                  </a:cubicBezTo>
                  <a:cubicBezTo>
                    <a:pt x="18120" y="35202"/>
                    <a:pt x="18123" y="35202"/>
                    <a:pt x="18129" y="35202"/>
                  </a:cubicBezTo>
                  <a:cubicBezTo>
                    <a:pt x="18345" y="35286"/>
                    <a:pt x="18557" y="35336"/>
                    <a:pt x="18794" y="35336"/>
                  </a:cubicBezTo>
                  <a:cubicBezTo>
                    <a:pt x="19058" y="35336"/>
                    <a:pt x="19352" y="35274"/>
                    <a:pt x="19719" y="35127"/>
                  </a:cubicBezTo>
                  <a:cubicBezTo>
                    <a:pt x="21602" y="34379"/>
                    <a:pt x="21509" y="32364"/>
                    <a:pt x="20279" y="31279"/>
                  </a:cubicBezTo>
                  <a:cubicBezTo>
                    <a:pt x="20288" y="31261"/>
                    <a:pt x="20300" y="31244"/>
                    <a:pt x="20305" y="31224"/>
                  </a:cubicBezTo>
                  <a:cubicBezTo>
                    <a:pt x="20351" y="31109"/>
                    <a:pt x="20241" y="31010"/>
                    <a:pt x="20136" y="31010"/>
                  </a:cubicBezTo>
                  <a:cubicBezTo>
                    <a:pt x="20095" y="31010"/>
                    <a:pt x="20055" y="31025"/>
                    <a:pt x="20025" y="31059"/>
                  </a:cubicBezTo>
                  <a:cubicBezTo>
                    <a:pt x="20023" y="31062"/>
                    <a:pt x="20020" y="31068"/>
                    <a:pt x="20017" y="31074"/>
                  </a:cubicBezTo>
                  <a:cubicBezTo>
                    <a:pt x="19962" y="31036"/>
                    <a:pt x="19910" y="30996"/>
                    <a:pt x="19852" y="30961"/>
                  </a:cubicBezTo>
                  <a:cubicBezTo>
                    <a:pt x="19913" y="30854"/>
                    <a:pt x="19973" y="30748"/>
                    <a:pt x="20034" y="30644"/>
                  </a:cubicBezTo>
                  <a:cubicBezTo>
                    <a:pt x="22153" y="30265"/>
                    <a:pt x="23022" y="27742"/>
                    <a:pt x="23646" y="25958"/>
                  </a:cubicBezTo>
                  <a:cubicBezTo>
                    <a:pt x="24122" y="24587"/>
                    <a:pt x="24604" y="23198"/>
                    <a:pt x="25029" y="21809"/>
                  </a:cubicBezTo>
                  <a:cubicBezTo>
                    <a:pt x="25297" y="20920"/>
                    <a:pt x="25384" y="19757"/>
                    <a:pt x="26458" y="19350"/>
                  </a:cubicBezTo>
                  <a:cubicBezTo>
                    <a:pt x="26744" y="19241"/>
                    <a:pt x="27038" y="19191"/>
                    <a:pt x="27330" y="19191"/>
                  </a:cubicBezTo>
                  <a:cubicBezTo>
                    <a:pt x="29057" y="19191"/>
                    <a:pt x="30742" y="20928"/>
                    <a:pt x="30728" y="22528"/>
                  </a:cubicBezTo>
                  <a:cubicBezTo>
                    <a:pt x="30728" y="22627"/>
                    <a:pt x="30793" y="22669"/>
                    <a:pt x="30865" y="22669"/>
                  </a:cubicBezTo>
                  <a:cubicBezTo>
                    <a:pt x="30884" y="22669"/>
                    <a:pt x="30903" y="22666"/>
                    <a:pt x="30921" y="22661"/>
                  </a:cubicBezTo>
                  <a:lnTo>
                    <a:pt x="30921" y="22661"/>
                  </a:lnTo>
                  <a:cubicBezTo>
                    <a:pt x="30817" y="22808"/>
                    <a:pt x="30713" y="22956"/>
                    <a:pt x="30612" y="23106"/>
                  </a:cubicBezTo>
                  <a:cubicBezTo>
                    <a:pt x="26954" y="24292"/>
                    <a:pt x="25765" y="25895"/>
                    <a:pt x="26100" y="29757"/>
                  </a:cubicBezTo>
                  <a:cubicBezTo>
                    <a:pt x="26137" y="30188"/>
                    <a:pt x="26198" y="30615"/>
                    <a:pt x="26282" y="31036"/>
                  </a:cubicBezTo>
                  <a:cubicBezTo>
                    <a:pt x="26270" y="31057"/>
                    <a:pt x="26258" y="31074"/>
                    <a:pt x="26250" y="31094"/>
                  </a:cubicBezTo>
                  <a:cubicBezTo>
                    <a:pt x="26204" y="31184"/>
                    <a:pt x="26250" y="31296"/>
                    <a:pt x="26348" y="31328"/>
                  </a:cubicBezTo>
                  <a:cubicBezTo>
                    <a:pt x="26374" y="31449"/>
                    <a:pt x="26411" y="31559"/>
                    <a:pt x="26446" y="31674"/>
                  </a:cubicBezTo>
                  <a:cubicBezTo>
                    <a:pt x="26406" y="31747"/>
                    <a:pt x="26362" y="31819"/>
                    <a:pt x="26325" y="31891"/>
                  </a:cubicBezTo>
                  <a:cubicBezTo>
                    <a:pt x="26295" y="31951"/>
                    <a:pt x="26345" y="32018"/>
                    <a:pt x="26399" y="32018"/>
                  </a:cubicBezTo>
                  <a:cubicBezTo>
                    <a:pt x="26417" y="32018"/>
                    <a:pt x="26436" y="32010"/>
                    <a:pt x="26452" y="31992"/>
                  </a:cubicBezTo>
                  <a:lnTo>
                    <a:pt x="26515" y="31923"/>
                  </a:lnTo>
                  <a:cubicBezTo>
                    <a:pt x="26712" y="32526"/>
                    <a:pt x="26983" y="33028"/>
                    <a:pt x="27350" y="33450"/>
                  </a:cubicBezTo>
                  <a:lnTo>
                    <a:pt x="27338" y="33473"/>
                  </a:lnTo>
                  <a:cubicBezTo>
                    <a:pt x="27271" y="33591"/>
                    <a:pt x="27370" y="33691"/>
                    <a:pt x="27473" y="33691"/>
                  </a:cubicBezTo>
                  <a:cubicBezTo>
                    <a:pt x="27498" y="33691"/>
                    <a:pt x="27523" y="33685"/>
                    <a:pt x="27546" y="33672"/>
                  </a:cubicBezTo>
                  <a:cubicBezTo>
                    <a:pt x="27933" y="34053"/>
                    <a:pt x="28424" y="34356"/>
                    <a:pt x="29021" y="34616"/>
                  </a:cubicBezTo>
                  <a:cubicBezTo>
                    <a:pt x="28998" y="34668"/>
                    <a:pt x="28972" y="34711"/>
                    <a:pt x="28949" y="34761"/>
                  </a:cubicBezTo>
                  <a:cubicBezTo>
                    <a:pt x="28895" y="34878"/>
                    <a:pt x="28974" y="35002"/>
                    <a:pt x="29086" y="35002"/>
                  </a:cubicBezTo>
                  <a:cubicBezTo>
                    <a:pt x="29112" y="35002"/>
                    <a:pt x="29140" y="34995"/>
                    <a:pt x="29169" y="34980"/>
                  </a:cubicBezTo>
                  <a:cubicBezTo>
                    <a:pt x="29272" y="34928"/>
                    <a:pt x="29359" y="34862"/>
                    <a:pt x="29457" y="34801"/>
                  </a:cubicBezTo>
                  <a:cubicBezTo>
                    <a:pt x="29714" y="34893"/>
                    <a:pt x="29988" y="34980"/>
                    <a:pt x="30286" y="35061"/>
                  </a:cubicBezTo>
                  <a:cubicBezTo>
                    <a:pt x="33259" y="35863"/>
                    <a:pt x="35145" y="37061"/>
                    <a:pt x="36372" y="39054"/>
                  </a:cubicBezTo>
                  <a:cubicBezTo>
                    <a:pt x="36377" y="39105"/>
                    <a:pt x="36406" y="39152"/>
                    <a:pt x="36450" y="39178"/>
                  </a:cubicBezTo>
                  <a:cubicBezTo>
                    <a:pt x="36900" y="39934"/>
                    <a:pt x="37258" y="40800"/>
                    <a:pt x="37547" y="41805"/>
                  </a:cubicBezTo>
                  <a:cubicBezTo>
                    <a:pt x="37500" y="41863"/>
                    <a:pt x="37454" y="41920"/>
                    <a:pt x="37408" y="41978"/>
                  </a:cubicBezTo>
                  <a:cubicBezTo>
                    <a:pt x="37352" y="42052"/>
                    <a:pt x="37388" y="42185"/>
                    <a:pt x="37482" y="42185"/>
                  </a:cubicBezTo>
                  <a:cubicBezTo>
                    <a:pt x="37494" y="42185"/>
                    <a:pt x="37508" y="42183"/>
                    <a:pt x="37524" y="42177"/>
                  </a:cubicBezTo>
                  <a:cubicBezTo>
                    <a:pt x="37561" y="42163"/>
                    <a:pt x="37593" y="42143"/>
                    <a:pt x="37630" y="42128"/>
                  </a:cubicBezTo>
                  <a:cubicBezTo>
                    <a:pt x="37694" y="42371"/>
                    <a:pt x="37760" y="42607"/>
                    <a:pt x="37815" y="42864"/>
                  </a:cubicBezTo>
                  <a:cubicBezTo>
                    <a:pt x="38014" y="43762"/>
                    <a:pt x="38566" y="45194"/>
                    <a:pt x="38984" y="46603"/>
                  </a:cubicBezTo>
                  <a:cubicBezTo>
                    <a:pt x="38918" y="46672"/>
                    <a:pt x="38860" y="46744"/>
                    <a:pt x="38794" y="46811"/>
                  </a:cubicBezTo>
                  <a:cubicBezTo>
                    <a:pt x="38694" y="46913"/>
                    <a:pt x="38791" y="47056"/>
                    <a:pt x="38900" y="47056"/>
                  </a:cubicBezTo>
                  <a:cubicBezTo>
                    <a:pt x="38932" y="47056"/>
                    <a:pt x="38966" y="47044"/>
                    <a:pt x="38996" y="47013"/>
                  </a:cubicBezTo>
                  <a:cubicBezTo>
                    <a:pt x="39022" y="46984"/>
                    <a:pt x="39048" y="46952"/>
                    <a:pt x="39077" y="46923"/>
                  </a:cubicBezTo>
                  <a:cubicBezTo>
                    <a:pt x="39134" y="47134"/>
                    <a:pt x="39184" y="47339"/>
                    <a:pt x="39233" y="47544"/>
                  </a:cubicBezTo>
                  <a:cubicBezTo>
                    <a:pt x="39120" y="47660"/>
                    <a:pt x="39013" y="47775"/>
                    <a:pt x="38901" y="47888"/>
                  </a:cubicBezTo>
                  <a:cubicBezTo>
                    <a:pt x="38819" y="47971"/>
                    <a:pt x="38881" y="48138"/>
                    <a:pt x="38991" y="48138"/>
                  </a:cubicBezTo>
                  <a:cubicBezTo>
                    <a:pt x="39006" y="48138"/>
                    <a:pt x="39022" y="48134"/>
                    <a:pt x="39039" y="48127"/>
                  </a:cubicBezTo>
                  <a:cubicBezTo>
                    <a:pt x="39143" y="48084"/>
                    <a:pt x="39236" y="48026"/>
                    <a:pt x="39337" y="47980"/>
                  </a:cubicBezTo>
                  <a:cubicBezTo>
                    <a:pt x="39527" y="48898"/>
                    <a:pt x="39588" y="49721"/>
                    <a:pt x="39342" y="50261"/>
                  </a:cubicBezTo>
                  <a:cubicBezTo>
                    <a:pt x="38595" y="51905"/>
                    <a:pt x="40324" y="52654"/>
                    <a:pt x="41728" y="52654"/>
                  </a:cubicBezTo>
                  <a:cubicBezTo>
                    <a:pt x="42033" y="52654"/>
                    <a:pt x="42322" y="52619"/>
                    <a:pt x="42567" y="52550"/>
                  </a:cubicBezTo>
                  <a:lnTo>
                    <a:pt x="42567" y="52550"/>
                  </a:lnTo>
                  <a:cubicBezTo>
                    <a:pt x="42356" y="53486"/>
                    <a:pt x="41840" y="54259"/>
                    <a:pt x="41392" y="55071"/>
                  </a:cubicBezTo>
                  <a:cubicBezTo>
                    <a:pt x="41320" y="55157"/>
                    <a:pt x="41239" y="55238"/>
                    <a:pt x="41167" y="55328"/>
                  </a:cubicBezTo>
                  <a:cubicBezTo>
                    <a:pt x="41124" y="55377"/>
                    <a:pt x="41121" y="55455"/>
                    <a:pt x="41164" y="55507"/>
                  </a:cubicBezTo>
                  <a:cubicBezTo>
                    <a:pt x="40994" y="55841"/>
                    <a:pt x="40858" y="56197"/>
                    <a:pt x="40763" y="56563"/>
                  </a:cubicBezTo>
                  <a:cubicBezTo>
                    <a:pt x="40592" y="57236"/>
                    <a:pt x="40636" y="57984"/>
                    <a:pt x="40757" y="58728"/>
                  </a:cubicBezTo>
                  <a:cubicBezTo>
                    <a:pt x="40745" y="58740"/>
                    <a:pt x="40734" y="58754"/>
                    <a:pt x="40725" y="58766"/>
                  </a:cubicBezTo>
                  <a:cubicBezTo>
                    <a:pt x="40644" y="58855"/>
                    <a:pt x="40693" y="59000"/>
                    <a:pt x="40812" y="59020"/>
                  </a:cubicBezTo>
                  <a:cubicBezTo>
                    <a:pt x="40875" y="59355"/>
                    <a:pt x="40948" y="59684"/>
                    <a:pt x="41023" y="60004"/>
                  </a:cubicBezTo>
                  <a:cubicBezTo>
                    <a:pt x="40999" y="60062"/>
                    <a:pt x="41014" y="60132"/>
                    <a:pt x="41063" y="60175"/>
                  </a:cubicBezTo>
                  <a:cubicBezTo>
                    <a:pt x="41121" y="60420"/>
                    <a:pt x="41178" y="60663"/>
                    <a:pt x="41230" y="60894"/>
                  </a:cubicBezTo>
                  <a:cubicBezTo>
                    <a:pt x="41643" y="62770"/>
                    <a:pt x="42483" y="64500"/>
                    <a:pt x="43500" y="66113"/>
                  </a:cubicBezTo>
                  <a:lnTo>
                    <a:pt x="43494" y="66122"/>
                  </a:lnTo>
                  <a:cubicBezTo>
                    <a:pt x="43438" y="66233"/>
                    <a:pt x="43521" y="66362"/>
                    <a:pt x="43643" y="66362"/>
                  </a:cubicBezTo>
                  <a:cubicBezTo>
                    <a:pt x="43648" y="66362"/>
                    <a:pt x="43653" y="66362"/>
                    <a:pt x="43658" y="66362"/>
                  </a:cubicBezTo>
                  <a:cubicBezTo>
                    <a:pt x="43866" y="66685"/>
                    <a:pt x="44077" y="67003"/>
                    <a:pt x="44296" y="67317"/>
                  </a:cubicBezTo>
                  <a:cubicBezTo>
                    <a:pt x="44325" y="67355"/>
                    <a:pt x="44351" y="67398"/>
                    <a:pt x="44377" y="67439"/>
                  </a:cubicBezTo>
                  <a:cubicBezTo>
                    <a:pt x="44270" y="67615"/>
                    <a:pt x="44155" y="67785"/>
                    <a:pt x="44048" y="67961"/>
                  </a:cubicBezTo>
                  <a:cubicBezTo>
                    <a:pt x="43983" y="68069"/>
                    <a:pt x="44079" y="68184"/>
                    <a:pt x="44180" y="68184"/>
                  </a:cubicBezTo>
                  <a:cubicBezTo>
                    <a:pt x="44214" y="68184"/>
                    <a:pt x="44249" y="68171"/>
                    <a:pt x="44279" y="68140"/>
                  </a:cubicBezTo>
                  <a:cubicBezTo>
                    <a:pt x="44389" y="68025"/>
                    <a:pt x="44496" y="67906"/>
                    <a:pt x="44602" y="67791"/>
                  </a:cubicBezTo>
                  <a:cubicBezTo>
                    <a:pt x="44724" y="67990"/>
                    <a:pt x="44845" y="68198"/>
                    <a:pt x="44966" y="68409"/>
                  </a:cubicBezTo>
                  <a:cubicBezTo>
                    <a:pt x="44946" y="68437"/>
                    <a:pt x="44923" y="68466"/>
                    <a:pt x="44903" y="68498"/>
                  </a:cubicBezTo>
                  <a:cubicBezTo>
                    <a:pt x="44825" y="68609"/>
                    <a:pt x="44931" y="68721"/>
                    <a:pt x="45040" y="68721"/>
                  </a:cubicBezTo>
                  <a:cubicBezTo>
                    <a:pt x="45073" y="68721"/>
                    <a:pt x="45105" y="68711"/>
                    <a:pt x="45134" y="68689"/>
                  </a:cubicBezTo>
                  <a:cubicBezTo>
                    <a:pt x="45235" y="68859"/>
                    <a:pt x="45339" y="69026"/>
                    <a:pt x="45448" y="69194"/>
                  </a:cubicBezTo>
                  <a:cubicBezTo>
                    <a:pt x="45396" y="69252"/>
                    <a:pt x="45344" y="69312"/>
                    <a:pt x="45292" y="69370"/>
                  </a:cubicBezTo>
                  <a:cubicBezTo>
                    <a:pt x="45231" y="69442"/>
                    <a:pt x="45298" y="69538"/>
                    <a:pt x="45365" y="69538"/>
                  </a:cubicBezTo>
                  <a:cubicBezTo>
                    <a:pt x="45387" y="69538"/>
                    <a:pt x="45408" y="69529"/>
                    <a:pt x="45425" y="69506"/>
                  </a:cubicBezTo>
                  <a:cubicBezTo>
                    <a:pt x="45469" y="69451"/>
                    <a:pt x="45515" y="69399"/>
                    <a:pt x="45558" y="69347"/>
                  </a:cubicBezTo>
                  <a:cubicBezTo>
                    <a:pt x="45717" y="69575"/>
                    <a:pt x="45896" y="69791"/>
                    <a:pt x="46089" y="69991"/>
                  </a:cubicBezTo>
                  <a:cubicBezTo>
                    <a:pt x="46046" y="70063"/>
                    <a:pt x="46000" y="70135"/>
                    <a:pt x="45959" y="70207"/>
                  </a:cubicBezTo>
                  <a:cubicBezTo>
                    <a:pt x="45882" y="70343"/>
                    <a:pt x="45994" y="70475"/>
                    <a:pt x="46117" y="70475"/>
                  </a:cubicBezTo>
                  <a:cubicBezTo>
                    <a:pt x="46159" y="70475"/>
                    <a:pt x="46202" y="70460"/>
                    <a:pt x="46239" y="70424"/>
                  </a:cubicBezTo>
                  <a:cubicBezTo>
                    <a:pt x="46294" y="70375"/>
                    <a:pt x="46343" y="70317"/>
                    <a:pt x="46398" y="70265"/>
                  </a:cubicBezTo>
                  <a:cubicBezTo>
                    <a:pt x="46491" y="70346"/>
                    <a:pt x="46589" y="70418"/>
                    <a:pt x="46690" y="70487"/>
                  </a:cubicBezTo>
                  <a:cubicBezTo>
                    <a:pt x="47228" y="70816"/>
                    <a:pt x="47744" y="70978"/>
                    <a:pt x="48208" y="70978"/>
                  </a:cubicBezTo>
                  <a:cubicBezTo>
                    <a:pt x="49125" y="70978"/>
                    <a:pt x="49842" y="70346"/>
                    <a:pt x="50137" y="69119"/>
                  </a:cubicBezTo>
                  <a:cubicBezTo>
                    <a:pt x="50807" y="66344"/>
                    <a:pt x="49819" y="64118"/>
                    <a:pt x="52100" y="61595"/>
                  </a:cubicBezTo>
                  <a:cubicBezTo>
                    <a:pt x="53500" y="60051"/>
                    <a:pt x="55241" y="58763"/>
                    <a:pt x="57066" y="57701"/>
                  </a:cubicBezTo>
                  <a:lnTo>
                    <a:pt x="57066" y="57701"/>
                  </a:lnTo>
                  <a:cubicBezTo>
                    <a:pt x="57060" y="57718"/>
                    <a:pt x="57051" y="57735"/>
                    <a:pt x="57045" y="57750"/>
                  </a:cubicBezTo>
                  <a:cubicBezTo>
                    <a:pt x="57004" y="57872"/>
                    <a:pt x="57111" y="57969"/>
                    <a:pt x="57219" y="57969"/>
                  </a:cubicBezTo>
                  <a:cubicBezTo>
                    <a:pt x="57261" y="57969"/>
                    <a:pt x="57304" y="57954"/>
                    <a:pt x="57337" y="57920"/>
                  </a:cubicBezTo>
                  <a:cubicBezTo>
                    <a:pt x="57580" y="57672"/>
                    <a:pt x="57811" y="57415"/>
                    <a:pt x="58041" y="57158"/>
                  </a:cubicBezTo>
                  <a:cubicBezTo>
                    <a:pt x="58157" y="57097"/>
                    <a:pt x="58272" y="57025"/>
                    <a:pt x="58388" y="56964"/>
                  </a:cubicBezTo>
                  <a:cubicBezTo>
                    <a:pt x="58396" y="57006"/>
                    <a:pt x="58433" y="57034"/>
                    <a:pt x="58477" y="57034"/>
                  </a:cubicBezTo>
                  <a:cubicBezTo>
                    <a:pt x="58479" y="57034"/>
                    <a:pt x="58481" y="57034"/>
                    <a:pt x="58483" y="57034"/>
                  </a:cubicBezTo>
                  <a:cubicBezTo>
                    <a:pt x="59456" y="56967"/>
                    <a:pt x="60458" y="56653"/>
                    <a:pt x="61402" y="56165"/>
                  </a:cubicBezTo>
                  <a:lnTo>
                    <a:pt x="61402" y="56165"/>
                  </a:lnTo>
                  <a:cubicBezTo>
                    <a:pt x="61359" y="56246"/>
                    <a:pt x="61307" y="56332"/>
                    <a:pt x="61263" y="56413"/>
                  </a:cubicBezTo>
                  <a:cubicBezTo>
                    <a:pt x="61195" y="56540"/>
                    <a:pt x="61313" y="56689"/>
                    <a:pt x="61431" y="56689"/>
                  </a:cubicBezTo>
                  <a:cubicBezTo>
                    <a:pt x="61471" y="56689"/>
                    <a:pt x="61511" y="56672"/>
                    <a:pt x="61543" y="56630"/>
                  </a:cubicBezTo>
                  <a:cubicBezTo>
                    <a:pt x="61800" y="56298"/>
                    <a:pt x="62054" y="55963"/>
                    <a:pt x="62311" y="55631"/>
                  </a:cubicBezTo>
                  <a:cubicBezTo>
                    <a:pt x="65894" y="53249"/>
                    <a:pt x="68238" y="48393"/>
                    <a:pt x="64517" y="45197"/>
                  </a:cubicBezTo>
                  <a:cubicBezTo>
                    <a:pt x="65432" y="44348"/>
                    <a:pt x="65854" y="41779"/>
                    <a:pt x="66668" y="41288"/>
                  </a:cubicBezTo>
                  <a:cubicBezTo>
                    <a:pt x="66743" y="41245"/>
                    <a:pt x="66769" y="41147"/>
                    <a:pt x="66726" y="41072"/>
                  </a:cubicBezTo>
                  <a:cubicBezTo>
                    <a:pt x="66610" y="40849"/>
                    <a:pt x="66509" y="40647"/>
                    <a:pt x="66417" y="40457"/>
                  </a:cubicBezTo>
                  <a:cubicBezTo>
                    <a:pt x="66425" y="40402"/>
                    <a:pt x="66399" y="40347"/>
                    <a:pt x="66353" y="40318"/>
                  </a:cubicBezTo>
                  <a:cubicBezTo>
                    <a:pt x="66142" y="39876"/>
                    <a:pt x="65995" y="39513"/>
                    <a:pt x="65909" y="39224"/>
                  </a:cubicBezTo>
                  <a:cubicBezTo>
                    <a:pt x="65963" y="39103"/>
                    <a:pt x="66027" y="38990"/>
                    <a:pt x="66079" y="38866"/>
                  </a:cubicBezTo>
                  <a:cubicBezTo>
                    <a:pt x="66120" y="38765"/>
                    <a:pt x="66030" y="38701"/>
                    <a:pt x="65942" y="38701"/>
                  </a:cubicBezTo>
                  <a:cubicBezTo>
                    <a:pt x="65907" y="38701"/>
                    <a:pt x="65871" y="38711"/>
                    <a:pt x="65845" y="38733"/>
                  </a:cubicBezTo>
                  <a:cubicBezTo>
                    <a:pt x="65833" y="38742"/>
                    <a:pt x="65825" y="38753"/>
                    <a:pt x="65813" y="38762"/>
                  </a:cubicBezTo>
                  <a:cubicBezTo>
                    <a:pt x="65735" y="37954"/>
                    <a:pt x="66382" y="37948"/>
                    <a:pt x="67289" y="37806"/>
                  </a:cubicBezTo>
                  <a:cubicBezTo>
                    <a:pt x="67381" y="37789"/>
                    <a:pt x="67418" y="37682"/>
                    <a:pt x="67404" y="37604"/>
                  </a:cubicBezTo>
                  <a:cubicBezTo>
                    <a:pt x="66887" y="35145"/>
                    <a:pt x="66090" y="33057"/>
                    <a:pt x="67254" y="30722"/>
                  </a:cubicBezTo>
                  <a:cubicBezTo>
                    <a:pt x="67336" y="30559"/>
                    <a:pt x="67049" y="27985"/>
                    <a:pt x="66940" y="27985"/>
                  </a:cubicBezTo>
                  <a:cubicBezTo>
                    <a:pt x="66934" y="27985"/>
                    <a:pt x="66929" y="27991"/>
                    <a:pt x="66925" y="28004"/>
                  </a:cubicBezTo>
                  <a:lnTo>
                    <a:pt x="66925" y="28004"/>
                  </a:lnTo>
                  <a:cubicBezTo>
                    <a:pt x="68183" y="24358"/>
                    <a:pt x="67219" y="20490"/>
                    <a:pt x="69486" y="17107"/>
                  </a:cubicBezTo>
                  <a:cubicBezTo>
                    <a:pt x="71016" y="14817"/>
                    <a:pt x="72552" y="13105"/>
                    <a:pt x="72246" y="10264"/>
                  </a:cubicBezTo>
                  <a:cubicBezTo>
                    <a:pt x="72237" y="10172"/>
                    <a:pt x="72174" y="10082"/>
                    <a:pt x="72076" y="10082"/>
                  </a:cubicBezTo>
                  <a:cubicBezTo>
                    <a:pt x="72073" y="10082"/>
                    <a:pt x="72070" y="10082"/>
                    <a:pt x="72067" y="10082"/>
                  </a:cubicBezTo>
                  <a:cubicBezTo>
                    <a:pt x="70210" y="10178"/>
                    <a:pt x="68749" y="10871"/>
                    <a:pt x="67003" y="11491"/>
                  </a:cubicBezTo>
                  <a:cubicBezTo>
                    <a:pt x="66906" y="11525"/>
                    <a:pt x="66933" y="11669"/>
                    <a:pt x="67023" y="11669"/>
                  </a:cubicBezTo>
                  <a:cubicBezTo>
                    <a:pt x="67032" y="11669"/>
                    <a:pt x="67042" y="11668"/>
                    <a:pt x="67052" y="11664"/>
                  </a:cubicBezTo>
                  <a:cubicBezTo>
                    <a:pt x="67909" y="11428"/>
                    <a:pt x="68755" y="11148"/>
                    <a:pt x="69587" y="10821"/>
                  </a:cubicBezTo>
                  <a:cubicBezTo>
                    <a:pt x="69740" y="10925"/>
                    <a:pt x="69867" y="11029"/>
                    <a:pt x="70002" y="11133"/>
                  </a:cubicBezTo>
                  <a:cubicBezTo>
                    <a:pt x="64390" y="15516"/>
                    <a:pt x="59727" y="21547"/>
                    <a:pt x="54866" y="26717"/>
                  </a:cubicBezTo>
                  <a:cubicBezTo>
                    <a:pt x="54288" y="27332"/>
                    <a:pt x="53711" y="27950"/>
                    <a:pt x="53134" y="28574"/>
                  </a:cubicBezTo>
                  <a:cubicBezTo>
                    <a:pt x="57724" y="22803"/>
                    <a:pt x="62756" y="17381"/>
                    <a:pt x="67664" y="11881"/>
                  </a:cubicBezTo>
                  <a:cubicBezTo>
                    <a:pt x="67759" y="11775"/>
                    <a:pt x="67662" y="11631"/>
                    <a:pt x="67555" y="11631"/>
                  </a:cubicBezTo>
                  <a:cubicBezTo>
                    <a:pt x="67522" y="11631"/>
                    <a:pt x="67488" y="11644"/>
                    <a:pt x="67459" y="11676"/>
                  </a:cubicBezTo>
                  <a:cubicBezTo>
                    <a:pt x="62554" y="17026"/>
                    <a:pt x="57441" y="22188"/>
                    <a:pt x="52672" y="27659"/>
                  </a:cubicBezTo>
                  <a:cubicBezTo>
                    <a:pt x="50319" y="30358"/>
                    <a:pt x="47974" y="33072"/>
                    <a:pt x="45697" y="35837"/>
                  </a:cubicBezTo>
                  <a:cubicBezTo>
                    <a:pt x="44626" y="37137"/>
                    <a:pt x="43615" y="38485"/>
                    <a:pt x="42570" y="39804"/>
                  </a:cubicBezTo>
                  <a:cubicBezTo>
                    <a:pt x="42192" y="40237"/>
                    <a:pt x="41825" y="40682"/>
                    <a:pt x="41476" y="41135"/>
                  </a:cubicBezTo>
                  <a:cubicBezTo>
                    <a:pt x="41357" y="41574"/>
                    <a:pt x="41196" y="41926"/>
                    <a:pt x="40991" y="42197"/>
                  </a:cubicBezTo>
                  <a:cubicBezTo>
                    <a:pt x="41591" y="41499"/>
                    <a:pt x="42143" y="40734"/>
                    <a:pt x="42758" y="39992"/>
                  </a:cubicBezTo>
                  <a:cubicBezTo>
                    <a:pt x="45344" y="36862"/>
                    <a:pt x="47862" y="33692"/>
                    <a:pt x="50504" y="30606"/>
                  </a:cubicBezTo>
                  <a:cubicBezTo>
                    <a:pt x="55611" y="24633"/>
                    <a:pt x="61307" y="18611"/>
                    <a:pt x="66344" y="12932"/>
                  </a:cubicBezTo>
                  <a:lnTo>
                    <a:pt x="66344" y="12932"/>
                  </a:lnTo>
                  <a:cubicBezTo>
                    <a:pt x="61474" y="18423"/>
                    <a:pt x="56529" y="23836"/>
                    <a:pt x="51953" y="29581"/>
                  </a:cubicBezTo>
                  <a:cubicBezTo>
                    <a:pt x="51526" y="30118"/>
                    <a:pt x="51118" y="30673"/>
                    <a:pt x="50700" y="31221"/>
                  </a:cubicBezTo>
                  <a:cubicBezTo>
                    <a:pt x="46537" y="35809"/>
                    <a:pt x="42460" y="40607"/>
                    <a:pt x="38880" y="45549"/>
                  </a:cubicBezTo>
                  <a:cubicBezTo>
                    <a:pt x="38869" y="45567"/>
                    <a:pt x="38875" y="45581"/>
                    <a:pt x="38872" y="45598"/>
                  </a:cubicBezTo>
                  <a:cubicBezTo>
                    <a:pt x="38719" y="45142"/>
                    <a:pt x="38574" y="44683"/>
                    <a:pt x="38430" y="44227"/>
                  </a:cubicBezTo>
                  <a:lnTo>
                    <a:pt x="38430" y="44227"/>
                  </a:lnTo>
                  <a:cubicBezTo>
                    <a:pt x="38445" y="44232"/>
                    <a:pt x="38461" y="44235"/>
                    <a:pt x="38476" y="44235"/>
                  </a:cubicBezTo>
                  <a:cubicBezTo>
                    <a:pt x="38494" y="44235"/>
                    <a:pt x="38511" y="44232"/>
                    <a:pt x="38528" y="44224"/>
                  </a:cubicBezTo>
                  <a:cubicBezTo>
                    <a:pt x="39475" y="43756"/>
                    <a:pt x="40203" y="43098"/>
                    <a:pt x="40861" y="42353"/>
                  </a:cubicBezTo>
                  <a:lnTo>
                    <a:pt x="40861" y="42353"/>
                  </a:lnTo>
                  <a:cubicBezTo>
                    <a:pt x="40543" y="42693"/>
                    <a:pt x="40143" y="42867"/>
                    <a:pt x="39651" y="42867"/>
                  </a:cubicBezTo>
                  <a:cubicBezTo>
                    <a:pt x="39562" y="42867"/>
                    <a:pt x="39469" y="42861"/>
                    <a:pt x="39374" y="42850"/>
                  </a:cubicBezTo>
                  <a:cubicBezTo>
                    <a:pt x="39856" y="42044"/>
                    <a:pt x="40387" y="41262"/>
                    <a:pt x="40945" y="40494"/>
                  </a:cubicBezTo>
                  <a:cubicBezTo>
                    <a:pt x="42677" y="38672"/>
                    <a:pt x="44273" y="36686"/>
                    <a:pt x="45821" y="34662"/>
                  </a:cubicBezTo>
                  <a:cubicBezTo>
                    <a:pt x="48240" y="32041"/>
                    <a:pt x="50763" y="29492"/>
                    <a:pt x="52957" y="26830"/>
                  </a:cubicBezTo>
                  <a:cubicBezTo>
                    <a:pt x="55276" y="24012"/>
                    <a:pt x="57634" y="21238"/>
                    <a:pt x="60109" y="18553"/>
                  </a:cubicBezTo>
                  <a:cubicBezTo>
                    <a:pt x="62158" y="16330"/>
                    <a:pt x="64370" y="14528"/>
                    <a:pt x="65845" y="11849"/>
                  </a:cubicBezTo>
                  <a:cubicBezTo>
                    <a:pt x="65897" y="11760"/>
                    <a:pt x="65831" y="11647"/>
                    <a:pt x="65727" y="11644"/>
                  </a:cubicBezTo>
                  <a:cubicBezTo>
                    <a:pt x="64996" y="11644"/>
                    <a:pt x="63729" y="13304"/>
                    <a:pt x="63270" y="13737"/>
                  </a:cubicBezTo>
                  <a:cubicBezTo>
                    <a:pt x="63166" y="13836"/>
                    <a:pt x="63071" y="13942"/>
                    <a:pt x="62967" y="14041"/>
                  </a:cubicBezTo>
                  <a:cubicBezTo>
                    <a:pt x="63925" y="12984"/>
                    <a:pt x="64797" y="11869"/>
                    <a:pt x="65464" y="10642"/>
                  </a:cubicBezTo>
                  <a:cubicBezTo>
                    <a:pt x="65646" y="11390"/>
                    <a:pt x="66012" y="12060"/>
                    <a:pt x="66806" y="12158"/>
                  </a:cubicBezTo>
                  <a:cubicBezTo>
                    <a:pt x="66812" y="12159"/>
                    <a:pt x="66817" y="12159"/>
                    <a:pt x="66822" y="12159"/>
                  </a:cubicBezTo>
                  <a:cubicBezTo>
                    <a:pt x="66952" y="12159"/>
                    <a:pt x="66995" y="11951"/>
                    <a:pt x="66879" y="11895"/>
                  </a:cubicBezTo>
                  <a:cubicBezTo>
                    <a:pt x="64563" y="10747"/>
                    <a:pt x="66607" y="4132"/>
                    <a:pt x="63347" y="4132"/>
                  </a:cubicBezTo>
                  <a:cubicBezTo>
                    <a:pt x="63132" y="4132"/>
                    <a:pt x="62893" y="4161"/>
                    <a:pt x="62629" y="4222"/>
                  </a:cubicBezTo>
                  <a:lnTo>
                    <a:pt x="62638" y="4210"/>
                  </a:lnTo>
                  <a:cubicBezTo>
                    <a:pt x="62713" y="4096"/>
                    <a:pt x="62599" y="3965"/>
                    <a:pt x="62486" y="3965"/>
                  </a:cubicBezTo>
                  <a:cubicBezTo>
                    <a:pt x="62449" y="3965"/>
                    <a:pt x="62411" y="3979"/>
                    <a:pt x="62381" y="4014"/>
                  </a:cubicBezTo>
                  <a:cubicBezTo>
                    <a:pt x="62360" y="4037"/>
                    <a:pt x="62340" y="4057"/>
                    <a:pt x="62320" y="4080"/>
                  </a:cubicBezTo>
                  <a:cubicBezTo>
                    <a:pt x="62219" y="3601"/>
                    <a:pt x="62040" y="3142"/>
                    <a:pt x="61795" y="2721"/>
                  </a:cubicBezTo>
                  <a:cubicBezTo>
                    <a:pt x="61792" y="2666"/>
                    <a:pt x="61757" y="2617"/>
                    <a:pt x="61708" y="2594"/>
                  </a:cubicBezTo>
                  <a:cubicBezTo>
                    <a:pt x="60561" y="808"/>
                    <a:pt x="58248" y="1"/>
                    <a:pt x="56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65"/>
            <p:cNvSpPr/>
            <p:nvPr/>
          </p:nvSpPr>
          <p:spPr>
            <a:xfrm>
              <a:off x="1156325" y="1192300"/>
              <a:ext cx="429675" cy="394375"/>
            </a:xfrm>
            <a:custGeom>
              <a:avLst/>
              <a:gdLst/>
              <a:ahLst/>
              <a:cxnLst/>
              <a:rect l="l" t="t" r="r" b="b"/>
              <a:pathLst>
                <a:path w="17187" h="15775" extrusionOk="0">
                  <a:moveTo>
                    <a:pt x="11450" y="1377"/>
                  </a:moveTo>
                  <a:cubicBezTo>
                    <a:pt x="11655" y="1755"/>
                    <a:pt x="11857" y="2303"/>
                    <a:pt x="12051" y="3016"/>
                  </a:cubicBezTo>
                  <a:lnTo>
                    <a:pt x="12051" y="3016"/>
                  </a:lnTo>
                  <a:cubicBezTo>
                    <a:pt x="11692" y="3283"/>
                    <a:pt x="11562" y="3384"/>
                    <a:pt x="11159" y="3716"/>
                  </a:cubicBezTo>
                  <a:cubicBezTo>
                    <a:pt x="10929" y="3984"/>
                    <a:pt x="10803" y="4119"/>
                    <a:pt x="10783" y="4119"/>
                  </a:cubicBezTo>
                  <a:cubicBezTo>
                    <a:pt x="10759" y="4119"/>
                    <a:pt x="10875" y="3938"/>
                    <a:pt x="11133" y="3577"/>
                  </a:cubicBezTo>
                  <a:cubicBezTo>
                    <a:pt x="11372" y="3207"/>
                    <a:pt x="11577" y="2815"/>
                    <a:pt x="11739" y="2405"/>
                  </a:cubicBezTo>
                  <a:cubicBezTo>
                    <a:pt x="11795" y="2280"/>
                    <a:pt x="11705" y="2163"/>
                    <a:pt x="11596" y="2163"/>
                  </a:cubicBezTo>
                  <a:cubicBezTo>
                    <a:pt x="11558" y="2163"/>
                    <a:pt x="11519" y="2177"/>
                    <a:pt x="11482" y="2209"/>
                  </a:cubicBezTo>
                  <a:cubicBezTo>
                    <a:pt x="11089" y="2543"/>
                    <a:pt x="10682" y="2881"/>
                    <a:pt x="10272" y="3222"/>
                  </a:cubicBezTo>
                  <a:cubicBezTo>
                    <a:pt x="10691" y="2627"/>
                    <a:pt x="11084" y="2012"/>
                    <a:pt x="11450" y="1377"/>
                  </a:cubicBezTo>
                  <a:close/>
                  <a:moveTo>
                    <a:pt x="11796" y="3664"/>
                  </a:moveTo>
                  <a:cubicBezTo>
                    <a:pt x="11910" y="3664"/>
                    <a:pt x="11269" y="4389"/>
                    <a:pt x="11130" y="4611"/>
                  </a:cubicBezTo>
                  <a:cubicBezTo>
                    <a:pt x="11124" y="4619"/>
                    <a:pt x="11130" y="4628"/>
                    <a:pt x="11127" y="4637"/>
                  </a:cubicBezTo>
                  <a:cubicBezTo>
                    <a:pt x="11086" y="4638"/>
                    <a:pt x="11045" y="4639"/>
                    <a:pt x="11005" y="4639"/>
                  </a:cubicBezTo>
                  <a:cubicBezTo>
                    <a:pt x="10855" y="4639"/>
                    <a:pt x="10706" y="4627"/>
                    <a:pt x="10558" y="4602"/>
                  </a:cubicBezTo>
                  <a:cubicBezTo>
                    <a:pt x="10870" y="4368"/>
                    <a:pt x="11009" y="4258"/>
                    <a:pt x="11390" y="3947"/>
                  </a:cubicBezTo>
                  <a:cubicBezTo>
                    <a:pt x="11638" y="3743"/>
                    <a:pt x="11758" y="3664"/>
                    <a:pt x="11796" y="3664"/>
                  </a:cubicBezTo>
                  <a:close/>
                  <a:moveTo>
                    <a:pt x="11320" y="2772"/>
                  </a:moveTo>
                  <a:lnTo>
                    <a:pt x="11320" y="2772"/>
                  </a:lnTo>
                  <a:cubicBezTo>
                    <a:pt x="10844" y="3176"/>
                    <a:pt x="10495" y="3961"/>
                    <a:pt x="10163" y="4504"/>
                  </a:cubicBezTo>
                  <a:cubicBezTo>
                    <a:pt x="10154" y="4518"/>
                    <a:pt x="10157" y="4535"/>
                    <a:pt x="10154" y="4550"/>
                  </a:cubicBezTo>
                  <a:cubicBezTo>
                    <a:pt x="10101" y="4546"/>
                    <a:pt x="10048" y="4544"/>
                    <a:pt x="9994" y="4544"/>
                  </a:cubicBezTo>
                  <a:cubicBezTo>
                    <a:pt x="9755" y="4544"/>
                    <a:pt x="9505" y="4589"/>
                    <a:pt x="9239" y="4749"/>
                  </a:cubicBezTo>
                  <a:cubicBezTo>
                    <a:pt x="9149" y="4804"/>
                    <a:pt x="9080" y="4847"/>
                    <a:pt x="8999" y="4899"/>
                  </a:cubicBezTo>
                  <a:cubicBezTo>
                    <a:pt x="9118" y="4752"/>
                    <a:pt x="9239" y="4605"/>
                    <a:pt x="9354" y="4455"/>
                  </a:cubicBezTo>
                  <a:cubicBezTo>
                    <a:pt x="9565" y="4273"/>
                    <a:pt x="9776" y="4085"/>
                    <a:pt x="9987" y="3903"/>
                  </a:cubicBezTo>
                  <a:cubicBezTo>
                    <a:pt x="10428" y="3522"/>
                    <a:pt x="10873" y="3147"/>
                    <a:pt x="11320" y="2772"/>
                  </a:cubicBezTo>
                  <a:close/>
                  <a:moveTo>
                    <a:pt x="11263" y="1088"/>
                  </a:moveTo>
                  <a:cubicBezTo>
                    <a:pt x="10717" y="2125"/>
                    <a:pt x="10041" y="3092"/>
                    <a:pt x="9311" y="4022"/>
                  </a:cubicBezTo>
                  <a:cubicBezTo>
                    <a:pt x="8944" y="4328"/>
                    <a:pt x="8584" y="4642"/>
                    <a:pt x="8223" y="4966"/>
                  </a:cubicBezTo>
                  <a:cubicBezTo>
                    <a:pt x="8459" y="4657"/>
                    <a:pt x="8696" y="4351"/>
                    <a:pt x="8930" y="4039"/>
                  </a:cubicBezTo>
                  <a:cubicBezTo>
                    <a:pt x="9603" y="3147"/>
                    <a:pt x="10700" y="1995"/>
                    <a:pt x="11263" y="1088"/>
                  </a:cubicBezTo>
                  <a:close/>
                  <a:moveTo>
                    <a:pt x="8145" y="3696"/>
                  </a:moveTo>
                  <a:cubicBezTo>
                    <a:pt x="7411" y="5133"/>
                    <a:pt x="6164" y="6340"/>
                    <a:pt x="5073" y="7509"/>
                  </a:cubicBezTo>
                  <a:cubicBezTo>
                    <a:pt x="4833" y="7766"/>
                    <a:pt x="4602" y="8026"/>
                    <a:pt x="4369" y="8283"/>
                  </a:cubicBezTo>
                  <a:cubicBezTo>
                    <a:pt x="4715" y="7549"/>
                    <a:pt x="5087" y="6831"/>
                    <a:pt x="5503" y="6132"/>
                  </a:cubicBezTo>
                  <a:cubicBezTo>
                    <a:pt x="5809" y="5635"/>
                    <a:pt x="6156" y="5165"/>
                    <a:pt x="6537" y="4723"/>
                  </a:cubicBezTo>
                  <a:lnTo>
                    <a:pt x="6540" y="4723"/>
                  </a:lnTo>
                  <a:cubicBezTo>
                    <a:pt x="6842" y="4357"/>
                    <a:pt x="8099" y="3783"/>
                    <a:pt x="8145" y="3696"/>
                  </a:cubicBezTo>
                  <a:close/>
                  <a:moveTo>
                    <a:pt x="10733" y="751"/>
                  </a:moveTo>
                  <a:cubicBezTo>
                    <a:pt x="10844" y="751"/>
                    <a:pt x="10955" y="794"/>
                    <a:pt x="11063" y="881"/>
                  </a:cubicBezTo>
                  <a:cubicBezTo>
                    <a:pt x="9600" y="2546"/>
                    <a:pt x="8327" y="4362"/>
                    <a:pt x="6950" y="6100"/>
                  </a:cubicBezTo>
                  <a:cubicBezTo>
                    <a:pt x="6516" y="6649"/>
                    <a:pt x="6049" y="7163"/>
                    <a:pt x="5575" y="7674"/>
                  </a:cubicBezTo>
                  <a:cubicBezTo>
                    <a:pt x="5385" y="7879"/>
                    <a:pt x="5015" y="8147"/>
                    <a:pt x="4675" y="8421"/>
                  </a:cubicBezTo>
                  <a:cubicBezTo>
                    <a:pt x="6037" y="6935"/>
                    <a:pt x="7443" y="5488"/>
                    <a:pt x="8448" y="3727"/>
                  </a:cubicBezTo>
                  <a:cubicBezTo>
                    <a:pt x="8454" y="3728"/>
                    <a:pt x="8460" y="3728"/>
                    <a:pt x="8466" y="3728"/>
                  </a:cubicBezTo>
                  <a:cubicBezTo>
                    <a:pt x="8514" y="3728"/>
                    <a:pt x="8558" y="3708"/>
                    <a:pt x="8586" y="3669"/>
                  </a:cubicBezTo>
                  <a:cubicBezTo>
                    <a:pt x="8921" y="3222"/>
                    <a:pt x="9190" y="2751"/>
                    <a:pt x="9461" y="2261"/>
                  </a:cubicBezTo>
                  <a:cubicBezTo>
                    <a:pt x="9597" y="2009"/>
                    <a:pt x="9741" y="1758"/>
                    <a:pt x="9894" y="1516"/>
                  </a:cubicBezTo>
                  <a:cubicBezTo>
                    <a:pt x="10182" y="1005"/>
                    <a:pt x="10462" y="751"/>
                    <a:pt x="10733" y="751"/>
                  </a:cubicBezTo>
                  <a:close/>
                  <a:moveTo>
                    <a:pt x="7715" y="5970"/>
                  </a:moveTo>
                  <a:cubicBezTo>
                    <a:pt x="6840" y="7001"/>
                    <a:pt x="5936" y="8011"/>
                    <a:pt x="5067" y="9045"/>
                  </a:cubicBezTo>
                  <a:lnTo>
                    <a:pt x="5061" y="9051"/>
                  </a:lnTo>
                  <a:cubicBezTo>
                    <a:pt x="5090" y="9013"/>
                    <a:pt x="5116" y="8976"/>
                    <a:pt x="5131" y="8950"/>
                  </a:cubicBezTo>
                  <a:cubicBezTo>
                    <a:pt x="5662" y="8072"/>
                    <a:pt x="6389" y="7313"/>
                    <a:pt x="7094" y="6571"/>
                  </a:cubicBezTo>
                  <a:cubicBezTo>
                    <a:pt x="7290" y="6363"/>
                    <a:pt x="7507" y="6172"/>
                    <a:pt x="7712" y="5970"/>
                  </a:cubicBezTo>
                  <a:close/>
                  <a:moveTo>
                    <a:pt x="2212" y="8317"/>
                  </a:moveTo>
                  <a:lnTo>
                    <a:pt x="2212" y="8317"/>
                  </a:lnTo>
                  <a:cubicBezTo>
                    <a:pt x="1825" y="8903"/>
                    <a:pt x="1471" y="9566"/>
                    <a:pt x="1122" y="10146"/>
                  </a:cubicBezTo>
                  <a:lnTo>
                    <a:pt x="1122" y="10146"/>
                  </a:lnTo>
                  <a:cubicBezTo>
                    <a:pt x="1021" y="10063"/>
                    <a:pt x="938" y="9962"/>
                    <a:pt x="878" y="9845"/>
                  </a:cubicBezTo>
                  <a:cubicBezTo>
                    <a:pt x="1274" y="9605"/>
                    <a:pt x="1764" y="8935"/>
                    <a:pt x="2212" y="8317"/>
                  </a:cubicBezTo>
                  <a:close/>
                  <a:moveTo>
                    <a:pt x="4989" y="8609"/>
                  </a:moveTo>
                  <a:lnTo>
                    <a:pt x="4989" y="8609"/>
                  </a:lnTo>
                  <a:cubicBezTo>
                    <a:pt x="4672" y="9097"/>
                    <a:pt x="4395" y="9614"/>
                    <a:pt x="4166" y="10148"/>
                  </a:cubicBezTo>
                  <a:cubicBezTo>
                    <a:pt x="4007" y="10107"/>
                    <a:pt x="3849" y="10089"/>
                    <a:pt x="3687" y="10089"/>
                  </a:cubicBezTo>
                  <a:cubicBezTo>
                    <a:pt x="3528" y="10089"/>
                    <a:pt x="3366" y="10106"/>
                    <a:pt x="3199" y="10136"/>
                  </a:cubicBezTo>
                  <a:lnTo>
                    <a:pt x="3202" y="10133"/>
                  </a:lnTo>
                  <a:cubicBezTo>
                    <a:pt x="3321" y="9980"/>
                    <a:pt x="3442" y="9830"/>
                    <a:pt x="3566" y="9683"/>
                  </a:cubicBezTo>
                  <a:cubicBezTo>
                    <a:pt x="3585" y="9696"/>
                    <a:pt x="3607" y="9703"/>
                    <a:pt x="3630" y="9703"/>
                  </a:cubicBezTo>
                  <a:cubicBezTo>
                    <a:pt x="3656" y="9703"/>
                    <a:pt x="3682" y="9694"/>
                    <a:pt x="3702" y="9677"/>
                  </a:cubicBezTo>
                  <a:cubicBezTo>
                    <a:pt x="4149" y="9345"/>
                    <a:pt x="4579" y="8990"/>
                    <a:pt x="4989" y="8609"/>
                  </a:cubicBezTo>
                  <a:close/>
                  <a:moveTo>
                    <a:pt x="7931" y="7116"/>
                  </a:moveTo>
                  <a:cubicBezTo>
                    <a:pt x="8021" y="7333"/>
                    <a:pt x="8139" y="7570"/>
                    <a:pt x="8292" y="7847"/>
                  </a:cubicBezTo>
                  <a:cubicBezTo>
                    <a:pt x="8326" y="7909"/>
                    <a:pt x="8379" y="7935"/>
                    <a:pt x="8433" y="7935"/>
                  </a:cubicBezTo>
                  <a:cubicBezTo>
                    <a:pt x="8472" y="7935"/>
                    <a:pt x="8512" y="7922"/>
                    <a:pt x="8546" y="7899"/>
                  </a:cubicBezTo>
                  <a:lnTo>
                    <a:pt x="8546" y="7899"/>
                  </a:lnTo>
                  <a:cubicBezTo>
                    <a:pt x="8084" y="8439"/>
                    <a:pt x="7608" y="8961"/>
                    <a:pt x="7105" y="9469"/>
                  </a:cubicBezTo>
                  <a:lnTo>
                    <a:pt x="6369" y="10203"/>
                  </a:lnTo>
                  <a:cubicBezTo>
                    <a:pt x="7007" y="9230"/>
                    <a:pt x="7605" y="8263"/>
                    <a:pt x="7931" y="7116"/>
                  </a:cubicBezTo>
                  <a:close/>
                  <a:moveTo>
                    <a:pt x="4568" y="6014"/>
                  </a:moveTo>
                  <a:lnTo>
                    <a:pt x="4568" y="6014"/>
                  </a:lnTo>
                  <a:cubicBezTo>
                    <a:pt x="3869" y="6883"/>
                    <a:pt x="3277" y="7830"/>
                    <a:pt x="2636" y="8759"/>
                  </a:cubicBezTo>
                  <a:cubicBezTo>
                    <a:pt x="2530" y="8913"/>
                    <a:pt x="1531" y="10232"/>
                    <a:pt x="1474" y="10232"/>
                  </a:cubicBezTo>
                  <a:cubicBezTo>
                    <a:pt x="1452" y="10232"/>
                    <a:pt x="1570" y="10037"/>
                    <a:pt x="1932" y="9504"/>
                  </a:cubicBezTo>
                  <a:lnTo>
                    <a:pt x="1935" y="9504"/>
                  </a:lnTo>
                  <a:cubicBezTo>
                    <a:pt x="2524" y="8644"/>
                    <a:pt x="3055" y="7743"/>
                    <a:pt x="3526" y="6810"/>
                  </a:cubicBezTo>
                  <a:cubicBezTo>
                    <a:pt x="3531" y="6799"/>
                    <a:pt x="3526" y="6790"/>
                    <a:pt x="3531" y="6779"/>
                  </a:cubicBezTo>
                  <a:cubicBezTo>
                    <a:pt x="3872" y="6516"/>
                    <a:pt x="4218" y="6265"/>
                    <a:pt x="4568" y="6014"/>
                  </a:cubicBezTo>
                  <a:close/>
                  <a:moveTo>
                    <a:pt x="7732" y="6432"/>
                  </a:moveTo>
                  <a:cubicBezTo>
                    <a:pt x="7749" y="6562"/>
                    <a:pt x="7778" y="6692"/>
                    <a:pt x="7821" y="6816"/>
                  </a:cubicBezTo>
                  <a:cubicBezTo>
                    <a:pt x="7769" y="6816"/>
                    <a:pt x="7723" y="6839"/>
                    <a:pt x="7691" y="6877"/>
                  </a:cubicBezTo>
                  <a:cubicBezTo>
                    <a:pt x="6745" y="8115"/>
                    <a:pt x="5621" y="9172"/>
                    <a:pt x="4568" y="10312"/>
                  </a:cubicBezTo>
                  <a:cubicBezTo>
                    <a:pt x="4542" y="10304"/>
                    <a:pt x="4522" y="10283"/>
                    <a:pt x="4496" y="10275"/>
                  </a:cubicBezTo>
                  <a:lnTo>
                    <a:pt x="4496" y="10272"/>
                  </a:lnTo>
                  <a:cubicBezTo>
                    <a:pt x="5535" y="8961"/>
                    <a:pt x="6646" y="7705"/>
                    <a:pt x="7732" y="6432"/>
                  </a:cubicBezTo>
                  <a:close/>
                  <a:moveTo>
                    <a:pt x="5150" y="5666"/>
                  </a:moveTo>
                  <a:cubicBezTo>
                    <a:pt x="5228" y="5666"/>
                    <a:pt x="4267" y="7260"/>
                    <a:pt x="4042" y="7633"/>
                  </a:cubicBezTo>
                  <a:cubicBezTo>
                    <a:pt x="3534" y="8485"/>
                    <a:pt x="3090" y="9334"/>
                    <a:pt x="2720" y="10249"/>
                  </a:cubicBezTo>
                  <a:cubicBezTo>
                    <a:pt x="2440" y="10332"/>
                    <a:pt x="2146" y="10439"/>
                    <a:pt x="1815" y="10566"/>
                  </a:cubicBezTo>
                  <a:lnTo>
                    <a:pt x="1815" y="10566"/>
                  </a:lnTo>
                  <a:cubicBezTo>
                    <a:pt x="1706" y="10517"/>
                    <a:pt x="1614" y="10465"/>
                    <a:pt x="1522" y="10416"/>
                  </a:cubicBezTo>
                  <a:cubicBezTo>
                    <a:pt x="2694" y="9348"/>
                    <a:pt x="3476" y="8014"/>
                    <a:pt x="4386" y="6695"/>
                  </a:cubicBezTo>
                  <a:cubicBezTo>
                    <a:pt x="4906" y="5941"/>
                    <a:pt x="5118" y="5666"/>
                    <a:pt x="5150" y="5666"/>
                  </a:cubicBezTo>
                  <a:close/>
                  <a:moveTo>
                    <a:pt x="8864" y="8179"/>
                  </a:moveTo>
                  <a:cubicBezTo>
                    <a:pt x="8970" y="8251"/>
                    <a:pt x="9126" y="8329"/>
                    <a:pt x="9328" y="8447"/>
                  </a:cubicBezTo>
                  <a:cubicBezTo>
                    <a:pt x="9327" y="8449"/>
                    <a:pt x="9326" y="8449"/>
                    <a:pt x="9324" y="8449"/>
                  </a:cubicBezTo>
                  <a:cubicBezTo>
                    <a:pt x="9323" y="8449"/>
                    <a:pt x="9321" y="8449"/>
                    <a:pt x="9320" y="8450"/>
                  </a:cubicBezTo>
                  <a:cubicBezTo>
                    <a:pt x="8633" y="9169"/>
                    <a:pt x="7983" y="9923"/>
                    <a:pt x="7313" y="10656"/>
                  </a:cubicBezTo>
                  <a:cubicBezTo>
                    <a:pt x="7486" y="10457"/>
                    <a:pt x="7665" y="10237"/>
                    <a:pt x="7772" y="10067"/>
                  </a:cubicBezTo>
                  <a:cubicBezTo>
                    <a:pt x="8153" y="9449"/>
                    <a:pt x="8508" y="8814"/>
                    <a:pt x="8864" y="8179"/>
                  </a:cubicBezTo>
                  <a:close/>
                  <a:moveTo>
                    <a:pt x="9600" y="8609"/>
                  </a:moveTo>
                  <a:cubicBezTo>
                    <a:pt x="9718" y="8681"/>
                    <a:pt x="9839" y="8753"/>
                    <a:pt x="9961" y="8828"/>
                  </a:cubicBezTo>
                  <a:cubicBezTo>
                    <a:pt x="10103" y="8916"/>
                    <a:pt x="10204" y="8944"/>
                    <a:pt x="10286" y="8944"/>
                  </a:cubicBezTo>
                  <a:cubicBezTo>
                    <a:pt x="10418" y="8944"/>
                    <a:pt x="10496" y="8872"/>
                    <a:pt x="10602" y="8872"/>
                  </a:cubicBezTo>
                  <a:cubicBezTo>
                    <a:pt x="10630" y="8872"/>
                    <a:pt x="10660" y="8876"/>
                    <a:pt x="10693" y="8889"/>
                  </a:cubicBezTo>
                  <a:lnTo>
                    <a:pt x="10693" y="8889"/>
                  </a:lnTo>
                  <a:cubicBezTo>
                    <a:pt x="10673" y="8881"/>
                    <a:pt x="10654" y="8878"/>
                    <a:pt x="10635" y="8878"/>
                  </a:cubicBezTo>
                  <a:cubicBezTo>
                    <a:pt x="10505" y="8878"/>
                    <a:pt x="10420" y="9047"/>
                    <a:pt x="10486" y="9160"/>
                  </a:cubicBezTo>
                  <a:cubicBezTo>
                    <a:pt x="10561" y="9299"/>
                    <a:pt x="10642" y="9440"/>
                    <a:pt x="10720" y="9579"/>
                  </a:cubicBezTo>
                  <a:cubicBezTo>
                    <a:pt x="10677" y="9582"/>
                    <a:pt x="10636" y="9599"/>
                    <a:pt x="10607" y="9628"/>
                  </a:cubicBezTo>
                  <a:cubicBezTo>
                    <a:pt x="10272" y="9946"/>
                    <a:pt x="9961" y="10272"/>
                    <a:pt x="9655" y="10607"/>
                  </a:cubicBezTo>
                  <a:cubicBezTo>
                    <a:pt x="9917" y="10142"/>
                    <a:pt x="10171" y="9669"/>
                    <a:pt x="10371" y="9160"/>
                  </a:cubicBezTo>
                  <a:cubicBezTo>
                    <a:pt x="10422" y="9028"/>
                    <a:pt x="10308" y="8940"/>
                    <a:pt x="10195" y="8940"/>
                  </a:cubicBezTo>
                  <a:cubicBezTo>
                    <a:pt x="10150" y="8940"/>
                    <a:pt x="10105" y="8954"/>
                    <a:pt x="10070" y="8984"/>
                  </a:cubicBezTo>
                  <a:cubicBezTo>
                    <a:pt x="9461" y="9510"/>
                    <a:pt x="8921" y="10090"/>
                    <a:pt x="8396" y="10691"/>
                  </a:cubicBezTo>
                  <a:cubicBezTo>
                    <a:pt x="8800" y="10015"/>
                    <a:pt x="9207" y="9345"/>
                    <a:pt x="9594" y="8661"/>
                  </a:cubicBezTo>
                  <a:cubicBezTo>
                    <a:pt x="9600" y="8644"/>
                    <a:pt x="9594" y="8626"/>
                    <a:pt x="9597" y="8609"/>
                  </a:cubicBezTo>
                  <a:close/>
                  <a:moveTo>
                    <a:pt x="15091" y="8618"/>
                  </a:moveTo>
                  <a:cubicBezTo>
                    <a:pt x="15232" y="8690"/>
                    <a:pt x="15374" y="8762"/>
                    <a:pt x="15512" y="8834"/>
                  </a:cubicBezTo>
                  <a:cubicBezTo>
                    <a:pt x="15535" y="8849"/>
                    <a:pt x="15553" y="8866"/>
                    <a:pt x="15576" y="8880"/>
                  </a:cubicBezTo>
                  <a:cubicBezTo>
                    <a:pt x="14978" y="9591"/>
                    <a:pt x="14294" y="10240"/>
                    <a:pt x="13604" y="10890"/>
                  </a:cubicBezTo>
                  <a:cubicBezTo>
                    <a:pt x="14291" y="10217"/>
                    <a:pt x="14978" y="9426"/>
                    <a:pt x="15091" y="8618"/>
                  </a:cubicBezTo>
                  <a:close/>
                  <a:moveTo>
                    <a:pt x="7548" y="7534"/>
                  </a:moveTo>
                  <a:cubicBezTo>
                    <a:pt x="7404" y="7692"/>
                    <a:pt x="6784" y="9006"/>
                    <a:pt x="6493" y="9469"/>
                  </a:cubicBezTo>
                  <a:cubicBezTo>
                    <a:pt x="6170" y="9986"/>
                    <a:pt x="5824" y="10483"/>
                    <a:pt x="5486" y="10988"/>
                  </a:cubicBezTo>
                  <a:lnTo>
                    <a:pt x="5486" y="10985"/>
                  </a:lnTo>
                  <a:lnTo>
                    <a:pt x="5474" y="10976"/>
                  </a:lnTo>
                  <a:cubicBezTo>
                    <a:pt x="5246" y="10748"/>
                    <a:pt x="4989" y="10552"/>
                    <a:pt x="4709" y="10396"/>
                  </a:cubicBezTo>
                  <a:cubicBezTo>
                    <a:pt x="5650" y="9435"/>
                    <a:pt x="6634" y="8521"/>
                    <a:pt x="7548" y="7534"/>
                  </a:cubicBezTo>
                  <a:close/>
                  <a:moveTo>
                    <a:pt x="10882" y="9871"/>
                  </a:moveTo>
                  <a:cubicBezTo>
                    <a:pt x="10991" y="10070"/>
                    <a:pt x="11101" y="10266"/>
                    <a:pt x="11214" y="10462"/>
                  </a:cubicBezTo>
                  <a:cubicBezTo>
                    <a:pt x="11192" y="10455"/>
                    <a:pt x="11170" y="10452"/>
                    <a:pt x="11149" y="10452"/>
                  </a:cubicBezTo>
                  <a:cubicBezTo>
                    <a:pt x="11108" y="10452"/>
                    <a:pt x="11068" y="10464"/>
                    <a:pt x="11035" y="10488"/>
                  </a:cubicBezTo>
                  <a:cubicBezTo>
                    <a:pt x="10604" y="10829"/>
                    <a:pt x="10197" y="11196"/>
                    <a:pt x="9816" y="11588"/>
                  </a:cubicBezTo>
                  <a:cubicBezTo>
                    <a:pt x="10203" y="11043"/>
                    <a:pt x="10584" y="10491"/>
                    <a:pt x="10882" y="9874"/>
                  </a:cubicBezTo>
                  <a:lnTo>
                    <a:pt x="10882" y="9871"/>
                  </a:lnTo>
                  <a:close/>
                  <a:moveTo>
                    <a:pt x="8125" y="8843"/>
                  </a:moveTo>
                  <a:cubicBezTo>
                    <a:pt x="8032" y="8999"/>
                    <a:pt x="7946" y="9158"/>
                    <a:pt x="7853" y="9313"/>
                  </a:cubicBezTo>
                  <a:cubicBezTo>
                    <a:pt x="7391" y="10096"/>
                    <a:pt x="6889" y="10855"/>
                    <a:pt x="6389" y="11612"/>
                  </a:cubicBezTo>
                  <a:cubicBezTo>
                    <a:pt x="6359" y="11654"/>
                    <a:pt x="6355" y="11709"/>
                    <a:pt x="6379" y="11755"/>
                  </a:cubicBezTo>
                  <a:lnTo>
                    <a:pt x="6379" y="11755"/>
                  </a:lnTo>
                  <a:cubicBezTo>
                    <a:pt x="6178" y="11597"/>
                    <a:pt x="5987" y="11428"/>
                    <a:pt x="5792" y="11256"/>
                  </a:cubicBezTo>
                  <a:cubicBezTo>
                    <a:pt x="6568" y="10451"/>
                    <a:pt x="7359" y="9660"/>
                    <a:pt x="8125" y="8843"/>
                  </a:cubicBezTo>
                  <a:close/>
                  <a:moveTo>
                    <a:pt x="8480" y="9876"/>
                  </a:moveTo>
                  <a:lnTo>
                    <a:pt x="8480" y="9876"/>
                  </a:lnTo>
                  <a:cubicBezTo>
                    <a:pt x="8442" y="9934"/>
                    <a:pt x="8410" y="9992"/>
                    <a:pt x="8376" y="10050"/>
                  </a:cubicBezTo>
                  <a:cubicBezTo>
                    <a:pt x="7957" y="10745"/>
                    <a:pt x="7536" y="11438"/>
                    <a:pt x="7134" y="12146"/>
                  </a:cubicBezTo>
                  <a:cubicBezTo>
                    <a:pt x="7108" y="12198"/>
                    <a:pt x="7111" y="12261"/>
                    <a:pt x="7146" y="12310"/>
                  </a:cubicBezTo>
                  <a:cubicBezTo>
                    <a:pt x="6926" y="12166"/>
                    <a:pt x="6716" y="12010"/>
                    <a:pt x="6505" y="11851"/>
                  </a:cubicBezTo>
                  <a:lnTo>
                    <a:pt x="6508" y="11851"/>
                  </a:lnTo>
                  <a:cubicBezTo>
                    <a:pt x="6519" y="11854"/>
                    <a:pt x="6530" y="11855"/>
                    <a:pt x="6542" y="11855"/>
                  </a:cubicBezTo>
                  <a:cubicBezTo>
                    <a:pt x="6581" y="11855"/>
                    <a:pt x="6621" y="11840"/>
                    <a:pt x="6652" y="11814"/>
                  </a:cubicBezTo>
                  <a:cubicBezTo>
                    <a:pt x="7299" y="11202"/>
                    <a:pt x="7891" y="10540"/>
                    <a:pt x="8480" y="9876"/>
                  </a:cubicBezTo>
                  <a:close/>
                  <a:moveTo>
                    <a:pt x="9871" y="9625"/>
                  </a:moveTo>
                  <a:lnTo>
                    <a:pt x="9871" y="9625"/>
                  </a:lnTo>
                  <a:cubicBezTo>
                    <a:pt x="9092" y="10387"/>
                    <a:pt x="8506" y="11834"/>
                    <a:pt x="7992" y="12789"/>
                  </a:cubicBezTo>
                  <a:cubicBezTo>
                    <a:pt x="7977" y="12815"/>
                    <a:pt x="7986" y="12836"/>
                    <a:pt x="7986" y="12856"/>
                  </a:cubicBezTo>
                  <a:cubicBezTo>
                    <a:pt x="7755" y="12711"/>
                    <a:pt x="7530" y="12567"/>
                    <a:pt x="7302" y="12414"/>
                  </a:cubicBezTo>
                  <a:cubicBezTo>
                    <a:pt x="7342" y="12411"/>
                    <a:pt x="7383" y="12394"/>
                    <a:pt x="7409" y="12359"/>
                  </a:cubicBezTo>
                  <a:cubicBezTo>
                    <a:pt x="8220" y="11438"/>
                    <a:pt x="8991" y="10483"/>
                    <a:pt x="9871" y="9625"/>
                  </a:cubicBezTo>
                  <a:close/>
                  <a:moveTo>
                    <a:pt x="16699" y="10653"/>
                  </a:moveTo>
                  <a:cubicBezTo>
                    <a:pt x="16716" y="10835"/>
                    <a:pt x="16719" y="11017"/>
                    <a:pt x="16708" y="11199"/>
                  </a:cubicBezTo>
                  <a:cubicBezTo>
                    <a:pt x="16664" y="11210"/>
                    <a:pt x="16624" y="11239"/>
                    <a:pt x="16601" y="11277"/>
                  </a:cubicBezTo>
                  <a:cubicBezTo>
                    <a:pt x="16197" y="11894"/>
                    <a:pt x="15717" y="12440"/>
                    <a:pt x="15206" y="12954"/>
                  </a:cubicBezTo>
                  <a:cubicBezTo>
                    <a:pt x="15732" y="12206"/>
                    <a:pt x="16263" y="11459"/>
                    <a:pt x="16699" y="10653"/>
                  </a:cubicBezTo>
                  <a:close/>
                  <a:moveTo>
                    <a:pt x="10088" y="10607"/>
                  </a:moveTo>
                  <a:lnTo>
                    <a:pt x="10088" y="10607"/>
                  </a:lnTo>
                  <a:cubicBezTo>
                    <a:pt x="9591" y="11473"/>
                    <a:pt x="8921" y="12255"/>
                    <a:pt x="8393" y="13101"/>
                  </a:cubicBezTo>
                  <a:lnTo>
                    <a:pt x="8252" y="13015"/>
                  </a:lnTo>
                  <a:cubicBezTo>
                    <a:pt x="8269" y="13000"/>
                    <a:pt x="8292" y="12997"/>
                    <a:pt x="8306" y="12974"/>
                  </a:cubicBezTo>
                  <a:cubicBezTo>
                    <a:pt x="8820" y="12198"/>
                    <a:pt x="9608" y="11363"/>
                    <a:pt x="10088" y="10607"/>
                  </a:cubicBezTo>
                  <a:close/>
                  <a:moveTo>
                    <a:pt x="16546" y="9966"/>
                  </a:moveTo>
                  <a:cubicBezTo>
                    <a:pt x="16595" y="10096"/>
                    <a:pt x="16635" y="10229"/>
                    <a:pt x="16661" y="10364"/>
                  </a:cubicBezTo>
                  <a:cubicBezTo>
                    <a:pt x="16627" y="10340"/>
                    <a:pt x="16588" y="10328"/>
                    <a:pt x="16549" y="10328"/>
                  </a:cubicBezTo>
                  <a:cubicBezTo>
                    <a:pt x="16486" y="10328"/>
                    <a:pt x="16425" y="10359"/>
                    <a:pt x="16387" y="10416"/>
                  </a:cubicBezTo>
                  <a:cubicBezTo>
                    <a:pt x="15665" y="11386"/>
                    <a:pt x="14895" y="12310"/>
                    <a:pt x="14095" y="13214"/>
                  </a:cubicBezTo>
                  <a:cubicBezTo>
                    <a:pt x="14528" y="12590"/>
                    <a:pt x="14975" y="11975"/>
                    <a:pt x="15437" y="11375"/>
                  </a:cubicBezTo>
                  <a:cubicBezTo>
                    <a:pt x="15824" y="10922"/>
                    <a:pt x="16194" y="10454"/>
                    <a:pt x="16546" y="9966"/>
                  </a:cubicBezTo>
                  <a:close/>
                  <a:moveTo>
                    <a:pt x="15891" y="9088"/>
                  </a:moveTo>
                  <a:cubicBezTo>
                    <a:pt x="16072" y="9233"/>
                    <a:pt x="16231" y="9406"/>
                    <a:pt x="16355" y="9602"/>
                  </a:cubicBezTo>
                  <a:cubicBezTo>
                    <a:pt x="15937" y="10119"/>
                    <a:pt x="15527" y="10644"/>
                    <a:pt x="15123" y="11173"/>
                  </a:cubicBezTo>
                  <a:cubicBezTo>
                    <a:pt x="14395" y="12010"/>
                    <a:pt x="13618" y="12804"/>
                    <a:pt x="12801" y="13552"/>
                  </a:cubicBezTo>
                  <a:lnTo>
                    <a:pt x="12801" y="13549"/>
                  </a:lnTo>
                  <a:cubicBezTo>
                    <a:pt x="13910" y="12120"/>
                    <a:pt x="14941" y="10630"/>
                    <a:pt x="15891" y="9088"/>
                  </a:cubicBezTo>
                  <a:close/>
                  <a:moveTo>
                    <a:pt x="11335" y="10679"/>
                  </a:moveTo>
                  <a:cubicBezTo>
                    <a:pt x="11419" y="10829"/>
                    <a:pt x="11499" y="10982"/>
                    <a:pt x="11589" y="11129"/>
                  </a:cubicBezTo>
                  <a:cubicBezTo>
                    <a:pt x="11592" y="11135"/>
                    <a:pt x="11598" y="11135"/>
                    <a:pt x="11600" y="11141"/>
                  </a:cubicBezTo>
                  <a:cubicBezTo>
                    <a:pt x="11491" y="11271"/>
                    <a:pt x="11378" y="11401"/>
                    <a:pt x="11266" y="11528"/>
                  </a:cubicBezTo>
                  <a:cubicBezTo>
                    <a:pt x="10698" y="12179"/>
                    <a:pt x="9930" y="13030"/>
                    <a:pt x="9671" y="13576"/>
                  </a:cubicBezTo>
                  <a:lnTo>
                    <a:pt x="9671" y="13576"/>
                  </a:lnTo>
                  <a:cubicBezTo>
                    <a:pt x="10141" y="12582"/>
                    <a:pt x="10741" y="11645"/>
                    <a:pt x="11326" y="10717"/>
                  </a:cubicBezTo>
                  <a:cubicBezTo>
                    <a:pt x="11335" y="10702"/>
                    <a:pt x="11329" y="10693"/>
                    <a:pt x="11335" y="10679"/>
                  </a:cubicBezTo>
                  <a:close/>
                  <a:moveTo>
                    <a:pt x="10786" y="11152"/>
                  </a:moveTo>
                  <a:cubicBezTo>
                    <a:pt x="10180" y="11718"/>
                    <a:pt x="9672" y="12710"/>
                    <a:pt x="9240" y="13608"/>
                  </a:cubicBezTo>
                  <a:lnTo>
                    <a:pt x="9240" y="13608"/>
                  </a:lnTo>
                  <a:cubicBezTo>
                    <a:pt x="9070" y="13507"/>
                    <a:pt x="8903" y="13407"/>
                    <a:pt x="8734" y="13306"/>
                  </a:cubicBezTo>
                  <a:cubicBezTo>
                    <a:pt x="9412" y="12582"/>
                    <a:pt x="10059" y="11831"/>
                    <a:pt x="10786" y="11152"/>
                  </a:cubicBezTo>
                  <a:close/>
                  <a:moveTo>
                    <a:pt x="14294" y="8205"/>
                  </a:moveTo>
                  <a:cubicBezTo>
                    <a:pt x="14467" y="8294"/>
                    <a:pt x="14640" y="8384"/>
                    <a:pt x="14814" y="8473"/>
                  </a:cubicBezTo>
                  <a:cubicBezTo>
                    <a:pt x="14069" y="9305"/>
                    <a:pt x="13474" y="10240"/>
                    <a:pt x="12903" y="11190"/>
                  </a:cubicBezTo>
                  <a:cubicBezTo>
                    <a:pt x="12510" y="11557"/>
                    <a:pt x="12120" y="11900"/>
                    <a:pt x="11808" y="12200"/>
                  </a:cubicBezTo>
                  <a:cubicBezTo>
                    <a:pt x="11390" y="12602"/>
                    <a:pt x="10183" y="13367"/>
                    <a:pt x="9854" y="13979"/>
                  </a:cubicBezTo>
                  <a:cubicBezTo>
                    <a:pt x="9790" y="13941"/>
                    <a:pt x="9730" y="13898"/>
                    <a:pt x="9666" y="13860"/>
                  </a:cubicBezTo>
                  <a:cubicBezTo>
                    <a:pt x="11306" y="12050"/>
                    <a:pt x="12966" y="10266"/>
                    <a:pt x="14294" y="8205"/>
                  </a:cubicBezTo>
                  <a:close/>
                  <a:moveTo>
                    <a:pt x="15813" y="12893"/>
                  </a:moveTo>
                  <a:lnTo>
                    <a:pt x="15813" y="12893"/>
                  </a:lnTo>
                  <a:cubicBezTo>
                    <a:pt x="15660" y="13153"/>
                    <a:pt x="15492" y="13407"/>
                    <a:pt x="15310" y="13650"/>
                  </a:cubicBezTo>
                  <a:cubicBezTo>
                    <a:pt x="15224" y="13762"/>
                    <a:pt x="15296" y="13860"/>
                    <a:pt x="15400" y="13901"/>
                  </a:cubicBezTo>
                  <a:cubicBezTo>
                    <a:pt x="15065" y="14112"/>
                    <a:pt x="14684" y="14253"/>
                    <a:pt x="14280" y="14369"/>
                  </a:cubicBezTo>
                  <a:cubicBezTo>
                    <a:pt x="14811" y="13892"/>
                    <a:pt x="15330" y="13410"/>
                    <a:pt x="15813" y="12893"/>
                  </a:cubicBezTo>
                  <a:close/>
                  <a:moveTo>
                    <a:pt x="12392" y="12027"/>
                  </a:moveTo>
                  <a:cubicBezTo>
                    <a:pt x="12366" y="12071"/>
                    <a:pt x="12340" y="12111"/>
                    <a:pt x="12314" y="12154"/>
                  </a:cubicBezTo>
                  <a:cubicBezTo>
                    <a:pt x="11647" y="12853"/>
                    <a:pt x="11052" y="13606"/>
                    <a:pt x="10619" y="14473"/>
                  </a:cubicBezTo>
                  <a:cubicBezTo>
                    <a:pt x="10431" y="14348"/>
                    <a:pt x="10241" y="14227"/>
                    <a:pt x="10047" y="14109"/>
                  </a:cubicBezTo>
                  <a:cubicBezTo>
                    <a:pt x="10218" y="13889"/>
                    <a:pt x="10697" y="13580"/>
                    <a:pt x="10853" y="13442"/>
                  </a:cubicBezTo>
                  <a:cubicBezTo>
                    <a:pt x="11375" y="12983"/>
                    <a:pt x="11886" y="12506"/>
                    <a:pt x="12392" y="12027"/>
                  </a:cubicBezTo>
                  <a:close/>
                  <a:moveTo>
                    <a:pt x="14594" y="10448"/>
                  </a:moveTo>
                  <a:cubicBezTo>
                    <a:pt x="13555" y="11990"/>
                    <a:pt x="12441" y="13479"/>
                    <a:pt x="11251" y="14908"/>
                  </a:cubicBezTo>
                  <a:cubicBezTo>
                    <a:pt x="11248" y="14911"/>
                    <a:pt x="11251" y="14914"/>
                    <a:pt x="11248" y="14917"/>
                  </a:cubicBezTo>
                  <a:cubicBezTo>
                    <a:pt x="11147" y="14845"/>
                    <a:pt x="11055" y="14761"/>
                    <a:pt x="10954" y="14692"/>
                  </a:cubicBezTo>
                  <a:cubicBezTo>
                    <a:pt x="11494" y="14042"/>
                    <a:pt x="11956" y="13329"/>
                    <a:pt x="12383" y="12602"/>
                  </a:cubicBezTo>
                  <a:lnTo>
                    <a:pt x="12383" y="12599"/>
                  </a:lnTo>
                  <a:cubicBezTo>
                    <a:pt x="13076" y="11848"/>
                    <a:pt x="13855" y="11161"/>
                    <a:pt x="14594" y="10448"/>
                  </a:cubicBezTo>
                  <a:close/>
                  <a:moveTo>
                    <a:pt x="11914" y="1"/>
                  </a:moveTo>
                  <a:cubicBezTo>
                    <a:pt x="11876" y="1"/>
                    <a:pt x="11837" y="16"/>
                    <a:pt x="11803" y="52"/>
                  </a:cubicBezTo>
                  <a:cubicBezTo>
                    <a:pt x="11745" y="113"/>
                    <a:pt x="11696" y="176"/>
                    <a:pt x="11641" y="234"/>
                  </a:cubicBezTo>
                  <a:cubicBezTo>
                    <a:pt x="11559" y="214"/>
                    <a:pt x="11477" y="204"/>
                    <a:pt x="11396" y="204"/>
                  </a:cubicBezTo>
                  <a:cubicBezTo>
                    <a:pt x="10335" y="204"/>
                    <a:pt x="9419" y="1871"/>
                    <a:pt x="8641" y="3046"/>
                  </a:cubicBezTo>
                  <a:cubicBezTo>
                    <a:pt x="8621" y="3035"/>
                    <a:pt x="8598" y="3028"/>
                    <a:pt x="8575" y="3028"/>
                  </a:cubicBezTo>
                  <a:cubicBezTo>
                    <a:pt x="8562" y="3028"/>
                    <a:pt x="8550" y="3030"/>
                    <a:pt x="8537" y="3034"/>
                  </a:cubicBezTo>
                  <a:cubicBezTo>
                    <a:pt x="8506" y="3046"/>
                    <a:pt x="8480" y="3063"/>
                    <a:pt x="8451" y="3075"/>
                  </a:cubicBezTo>
                  <a:cubicBezTo>
                    <a:pt x="8447" y="3074"/>
                    <a:pt x="8443" y="3074"/>
                    <a:pt x="8439" y="3074"/>
                  </a:cubicBezTo>
                  <a:cubicBezTo>
                    <a:pt x="8427" y="3074"/>
                    <a:pt x="8416" y="3076"/>
                    <a:pt x="8407" y="3080"/>
                  </a:cubicBezTo>
                  <a:lnTo>
                    <a:pt x="8318" y="3132"/>
                  </a:lnTo>
                  <a:cubicBezTo>
                    <a:pt x="7795" y="3334"/>
                    <a:pt x="7307" y="3620"/>
                    <a:pt x="6874" y="3978"/>
                  </a:cubicBezTo>
                  <a:cubicBezTo>
                    <a:pt x="4331" y="5448"/>
                    <a:pt x="1057" y="7385"/>
                    <a:pt x="266" y="9874"/>
                  </a:cubicBezTo>
                  <a:cubicBezTo>
                    <a:pt x="0" y="10706"/>
                    <a:pt x="656" y="10965"/>
                    <a:pt x="1296" y="10965"/>
                  </a:cubicBezTo>
                  <a:cubicBezTo>
                    <a:pt x="1511" y="10965"/>
                    <a:pt x="1724" y="10936"/>
                    <a:pt x="1900" y="10890"/>
                  </a:cubicBezTo>
                  <a:cubicBezTo>
                    <a:pt x="2659" y="10691"/>
                    <a:pt x="3057" y="10327"/>
                    <a:pt x="3582" y="10327"/>
                  </a:cubicBezTo>
                  <a:cubicBezTo>
                    <a:pt x="3986" y="10327"/>
                    <a:pt x="4464" y="10542"/>
                    <a:pt x="5238" y="11210"/>
                  </a:cubicBezTo>
                  <a:cubicBezTo>
                    <a:pt x="5258" y="11228"/>
                    <a:pt x="5275" y="11251"/>
                    <a:pt x="5295" y="11268"/>
                  </a:cubicBezTo>
                  <a:cubicBezTo>
                    <a:pt x="5266" y="11314"/>
                    <a:pt x="5235" y="11357"/>
                    <a:pt x="5206" y="11404"/>
                  </a:cubicBezTo>
                  <a:cubicBezTo>
                    <a:pt x="5132" y="11519"/>
                    <a:pt x="5241" y="11643"/>
                    <a:pt x="5352" y="11643"/>
                  </a:cubicBezTo>
                  <a:cubicBezTo>
                    <a:pt x="5389" y="11643"/>
                    <a:pt x="5426" y="11629"/>
                    <a:pt x="5457" y="11597"/>
                  </a:cubicBezTo>
                  <a:cubicBezTo>
                    <a:pt x="5486" y="11568"/>
                    <a:pt x="5515" y="11539"/>
                    <a:pt x="5544" y="11510"/>
                  </a:cubicBezTo>
                  <a:cubicBezTo>
                    <a:pt x="5878" y="11866"/>
                    <a:pt x="6208" y="12273"/>
                    <a:pt x="6615" y="12495"/>
                  </a:cubicBezTo>
                  <a:cubicBezTo>
                    <a:pt x="7463" y="12957"/>
                    <a:pt x="8292" y="13410"/>
                    <a:pt x="9106" y="13889"/>
                  </a:cubicBezTo>
                  <a:cubicBezTo>
                    <a:pt x="9092" y="13918"/>
                    <a:pt x="9077" y="13947"/>
                    <a:pt x="9066" y="13976"/>
                  </a:cubicBezTo>
                  <a:cubicBezTo>
                    <a:pt x="9001" y="14110"/>
                    <a:pt x="9113" y="14264"/>
                    <a:pt x="9237" y="14264"/>
                  </a:cubicBezTo>
                  <a:cubicBezTo>
                    <a:pt x="9279" y="14264"/>
                    <a:pt x="9322" y="14246"/>
                    <a:pt x="9360" y="14204"/>
                  </a:cubicBezTo>
                  <a:cubicBezTo>
                    <a:pt x="9389" y="14167"/>
                    <a:pt x="9421" y="14135"/>
                    <a:pt x="9453" y="14100"/>
                  </a:cubicBezTo>
                  <a:cubicBezTo>
                    <a:pt x="9799" y="14308"/>
                    <a:pt x="10140" y="14527"/>
                    <a:pt x="10477" y="14753"/>
                  </a:cubicBezTo>
                  <a:cubicBezTo>
                    <a:pt x="10435" y="14873"/>
                    <a:pt x="10528" y="15005"/>
                    <a:pt x="10634" y="15005"/>
                  </a:cubicBezTo>
                  <a:cubicBezTo>
                    <a:pt x="10672" y="15005"/>
                    <a:pt x="10713" y="14988"/>
                    <a:pt x="10749" y="14946"/>
                  </a:cubicBezTo>
                  <a:cubicBezTo>
                    <a:pt x="10752" y="14943"/>
                    <a:pt x="10755" y="14940"/>
                    <a:pt x="10757" y="14940"/>
                  </a:cubicBezTo>
                  <a:cubicBezTo>
                    <a:pt x="11130" y="15191"/>
                    <a:pt x="11497" y="15457"/>
                    <a:pt x="11857" y="15740"/>
                  </a:cubicBezTo>
                  <a:cubicBezTo>
                    <a:pt x="11888" y="15764"/>
                    <a:pt x="11921" y="15774"/>
                    <a:pt x="11953" y="15774"/>
                  </a:cubicBezTo>
                  <a:cubicBezTo>
                    <a:pt x="12070" y="15774"/>
                    <a:pt x="12171" y="15636"/>
                    <a:pt x="12060" y="15541"/>
                  </a:cubicBezTo>
                  <a:cubicBezTo>
                    <a:pt x="11895" y="15396"/>
                    <a:pt x="11713" y="15278"/>
                    <a:pt x="11543" y="15145"/>
                  </a:cubicBezTo>
                  <a:cubicBezTo>
                    <a:pt x="12227" y="14576"/>
                    <a:pt x="12885" y="13982"/>
                    <a:pt x="13526" y="13370"/>
                  </a:cubicBezTo>
                  <a:lnTo>
                    <a:pt x="13526" y="13370"/>
                  </a:lnTo>
                  <a:cubicBezTo>
                    <a:pt x="13214" y="13829"/>
                    <a:pt x="12914" y="14296"/>
                    <a:pt x="12622" y="14770"/>
                  </a:cubicBezTo>
                  <a:cubicBezTo>
                    <a:pt x="12464" y="14810"/>
                    <a:pt x="12308" y="14848"/>
                    <a:pt x="12152" y="14894"/>
                  </a:cubicBezTo>
                  <a:cubicBezTo>
                    <a:pt x="12049" y="14926"/>
                    <a:pt x="12079" y="15077"/>
                    <a:pt x="12174" y="15077"/>
                  </a:cubicBezTo>
                  <a:cubicBezTo>
                    <a:pt x="12182" y="15077"/>
                    <a:pt x="12191" y="15076"/>
                    <a:pt x="12201" y="15073"/>
                  </a:cubicBezTo>
                  <a:cubicBezTo>
                    <a:pt x="12296" y="15047"/>
                    <a:pt x="12403" y="15030"/>
                    <a:pt x="12501" y="15007"/>
                  </a:cubicBezTo>
                  <a:lnTo>
                    <a:pt x="12501" y="15007"/>
                  </a:lnTo>
                  <a:cubicBezTo>
                    <a:pt x="12478" y="15123"/>
                    <a:pt x="12578" y="15230"/>
                    <a:pt x="12686" y="15230"/>
                  </a:cubicBezTo>
                  <a:cubicBezTo>
                    <a:pt x="12728" y="15230"/>
                    <a:pt x="12772" y="15213"/>
                    <a:pt x="12810" y="15174"/>
                  </a:cubicBezTo>
                  <a:cubicBezTo>
                    <a:pt x="12905" y="15079"/>
                    <a:pt x="12992" y="14975"/>
                    <a:pt x="13084" y="14880"/>
                  </a:cubicBezTo>
                  <a:cubicBezTo>
                    <a:pt x="13901" y="14729"/>
                    <a:pt x="14765" y="14611"/>
                    <a:pt x="15463" y="14253"/>
                  </a:cubicBezTo>
                  <a:cubicBezTo>
                    <a:pt x="16373" y="13783"/>
                    <a:pt x="16679" y="12899"/>
                    <a:pt x="16924" y="11955"/>
                  </a:cubicBezTo>
                  <a:cubicBezTo>
                    <a:pt x="17187" y="10933"/>
                    <a:pt x="17071" y="10226"/>
                    <a:pt x="16728" y="9677"/>
                  </a:cubicBezTo>
                  <a:cubicBezTo>
                    <a:pt x="16739" y="9582"/>
                    <a:pt x="16676" y="9495"/>
                    <a:pt x="16581" y="9475"/>
                  </a:cubicBezTo>
                  <a:cubicBezTo>
                    <a:pt x="16404" y="9256"/>
                    <a:pt x="16197" y="9059"/>
                    <a:pt x="15971" y="8889"/>
                  </a:cubicBezTo>
                  <a:cubicBezTo>
                    <a:pt x="15961" y="8794"/>
                    <a:pt x="15882" y="8725"/>
                    <a:pt x="15792" y="8725"/>
                  </a:cubicBezTo>
                  <a:cubicBezTo>
                    <a:pt x="15778" y="8725"/>
                    <a:pt x="15763" y="8727"/>
                    <a:pt x="15749" y="8730"/>
                  </a:cubicBezTo>
                  <a:cubicBezTo>
                    <a:pt x="15172" y="8332"/>
                    <a:pt x="14479" y="7991"/>
                    <a:pt x="13809" y="7552"/>
                  </a:cubicBezTo>
                  <a:cubicBezTo>
                    <a:pt x="13784" y="7479"/>
                    <a:pt x="13712" y="7431"/>
                    <a:pt x="13634" y="7431"/>
                  </a:cubicBezTo>
                  <a:cubicBezTo>
                    <a:pt x="13632" y="7431"/>
                    <a:pt x="13629" y="7431"/>
                    <a:pt x="13627" y="7431"/>
                  </a:cubicBezTo>
                  <a:cubicBezTo>
                    <a:pt x="13610" y="7417"/>
                    <a:pt x="13593" y="7408"/>
                    <a:pt x="13572" y="7394"/>
                  </a:cubicBezTo>
                  <a:cubicBezTo>
                    <a:pt x="13543" y="7373"/>
                    <a:pt x="13514" y="7365"/>
                    <a:pt x="13488" y="7365"/>
                  </a:cubicBezTo>
                  <a:cubicBezTo>
                    <a:pt x="13374" y="7365"/>
                    <a:pt x="13302" y="7525"/>
                    <a:pt x="13379" y="7630"/>
                  </a:cubicBezTo>
                  <a:cubicBezTo>
                    <a:pt x="13113" y="7928"/>
                    <a:pt x="12888" y="8289"/>
                    <a:pt x="12680" y="8664"/>
                  </a:cubicBezTo>
                  <a:cubicBezTo>
                    <a:pt x="12695" y="8592"/>
                    <a:pt x="12718" y="8520"/>
                    <a:pt x="12729" y="8444"/>
                  </a:cubicBezTo>
                  <a:cubicBezTo>
                    <a:pt x="12741" y="8354"/>
                    <a:pt x="12665" y="8294"/>
                    <a:pt x="12596" y="8294"/>
                  </a:cubicBezTo>
                  <a:cubicBezTo>
                    <a:pt x="12550" y="8294"/>
                    <a:pt x="12509" y="8320"/>
                    <a:pt x="12498" y="8381"/>
                  </a:cubicBezTo>
                  <a:cubicBezTo>
                    <a:pt x="12420" y="8820"/>
                    <a:pt x="12282" y="9212"/>
                    <a:pt x="12123" y="9608"/>
                  </a:cubicBezTo>
                  <a:cubicBezTo>
                    <a:pt x="12109" y="9625"/>
                    <a:pt x="12097" y="9648"/>
                    <a:pt x="12083" y="9669"/>
                  </a:cubicBezTo>
                  <a:cubicBezTo>
                    <a:pt x="12071" y="9692"/>
                    <a:pt x="12065" y="9718"/>
                    <a:pt x="12065" y="9744"/>
                  </a:cubicBezTo>
                  <a:cubicBezTo>
                    <a:pt x="11973" y="9963"/>
                    <a:pt x="11878" y="10185"/>
                    <a:pt x="11777" y="10416"/>
                  </a:cubicBezTo>
                  <a:cubicBezTo>
                    <a:pt x="11725" y="10540"/>
                    <a:pt x="11817" y="10783"/>
                    <a:pt x="11846" y="10858"/>
                  </a:cubicBezTo>
                  <a:cubicBezTo>
                    <a:pt x="11843" y="10861"/>
                    <a:pt x="11843" y="10861"/>
                    <a:pt x="11840" y="10864"/>
                  </a:cubicBezTo>
                  <a:cubicBezTo>
                    <a:pt x="11829" y="10841"/>
                    <a:pt x="11805" y="10797"/>
                    <a:pt x="11753" y="10702"/>
                  </a:cubicBezTo>
                  <a:cubicBezTo>
                    <a:pt x="11589" y="10402"/>
                    <a:pt x="11421" y="10102"/>
                    <a:pt x="11257" y="9801"/>
                  </a:cubicBezTo>
                  <a:cubicBezTo>
                    <a:pt x="11150" y="9608"/>
                    <a:pt x="11046" y="9417"/>
                    <a:pt x="10939" y="9227"/>
                  </a:cubicBezTo>
                  <a:cubicBezTo>
                    <a:pt x="10928" y="9172"/>
                    <a:pt x="10905" y="9120"/>
                    <a:pt x="10870" y="9077"/>
                  </a:cubicBezTo>
                  <a:cubicBezTo>
                    <a:pt x="10873" y="9031"/>
                    <a:pt x="10853" y="8987"/>
                    <a:pt x="10818" y="8958"/>
                  </a:cubicBezTo>
                  <a:cubicBezTo>
                    <a:pt x="10267" y="8531"/>
                    <a:pt x="9681" y="8156"/>
                    <a:pt x="9063" y="7832"/>
                  </a:cubicBezTo>
                  <a:cubicBezTo>
                    <a:pt x="9092" y="7783"/>
                    <a:pt x="9121" y="7734"/>
                    <a:pt x="9149" y="7685"/>
                  </a:cubicBezTo>
                  <a:cubicBezTo>
                    <a:pt x="9212" y="7571"/>
                    <a:pt x="9107" y="7440"/>
                    <a:pt x="9000" y="7440"/>
                  </a:cubicBezTo>
                  <a:cubicBezTo>
                    <a:pt x="8963" y="7440"/>
                    <a:pt x="8926" y="7455"/>
                    <a:pt x="8895" y="7492"/>
                  </a:cubicBezTo>
                  <a:cubicBezTo>
                    <a:pt x="8846" y="7555"/>
                    <a:pt x="8791" y="7613"/>
                    <a:pt x="8739" y="7674"/>
                  </a:cubicBezTo>
                  <a:cubicBezTo>
                    <a:pt x="8676" y="7642"/>
                    <a:pt x="8610" y="7607"/>
                    <a:pt x="8546" y="7575"/>
                  </a:cubicBezTo>
                  <a:cubicBezTo>
                    <a:pt x="8515" y="7562"/>
                    <a:pt x="8484" y="7555"/>
                    <a:pt x="8453" y="7555"/>
                  </a:cubicBezTo>
                  <a:cubicBezTo>
                    <a:pt x="8356" y="7555"/>
                    <a:pt x="8273" y="7623"/>
                    <a:pt x="8266" y="7737"/>
                  </a:cubicBezTo>
                  <a:cubicBezTo>
                    <a:pt x="8312" y="6909"/>
                    <a:pt x="7588" y="6233"/>
                    <a:pt x="8552" y="5592"/>
                  </a:cubicBezTo>
                  <a:cubicBezTo>
                    <a:pt x="9093" y="5233"/>
                    <a:pt x="9728" y="4992"/>
                    <a:pt x="10373" y="4992"/>
                  </a:cubicBezTo>
                  <a:cubicBezTo>
                    <a:pt x="10547" y="4992"/>
                    <a:pt x="10722" y="5009"/>
                    <a:pt x="10896" y="5046"/>
                  </a:cubicBezTo>
                  <a:cubicBezTo>
                    <a:pt x="10997" y="5068"/>
                    <a:pt x="11091" y="5078"/>
                    <a:pt x="11178" y="5078"/>
                  </a:cubicBezTo>
                  <a:cubicBezTo>
                    <a:pt x="11522" y="5078"/>
                    <a:pt x="11778" y="4922"/>
                    <a:pt x="12088" y="4691"/>
                  </a:cubicBezTo>
                  <a:cubicBezTo>
                    <a:pt x="12917" y="4076"/>
                    <a:pt x="13569" y="2529"/>
                    <a:pt x="12995" y="1542"/>
                  </a:cubicBezTo>
                  <a:cubicBezTo>
                    <a:pt x="12646" y="944"/>
                    <a:pt x="12311" y="580"/>
                    <a:pt x="11987" y="384"/>
                  </a:cubicBezTo>
                  <a:cubicBezTo>
                    <a:pt x="12010" y="341"/>
                    <a:pt x="12039" y="297"/>
                    <a:pt x="12060" y="251"/>
                  </a:cubicBezTo>
                  <a:cubicBezTo>
                    <a:pt x="12120" y="131"/>
                    <a:pt x="12023" y="1"/>
                    <a:pt x="11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65"/>
            <p:cNvSpPr/>
            <p:nvPr/>
          </p:nvSpPr>
          <p:spPr>
            <a:xfrm>
              <a:off x="1539350" y="1278375"/>
              <a:ext cx="75750" cy="77625"/>
            </a:xfrm>
            <a:custGeom>
              <a:avLst/>
              <a:gdLst/>
              <a:ahLst/>
              <a:cxnLst/>
              <a:rect l="l" t="t" r="r" b="b"/>
              <a:pathLst>
                <a:path w="3030" h="3105" extrusionOk="0">
                  <a:moveTo>
                    <a:pt x="2033" y="1173"/>
                  </a:moveTo>
                  <a:cubicBezTo>
                    <a:pt x="2224" y="1326"/>
                    <a:pt x="2385" y="1514"/>
                    <a:pt x="2507" y="1728"/>
                  </a:cubicBezTo>
                  <a:cubicBezTo>
                    <a:pt x="2712" y="2109"/>
                    <a:pt x="2553" y="2487"/>
                    <a:pt x="2186" y="2683"/>
                  </a:cubicBezTo>
                  <a:cubicBezTo>
                    <a:pt x="2175" y="2689"/>
                    <a:pt x="2160" y="2689"/>
                    <a:pt x="2146" y="2698"/>
                  </a:cubicBezTo>
                  <a:cubicBezTo>
                    <a:pt x="2308" y="2507"/>
                    <a:pt x="2423" y="2031"/>
                    <a:pt x="2484" y="1837"/>
                  </a:cubicBezTo>
                  <a:cubicBezTo>
                    <a:pt x="2523" y="1718"/>
                    <a:pt x="2408" y="1605"/>
                    <a:pt x="2298" y="1605"/>
                  </a:cubicBezTo>
                  <a:cubicBezTo>
                    <a:pt x="2256" y="1605"/>
                    <a:pt x="2215" y="1622"/>
                    <a:pt x="2183" y="1661"/>
                  </a:cubicBezTo>
                  <a:cubicBezTo>
                    <a:pt x="2039" y="1837"/>
                    <a:pt x="1886" y="2002"/>
                    <a:pt x="1721" y="2155"/>
                  </a:cubicBezTo>
                  <a:cubicBezTo>
                    <a:pt x="1851" y="1837"/>
                    <a:pt x="1958" y="1508"/>
                    <a:pt x="2033" y="1173"/>
                  </a:cubicBezTo>
                  <a:close/>
                  <a:moveTo>
                    <a:pt x="576" y="0"/>
                  </a:moveTo>
                  <a:cubicBezTo>
                    <a:pt x="441" y="0"/>
                    <a:pt x="372" y="202"/>
                    <a:pt x="503" y="278"/>
                  </a:cubicBezTo>
                  <a:cubicBezTo>
                    <a:pt x="555" y="307"/>
                    <a:pt x="613" y="333"/>
                    <a:pt x="668" y="362"/>
                  </a:cubicBezTo>
                  <a:cubicBezTo>
                    <a:pt x="497" y="605"/>
                    <a:pt x="359" y="870"/>
                    <a:pt x="255" y="1150"/>
                  </a:cubicBezTo>
                  <a:cubicBezTo>
                    <a:pt x="238" y="963"/>
                    <a:pt x="229" y="775"/>
                    <a:pt x="232" y="587"/>
                  </a:cubicBezTo>
                  <a:cubicBezTo>
                    <a:pt x="233" y="528"/>
                    <a:pt x="189" y="498"/>
                    <a:pt x="144" y="498"/>
                  </a:cubicBezTo>
                  <a:cubicBezTo>
                    <a:pt x="99" y="498"/>
                    <a:pt x="53" y="528"/>
                    <a:pt x="50" y="587"/>
                  </a:cubicBezTo>
                  <a:cubicBezTo>
                    <a:pt x="1" y="1381"/>
                    <a:pt x="122" y="2282"/>
                    <a:pt x="789" y="2802"/>
                  </a:cubicBezTo>
                  <a:cubicBezTo>
                    <a:pt x="884" y="2874"/>
                    <a:pt x="988" y="2931"/>
                    <a:pt x="1098" y="2978"/>
                  </a:cubicBezTo>
                  <a:cubicBezTo>
                    <a:pt x="1135" y="3017"/>
                    <a:pt x="1186" y="3037"/>
                    <a:pt x="1239" y="3037"/>
                  </a:cubicBezTo>
                  <a:cubicBezTo>
                    <a:pt x="1249" y="3037"/>
                    <a:pt x="1259" y="3037"/>
                    <a:pt x="1268" y="3035"/>
                  </a:cubicBezTo>
                  <a:cubicBezTo>
                    <a:pt x="1415" y="3082"/>
                    <a:pt x="1566" y="3104"/>
                    <a:pt x="1717" y="3104"/>
                  </a:cubicBezTo>
                  <a:cubicBezTo>
                    <a:pt x="1934" y="3104"/>
                    <a:pt x="2150" y="3057"/>
                    <a:pt x="2351" y="2963"/>
                  </a:cubicBezTo>
                  <a:cubicBezTo>
                    <a:pt x="2807" y="2750"/>
                    <a:pt x="3029" y="2227"/>
                    <a:pt x="2871" y="1751"/>
                  </a:cubicBezTo>
                  <a:cubicBezTo>
                    <a:pt x="2596" y="882"/>
                    <a:pt x="1418" y="244"/>
                    <a:pt x="619" y="7"/>
                  </a:cubicBezTo>
                  <a:cubicBezTo>
                    <a:pt x="604" y="2"/>
                    <a:pt x="589" y="0"/>
                    <a:pt x="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65"/>
            <p:cNvSpPr/>
            <p:nvPr/>
          </p:nvSpPr>
          <p:spPr>
            <a:xfrm>
              <a:off x="1546875" y="1112825"/>
              <a:ext cx="224550" cy="180650"/>
            </a:xfrm>
            <a:custGeom>
              <a:avLst/>
              <a:gdLst/>
              <a:ahLst/>
              <a:cxnLst/>
              <a:rect l="l" t="t" r="r" b="b"/>
              <a:pathLst>
                <a:path w="8982" h="7226" extrusionOk="0">
                  <a:moveTo>
                    <a:pt x="1738" y="363"/>
                  </a:moveTo>
                  <a:cubicBezTo>
                    <a:pt x="1981" y="363"/>
                    <a:pt x="2234" y="440"/>
                    <a:pt x="2480" y="610"/>
                  </a:cubicBezTo>
                  <a:cubicBezTo>
                    <a:pt x="2462" y="603"/>
                    <a:pt x="2444" y="600"/>
                    <a:pt x="2426" y="600"/>
                  </a:cubicBezTo>
                  <a:cubicBezTo>
                    <a:pt x="2388" y="600"/>
                    <a:pt x="2351" y="614"/>
                    <a:pt x="2324" y="641"/>
                  </a:cubicBezTo>
                  <a:cubicBezTo>
                    <a:pt x="1799" y="1218"/>
                    <a:pt x="1349" y="1849"/>
                    <a:pt x="845" y="2438"/>
                  </a:cubicBezTo>
                  <a:lnTo>
                    <a:pt x="845" y="2438"/>
                  </a:lnTo>
                  <a:cubicBezTo>
                    <a:pt x="1150" y="2080"/>
                    <a:pt x="1441" y="946"/>
                    <a:pt x="1588" y="373"/>
                  </a:cubicBezTo>
                  <a:cubicBezTo>
                    <a:pt x="1637" y="366"/>
                    <a:pt x="1688" y="363"/>
                    <a:pt x="1738" y="363"/>
                  </a:cubicBezTo>
                  <a:close/>
                  <a:moveTo>
                    <a:pt x="2567" y="664"/>
                  </a:moveTo>
                  <a:cubicBezTo>
                    <a:pt x="2590" y="682"/>
                    <a:pt x="2616" y="690"/>
                    <a:pt x="2639" y="711"/>
                  </a:cubicBezTo>
                  <a:cubicBezTo>
                    <a:pt x="2850" y="895"/>
                    <a:pt x="2994" y="1115"/>
                    <a:pt x="3118" y="1340"/>
                  </a:cubicBezTo>
                  <a:cubicBezTo>
                    <a:pt x="2613" y="1767"/>
                    <a:pt x="2160" y="2249"/>
                    <a:pt x="1709" y="2734"/>
                  </a:cubicBezTo>
                  <a:cubicBezTo>
                    <a:pt x="2047" y="2111"/>
                    <a:pt x="2362" y="1481"/>
                    <a:pt x="2598" y="803"/>
                  </a:cubicBezTo>
                  <a:cubicBezTo>
                    <a:pt x="2616" y="754"/>
                    <a:pt x="2601" y="702"/>
                    <a:pt x="2567" y="664"/>
                  </a:cubicBezTo>
                  <a:close/>
                  <a:moveTo>
                    <a:pt x="3317" y="1756"/>
                  </a:moveTo>
                  <a:cubicBezTo>
                    <a:pt x="3384" y="1917"/>
                    <a:pt x="3450" y="2082"/>
                    <a:pt x="3519" y="2241"/>
                  </a:cubicBezTo>
                  <a:lnTo>
                    <a:pt x="3522" y="2241"/>
                  </a:lnTo>
                  <a:cubicBezTo>
                    <a:pt x="3514" y="2246"/>
                    <a:pt x="3508" y="2244"/>
                    <a:pt x="3499" y="2249"/>
                  </a:cubicBezTo>
                  <a:cubicBezTo>
                    <a:pt x="3176" y="2538"/>
                    <a:pt x="2867" y="2844"/>
                    <a:pt x="2564" y="3153"/>
                  </a:cubicBezTo>
                  <a:cubicBezTo>
                    <a:pt x="2829" y="2694"/>
                    <a:pt x="3081" y="2229"/>
                    <a:pt x="3317" y="1756"/>
                  </a:cubicBezTo>
                  <a:close/>
                  <a:moveTo>
                    <a:pt x="2277" y="1183"/>
                  </a:moveTo>
                  <a:cubicBezTo>
                    <a:pt x="2305" y="1183"/>
                    <a:pt x="1758" y="1964"/>
                    <a:pt x="1625" y="2226"/>
                  </a:cubicBezTo>
                  <a:cubicBezTo>
                    <a:pt x="1371" y="2714"/>
                    <a:pt x="1074" y="3188"/>
                    <a:pt x="800" y="3664"/>
                  </a:cubicBezTo>
                  <a:cubicBezTo>
                    <a:pt x="707" y="3569"/>
                    <a:pt x="635" y="3456"/>
                    <a:pt x="589" y="3332"/>
                  </a:cubicBezTo>
                  <a:lnTo>
                    <a:pt x="586" y="3332"/>
                  </a:lnTo>
                  <a:cubicBezTo>
                    <a:pt x="563" y="3266"/>
                    <a:pt x="543" y="3196"/>
                    <a:pt x="528" y="3127"/>
                  </a:cubicBezTo>
                  <a:cubicBezTo>
                    <a:pt x="961" y="2775"/>
                    <a:pt x="1354" y="2371"/>
                    <a:pt x="1689" y="1923"/>
                  </a:cubicBezTo>
                  <a:cubicBezTo>
                    <a:pt x="2108" y="1376"/>
                    <a:pt x="2264" y="1183"/>
                    <a:pt x="2277" y="1183"/>
                  </a:cubicBezTo>
                  <a:close/>
                  <a:moveTo>
                    <a:pt x="3713" y="2616"/>
                  </a:moveTo>
                  <a:cubicBezTo>
                    <a:pt x="3811" y="2778"/>
                    <a:pt x="3935" y="2922"/>
                    <a:pt x="4082" y="3043"/>
                  </a:cubicBezTo>
                  <a:lnTo>
                    <a:pt x="4085" y="3043"/>
                  </a:lnTo>
                  <a:cubicBezTo>
                    <a:pt x="3719" y="3294"/>
                    <a:pt x="3372" y="3577"/>
                    <a:pt x="3049" y="3883"/>
                  </a:cubicBezTo>
                  <a:lnTo>
                    <a:pt x="3049" y="3883"/>
                  </a:lnTo>
                  <a:cubicBezTo>
                    <a:pt x="3285" y="3471"/>
                    <a:pt x="3514" y="3052"/>
                    <a:pt x="3713" y="2616"/>
                  </a:cubicBezTo>
                  <a:close/>
                  <a:moveTo>
                    <a:pt x="2659" y="2246"/>
                  </a:moveTo>
                  <a:lnTo>
                    <a:pt x="2659" y="2246"/>
                  </a:lnTo>
                  <a:cubicBezTo>
                    <a:pt x="2321" y="2864"/>
                    <a:pt x="1969" y="3473"/>
                    <a:pt x="1617" y="4083"/>
                  </a:cubicBezTo>
                  <a:cubicBezTo>
                    <a:pt x="1438" y="4002"/>
                    <a:pt x="1253" y="3950"/>
                    <a:pt x="1086" y="3869"/>
                  </a:cubicBezTo>
                  <a:cubicBezTo>
                    <a:pt x="1634" y="3352"/>
                    <a:pt x="2131" y="2783"/>
                    <a:pt x="2659" y="2246"/>
                  </a:cubicBezTo>
                  <a:close/>
                  <a:moveTo>
                    <a:pt x="2994" y="3240"/>
                  </a:moveTo>
                  <a:cubicBezTo>
                    <a:pt x="2743" y="3693"/>
                    <a:pt x="2480" y="4137"/>
                    <a:pt x="2226" y="4588"/>
                  </a:cubicBezTo>
                  <a:lnTo>
                    <a:pt x="2226" y="4591"/>
                  </a:lnTo>
                  <a:cubicBezTo>
                    <a:pt x="2142" y="4484"/>
                    <a:pt x="2053" y="4386"/>
                    <a:pt x="1955" y="4296"/>
                  </a:cubicBezTo>
                  <a:cubicBezTo>
                    <a:pt x="2298" y="3941"/>
                    <a:pt x="2645" y="3589"/>
                    <a:pt x="2994" y="3240"/>
                  </a:cubicBezTo>
                  <a:close/>
                  <a:moveTo>
                    <a:pt x="4420" y="3248"/>
                  </a:moveTo>
                  <a:cubicBezTo>
                    <a:pt x="4538" y="3306"/>
                    <a:pt x="4663" y="3349"/>
                    <a:pt x="4792" y="3375"/>
                  </a:cubicBezTo>
                  <a:cubicBezTo>
                    <a:pt x="4850" y="3387"/>
                    <a:pt x="4911" y="3393"/>
                    <a:pt x="4971" y="3398"/>
                  </a:cubicBezTo>
                  <a:cubicBezTo>
                    <a:pt x="4946" y="3404"/>
                    <a:pt x="4920" y="3413"/>
                    <a:pt x="4896" y="3430"/>
                  </a:cubicBezTo>
                  <a:cubicBezTo>
                    <a:pt x="4429" y="3846"/>
                    <a:pt x="3975" y="4273"/>
                    <a:pt x="3528" y="4709"/>
                  </a:cubicBezTo>
                  <a:cubicBezTo>
                    <a:pt x="3840" y="4233"/>
                    <a:pt x="4169" y="3768"/>
                    <a:pt x="4420" y="3248"/>
                  </a:cubicBezTo>
                  <a:close/>
                  <a:moveTo>
                    <a:pt x="3687" y="3817"/>
                  </a:moveTo>
                  <a:cubicBezTo>
                    <a:pt x="3361" y="4337"/>
                    <a:pt x="3008" y="4836"/>
                    <a:pt x="2734" y="5388"/>
                  </a:cubicBezTo>
                  <a:cubicBezTo>
                    <a:pt x="2653" y="5243"/>
                    <a:pt x="2572" y="5099"/>
                    <a:pt x="2486" y="4963"/>
                  </a:cubicBezTo>
                  <a:cubicBezTo>
                    <a:pt x="2878" y="4562"/>
                    <a:pt x="3265" y="4175"/>
                    <a:pt x="3684" y="3817"/>
                  </a:cubicBezTo>
                  <a:close/>
                  <a:moveTo>
                    <a:pt x="5139" y="3421"/>
                  </a:moveTo>
                  <a:lnTo>
                    <a:pt x="5139" y="3421"/>
                  </a:lnTo>
                  <a:cubicBezTo>
                    <a:pt x="5256" y="3429"/>
                    <a:pt x="5373" y="3432"/>
                    <a:pt x="5489" y="3432"/>
                  </a:cubicBezTo>
                  <a:cubicBezTo>
                    <a:pt x="5655" y="3432"/>
                    <a:pt x="5821" y="3427"/>
                    <a:pt x="5986" y="3427"/>
                  </a:cubicBezTo>
                  <a:cubicBezTo>
                    <a:pt x="6350" y="3427"/>
                    <a:pt x="6707" y="3450"/>
                    <a:pt x="7044" y="3595"/>
                  </a:cubicBezTo>
                  <a:cubicBezTo>
                    <a:pt x="6660" y="3953"/>
                    <a:pt x="6291" y="4322"/>
                    <a:pt x="5942" y="4706"/>
                  </a:cubicBezTo>
                  <a:cubicBezTo>
                    <a:pt x="6115" y="4478"/>
                    <a:pt x="6276" y="4247"/>
                    <a:pt x="6455" y="4019"/>
                  </a:cubicBezTo>
                  <a:cubicBezTo>
                    <a:pt x="6569" y="3872"/>
                    <a:pt x="6461" y="3701"/>
                    <a:pt x="6318" y="3701"/>
                  </a:cubicBezTo>
                  <a:cubicBezTo>
                    <a:pt x="6276" y="3701"/>
                    <a:pt x="6230" y="3716"/>
                    <a:pt x="6187" y="3751"/>
                  </a:cubicBezTo>
                  <a:cubicBezTo>
                    <a:pt x="5448" y="4351"/>
                    <a:pt x="4749" y="4989"/>
                    <a:pt x="4074" y="5650"/>
                  </a:cubicBezTo>
                  <a:cubicBezTo>
                    <a:pt x="4460" y="4995"/>
                    <a:pt x="4870" y="4351"/>
                    <a:pt x="5188" y="3655"/>
                  </a:cubicBezTo>
                  <a:cubicBezTo>
                    <a:pt x="5228" y="3575"/>
                    <a:pt x="5208" y="3479"/>
                    <a:pt x="5139" y="3421"/>
                  </a:cubicBezTo>
                  <a:close/>
                  <a:moveTo>
                    <a:pt x="8237" y="5194"/>
                  </a:moveTo>
                  <a:lnTo>
                    <a:pt x="8237" y="5194"/>
                  </a:lnTo>
                  <a:cubicBezTo>
                    <a:pt x="8248" y="5382"/>
                    <a:pt x="8214" y="5569"/>
                    <a:pt x="8139" y="5740"/>
                  </a:cubicBezTo>
                  <a:cubicBezTo>
                    <a:pt x="7960" y="6130"/>
                    <a:pt x="7541" y="6265"/>
                    <a:pt x="7088" y="6294"/>
                  </a:cubicBezTo>
                  <a:cubicBezTo>
                    <a:pt x="7287" y="6072"/>
                    <a:pt x="7495" y="5855"/>
                    <a:pt x="7700" y="5639"/>
                  </a:cubicBezTo>
                  <a:cubicBezTo>
                    <a:pt x="7741" y="5673"/>
                    <a:pt x="7793" y="5694"/>
                    <a:pt x="7844" y="5694"/>
                  </a:cubicBezTo>
                  <a:cubicBezTo>
                    <a:pt x="7902" y="5694"/>
                    <a:pt x="7959" y="5668"/>
                    <a:pt x="8000" y="5604"/>
                  </a:cubicBezTo>
                  <a:cubicBezTo>
                    <a:pt x="8092" y="5474"/>
                    <a:pt x="8159" y="5330"/>
                    <a:pt x="8237" y="5194"/>
                  </a:cubicBezTo>
                  <a:close/>
                  <a:moveTo>
                    <a:pt x="4354" y="4438"/>
                  </a:moveTo>
                  <a:lnTo>
                    <a:pt x="4354" y="4438"/>
                  </a:lnTo>
                  <a:cubicBezTo>
                    <a:pt x="3990" y="5064"/>
                    <a:pt x="3603" y="5676"/>
                    <a:pt x="3280" y="6326"/>
                  </a:cubicBezTo>
                  <a:cubicBezTo>
                    <a:pt x="3158" y="6153"/>
                    <a:pt x="3049" y="5974"/>
                    <a:pt x="2951" y="5789"/>
                  </a:cubicBezTo>
                  <a:cubicBezTo>
                    <a:pt x="3413" y="5333"/>
                    <a:pt x="3880" y="4882"/>
                    <a:pt x="4354" y="4438"/>
                  </a:cubicBezTo>
                  <a:close/>
                  <a:moveTo>
                    <a:pt x="5156" y="5139"/>
                  </a:moveTo>
                  <a:lnTo>
                    <a:pt x="5156" y="5139"/>
                  </a:lnTo>
                  <a:cubicBezTo>
                    <a:pt x="4775" y="5673"/>
                    <a:pt x="4426" y="6231"/>
                    <a:pt x="4111" y="6808"/>
                  </a:cubicBezTo>
                  <a:cubicBezTo>
                    <a:pt x="4103" y="6822"/>
                    <a:pt x="4111" y="6837"/>
                    <a:pt x="4105" y="6851"/>
                  </a:cubicBezTo>
                  <a:cubicBezTo>
                    <a:pt x="3918" y="6851"/>
                    <a:pt x="3736" y="6785"/>
                    <a:pt x="3594" y="6666"/>
                  </a:cubicBezTo>
                  <a:lnTo>
                    <a:pt x="3594" y="6664"/>
                  </a:lnTo>
                  <a:cubicBezTo>
                    <a:pt x="4094" y="6132"/>
                    <a:pt x="4616" y="5627"/>
                    <a:pt x="5156" y="5139"/>
                  </a:cubicBezTo>
                  <a:close/>
                  <a:moveTo>
                    <a:pt x="1518" y="0"/>
                  </a:moveTo>
                  <a:cubicBezTo>
                    <a:pt x="577" y="0"/>
                    <a:pt x="135" y="796"/>
                    <a:pt x="40" y="1646"/>
                  </a:cubicBezTo>
                  <a:cubicBezTo>
                    <a:pt x="0" y="2018"/>
                    <a:pt x="6" y="2599"/>
                    <a:pt x="130" y="3115"/>
                  </a:cubicBezTo>
                  <a:cubicBezTo>
                    <a:pt x="124" y="3153"/>
                    <a:pt x="136" y="3193"/>
                    <a:pt x="162" y="3222"/>
                  </a:cubicBezTo>
                  <a:cubicBezTo>
                    <a:pt x="286" y="3655"/>
                    <a:pt x="497" y="4031"/>
                    <a:pt x="863" y="4166"/>
                  </a:cubicBezTo>
                  <a:cubicBezTo>
                    <a:pt x="2266" y="4698"/>
                    <a:pt x="2307" y="5951"/>
                    <a:pt x="3268" y="6921"/>
                  </a:cubicBezTo>
                  <a:cubicBezTo>
                    <a:pt x="3483" y="7138"/>
                    <a:pt x="3713" y="7225"/>
                    <a:pt x="3945" y="7225"/>
                  </a:cubicBezTo>
                  <a:cubicBezTo>
                    <a:pt x="4568" y="7225"/>
                    <a:pt x="5204" y="6595"/>
                    <a:pt x="5598" y="6176"/>
                  </a:cubicBezTo>
                  <a:cubicBezTo>
                    <a:pt x="5658" y="6111"/>
                    <a:pt x="5600" y="6025"/>
                    <a:pt x="5534" y="6025"/>
                  </a:cubicBezTo>
                  <a:cubicBezTo>
                    <a:pt x="5513" y="6025"/>
                    <a:pt x="5493" y="6033"/>
                    <a:pt x="5474" y="6052"/>
                  </a:cubicBezTo>
                  <a:cubicBezTo>
                    <a:pt x="5257" y="6268"/>
                    <a:pt x="5018" y="6462"/>
                    <a:pt x="4761" y="6629"/>
                  </a:cubicBezTo>
                  <a:cubicBezTo>
                    <a:pt x="5350" y="5951"/>
                    <a:pt x="5933" y="5266"/>
                    <a:pt x="6548" y="4617"/>
                  </a:cubicBezTo>
                  <a:lnTo>
                    <a:pt x="6548" y="4617"/>
                  </a:lnTo>
                  <a:cubicBezTo>
                    <a:pt x="6343" y="4914"/>
                    <a:pt x="6152" y="5217"/>
                    <a:pt x="5939" y="5512"/>
                  </a:cubicBezTo>
                  <a:cubicBezTo>
                    <a:pt x="5838" y="5652"/>
                    <a:pt x="5975" y="5793"/>
                    <a:pt x="6114" y="5793"/>
                  </a:cubicBezTo>
                  <a:cubicBezTo>
                    <a:pt x="6159" y="5793"/>
                    <a:pt x="6204" y="5779"/>
                    <a:pt x="6242" y="5746"/>
                  </a:cubicBezTo>
                  <a:cubicBezTo>
                    <a:pt x="6533" y="5477"/>
                    <a:pt x="6834" y="5223"/>
                    <a:pt x="7134" y="4966"/>
                  </a:cubicBezTo>
                  <a:lnTo>
                    <a:pt x="7134" y="4966"/>
                  </a:lnTo>
                  <a:cubicBezTo>
                    <a:pt x="6912" y="5396"/>
                    <a:pt x="6704" y="5829"/>
                    <a:pt x="6516" y="6277"/>
                  </a:cubicBezTo>
                  <a:cubicBezTo>
                    <a:pt x="6239" y="6251"/>
                    <a:pt x="5985" y="6205"/>
                    <a:pt x="5800" y="6173"/>
                  </a:cubicBezTo>
                  <a:cubicBezTo>
                    <a:pt x="5788" y="6170"/>
                    <a:pt x="5775" y="6169"/>
                    <a:pt x="5764" y="6169"/>
                  </a:cubicBezTo>
                  <a:cubicBezTo>
                    <a:pt x="5580" y="6169"/>
                    <a:pt x="5512" y="6452"/>
                    <a:pt x="5711" y="6490"/>
                  </a:cubicBezTo>
                  <a:cubicBezTo>
                    <a:pt x="5973" y="6542"/>
                    <a:pt x="6239" y="6580"/>
                    <a:pt x="6504" y="6603"/>
                  </a:cubicBezTo>
                  <a:cubicBezTo>
                    <a:pt x="6548" y="6643"/>
                    <a:pt x="6604" y="6668"/>
                    <a:pt x="6659" y="6668"/>
                  </a:cubicBezTo>
                  <a:cubicBezTo>
                    <a:pt x="6704" y="6668"/>
                    <a:pt x="6747" y="6652"/>
                    <a:pt x="6782" y="6615"/>
                  </a:cubicBezTo>
                  <a:cubicBezTo>
                    <a:pt x="6793" y="6615"/>
                    <a:pt x="6803" y="6615"/>
                    <a:pt x="6814" y="6615"/>
                  </a:cubicBezTo>
                  <a:cubicBezTo>
                    <a:pt x="7432" y="6615"/>
                    <a:pt x="8019" y="6452"/>
                    <a:pt x="8424" y="5904"/>
                  </a:cubicBezTo>
                  <a:cubicBezTo>
                    <a:pt x="8982" y="5154"/>
                    <a:pt x="8202" y="4129"/>
                    <a:pt x="7697" y="3618"/>
                  </a:cubicBezTo>
                  <a:cubicBezTo>
                    <a:pt x="7757" y="3523"/>
                    <a:pt x="7827" y="3430"/>
                    <a:pt x="7887" y="3335"/>
                  </a:cubicBezTo>
                  <a:cubicBezTo>
                    <a:pt x="7983" y="3187"/>
                    <a:pt x="7853" y="3058"/>
                    <a:pt x="7717" y="3058"/>
                  </a:cubicBezTo>
                  <a:cubicBezTo>
                    <a:pt x="7672" y="3058"/>
                    <a:pt x="7626" y="3072"/>
                    <a:pt x="7587" y="3104"/>
                  </a:cubicBezTo>
                  <a:cubicBezTo>
                    <a:pt x="7495" y="3179"/>
                    <a:pt x="7411" y="3266"/>
                    <a:pt x="7322" y="3344"/>
                  </a:cubicBezTo>
                  <a:cubicBezTo>
                    <a:pt x="6222" y="2760"/>
                    <a:pt x="4634" y="3624"/>
                    <a:pt x="3872" y="2336"/>
                  </a:cubicBezTo>
                  <a:cubicBezTo>
                    <a:pt x="3704" y="2056"/>
                    <a:pt x="3574" y="1773"/>
                    <a:pt x="3447" y="1505"/>
                  </a:cubicBezTo>
                  <a:lnTo>
                    <a:pt x="3453" y="1493"/>
                  </a:lnTo>
                  <a:cubicBezTo>
                    <a:pt x="3514" y="1383"/>
                    <a:pt x="3441" y="1250"/>
                    <a:pt x="3317" y="1242"/>
                  </a:cubicBezTo>
                  <a:cubicBezTo>
                    <a:pt x="2982" y="581"/>
                    <a:pt x="2601" y="61"/>
                    <a:pt x="1623" y="3"/>
                  </a:cubicBezTo>
                  <a:cubicBezTo>
                    <a:pt x="1587" y="1"/>
                    <a:pt x="1553" y="0"/>
                    <a:pt x="15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65"/>
            <p:cNvSpPr/>
            <p:nvPr/>
          </p:nvSpPr>
          <p:spPr>
            <a:xfrm>
              <a:off x="1737125" y="905350"/>
              <a:ext cx="192825" cy="321850"/>
            </a:xfrm>
            <a:custGeom>
              <a:avLst/>
              <a:gdLst/>
              <a:ahLst/>
              <a:cxnLst/>
              <a:rect l="l" t="t" r="r" b="b"/>
              <a:pathLst>
                <a:path w="7713" h="12874" extrusionOk="0">
                  <a:moveTo>
                    <a:pt x="2523" y="1009"/>
                  </a:moveTo>
                  <a:cubicBezTo>
                    <a:pt x="1921" y="1856"/>
                    <a:pt x="1371" y="2721"/>
                    <a:pt x="901" y="3654"/>
                  </a:cubicBezTo>
                  <a:cubicBezTo>
                    <a:pt x="1260" y="2540"/>
                    <a:pt x="1908" y="1342"/>
                    <a:pt x="2523" y="1009"/>
                  </a:cubicBezTo>
                  <a:close/>
                  <a:moveTo>
                    <a:pt x="3306" y="1189"/>
                  </a:moveTo>
                  <a:cubicBezTo>
                    <a:pt x="3418" y="1342"/>
                    <a:pt x="3508" y="1512"/>
                    <a:pt x="3569" y="1694"/>
                  </a:cubicBezTo>
                  <a:cubicBezTo>
                    <a:pt x="3561" y="1693"/>
                    <a:pt x="3554" y="1692"/>
                    <a:pt x="3546" y="1692"/>
                  </a:cubicBezTo>
                  <a:cubicBezTo>
                    <a:pt x="3496" y="1692"/>
                    <a:pt x="3446" y="1717"/>
                    <a:pt x="3416" y="1757"/>
                  </a:cubicBezTo>
                  <a:cubicBezTo>
                    <a:pt x="2864" y="2551"/>
                    <a:pt x="2310" y="3319"/>
                    <a:pt x="1698" y="4067"/>
                  </a:cubicBezTo>
                  <a:cubicBezTo>
                    <a:pt x="1571" y="4229"/>
                    <a:pt x="1213" y="4696"/>
                    <a:pt x="982" y="4979"/>
                  </a:cubicBezTo>
                  <a:lnTo>
                    <a:pt x="979" y="4979"/>
                  </a:lnTo>
                  <a:cubicBezTo>
                    <a:pt x="988" y="4950"/>
                    <a:pt x="982" y="4922"/>
                    <a:pt x="967" y="4896"/>
                  </a:cubicBezTo>
                  <a:cubicBezTo>
                    <a:pt x="1028" y="4803"/>
                    <a:pt x="1097" y="4699"/>
                    <a:pt x="1193" y="4561"/>
                  </a:cubicBezTo>
                  <a:cubicBezTo>
                    <a:pt x="1686" y="3839"/>
                    <a:pt x="2128" y="3120"/>
                    <a:pt x="2509" y="2369"/>
                  </a:cubicBezTo>
                  <a:cubicBezTo>
                    <a:pt x="2769" y="1971"/>
                    <a:pt x="3032" y="1576"/>
                    <a:pt x="3306" y="1189"/>
                  </a:cubicBezTo>
                  <a:close/>
                  <a:moveTo>
                    <a:pt x="3667" y="2009"/>
                  </a:moveTo>
                  <a:cubicBezTo>
                    <a:pt x="3742" y="2297"/>
                    <a:pt x="3800" y="2589"/>
                    <a:pt x="3840" y="2883"/>
                  </a:cubicBezTo>
                  <a:cubicBezTo>
                    <a:pt x="3872" y="3062"/>
                    <a:pt x="3903" y="3227"/>
                    <a:pt x="3938" y="3397"/>
                  </a:cubicBezTo>
                  <a:lnTo>
                    <a:pt x="3932" y="3397"/>
                  </a:lnTo>
                  <a:cubicBezTo>
                    <a:pt x="3903" y="3323"/>
                    <a:pt x="3834" y="3282"/>
                    <a:pt x="3763" y="3282"/>
                  </a:cubicBezTo>
                  <a:cubicBezTo>
                    <a:pt x="3721" y="3282"/>
                    <a:pt x="3678" y="3297"/>
                    <a:pt x="3644" y="3328"/>
                  </a:cubicBezTo>
                  <a:cubicBezTo>
                    <a:pt x="3330" y="3617"/>
                    <a:pt x="1992" y="5145"/>
                    <a:pt x="1930" y="5145"/>
                  </a:cubicBezTo>
                  <a:cubicBezTo>
                    <a:pt x="1911" y="5145"/>
                    <a:pt x="2006" y="5009"/>
                    <a:pt x="2275" y="4665"/>
                  </a:cubicBezTo>
                  <a:cubicBezTo>
                    <a:pt x="2913" y="3848"/>
                    <a:pt x="3349" y="2979"/>
                    <a:pt x="3667" y="2009"/>
                  </a:cubicBezTo>
                  <a:close/>
                  <a:moveTo>
                    <a:pt x="3941" y="3446"/>
                  </a:moveTo>
                  <a:lnTo>
                    <a:pt x="3941" y="3446"/>
                  </a:lnTo>
                  <a:cubicBezTo>
                    <a:pt x="4004" y="3790"/>
                    <a:pt x="4097" y="4128"/>
                    <a:pt x="4218" y="4454"/>
                  </a:cubicBezTo>
                  <a:cubicBezTo>
                    <a:pt x="4211" y="4453"/>
                    <a:pt x="4203" y="4452"/>
                    <a:pt x="4196" y="4452"/>
                  </a:cubicBezTo>
                  <a:cubicBezTo>
                    <a:pt x="4166" y="4452"/>
                    <a:pt x="4137" y="4461"/>
                    <a:pt x="4111" y="4480"/>
                  </a:cubicBezTo>
                  <a:lnTo>
                    <a:pt x="4108" y="4480"/>
                  </a:lnTo>
                  <a:cubicBezTo>
                    <a:pt x="3297" y="5054"/>
                    <a:pt x="2541" y="5701"/>
                    <a:pt x="1854" y="6420"/>
                  </a:cubicBezTo>
                  <a:cubicBezTo>
                    <a:pt x="2342" y="5909"/>
                    <a:pt x="3369" y="4543"/>
                    <a:pt x="3927" y="3547"/>
                  </a:cubicBezTo>
                  <a:cubicBezTo>
                    <a:pt x="3941" y="3516"/>
                    <a:pt x="3947" y="3481"/>
                    <a:pt x="3941" y="3446"/>
                  </a:cubicBezTo>
                  <a:close/>
                  <a:moveTo>
                    <a:pt x="4752" y="5456"/>
                  </a:moveTo>
                  <a:cubicBezTo>
                    <a:pt x="4816" y="5551"/>
                    <a:pt x="4868" y="5646"/>
                    <a:pt x="4940" y="5742"/>
                  </a:cubicBezTo>
                  <a:cubicBezTo>
                    <a:pt x="4975" y="5785"/>
                    <a:pt x="5015" y="5822"/>
                    <a:pt x="5050" y="5863"/>
                  </a:cubicBezTo>
                  <a:lnTo>
                    <a:pt x="5047" y="5863"/>
                  </a:lnTo>
                  <a:cubicBezTo>
                    <a:pt x="4703" y="6088"/>
                    <a:pt x="4380" y="6336"/>
                    <a:pt x="4077" y="6610"/>
                  </a:cubicBezTo>
                  <a:cubicBezTo>
                    <a:pt x="4316" y="6235"/>
                    <a:pt x="4541" y="5851"/>
                    <a:pt x="4752" y="5456"/>
                  </a:cubicBezTo>
                  <a:close/>
                  <a:moveTo>
                    <a:pt x="3168" y="2472"/>
                  </a:moveTo>
                  <a:cubicBezTo>
                    <a:pt x="3184" y="2472"/>
                    <a:pt x="3110" y="2651"/>
                    <a:pt x="2879" y="3146"/>
                  </a:cubicBezTo>
                  <a:cubicBezTo>
                    <a:pt x="2448" y="4064"/>
                    <a:pt x="1730" y="4838"/>
                    <a:pt x="1068" y="5594"/>
                  </a:cubicBezTo>
                  <a:cubicBezTo>
                    <a:pt x="967" y="5710"/>
                    <a:pt x="1060" y="5901"/>
                    <a:pt x="1188" y="5901"/>
                  </a:cubicBezTo>
                  <a:cubicBezTo>
                    <a:pt x="1217" y="5901"/>
                    <a:pt x="1248" y="5892"/>
                    <a:pt x="1279" y="5869"/>
                  </a:cubicBezTo>
                  <a:cubicBezTo>
                    <a:pt x="2036" y="5311"/>
                    <a:pt x="2714" y="4694"/>
                    <a:pt x="3398" y="4044"/>
                  </a:cubicBezTo>
                  <a:lnTo>
                    <a:pt x="3398" y="4044"/>
                  </a:lnTo>
                  <a:cubicBezTo>
                    <a:pt x="2711" y="4696"/>
                    <a:pt x="2004" y="5782"/>
                    <a:pt x="1484" y="6778"/>
                  </a:cubicBezTo>
                  <a:cubicBezTo>
                    <a:pt x="1331" y="6408"/>
                    <a:pt x="1149" y="6024"/>
                    <a:pt x="800" y="5661"/>
                  </a:cubicBezTo>
                  <a:cubicBezTo>
                    <a:pt x="757" y="5612"/>
                    <a:pt x="725" y="5554"/>
                    <a:pt x="705" y="5493"/>
                  </a:cubicBezTo>
                  <a:cubicBezTo>
                    <a:pt x="1328" y="4945"/>
                    <a:pt x="1914" y="4367"/>
                    <a:pt x="2420" y="3698"/>
                  </a:cubicBezTo>
                  <a:cubicBezTo>
                    <a:pt x="2588" y="3474"/>
                    <a:pt x="3130" y="2472"/>
                    <a:pt x="3168" y="2472"/>
                  </a:cubicBezTo>
                  <a:close/>
                  <a:moveTo>
                    <a:pt x="3647" y="5141"/>
                  </a:moveTo>
                  <a:cubicBezTo>
                    <a:pt x="3104" y="5952"/>
                    <a:pt x="2544" y="6755"/>
                    <a:pt x="1995" y="7563"/>
                  </a:cubicBezTo>
                  <a:cubicBezTo>
                    <a:pt x="1902" y="7698"/>
                    <a:pt x="2038" y="7853"/>
                    <a:pt x="2173" y="7853"/>
                  </a:cubicBezTo>
                  <a:cubicBezTo>
                    <a:pt x="2218" y="7853"/>
                    <a:pt x="2262" y="7836"/>
                    <a:pt x="2298" y="7797"/>
                  </a:cubicBezTo>
                  <a:cubicBezTo>
                    <a:pt x="2959" y="7082"/>
                    <a:pt x="3653" y="6407"/>
                    <a:pt x="4354" y="5730"/>
                  </a:cubicBezTo>
                  <a:lnTo>
                    <a:pt x="4354" y="5730"/>
                  </a:lnTo>
                  <a:cubicBezTo>
                    <a:pt x="3760" y="6305"/>
                    <a:pt x="3074" y="7394"/>
                    <a:pt x="2489" y="8221"/>
                  </a:cubicBezTo>
                  <a:cubicBezTo>
                    <a:pt x="2054" y="7965"/>
                    <a:pt x="1843" y="7616"/>
                    <a:pt x="1673" y="7224"/>
                  </a:cubicBezTo>
                  <a:lnTo>
                    <a:pt x="1673" y="7224"/>
                  </a:lnTo>
                  <a:cubicBezTo>
                    <a:pt x="2282" y="6512"/>
                    <a:pt x="3130" y="5909"/>
                    <a:pt x="3647" y="5141"/>
                  </a:cubicBezTo>
                  <a:close/>
                  <a:moveTo>
                    <a:pt x="5341" y="6195"/>
                  </a:moveTo>
                  <a:cubicBezTo>
                    <a:pt x="5431" y="6290"/>
                    <a:pt x="5526" y="6380"/>
                    <a:pt x="5624" y="6472"/>
                  </a:cubicBezTo>
                  <a:cubicBezTo>
                    <a:pt x="4873" y="7054"/>
                    <a:pt x="4158" y="7676"/>
                    <a:pt x="3475" y="8336"/>
                  </a:cubicBezTo>
                  <a:lnTo>
                    <a:pt x="3475" y="8336"/>
                  </a:lnTo>
                  <a:cubicBezTo>
                    <a:pt x="4217" y="7616"/>
                    <a:pt x="4762" y="7090"/>
                    <a:pt x="5341" y="6195"/>
                  </a:cubicBezTo>
                  <a:close/>
                  <a:moveTo>
                    <a:pt x="4694" y="6532"/>
                  </a:moveTo>
                  <a:cubicBezTo>
                    <a:pt x="4276" y="7214"/>
                    <a:pt x="3720" y="7854"/>
                    <a:pt x="3199" y="8496"/>
                  </a:cubicBezTo>
                  <a:cubicBezTo>
                    <a:pt x="3094" y="8470"/>
                    <a:pt x="2988" y="8439"/>
                    <a:pt x="2886" y="8402"/>
                  </a:cubicBezTo>
                  <a:lnTo>
                    <a:pt x="2886" y="8402"/>
                  </a:lnTo>
                  <a:cubicBezTo>
                    <a:pt x="3467" y="7826"/>
                    <a:pt x="4295" y="7182"/>
                    <a:pt x="4694" y="6532"/>
                  </a:cubicBezTo>
                  <a:close/>
                  <a:moveTo>
                    <a:pt x="6386" y="7188"/>
                  </a:moveTo>
                  <a:cubicBezTo>
                    <a:pt x="6447" y="7246"/>
                    <a:pt x="6508" y="7300"/>
                    <a:pt x="6565" y="7358"/>
                  </a:cubicBezTo>
                  <a:cubicBezTo>
                    <a:pt x="6643" y="7439"/>
                    <a:pt x="6718" y="7526"/>
                    <a:pt x="6785" y="7615"/>
                  </a:cubicBezTo>
                  <a:cubicBezTo>
                    <a:pt x="6779" y="7621"/>
                    <a:pt x="6767" y="7618"/>
                    <a:pt x="6762" y="7627"/>
                  </a:cubicBezTo>
                  <a:cubicBezTo>
                    <a:pt x="6227" y="8221"/>
                    <a:pt x="5676" y="8787"/>
                    <a:pt x="5102" y="9342"/>
                  </a:cubicBezTo>
                  <a:lnTo>
                    <a:pt x="4894" y="9538"/>
                  </a:lnTo>
                  <a:cubicBezTo>
                    <a:pt x="5468" y="8816"/>
                    <a:pt x="5991" y="8077"/>
                    <a:pt x="6386" y="7188"/>
                  </a:cubicBezTo>
                  <a:close/>
                  <a:moveTo>
                    <a:pt x="5310" y="6989"/>
                  </a:moveTo>
                  <a:cubicBezTo>
                    <a:pt x="5339" y="6989"/>
                    <a:pt x="5232" y="7161"/>
                    <a:pt x="4888" y="7635"/>
                  </a:cubicBezTo>
                  <a:cubicBezTo>
                    <a:pt x="4296" y="8452"/>
                    <a:pt x="3684" y="9232"/>
                    <a:pt x="3110" y="10043"/>
                  </a:cubicBezTo>
                  <a:cubicBezTo>
                    <a:pt x="3245" y="9616"/>
                    <a:pt x="3410" y="9191"/>
                    <a:pt x="3545" y="8822"/>
                  </a:cubicBezTo>
                  <a:cubicBezTo>
                    <a:pt x="3771" y="8600"/>
                    <a:pt x="3996" y="8377"/>
                    <a:pt x="4224" y="8158"/>
                  </a:cubicBezTo>
                  <a:cubicBezTo>
                    <a:pt x="4377" y="8009"/>
                    <a:pt x="5242" y="6989"/>
                    <a:pt x="5310" y="6989"/>
                  </a:cubicBezTo>
                  <a:close/>
                  <a:moveTo>
                    <a:pt x="7013" y="7944"/>
                  </a:moveTo>
                  <a:cubicBezTo>
                    <a:pt x="7091" y="8080"/>
                    <a:pt x="7154" y="8219"/>
                    <a:pt x="7206" y="8366"/>
                  </a:cubicBezTo>
                  <a:cubicBezTo>
                    <a:pt x="6557" y="9085"/>
                    <a:pt x="5872" y="9766"/>
                    <a:pt x="5182" y="10442"/>
                  </a:cubicBezTo>
                  <a:cubicBezTo>
                    <a:pt x="5774" y="9599"/>
                    <a:pt x="6386" y="8764"/>
                    <a:pt x="7013" y="7944"/>
                  </a:cubicBezTo>
                  <a:close/>
                  <a:moveTo>
                    <a:pt x="5792" y="7590"/>
                  </a:moveTo>
                  <a:lnTo>
                    <a:pt x="5792" y="7590"/>
                  </a:lnTo>
                  <a:cubicBezTo>
                    <a:pt x="5160" y="9057"/>
                    <a:pt x="3800" y="10240"/>
                    <a:pt x="2841" y="11527"/>
                  </a:cubicBezTo>
                  <a:cubicBezTo>
                    <a:pt x="2838" y="11438"/>
                    <a:pt x="2838" y="11348"/>
                    <a:pt x="2847" y="11259"/>
                  </a:cubicBezTo>
                  <a:lnTo>
                    <a:pt x="2844" y="11259"/>
                  </a:lnTo>
                  <a:cubicBezTo>
                    <a:pt x="3802" y="10079"/>
                    <a:pt x="5259" y="8825"/>
                    <a:pt x="5792" y="7590"/>
                  </a:cubicBezTo>
                  <a:close/>
                  <a:moveTo>
                    <a:pt x="5087" y="9896"/>
                  </a:moveTo>
                  <a:lnTo>
                    <a:pt x="5087" y="9896"/>
                  </a:lnTo>
                  <a:cubicBezTo>
                    <a:pt x="4513" y="10693"/>
                    <a:pt x="3955" y="11498"/>
                    <a:pt x="3387" y="12301"/>
                  </a:cubicBezTo>
                  <a:lnTo>
                    <a:pt x="3390" y="12301"/>
                  </a:lnTo>
                  <a:cubicBezTo>
                    <a:pt x="3358" y="12347"/>
                    <a:pt x="3352" y="12405"/>
                    <a:pt x="3372" y="12457"/>
                  </a:cubicBezTo>
                  <a:cubicBezTo>
                    <a:pt x="3164" y="12350"/>
                    <a:pt x="3006" y="12171"/>
                    <a:pt x="2925" y="11951"/>
                  </a:cubicBezTo>
                  <a:cubicBezTo>
                    <a:pt x="2974" y="11951"/>
                    <a:pt x="3023" y="11931"/>
                    <a:pt x="3055" y="11897"/>
                  </a:cubicBezTo>
                  <a:cubicBezTo>
                    <a:pt x="3713" y="11212"/>
                    <a:pt x="4400" y="10554"/>
                    <a:pt x="5087" y="9896"/>
                  </a:cubicBezTo>
                  <a:close/>
                  <a:moveTo>
                    <a:pt x="2533" y="0"/>
                  </a:moveTo>
                  <a:cubicBezTo>
                    <a:pt x="2472" y="0"/>
                    <a:pt x="2411" y="36"/>
                    <a:pt x="2379" y="86"/>
                  </a:cubicBezTo>
                  <a:cubicBezTo>
                    <a:pt x="1334" y="1737"/>
                    <a:pt x="817" y="3559"/>
                    <a:pt x="168" y="5386"/>
                  </a:cubicBezTo>
                  <a:cubicBezTo>
                    <a:pt x="159" y="5424"/>
                    <a:pt x="162" y="5464"/>
                    <a:pt x="182" y="5499"/>
                  </a:cubicBezTo>
                  <a:cubicBezTo>
                    <a:pt x="150" y="5545"/>
                    <a:pt x="116" y="5591"/>
                    <a:pt x="84" y="5638"/>
                  </a:cubicBezTo>
                  <a:cubicBezTo>
                    <a:pt x="1" y="5758"/>
                    <a:pt x="112" y="5868"/>
                    <a:pt x="227" y="5868"/>
                  </a:cubicBezTo>
                  <a:cubicBezTo>
                    <a:pt x="263" y="5868"/>
                    <a:pt x="301" y="5857"/>
                    <a:pt x="332" y="5831"/>
                  </a:cubicBezTo>
                  <a:cubicBezTo>
                    <a:pt x="352" y="5811"/>
                    <a:pt x="373" y="5791"/>
                    <a:pt x="396" y="5773"/>
                  </a:cubicBezTo>
                  <a:cubicBezTo>
                    <a:pt x="1100" y="6660"/>
                    <a:pt x="1230" y="7794"/>
                    <a:pt x="2163" y="8519"/>
                  </a:cubicBezTo>
                  <a:cubicBezTo>
                    <a:pt x="2165" y="8522"/>
                    <a:pt x="2630" y="8701"/>
                    <a:pt x="2902" y="8871"/>
                  </a:cubicBezTo>
                  <a:cubicBezTo>
                    <a:pt x="2850" y="8937"/>
                    <a:pt x="2795" y="9001"/>
                    <a:pt x="2746" y="9067"/>
                  </a:cubicBezTo>
                  <a:cubicBezTo>
                    <a:pt x="2644" y="9205"/>
                    <a:pt x="2778" y="9345"/>
                    <a:pt x="2917" y="9345"/>
                  </a:cubicBezTo>
                  <a:cubicBezTo>
                    <a:pt x="2947" y="9345"/>
                    <a:pt x="2978" y="9339"/>
                    <a:pt x="3006" y="9324"/>
                  </a:cubicBezTo>
                  <a:lnTo>
                    <a:pt x="3006" y="9324"/>
                  </a:lnTo>
                  <a:cubicBezTo>
                    <a:pt x="2780" y="9936"/>
                    <a:pt x="2538" y="10534"/>
                    <a:pt x="2368" y="11163"/>
                  </a:cubicBezTo>
                  <a:cubicBezTo>
                    <a:pt x="2368" y="11166"/>
                    <a:pt x="2368" y="11169"/>
                    <a:pt x="2368" y="11172"/>
                  </a:cubicBezTo>
                  <a:cubicBezTo>
                    <a:pt x="2313" y="11261"/>
                    <a:pt x="2255" y="11345"/>
                    <a:pt x="2203" y="11435"/>
                  </a:cubicBezTo>
                  <a:cubicBezTo>
                    <a:pt x="2131" y="11556"/>
                    <a:pt x="2194" y="11660"/>
                    <a:pt x="2290" y="11703"/>
                  </a:cubicBezTo>
                  <a:cubicBezTo>
                    <a:pt x="2262" y="12611"/>
                    <a:pt x="2964" y="12874"/>
                    <a:pt x="3791" y="12874"/>
                  </a:cubicBezTo>
                  <a:cubicBezTo>
                    <a:pt x="4174" y="12874"/>
                    <a:pt x="4584" y="12817"/>
                    <a:pt x="4960" y="12742"/>
                  </a:cubicBezTo>
                  <a:cubicBezTo>
                    <a:pt x="5070" y="12723"/>
                    <a:pt x="5028" y="12571"/>
                    <a:pt x="4930" y="12571"/>
                  </a:cubicBezTo>
                  <a:cubicBezTo>
                    <a:pt x="4925" y="12571"/>
                    <a:pt x="4919" y="12571"/>
                    <a:pt x="4914" y="12572"/>
                  </a:cubicBezTo>
                  <a:cubicBezTo>
                    <a:pt x="4663" y="12612"/>
                    <a:pt x="4441" y="12631"/>
                    <a:pt x="4245" y="12631"/>
                  </a:cubicBezTo>
                  <a:cubicBezTo>
                    <a:pt x="4016" y="12631"/>
                    <a:pt x="3821" y="12606"/>
                    <a:pt x="3655" y="12561"/>
                  </a:cubicBezTo>
                  <a:cubicBezTo>
                    <a:pt x="3670" y="12552"/>
                    <a:pt x="3690" y="12555"/>
                    <a:pt x="3704" y="12540"/>
                  </a:cubicBezTo>
                  <a:cubicBezTo>
                    <a:pt x="4163" y="12027"/>
                    <a:pt x="4643" y="11533"/>
                    <a:pt x="5133" y="11051"/>
                  </a:cubicBezTo>
                  <a:lnTo>
                    <a:pt x="5133" y="11051"/>
                  </a:lnTo>
                  <a:cubicBezTo>
                    <a:pt x="5032" y="11189"/>
                    <a:pt x="4928" y="11339"/>
                    <a:pt x="4787" y="11541"/>
                  </a:cubicBezTo>
                  <a:cubicBezTo>
                    <a:pt x="4680" y="11694"/>
                    <a:pt x="4823" y="11842"/>
                    <a:pt x="4971" y="11842"/>
                  </a:cubicBezTo>
                  <a:cubicBezTo>
                    <a:pt x="5019" y="11842"/>
                    <a:pt x="5067" y="11826"/>
                    <a:pt x="5107" y="11790"/>
                  </a:cubicBezTo>
                  <a:cubicBezTo>
                    <a:pt x="5844" y="11123"/>
                    <a:pt x="6461" y="10248"/>
                    <a:pt x="7244" y="9636"/>
                  </a:cubicBezTo>
                  <a:lnTo>
                    <a:pt x="7244" y="9636"/>
                  </a:lnTo>
                  <a:cubicBezTo>
                    <a:pt x="6889" y="10984"/>
                    <a:pt x="5408" y="12142"/>
                    <a:pt x="4062" y="12263"/>
                  </a:cubicBezTo>
                  <a:cubicBezTo>
                    <a:pt x="3843" y="12283"/>
                    <a:pt x="3837" y="12616"/>
                    <a:pt x="4044" y="12616"/>
                  </a:cubicBezTo>
                  <a:cubicBezTo>
                    <a:pt x="4050" y="12616"/>
                    <a:pt x="4056" y="12616"/>
                    <a:pt x="4062" y="12615"/>
                  </a:cubicBezTo>
                  <a:cubicBezTo>
                    <a:pt x="6305" y="12408"/>
                    <a:pt x="7662" y="10765"/>
                    <a:pt x="7472" y="8706"/>
                  </a:cubicBezTo>
                  <a:cubicBezTo>
                    <a:pt x="7518" y="8640"/>
                    <a:pt x="7570" y="8579"/>
                    <a:pt x="7616" y="8513"/>
                  </a:cubicBezTo>
                  <a:cubicBezTo>
                    <a:pt x="7713" y="8373"/>
                    <a:pt x="7574" y="8224"/>
                    <a:pt x="7433" y="8224"/>
                  </a:cubicBezTo>
                  <a:cubicBezTo>
                    <a:pt x="7414" y="8224"/>
                    <a:pt x="7395" y="8227"/>
                    <a:pt x="7377" y="8233"/>
                  </a:cubicBezTo>
                  <a:cubicBezTo>
                    <a:pt x="7348" y="8089"/>
                    <a:pt x="7336" y="7944"/>
                    <a:pt x="7290" y="7794"/>
                  </a:cubicBezTo>
                  <a:cubicBezTo>
                    <a:pt x="6866" y="6382"/>
                    <a:pt x="4986" y="5565"/>
                    <a:pt x="4406" y="4073"/>
                  </a:cubicBezTo>
                  <a:cubicBezTo>
                    <a:pt x="3846" y="2638"/>
                    <a:pt x="4097" y="1587"/>
                    <a:pt x="3237" y="597"/>
                  </a:cubicBezTo>
                  <a:cubicBezTo>
                    <a:pt x="3248" y="556"/>
                    <a:pt x="3265" y="519"/>
                    <a:pt x="3277" y="478"/>
                  </a:cubicBezTo>
                  <a:cubicBezTo>
                    <a:pt x="3311" y="364"/>
                    <a:pt x="3227" y="294"/>
                    <a:pt x="3136" y="294"/>
                  </a:cubicBezTo>
                  <a:cubicBezTo>
                    <a:pt x="3088" y="294"/>
                    <a:pt x="3038" y="314"/>
                    <a:pt x="3003" y="357"/>
                  </a:cubicBezTo>
                  <a:cubicBezTo>
                    <a:pt x="2879" y="236"/>
                    <a:pt x="2749" y="126"/>
                    <a:pt x="2613" y="25"/>
                  </a:cubicBezTo>
                  <a:cubicBezTo>
                    <a:pt x="2588" y="8"/>
                    <a:pt x="2561" y="0"/>
                    <a:pt x="2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65"/>
            <p:cNvSpPr/>
            <p:nvPr/>
          </p:nvSpPr>
          <p:spPr>
            <a:xfrm>
              <a:off x="3134800" y="2033550"/>
              <a:ext cx="230750" cy="177850"/>
            </a:xfrm>
            <a:custGeom>
              <a:avLst/>
              <a:gdLst/>
              <a:ahLst/>
              <a:cxnLst/>
              <a:rect l="l" t="t" r="r" b="b"/>
              <a:pathLst>
                <a:path w="9230" h="7114" extrusionOk="0">
                  <a:moveTo>
                    <a:pt x="3043" y="477"/>
                  </a:moveTo>
                  <a:lnTo>
                    <a:pt x="3043" y="477"/>
                  </a:lnTo>
                  <a:cubicBezTo>
                    <a:pt x="2523" y="1006"/>
                    <a:pt x="2033" y="1551"/>
                    <a:pt x="1571" y="2123"/>
                  </a:cubicBezTo>
                  <a:cubicBezTo>
                    <a:pt x="1776" y="1698"/>
                    <a:pt x="1983" y="1277"/>
                    <a:pt x="2177" y="850"/>
                  </a:cubicBezTo>
                  <a:cubicBezTo>
                    <a:pt x="2188" y="821"/>
                    <a:pt x="2191" y="790"/>
                    <a:pt x="2186" y="762"/>
                  </a:cubicBezTo>
                  <a:lnTo>
                    <a:pt x="2186" y="762"/>
                  </a:lnTo>
                  <a:cubicBezTo>
                    <a:pt x="2465" y="644"/>
                    <a:pt x="2750" y="549"/>
                    <a:pt x="3043" y="477"/>
                  </a:cubicBezTo>
                  <a:close/>
                  <a:moveTo>
                    <a:pt x="1718" y="982"/>
                  </a:moveTo>
                  <a:lnTo>
                    <a:pt x="1718" y="982"/>
                  </a:lnTo>
                  <a:cubicBezTo>
                    <a:pt x="1337" y="1338"/>
                    <a:pt x="996" y="1730"/>
                    <a:pt x="696" y="2157"/>
                  </a:cubicBezTo>
                  <a:cubicBezTo>
                    <a:pt x="693" y="2146"/>
                    <a:pt x="690" y="2132"/>
                    <a:pt x="687" y="2123"/>
                  </a:cubicBezTo>
                  <a:cubicBezTo>
                    <a:pt x="546" y="1522"/>
                    <a:pt x="1054" y="1329"/>
                    <a:pt x="1501" y="1084"/>
                  </a:cubicBezTo>
                  <a:cubicBezTo>
                    <a:pt x="1573" y="1046"/>
                    <a:pt x="1646" y="1020"/>
                    <a:pt x="1718" y="982"/>
                  </a:cubicBezTo>
                  <a:close/>
                  <a:moveTo>
                    <a:pt x="8338" y="1791"/>
                  </a:moveTo>
                  <a:cubicBezTo>
                    <a:pt x="8572" y="2215"/>
                    <a:pt x="8349" y="2631"/>
                    <a:pt x="7965" y="2983"/>
                  </a:cubicBezTo>
                  <a:lnTo>
                    <a:pt x="7965" y="2980"/>
                  </a:lnTo>
                  <a:cubicBezTo>
                    <a:pt x="7991" y="2911"/>
                    <a:pt x="7962" y="2833"/>
                    <a:pt x="7896" y="2796"/>
                  </a:cubicBezTo>
                  <a:cubicBezTo>
                    <a:pt x="8052" y="2466"/>
                    <a:pt x="8199" y="2129"/>
                    <a:pt x="8338" y="1791"/>
                  </a:cubicBezTo>
                  <a:close/>
                  <a:moveTo>
                    <a:pt x="1689" y="1185"/>
                  </a:moveTo>
                  <a:cubicBezTo>
                    <a:pt x="1733" y="1185"/>
                    <a:pt x="1695" y="1324"/>
                    <a:pt x="1510" y="1696"/>
                  </a:cubicBezTo>
                  <a:lnTo>
                    <a:pt x="863" y="3001"/>
                  </a:lnTo>
                  <a:cubicBezTo>
                    <a:pt x="829" y="2778"/>
                    <a:pt x="782" y="2559"/>
                    <a:pt x="733" y="2339"/>
                  </a:cubicBezTo>
                  <a:cubicBezTo>
                    <a:pt x="733" y="2336"/>
                    <a:pt x="736" y="2339"/>
                    <a:pt x="739" y="2334"/>
                  </a:cubicBezTo>
                  <a:lnTo>
                    <a:pt x="739" y="2334"/>
                  </a:lnTo>
                  <a:cubicBezTo>
                    <a:pt x="739" y="2334"/>
                    <a:pt x="738" y="2335"/>
                    <a:pt x="738" y="2335"/>
                  </a:cubicBezTo>
                  <a:cubicBezTo>
                    <a:pt x="737" y="2335"/>
                    <a:pt x="1559" y="1185"/>
                    <a:pt x="1689" y="1185"/>
                  </a:cubicBezTo>
                  <a:close/>
                  <a:moveTo>
                    <a:pt x="6886" y="809"/>
                  </a:moveTo>
                  <a:cubicBezTo>
                    <a:pt x="7226" y="942"/>
                    <a:pt x="7550" y="1107"/>
                    <a:pt x="7856" y="1306"/>
                  </a:cubicBezTo>
                  <a:cubicBezTo>
                    <a:pt x="7913" y="1340"/>
                    <a:pt x="7957" y="1378"/>
                    <a:pt x="8003" y="1418"/>
                  </a:cubicBezTo>
                  <a:cubicBezTo>
                    <a:pt x="7512" y="1961"/>
                    <a:pt x="7059" y="2530"/>
                    <a:pt x="6611" y="3107"/>
                  </a:cubicBezTo>
                  <a:cubicBezTo>
                    <a:pt x="6903" y="2631"/>
                    <a:pt x="7189" y="2155"/>
                    <a:pt x="7408" y="1638"/>
                  </a:cubicBezTo>
                  <a:cubicBezTo>
                    <a:pt x="7466" y="1502"/>
                    <a:pt x="7367" y="1360"/>
                    <a:pt x="7247" y="1360"/>
                  </a:cubicBezTo>
                  <a:cubicBezTo>
                    <a:pt x="7206" y="1360"/>
                    <a:pt x="7163" y="1377"/>
                    <a:pt x="7122" y="1416"/>
                  </a:cubicBezTo>
                  <a:cubicBezTo>
                    <a:pt x="6793" y="1736"/>
                    <a:pt x="6487" y="2074"/>
                    <a:pt x="6190" y="2414"/>
                  </a:cubicBezTo>
                  <a:cubicBezTo>
                    <a:pt x="6441" y="1898"/>
                    <a:pt x="6675" y="1375"/>
                    <a:pt x="6886" y="838"/>
                  </a:cubicBezTo>
                  <a:cubicBezTo>
                    <a:pt x="6888" y="827"/>
                    <a:pt x="6883" y="821"/>
                    <a:pt x="6886" y="809"/>
                  </a:cubicBezTo>
                  <a:close/>
                  <a:moveTo>
                    <a:pt x="4273" y="336"/>
                  </a:moveTo>
                  <a:lnTo>
                    <a:pt x="4273" y="339"/>
                  </a:lnTo>
                  <a:cubicBezTo>
                    <a:pt x="4258" y="344"/>
                    <a:pt x="4241" y="344"/>
                    <a:pt x="4230" y="356"/>
                  </a:cubicBezTo>
                  <a:cubicBezTo>
                    <a:pt x="3274" y="1286"/>
                    <a:pt x="2564" y="2394"/>
                    <a:pt x="1744" y="3436"/>
                  </a:cubicBezTo>
                  <a:cubicBezTo>
                    <a:pt x="2434" y="2559"/>
                    <a:pt x="2979" y="1554"/>
                    <a:pt x="3410" y="509"/>
                  </a:cubicBezTo>
                  <a:cubicBezTo>
                    <a:pt x="3421" y="477"/>
                    <a:pt x="3421" y="446"/>
                    <a:pt x="3410" y="417"/>
                  </a:cubicBezTo>
                  <a:cubicBezTo>
                    <a:pt x="3693" y="368"/>
                    <a:pt x="3984" y="342"/>
                    <a:pt x="4273" y="336"/>
                  </a:cubicBezTo>
                  <a:close/>
                  <a:moveTo>
                    <a:pt x="3005" y="935"/>
                  </a:moveTo>
                  <a:cubicBezTo>
                    <a:pt x="3014" y="935"/>
                    <a:pt x="2926" y="1043"/>
                    <a:pt x="2740" y="1260"/>
                  </a:cubicBezTo>
                  <a:cubicBezTo>
                    <a:pt x="2318" y="2123"/>
                    <a:pt x="1796" y="2917"/>
                    <a:pt x="1423" y="3803"/>
                  </a:cubicBezTo>
                  <a:cubicBezTo>
                    <a:pt x="1348" y="3685"/>
                    <a:pt x="1233" y="3465"/>
                    <a:pt x="1094" y="3292"/>
                  </a:cubicBezTo>
                  <a:lnTo>
                    <a:pt x="1091" y="3292"/>
                  </a:lnTo>
                  <a:cubicBezTo>
                    <a:pt x="1348" y="2865"/>
                    <a:pt x="1637" y="2455"/>
                    <a:pt x="1952" y="2065"/>
                  </a:cubicBezTo>
                  <a:cubicBezTo>
                    <a:pt x="2174" y="1802"/>
                    <a:pt x="2405" y="1548"/>
                    <a:pt x="2645" y="1303"/>
                  </a:cubicBezTo>
                  <a:cubicBezTo>
                    <a:pt x="2875" y="1057"/>
                    <a:pt x="2996" y="935"/>
                    <a:pt x="3005" y="935"/>
                  </a:cubicBezTo>
                  <a:close/>
                  <a:moveTo>
                    <a:pt x="4691" y="332"/>
                  </a:moveTo>
                  <a:cubicBezTo>
                    <a:pt x="4738" y="332"/>
                    <a:pt x="4785" y="333"/>
                    <a:pt x="4833" y="336"/>
                  </a:cubicBezTo>
                  <a:lnTo>
                    <a:pt x="4833" y="339"/>
                  </a:lnTo>
                  <a:cubicBezTo>
                    <a:pt x="5422" y="379"/>
                    <a:pt x="6005" y="495"/>
                    <a:pt x="6562" y="685"/>
                  </a:cubicBezTo>
                  <a:cubicBezTo>
                    <a:pt x="5584" y="1675"/>
                    <a:pt x="4665" y="2706"/>
                    <a:pt x="3831" y="3803"/>
                  </a:cubicBezTo>
                  <a:cubicBezTo>
                    <a:pt x="4414" y="2758"/>
                    <a:pt x="5029" y="1730"/>
                    <a:pt x="5560" y="656"/>
                  </a:cubicBezTo>
                  <a:cubicBezTo>
                    <a:pt x="5619" y="538"/>
                    <a:pt x="5523" y="410"/>
                    <a:pt x="5414" y="410"/>
                  </a:cubicBezTo>
                  <a:cubicBezTo>
                    <a:pt x="5377" y="410"/>
                    <a:pt x="5338" y="425"/>
                    <a:pt x="5303" y="460"/>
                  </a:cubicBezTo>
                  <a:cubicBezTo>
                    <a:pt x="4622" y="1164"/>
                    <a:pt x="3984" y="1909"/>
                    <a:pt x="3395" y="2689"/>
                  </a:cubicBezTo>
                  <a:cubicBezTo>
                    <a:pt x="3776" y="1984"/>
                    <a:pt x="4146" y="1277"/>
                    <a:pt x="4478" y="547"/>
                  </a:cubicBezTo>
                  <a:cubicBezTo>
                    <a:pt x="4512" y="471"/>
                    <a:pt x="4484" y="382"/>
                    <a:pt x="4414" y="336"/>
                  </a:cubicBezTo>
                  <a:cubicBezTo>
                    <a:pt x="4507" y="336"/>
                    <a:pt x="4598" y="332"/>
                    <a:pt x="4691" y="332"/>
                  </a:cubicBezTo>
                  <a:close/>
                  <a:moveTo>
                    <a:pt x="3736" y="1352"/>
                  </a:moveTo>
                  <a:lnTo>
                    <a:pt x="3736" y="1352"/>
                  </a:lnTo>
                  <a:cubicBezTo>
                    <a:pt x="3170" y="2472"/>
                    <a:pt x="2546" y="3558"/>
                    <a:pt x="1960" y="4666"/>
                  </a:cubicBezTo>
                  <a:cubicBezTo>
                    <a:pt x="1836" y="4461"/>
                    <a:pt x="1709" y="4259"/>
                    <a:pt x="1582" y="4057"/>
                  </a:cubicBezTo>
                  <a:lnTo>
                    <a:pt x="1579" y="4057"/>
                  </a:lnTo>
                  <a:cubicBezTo>
                    <a:pt x="1605" y="4054"/>
                    <a:pt x="1628" y="4043"/>
                    <a:pt x="1646" y="4023"/>
                  </a:cubicBezTo>
                  <a:cubicBezTo>
                    <a:pt x="2382" y="3162"/>
                    <a:pt x="3008" y="2215"/>
                    <a:pt x="3736" y="1352"/>
                  </a:cubicBezTo>
                  <a:close/>
                  <a:moveTo>
                    <a:pt x="4671" y="1638"/>
                  </a:moveTo>
                  <a:cubicBezTo>
                    <a:pt x="3947" y="2951"/>
                    <a:pt x="3161" y="4230"/>
                    <a:pt x="2544" y="5599"/>
                  </a:cubicBezTo>
                  <a:cubicBezTo>
                    <a:pt x="2416" y="5397"/>
                    <a:pt x="2289" y="5195"/>
                    <a:pt x="2165" y="4990"/>
                  </a:cubicBezTo>
                  <a:lnTo>
                    <a:pt x="2162" y="4993"/>
                  </a:lnTo>
                  <a:cubicBezTo>
                    <a:pt x="2933" y="3820"/>
                    <a:pt x="3756" y="2692"/>
                    <a:pt x="4671" y="1638"/>
                  </a:cubicBezTo>
                  <a:close/>
                  <a:moveTo>
                    <a:pt x="6453" y="2660"/>
                  </a:moveTo>
                  <a:lnTo>
                    <a:pt x="6453" y="2660"/>
                  </a:lnTo>
                  <a:cubicBezTo>
                    <a:pt x="6034" y="3358"/>
                    <a:pt x="5581" y="4034"/>
                    <a:pt x="5260" y="4790"/>
                  </a:cubicBezTo>
                  <a:cubicBezTo>
                    <a:pt x="5243" y="4831"/>
                    <a:pt x="5240" y="4877"/>
                    <a:pt x="5252" y="4923"/>
                  </a:cubicBezTo>
                  <a:cubicBezTo>
                    <a:pt x="5047" y="5076"/>
                    <a:pt x="4856" y="5247"/>
                    <a:pt x="4680" y="5434"/>
                  </a:cubicBezTo>
                  <a:lnTo>
                    <a:pt x="4677" y="5434"/>
                  </a:lnTo>
                  <a:cubicBezTo>
                    <a:pt x="4486" y="5636"/>
                    <a:pt x="4307" y="5867"/>
                    <a:pt x="4111" y="6072"/>
                  </a:cubicBezTo>
                  <a:cubicBezTo>
                    <a:pt x="4498" y="5440"/>
                    <a:pt x="4882" y="4808"/>
                    <a:pt x="5249" y="4164"/>
                  </a:cubicBezTo>
                  <a:cubicBezTo>
                    <a:pt x="5624" y="3641"/>
                    <a:pt x="6025" y="3139"/>
                    <a:pt x="6453" y="2660"/>
                  </a:cubicBezTo>
                  <a:close/>
                  <a:moveTo>
                    <a:pt x="6129" y="1661"/>
                  </a:moveTo>
                  <a:lnTo>
                    <a:pt x="6129" y="1661"/>
                  </a:lnTo>
                  <a:cubicBezTo>
                    <a:pt x="5780" y="2429"/>
                    <a:pt x="5399" y="3182"/>
                    <a:pt x="4980" y="3916"/>
                  </a:cubicBezTo>
                  <a:cubicBezTo>
                    <a:pt x="4383" y="4764"/>
                    <a:pt x="3843" y="5648"/>
                    <a:pt x="3363" y="6569"/>
                  </a:cubicBezTo>
                  <a:cubicBezTo>
                    <a:pt x="3356" y="6570"/>
                    <a:pt x="3348" y="6570"/>
                    <a:pt x="3341" y="6570"/>
                  </a:cubicBezTo>
                  <a:cubicBezTo>
                    <a:pt x="3092" y="6570"/>
                    <a:pt x="2906" y="6204"/>
                    <a:pt x="2777" y="5977"/>
                  </a:cubicBezTo>
                  <a:lnTo>
                    <a:pt x="2774" y="5977"/>
                  </a:lnTo>
                  <a:cubicBezTo>
                    <a:pt x="3716" y="4395"/>
                    <a:pt x="4870" y="2989"/>
                    <a:pt x="6129" y="1661"/>
                  </a:cubicBezTo>
                  <a:close/>
                  <a:moveTo>
                    <a:pt x="4351" y="0"/>
                  </a:moveTo>
                  <a:cubicBezTo>
                    <a:pt x="3302" y="0"/>
                    <a:pt x="2322" y="273"/>
                    <a:pt x="1325" y="783"/>
                  </a:cubicBezTo>
                  <a:cubicBezTo>
                    <a:pt x="0" y="1462"/>
                    <a:pt x="364" y="1984"/>
                    <a:pt x="554" y="3289"/>
                  </a:cubicBezTo>
                  <a:cubicBezTo>
                    <a:pt x="563" y="3347"/>
                    <a:pt x="609" y="3393"/>
                    <a:pt x="667" y="3405"/>
                  </a:cubicBezTo>
                  <a:cubicBezTo>
                    <a:pt x="629" y="3480"/>
                    <a:pt x="589" y="3552"/>
                    <a:pt x="554" y="3630"/>
                  </a:cubicBezTo>
                  <a:cubicBezTo>
                    <a:pt x="503" y="3742"/>
                    <a:pt x="597" y="3844"/>
                    <a:pt x="690" y="3844"/>
                  </a:cubicBezTo>
                  <a:cubicBezTo>
                    <a:pt x="731" y="3844"/>
                    <a:pt x="772" y="3823"/>
                    <a:pt x="800" y="3774"/>
                  </a:cubicBezTo>
                  <a:cubicBezTo>
                    <a:pt x="826" y="3728"/>
                    <a:pt x="852" y="3688"/>
                    <a:pt x="878" y="3641"/>
                  </a:cubicBezTo>
                  <a:cubicBezTo>
                    <a:pt x="959" y="3757"/>
                    <a:pt x="1037" y="3875"/>
                    <a:pt x="1114" y="3994"/>
                  </a:cubicBezTo>
                  <a:cubicBezTo>
                    <a:pt x="1354" y="4366"/>
                    <a:pt x="1585" y="4744"/>
                    <a:pt x="1819" y="5122"/>
                  </a:cubicBezTo>
                  <a:cubicBezTo>
                    <a:pt x="1998" y="5411"/>
                    <a:pt x="2171" y="5709"/>
                    <a:pt x="2353" y="6000"/>
                  </a:cubicBezTo>
                  <a:cubicBezTo>
                    <a:pt x="2350" y="6009"/>
                    <a:pt x="2344" y="6017"/>
                    <a:pt x="2341" y="6026"/>
                  </a:cubicBezTo>
                  <a:cubicBezTo>
                    <a:pt x="2290" y="6148"/>
                    <a:pt x="2401" y="6234"/>
                    <a:pt x="2512" y="6234"/>
                  </a:cubicBezTo>
                  <a:cubicBezTo>
                    <a:pt x="2514" y="6234"/>
                    <a:pt x="2516" y="6234"/>
                    <a:pt x="2518" y="6234"/>
                  </a:cubicBezTo>
                  <a:cubicBezTo>
                    <a:pt x="2645" y="6436"/>
                    <a:pt x="2786" y="6632"/>
                    <a:pt x="2936" y="6817"/>
                  </a:cubicBezTo>
                  <a:cubicBezTo>
                    <a:pt x="3005" y="6901"/>
                    <a:pt x="3101" y="6933"/>
                    <a:pt x="3205" y="6941"/>
                  </a:cubicBezTo>
                  <a:cubicBezTo>
                    <a:pt x="3214" y="7039"/>
                    <a:pt x="3299" y="7113"/>
                    <a:pt x="3386" y="7113"/>
                  </a:cubicBezTo>
                  <a:cubicBezTo>
                    <a:pt x="3438" y="7113"/>
                    <a:pt x="3490" y="7087"/>
                    <a:pt x="3528" y="7025"/>
                  </a:cubicBezTo>
                  <a:cubicBezTo>
                    <a:pt x="3563" y="6970"/>
                    <a:pt x="3597" y="6912"/>
                    <a:pt x="3632" y="6858"/>
                  </a:cubicBezTo>
                  <a:cubicBezTo>
                    <a:pt x="3742" y="6811"/>
                    <a:pt x="3846" y="6754"/>
                    <a:pt x="3941" y="6681"/>
                  </a:cubicBezTo>
                  <a:cubicBezTo>
                    <a:pt x="4518" y="6196"/>
                    <a:pt x="4934" y="5486"/>
                    <a:pt x="5523" y="5030"/>
                  </a:cubicBezTo>
                  <a:cubicBezTo>
                    <a:pt x="5532" y="5024"/>
                    <a:pt x="5540" y="5027"/>
                    <a:pt x="5549" y="5016"/>
                  </a:cubicBezTo>
                  <a:cubicBezTo>
                    <a:pt x="5555" y="5007"/>
                    <a:pt x="5558" y="5004"/>
                    <a:pt x="5563" y="4998"/>
                  </a:cubicBezTo>
                  <a:cubicBezTo>
                    <a:pt x="5817" y="4811"/>
                    <a:pt x="6095" y="4666"/>
                    <a:pt x="6441" y="4611"/>
                  </a:cubicBezTo>
                  <a:cubicBezTo>
                    <a:pt x="6504" y="4603"/>
                    <a:pt x="6488" y="4502"/>
                    <a:pt x="6426" y="4502"/>
                  </a:cubicBezTo>
                  <a:cubicBezTo>
                    <a:pt x="6425" y="4502"/>
                    <a:pt x="6425" y="4502"/>
                    <a:pt x="6424" y="4502"/>
                  </a:cubicBezTo>
                  <a:cubicBezTo>
                    <a:pt x="6250" y="4502"/>
                    <a:pt x="6077" y="4528"/>
                    <a:pt x="5913" y="4577"/>
                  </a:cubicBezTo>
                  <a:cubicBezTo>
                    <a:pt x="6528" y="3826"/>
                    <a:pt x="7102" y="3047"/>
                    <a:pt x="7723" y="2302"/>
                  </a:cubicBezTo>
                  <a:lnTo>
                    <a:pt x="7723" y="2302"/>
                  </a:lnTo>
                  <a:cubicBezTo>
                    <a:pt x="7590" y="2593"/>
                    <a:pt x="7449" y="2882"/>
                    <a:pt x="7304" y="3177"/>
                  </a:cubicBezTo>
                  <a:cubicBezTo>
                    <a:pt x="7252" y="3263"/>
                    <a:pt x="7284" y="3373"/>
                    <a:pt x="7373" y="3422"/>
                  </a:cubicBezTo>
                  <a:cubicBezTo>
                    <a:pt x="7177" y="3537"/>
                    <a:pt x="6975" y="3644"/>
                    <a:pt x="6767" y="3740"/>
                  </a:cubicBezTo>
                  <a:cubicBezTo>
                    <a:pt x="6577" y="3825"/>
                    <a:pt x="6695" y="4082"/>
                    <a:pt x="6874" y="4082"/>
                  </a:cubicBezTo>
                  <a:cubicBezTo>
                    <a:pt x="6901" y="4082"/>
                    <a:pt x="6929" y="4076"/>
                    <a:pt x="6958" y="4063"/>
                  </a:cubicBezTo>
                  <a:cubicBezTo>
                    <a:pt x="7694" y="3711"/>
                    <a:pt x="9230" y="2908"/>
                    <a:pt x="8710" y="1825"/>
                  </a:cubicBezTo>
                  <a:cubicBezTo>
                    <a:pt x="8647" y="1693"/>
                    <a:pt x="8569" y="1569"/>
                    <a:pt x="8476" y="1456"/>
                  </a:cubicBezTo>
                  <a:cubicBezTo>
                    <a:pt x="8488" y="1430"/>
                    <a:pt x="8499" y="1404"/>
                    <a:pt x="8508" y="1378"/>
                  </a:cubicBezTo>
                  <a:cubicBezTo>
                    <a:pt x="8556" y="1251"/>
                    <a:pt x="8442" y="1151"/>
                    <a:pt x="8327" y="1151"/>
                  </a:cubicBezTo>
                  <a:cubicBezTo>
                    <a:pt x="8288" y="1151"/>
                    <a:pt x="8249" y="1162"/>
                    <a:pt x="8216" y="1187"/>
                  </a:cubicBezTo>
                  <a:cubicBezTo>
                    <a:pt x="7532" y="573"/>
                    <a:pt x="6467" y="292"/>
                    <a:pt x="5636" y="131"/>
                  </a:cubicBezTo>
                  <a:cubicBezTo>
                    <a:pt x="5193" y="43"/>
                    <a:pt x="4766" y="0"/>
                    <a:pt x="4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65"/>
            <p:cNvSpPr/>
            <p:nvPr/>
          </p:nvSpPr>
          <p:spPr>
            <a:xfrm>
              <a:off x="3451425" y="1868325"/>
              <a:ext cx="900375" cy="1164925"/>
            </a:xfrm>
            <a:custGeom>
              <a:avLst/>
              <a:gdLst/>
              <a:ahLst/>
              <a:cxnLst/>
              <a:rect l="l" t="t" r="r" b="b"/>
              <a:pathLst>
                <a:path w="36015" h="46597" extrusionOk="0">
                  <a:moveTo>
                    <a:pt x="3990" y="38947"/>
                  </a:moveTo>
                  <a:lnTo>
                    <a:pt x="3990" y="38947"/>
                  </a:lnTo>
                  <a:cubicBezTo>
                    <a:pt x="3280" y="39727"/>
                    <a:pt x="3499" y="39473"/>
                    <a:pt x="2642" y="40625"/>
                  </a:cubicBezTo>
                  <a:cubicBezTo>
                    <a:pt x="2186" y="41240"/>
                    <a:pt x="1938" y="41502"/>
                    <a:pt x="1819" y="41557"/>
                  </a:cubicBezTo>
                  <a:cubicBezTo>
                    <a:pt x="2379" y="40838"/>
                    <a:pt x="2873" y="40067"/>
                    <a:pt x="3292" y="39256"/>
                  </a:cubicBezTo>
                  <a:cubicBezTo>
                    <a:pt x="3520" y="39138"/>
                    <a:pt x="3751" y="39037"/>
                    <a:pt x="3990" y="38947"/>
                  </a:cubicBezTo>
                  <a:close/>
                  <a:moveTo>
                    <a:pt x="2882" y="40864"/>
                  </a:moveTo>
                  <a:cubicBezTo>
                    <a:pt x="2815" y="40968"/>
                    <a:pt x="2749" y="41066"/>
                    <a:pt x="2668" y="41188"/>
                  </a:cubicBezTo>
                  <a:cubicBezTo>
                    <a:pt x="2013" y="42186"/>
                    <a:pt x="1375" y="43180"/>
                    <a:pt x="760" y="44196"/>
                  </a:cubicBezTo>
                  <a:cubicBezTo>
                    <a:pt x="647" y="43875"/>
                    <a:pt x="586" y="43538"/>
                    <a:pt x="584" y="43197"/>
                  </a:cubicBezTo>
                  <a:cubicBezTo>
                    <a:pt x="1513" y="42524"/>
                    <a:pt x="2163" y="41811"/>
                    <a:pt x="2882" y="40864"/>
                  </a:cubicBezTo>
                  <a:close/>
                  <a:moveTo>
                    <a:pt x="4595" y="40283"/>
                  </a:moveTo>
                  <a:cubicBezTo>
                    <a:pt x="3392" y="41799"/>
                    <a:pt x="2445" y="43674"/>
                    <a:pt x="1496" y="45391"/>
                  </a:cubicBezTo>
                  <a:cubicBezTo>
                    <a:pt x="1300" y="45195"/>
                    <a:pt x="1129" y="44970"/>
                    <a:pt x="991" y="44727"/>
                  </a:cubicBezTo>
                  <a:cubicBezTo>
                    <a:pt x="2271" y="43297"/>
                    <a:pt x="3387" y="41802"/>
                    <a:pt x="4595" y="40283"/>
                  </a:cubicBezTo>
                  <a:close/>
                  <a:moveTo>
                    <a:pt x="35747" y="0"/>
                  </a:moveTo>
                  <a:cubicBezTo>
                    <a:pt x="35706" y="0"/>
                    <a:pt x="35664" y="15"/>
                    <a:pt x="35626" y="51"/>
                  </a:cubicBezTo>
                  <a:cubicBezTo>
                    <a:pt x="32162" y="3264"/>
                    <a:pt x="29569" y="7580"/>
                    <a:pt x="26595" y="11255"/>
                  </a:cubicBezTo>
                  <a:cubicBezTo>
                    <a:pt x="23322" y="15300"/>
                    <a:pt x="20025" y="19318"/>
                    <a:pt x="17037" y="23583"/>
                  </a:cubicBezTo>
                  <a:cubicBezTo>
                    <a:pt x="13936" y="28005"/>
                    <a:pt x="11159" y="32651"/>
                    <a:pt x="8127" y="37123"/>
                  </a:cubicBezTo>
                  <a:cubicBezTo>
                    <a:pt x="6337" y="39753"/>
                    <a:pt x="4397" y="42279"/>
                    <a:pt x="2316" y="44687"/>
                  </a:cubicBezTo>
                  <a:cubicBezTo>
                    <a:pt x="3667" y="43119"/>
                    <a:pt x="4660" y="40844"/>
                    <a:pt x="5731" y="39066"/>
                  </a:cubicBezTo>
                  <a:cubicBezTo>
                    <a:pt x="5809" y="38936"/>
                    <a:pt x="5692" y="38796"/>
                    <a:pt x="5571" y="38796"/>
                  </a:cubicBezTo>
                  <a:cubicBezTo>
                    <a:pt x="5530" y="38796"/>
                    <a:pt x="5489" y="38812"/>
                    <a:pt x="5454" y="38849"/>
                  </a:cubicBezTo>
                  <a:cubicBezTo>
                    <a:pt x="3962" y="40433"/>
                    <a:pt x="2736" y="42118"/>
                    <a:pt x="1377" y="43823"/>
                  </a:cubicBezTo>
                  <a:lnTo>
                    <a:pt x="1377" y="43823"/>
                  </a:lnTo>
                  <a:cubicBezTo>
                    <a:pt x="2375" y="42570"/>
                    <a:pt x="3584" y="40456"/>
                    <a:pt x="4539" y="38846"/>
                  </a:cubicBezTo>
                  <a:cubicBezTo>
                    <a:pt x="4550" y="38820"/>
                    <a:pt x="4556" y="38791"/>
                    <a:pt x="4550" y="38762"/>
                  </a:cubicBezTo>
                  <a:cubicBezTo>
                    <a:pt x="5015" y="38637"/>
                    <a:pt x="5487" y="38568"/>
                    <a:pt x="5948" y="38568"/>
                  </a:cubicBezTo>
                  <a:cubicBezTo>
                    <a:pt x="6189" y="38568"/>
                    <a:pt x="6428" y="38587"/>
                    <a:pt x="6661" y="38627"/>
                  </a:cubicBezTo>
                  <a:cubicBezTo>
                    <a:pt x="6666" y="38628"/>
                    <a:pt x="6672" y="38628"/>
                    <a:pt x="6677" y="38628"/>
                  </a:cubicBezTo>
                  <a:cubicBezTo>
                    <a:pt x="6769" y="38628"/>
                    <a:pt x="6805" y="38490"/>
                    <a:pt x="6704" y="38465"/>
                  </a:cubicBezTo>
                  <a:cubicBezTo>
                    <a:pt x="6387" y="38393"/>
                    <a:pt x="6066" y="38359"/>
                    <a:pt x="5747" y="38359"/>
                  </a:cubicBezTo>
                  <a:cubicBezTo>
                    <a:pt x="4963" y="38359"/>
                    <a:pt x="4185" y="38564"/>
                    <a:pt x="3471" y="38913"/>
                  </a:cubicBezTo>
                  <a:cubicBezTo>
                    <a:pt x="3502" y="38852"/>
                    <a:pt x="3534" y="38797"/>
                    <a:pt x="3566" y="38734"/>
                  </a:cubicBezTo>
                  <a:cubicBezTo>
                    <a:pt x="3626" y="38609"/>
                    <a:pt x="3531" y="38486"/>
                    <a:pt x="3419" y="38486"/>
                  </a:cubicBezTo>
                  <a:cubicBezTo>
                    <a:pt x="3380" y="38486"/>
                    <a:pt x="3340" y="38500"/>
                    <a:pt x="3303" y="38534"/>
                  </a:cubicBezTo>
                  <a:cubicBezTo>
                    <a:pt x="3098" y="38725"/>
                    <a:pt x="2905" y="38913"/>
                    <a:pt x="2720" y="39097"/>
                  </a:cubicBezTo>
                  <a:cubicBezTo>
                    <a:pt x="2724" y="39000"/>
                    <a:pt x="2648" y="38905"/>
                    <a:pt x="2556" y="38905"/>
                  </a:cubicBezTo>
                  <a:cubicBezTo>
                    <a:pt x="2529" y="38905"/>
                    <a:pt x="2500" y="38914"/>
                    <a:pt x="2472" y="38933"/>
                  </a:cubicBezTo>
                  <a:cubicBezTo>
                    <a:pt x="2423" y="38970"/>
                    <a:pt x="2379" y="39011"/>
                    <a:pt x="2333" y="39045"/>
                  </a:cubicBezTo>
                  <a:cubicBezTo>
                    <a:pt x="2302" y="39023"/>
                    <a:pt x="2265" y="39012"/>
                    <a:pt x="2229" y="39012"/>
                  </a:cubicBezTo>
                  <a:cubicBezTo>
                    <a:pt x="2185" y="39012"/>
                    <a:pt x="2141" y="39028"/>
                    <a:pt x="2108" y="39060"/>
                  </a:cubicBezTo>
                  <a:cubicBezTo>
                    <a:pt x="1519" y="39626"/>
                    <a:pt x="910" y="40166"/>
                    <a:pt x="275" y="40679"/>
                  </a:cubicBezTo>
                  <a:cubicBezTo>
                    <a:pt x="146" y="40789"/>
                    <a:pt x="265" y="40992"/>
                    <a:pt x="405" y="40992"/>
                  </a:cubicBezTo>
                  <a:cubicBezTo>
                    <a:pt x="435" y="40992"/>
                    <a:pt x="465" y="40983"/>
                    <a:pt x="494" y="40962"/>
                  </a:cubicBezTo>
                  <a:cubicBezTo>
                    <a:pt x="737" y="40792"/>
                    <a:pt x="985" y="40633"/>
                    <a:pt x="1242" y="40489"/>
                  </a:cubicBezTo>
                  <a:lnTo>
                    <a:pt x="1242" y="40489"/>
                  </a:lnTo>
                  <a:cubicBezTo>
                    <a:pt x="1167" y="40662"/>
                    <a:pt x="1100" y="40841"/>
                    <a:pt x="1040" y="41026"/>
                  </a:cubicBezTo>
                  <a:cubicBezTo>
                    <a:pt x="702" y="41531"/>
                    <a:pt x="462" y="42068"/>
                    <a:pt x="344" y="42614"/>
                  </a:cubicBezTo>
                  <a:cubicBezTo>
                    <a:pt x="234" y="42801"/>
                    <a:pt x="133" y="42998"/>
                    <a:pt x="47" y="43200"/>
                  </a:cubicBezTo>
                  <a:cubicBezTo>
                    <a:pt x="0" y="43309"/>
                    <a:pt x="73" y="43453"/>
                    <a:pt x="183" y="43453"/>
                  </a:cubicBezTo>
                  <a:cubicBezTo>
                    <a:pt x="210" y="43453"/>
                    <a:pt x="239" y="43445"/>
                    <a:pt x="269" y="43425"/>
                  </a:cubicBezTo>
                  <a:cubicBezTo>
                    <a:pt x="278" y="43821"/>
                    <a:pt x="367" y="44207"/>
                    <a:pt x="532" y="44568"/>
                  </a:cubicBezTo>
                  <a:cubicBezTo>
                    <a:pt x="439" y="44721"/>
                    <a:pt x="341" y="44871"/>
                    <a:pt x="252" y="45027"/>
                  </a:cubicBezTo>
                  <a:cubicBezTo>
                    <a:pt x="178" y="45157"/>
                    <a:pt x="292" y="45294"/>
                    <a:pt x="412" y="45294"/>
                  </a:cubicBezTo>
                  <a:cubicBezTo>
                    <a:pt x="452" y="45294"/>
                    <a:pt x="494" y="45278"/>
                    <a:pt x="529" y="45241"/>
                  </a:cubicBezTo>
                  <a:cubicBezTo>
                    <a:pt x="610" y="45154"/>
                    <a:pt x="682" y="45065"/>
                    <a:pt x="763" y="44978"/>
                  </a:cubicBezTo>
                  <a:cubicBezTo>
                    <a:pt x="930" y="45224"/>
                    <a:pt x="1129" y="45449"/>
                    <a:pt x="1354" y="45642"/>
                  </a:cubicBezTo>
                  <a:cubicBezTo>
                    <a:pt x="1308" y="45723"/>
                    <a:pt x="1265" y="45807"/>
                    <a:pt x="1219" y="45888"/>
                  </a:cubicBezTo>
                  <a:cubicBezTo>
                    <a:pt x="1145" y="46017"/>
                    <a:pt x="1260" y="46159"/>
                    <a:pt x="1382" y="46159"/>
                  </a:cubicBezTo>
                  <a:cubicBezTo>
                    <a:pt x="1424" y="46159"/>
                    <a:pt x="1466" y="46143"/>
                    <a:pt x="1502" y="46104"/>
                  </a:cubicBezTo>
                  <a:cubicBezTo>
                    <a:pt x="1562" y="46038"/>
                    <a:pt x="1617" y="45968"/>
                    <a:pt x="1678" y="45899"/>
                  </a:cubicBezTo>
                  <a:cubicBezTo>
                    <a:pt x="1917" y="46072"/>
                    <a:pt x="2171" y="46225"/>
                    <a:pt x="2437" y="46355"/>
                  </a:cubicBezTo>
                  <a:cubicBezTo>
                    <a:pt x="2789" y="46528"/>
                    <a:pt x="3170" y="46596"/>
                    <a:pt x="3559" y="46596"/>
                  </a:cubicBezTo>
                  <a:cubicBezTo>
                    <a:pt x="4390" y="46596"/>
                    <a:pt x="5261" y="46284"/>
                    <a:pt x="5976" y="46003"/>
                  </a:cubicBezTo>
                  <a:cubicBezTo>
                    <a:pt x="6609" y="45755"/>
                    <a:pt x="8684" y="44049"/>
                    <a:pt x="9556" y="44049"/>
                  </a:cubicBezTo>
                  <a:cubicBezTo>
                    <a:pt x="9639" y="44049"/>
                    <a:pt x="9711" y="44064"/>
                    <a:pt x="9770" y="44098"/>
                  </a:cubicBezTo>
                  <a:cubicBezTo>
                    <a:pt x="9951" y="44202"/>
                    <a:pt x="10133" y="44253"/>
                    <a:pt x="10306" y="44253"/>
                  </a:cubicBezTo>
                  <a:cubicBezTo>
                    <a:pt x="10433" y="44253"/>
                    <a:pt x="10555" y="44225"/>
                    <a:pt x="10668" y="44173"/>
                  </a:cubicBezTo>
                  <a:cubicBezTo>
                    <a:pt x="10281" y="44069"/>
                    <a:pt x="9727" y="43642"/>
                    <a:pt x="9574" y="43642"/>
                  </a:cubicBezTo>
                  <a:cubicBezTo>
                    <a:pt x="8843" y="43642"/>
                    <a:pt x="8199" y="44430"/>
                    <a:pt x="7596" y="44808"/>
                  </a:cubicBezTo>
                  <a:cubicBezTo>
                    <a:pt x="6410" y="45547"/>
                    <a:pt x="5090" y="46127"/>
                    <a:pt x="3687" y="46248"/>
                  </a:cubicBezTo>
                  <a:cubicBezTo>
                    <a:pt x="3612" y="46255"/>
                    <a:pt x="3537" y="46258"/>
                    <a:pt x="3464" y="46258"/>
                  </a:cubicBezTo>
                  <a:cubicBezTo>
                    <a:pt x="2847" y="46258"/>
                    <a:pt x="2296" y="46046"/>
                    <a:pt x="1842" y="45709"/>
                  </a:cubicBezTo>
                  <a:cubicBezTo>
                    <a:pt x="7504" y="39418"/>
                    <a:pt x="11774" y="32119"/>
                    <a:pt x="16451" y="25104"/>
                  </a:cubicBezTo>
                  <a:cubicBezTo>
                    <a:pt x="19618" y="20352"/>
                    <a:pt x="23267" y="15949"/>
                    <a:pt x="26858" y="11521"/>
                  </a:cubicBezTo>
                  <a:cubicBezTo>
                    <a:pt x="29783" y="7909"/>
                    <a:pt x="32488" y="3472"/>
                    <a:pt x="35880" y="305"/>
                  </a:cubicBezTo>
                  <a:cubicBezTo>
                    <a:pt x="36015" y="181"/>
                    <a:pt x="35890" y="0"/>
                    <a:pt x="35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65"/>
            <p:cNvSpPr/>
            <p:nvPr/>
          </p:nvSpPr>
          <p:spPr>
            <a:xfrm>
              <a:off x="3718175" y="2963250"/>
              <a:ext cx="10100" cy="10000"/>
            </a:xfrm>
            <a:custGeom>
              <a:avLst/>
              <a:gdLst/>
              <a:ahLst/>
              <a:cxnLst/>
              <a:rect l="l" t="t" r="r" b="b"/>
              <a:pathLst>
                <a:path w="404" h="400" extrusionOk="0">
                  <a:moveTo>
                    <a:pt x="379" y="0"/>
                  </a:moveTo>
                  <a:lnTo>
                    <a:pt x="379" y="0"/>
                  </a:lnTo>
                  <a:cubicBezTo>
                    <a:pt x="278" y="174"/>
                    <a:pt x="154" y="309"/>
                    <a:pt x="1" y="379"/>
                  </a:cubicBezTo>
                  <a:cubicBezTo>
                    <a:pt x="51" y="392"/>
                    <a:pt x="99" y="399"/>
                    <a:pt x="142" y="399"/>
                  </a:cubicBezTo>
                  <a:cubicBezTo>
                    <a:pt x="303" y="399"/>
                    <a:pt x="404" y="294"/>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65"/>
            <p:cNvSpPr/>
            <p:nvPr/>
          </p:nvSpPr>
          <p:spPr>
            <a:xfrm>
              <a:off x="3701000" y="2861350"/>
              <a:ext cx="59850" cy="102000"/>
            </a:xfrm>
            <a:custGeom>
              <a:avLst/>
              <a:gdLst/>
              <a:ahLst/>
              <a:cxnLst/>
              <a:rect l="l" t="t" r="r" b="b"/>
              <a:pathLst>
                <a:path w="2394" h="4080" extrusionOk="0">
                  <a:moveTo>
                    <a:pt x="2166" y="1"/>
                  </a:moveTo>
                  <a:cubicBezTo>
                    <a:pt x="2158" y="1"/>
                    <a:pt x="2149" y="1"/>
                    <a:pt x="2140" y="3"/>
                  </a:cubicBezTo>
                  <a:cubicBezTo>
                    <a:pt x="777" y="199"/>
                    <a:pt x="532" y="878"/>
                    <a:pt x="474" y="2240"/>
                  </a:cubicBezTo>
                  <a:cubicBezTo>
                    <a:pt x="468" y="2393"/>
                    <a:pt x="552" y="2546"/>
                    <a:pt x="616" y="2688"/>
                  </a:cubicBezTo>
                  <a:cubicBezTo>
                    <a:pt x="916" y="3372"/>
                    <a:pt x="1043" y="3805"/>
                    <a:pt x="1066" y="4079"/>
                  </a:cubicBezTo>
                  <a:cubicBezTo>
                    <a:pt x="1121" y="3987"/>
                    <a:pt x="1179" y="3903"/>
                    <a:pt x="1213" y="3782"/>
                  </a:cubicBezTo>
                  <a:cubicBezTo>
                    <a:pt x="1565" y="2503"/>
                    <a:pt x="1" y="678"/>
                    <a:pt x="2218" y="283"/>
                  </a:cubicBezTo>
                  <a:cubicBezTo>
                    <a:pt x="2393" y="250"/>
                    <a:pt x="2329" y="1"/>
                    <a:pt x="21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65"/>
            <p:cNvSpPr/>
            <p:nvPr/>
          </p:nvSpPr>
          <p:spPr>
            <a:xfrm>
              <a:off x="4162850" y="3176950"/>
              <a:ext cx="825" cy="1400"/>
            </a:xfrm>
            <a:custGeom>
              <a:avLst/>
              <a:gdLst/>
              <a:ahLst/>
              <a:cxnLst/>
              <a:rect l="l" t="t" r="r" b="b"/>
              <a:pathLst>
                <a:path w="33" h="56" extrusionOk="0">
                  <a:moveTo>
                    <a:pt x="32" y="1"/>
                  </a:moveTo>
                  <a:cubicBezTo>
                    <a:pt x="24" y="12"/>
                    <a:pt x="15" y="27"/>
                    <a:pt x="6" y="41"/>
                  </a:cubicBezTo>
                  <a:lnTo>
                    <a:pt x="1" y="56"/>
                  </a:lnTo>
                  <a:cubicBezTo>
                    <a:pt x="9" y="35"/>
                    <a:pt x="24" y="18"/>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65"/>
            <p:cNvSpPr/>
            <p:nvPr/>
          </p:nvSpPr>
          <p:spPr>
            <a:xfrm>
              <a:off x="3697825" y="3288025"/>
              <a:ext cx="7975" cy="11300"/>
            </a:xfrm>
            <a:custGeom>
              <a:avLst/>
              <a:gdLst/>
              <a:ahLst/>
              <a:cxnLst/>
              <a:rect l="l" t="t" r="r" b="b"/>
              <a:pathLst>
                <a:path w="319" h="452" extrusionOk="0">
                  <a:moveTo>
                    <a:pt x="318" y="1"/>
                  </a:moveTo>
                  <a:lnTo>
                    <a:pt x="318" y="1"/>
                  </a:lnTo>
                  <a:cubicBezTo>
                    <a:pt x="211" y="151"/>
                    <a:pt x="107" y="301"/>
                    <a:pt x="1" y="451"/>
                  </a:cubicBezTo>
                  <a:cubicBezTo>
                    <a:pt x="38" y="399"/>
                    <a:pt x="79" y="347"/>
                    <a:pt x="116" y="295"/>
                  </a:cubicBezTo>
                  <a:cubicBezTo>
                    <a:pt x="185" y="200"/>
                    <a:pt x="249" y="99"/>
                    <a:pt x="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65"/>
            <p:cNvSpPr/>
            <p:nvPr/>
          </p:nvSpPr>
          <p:spPr>
            <a:xfrm>
              <a:off x="3909450" y="3369675"/>
              <a:ext cx="62600" cy="80850"/>
            </a:xfrm>
            <a:custGeom>
              <a:avLst/>
              <a:gdLst/>
              <a:ahLst/>
              <a:cxnLst/>
              <a:rect l="l" t="t" r="r" b="b"/>
              <a:pathLst>
                <a:path w="2504" h="3234" extrusionOk="0">
                  <a:moveTo>
                    <a:pt x="2503" y="0"/>
                  </a:moveTo>
                  <a:lnTo>
                    <a:pt x="2503" y="0"/>
                  </a:lnTo>
                  <a:cubicBezTo>
                    <a:pt x="1712" y="1025"/>
                    <a:pt x="910" y="2038"/>
                    <a:pt x="110" y="3055"/>
                  </a:cubicBezTo>
                  <a:lnTo>
                    <a:pt x="0" y="3234"/>
                  </a:lnTo>
                  <a:cubicBezTo>
                    <a:pt x="846" y="2162"/>
                    <a:pt x="1689" y="1091"/>
                    <a:pt x="25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65"/>
            <p:cNvSpPr/>
            <p:nvPr/>
          </p:nvSpPr>
          <p:spPr>
            <a:xfrm>
              <a:off x="3285550" y="3006625"/>
              <a:ext cx="1042475" cy="1050600"/>
            </a:xfrm>
            <a:custGeom>
              <a:avLst/>
              <a:gdLst/>
              <a:ahLst/>
              <a:cxnLst/>
              <a:rect l="l" t="t" r="r" b="b"/>
              <a:pathLst>
                <a:path w="41699" h="42024" extrusionOk="0">
                  <a:moveTo>
                    <a:pt x="18354" y="344"/>
                  </a:moveTo>
                  <a:lnTo>
                    <a:pt x="18354" y="344"/>
                  </a:lnTo>
                  <a:cubicBezTo>
                    <a:pt x="17640" y="1006"/>
                    <a:pt x="16960" y="1703"/>
                    <a:pt x="16321" y="2434"/>
                  </a:cubicBezTo>
                  <a:lnTo>
                    <a:pt x="16321" y="2434"/>
                  </a:lnTo>
                  <a:cubicBezTo>
                    <a:pt x="16682" y="1813"/>
                    <a:pt x="17010" y="1172"/>
                    <a:pt x="17306" y="517"/>
                  </a:cubicBezTo>
                  <a:cubicBezTo>
                    <a:pt x="17314" y="491"/>
                    <a:pt x="17314" y="465"/>
                    <a:pt x="17309" y="436"/>
                  </a:cubicBezTo>
                  <a:cubicBezTo>
                    <a:pt x="17655" y="396"/>
                    <a:pt x="18004" y="364"/>
                    <a:pt x="18354" y="344"/>
                  </a:cubicBezTo>
                  <a:close/>
                  <a:moveTo>
                    <a:pt x="19205" y="327"/>
                  </a:moveTo>
                  <a:lnTo>
                    <a:pt x="19205" y="327"/>
                  </a:lnTo>
                  <a:cubicBezTo>
                    <a:pt x="19402" y="335"/>
                    <a:pt x="19589" y="356"/>
                    <a:pt x="19777" y="384"/>
                  </a:cubicBezTo>
                  <a:cubicBezTo>
                    <a:pt x="19234" y="1072"/>
                    <a:pt x="18706" y="1770"/>
                    <a:pt x="18178" y="2469"/>
                  </a:cubicBezTo>
                  <a:cubicBezTo>
                    <a:pt x="18536" y="1773"/>
                    <a:pt x="18882" y="1072"/>
                    <a:pt x="19202" y="364"/>
                  </a:cubicBezTo>
                  <a:cubicBezTo>
                    <a:pt x="19208" y="353"/>
                    <a:pt x="19202" y="338"/>
                    <a:pt x="19205" y="327"/>
                  </a:cubicBezTo>
                  <a:close/>
                  <a:moveTo>
                    <a:pt x="16985" y="486"/>
                  </a:moveTo>
                  <a:cubicBezTo>
                    <a:pt x="16965" y="488"/>
                    <a:pt x="16948" y="497"/>
                    <a:pt x="16933" y="506"/>
                  </a:cubicBezTo>
                  <a:cubicBezTo>
                    <a:pt x="15628" y="1643"/>
                    <a:pt x="14468" y="2888"/>
                    <a:pt x="13391" y="4192"/>
                  </a:cubicBezTo>
                  <a:cubicBezTo>
                    <a:pt x="14029" y="3081"/>
                    <a:pt x="14661" y="1967"/>
                    <a:pt x="15268" y="841"/>
                  </a:cubicBezTo>
                  <a:cubicBezTo>
                    <a:pt x="15273" y="829"/>
                    <a:pt x="15268" y="818"/>
                    <a:pt x="15273" y="806"/>
                  </a:cubicBezTo>
                  <a:cubicBezTo>
                    <a:pt x="15833" y="670"/>
                    <a:pt x="16405" y="566"/>
                    <a:pt x="16985" y="486"/>
                  </a:cubicBezTo>
                  <a:close/>
                  <a:moveTo>
                    <a:pt x="14834" y="921"/>
                  </a:moveTo>
                  <a:cubicBezTo>
                    <a:pt x="13561" y="2420"/>
                    <a:pt x="12392" y="3987"/>
                    <a:pt x="11281" y="5598"/>
                  </a:cubicBezTo>
                  <a:cubicBezTo>
                    <a:pt x="12103" y="4161"/>
                    <a:pt x="12889" y="2720"/>
                    <a:pt x="13619" y="1294"/>
                  </a:cubicBezTo>
                  <a:cubicBezTo>
                    <a:pt x="14020" y="1155"/>
                    <a:pt x="14425" y="1031"/>
                    <a:pt x="14834" y="921"/>
                  </a:cubicBezTo>
                  <a:close/>
                  <a:moveTo>
                    <a:pt x="15992" y="1704"/>
                  </a:moveTo>
                  <a:cubicBezTo>
                    <a:pt x="14520" y="3476"/>
                    <a:pt x="13096" y="5287"/>
                    <a:pt x="11679" y="7105"/>
                  </a:cubicBezTo>
                  <a:cubicBezTo>
                    <a:pt x="11953" y="6652"/>
                    <a:pt x="12225" y="6199"/>
                    <a:pt x="12493" y="5746"/>
                  </a:cubicBezTo>
                  <a:cubicBezTo>
                    <a:pt x="13330" y="4637"/>
                    <a:pt x="14211" y="3557"/>
                    <a:pt x="15161" y="2532"/>
                  </a:cubicBezTo>
                  <a:cubicBezTo>
                    <a:pt x="15568" y="2094"/>
                    <a:pt x="15833" y="1834"/>
                    <a:pt x="15992" y="1704"/>
                  </a:cubicBezTo>
                  <a:close/>
                  <a:moveTo>
                    <a:pt x="29628" y="7043"/>
                  </a:moveTo>
                  <a:cubicBezTo>
                    <a:pt x="29765" y="7080"/>
                    <a:pt x="29903" y="7106"/>
                    <a:pt x="30043" y="7123"/>
                  </a:cubicBezTo>
                  <a:cubicBezTo>
                    <a:pt x="29760" y="7481"/>
                    <a:pt x="29486" y="7844"/>
                    <a:pt x="29206" y="8205"/>
                  </a:cubicBezTo>
                  <a:cubicBezTo>
                    <a:pt x="29356" y="7844"/>
                    <a:pt x="29498" y="7481"/>
                    <a:pt x="29627" y="7111"/>
                  </a:cubicBezTo>
                  <a:cubicBezTo>
                    <a:pt x="29633" y="7088"/>
                    <a:pt x="29633" y="7066"/>
                    <a:pt x="29628" y="7043"/>
                  </a:cubicBezTo>
                  <a:close/>
                  <a:moveTo>
                    <a:pt x="20442" y="2184"/>
                  </a:moveTo>
                  <a:cubicBezTo>
                    <a:pt x="20528" y="2184"/>
                    <a:pt x="20320" y="2661"/>
                    <a:pt x="19589" y="3961"/>
                  </a:cubicBezTo>
                  <a:cubicBezTo>
                    <a:pt x="18570" y="5777"/>
                    <a:pt x="17156" y="7466"/>
                    <a:pt x="15914" y="9132"/>
                  </a:cubicBezTo>
                  <a:cubicBezTo>
                    <a:pt x="15490" y="9701"/>
                    <a:pt x="15057" y="10261"/>
                    <a:pt x="14624" y="10818"/>
                  </a:cubicBezTo>
                  <a:cubicBezTo>
                    <a:pt x="15747" y="9095"/>
                    <a:pt x="16887" y="7380"/>
                    <a:pt x="17944" y="5610"/>
                  </a:cubicBezTo>
                  <a:cubicBezTo>
                    <a:pt x="18377" y="4882"/>
                    <a:pt x="20239" y="2184"/>
                    <a:pt x="20442" y="2184"/>
                  </a:cubicBezTo>
                  <a:close/>
                  <a:moveTo>
                    <a:pt x="16971" y="11027"/>
                  </a:moveTo>
                  <a:cubicBezTo>
                    <a:pt x="16916" y="11105"/>
                    <a:pt x="16861" y="11182"/>
                    <a:pt x="16806" y="11260"/>
                  </a:cubicBezTo>
                  <a:cubicBezTo>
                    <a:pt x="16861" y="11182"/>
                    <a:pt x="16916" y="11105"/>
                    <a:pt x="16971" y="11027"/>
                  </a:cubicBezTo>
                  <a:close/>
                  <a:moveTo>
                    <a:pt x="28761" y="8358"/>
                  </a:moveTo>
                  <a:lnTo>
                    <a:pt x="28761" y="8358"/>
                  </a:lnTo>
                  <a:cubicBezTo>
                    <a:pt x="28675" y="8641"/>
                    <a:pt x="28559" y="8913"/>
                    <a:pt x="28450" y="9187"/>
                  </a:cubicBezTo>
                  <a:cubicBezTo>
                    <a:pt x="27843" y="9978"/>
                    <a:pt x="27246" y="10772"/>
                    <a:pt x="26651" y="11575"/>
                  </a:cubicBezTo>
                  <a:cubicBezTo>
                    <a:pt x="26801" y="11335"/>
                    <a:pt x="26948" y="11095"/>
                    <a:pt x="27101" y="10859"/>
                  </a:cubicBezTo>
                  <a:cubicBezTo>
                    <a:pt x="27641" y="10016"/>
                    <a:pt x="28196" y="9181"/>
                    <a:pt x="28761" y="8358"/>
                  </a:cubicBezTo>
                  <a:close/>
                  <a:moveTo>
                    <a:pt x="14211" y="2071"/>
                  </a:moveTo>
                  <a:cubicBezTo>
                    <a:pt x="12943" y="3661"/>
                    <a:pt x="11893" y="5633"/>
                    <a:pt x="10859" y="7590"/>
                  </a:cubicBezTo>
                  <a:cubicBezTo>
                    <a:pt x="10215" y="8537"/>
                    <a:pt x="9595" y="9505"/>
                    <a:pt x="8994" y="10486"/>
                  </a:cubicBezTo>
                  <a:cubicBezTo>
                    <a:pt x="8347" y="11283"/>
                    <a:pt x="7701" y="12080"/>
                    <a:pt x="7031" y="12856"/>
                  </a:cubicBezTo>
                  <a:lnTo>
                    <a:pt x="6404" y="13578"/>
                  </a:lnTo>
                  <a:cubicBezTo>
                    <a:pt x="8945" y="9704"/>
                    <a:pt x="11315" y="5705"/>
                    <a:pt x="14211" y="2071"/>
                  </a:cubicBezTo>
                  <a:close/>
                  <a:moveTo>
                    <a:pt x="9430" y="3315"/>
                  </a:moveTo>
                  <a:lnTo>
                    <a:pt x="9430" y="3315"/>
                  </a:lnTo>
                  <a:cubicBezTo>
                    <a:pt x="6869" y="6860"/>
                    <a:pt x="4577" y="10587"/>
                    <a:pt x="1739" y="13927"/>
                  </a:cubicBezTo>
                  <a:cubicBezTo>
                    <a:pt x="2954" y="12495"/>
                    <a:pt x="5024" y="9242"/>
                    <a:pt x="5925" y="6606"/>
                  </a:cubicBezTo>
                  <a:cubicBezTo>
                    <a:pt x="6918" y="5379"/>
                    <a:pt x="8018" y="4233"/>
                    <a:pt x="9430" y="3315"/>
                  </a:cubicBezTo>
                  <a:close/>
                  <a:moveTo>
                    <a:pt x="14684" y="7051"/>
                  </a:moveTo>
                  <a:lnTo>
                    <a:pt x="14684" y="7051"/>
                  </a:lnTo>
                  <a:cubicBezTo>
                    <a:pt x="14332" y="7640"/>
                    <a:pt x="13980" y="8226"/>
                    <a:pt x="13622" y="8806"/>
                  </a:cubicBezTo>
                  <a:cubicBezTo>
                    <a:pt x="12782" y="10030"/>
                    <a:pt x="11950" y="11263"/>
                    <a:pt x="11130" y="12498"/>
                  </a:cubicBezTo>
                  <a:cubicBezTo>
                    <a:pt x="10645" y="13159"/>
                    <a:pt x="10163" y="13821"/>
                    <a:pt x="9681" y="14485"/>
                  </a:cubicBezTo>
                  <a:cubicBezTo>
                    <a:pt x="10435" y="13269"/>
                    <a:pt x="11182" y="12051"/>
                    <a:pt x="11933" y="10833"/>
                  </a:cubicBezTo>
                  <a:cubicBezTo>
                    <a:pt x="12842" y="9577"/>
                    <a:pt x="13775" y="8321"/>
                    <a:pt x="14684" y="7051"/>
                  </a:cubicBezTo>
                  <a:close/>
                  <a:moveTo>
                    <a:pt x="33728" y="6625"/>
                  </a:moveTo>
                  <a:lnTo>
                    <a:pt x="33728" y="6625"/>
                  </a:lnTo>
                  <a:cubicBezTo>
                    <a:pt x="33763" y="6625"/>
                    <a:pt x="32544" y="8578"/>
                    <a:pt x="32350" y="8918"/>
                  </a:cubicBezTo>
                  <a:cubicBezTo>
                    <a:pt x="31100" y="11110"/>
                    <a:pt x="29607" y="13165"/>
                    <a:pt x="28089" y="15203"/>
                  </a:cubicBezTo>
                  <a:cubicBezTo>
                    <a:pt x="28998" y="13766"/>
                    <a:pt x="29913" y="12334"/>
                    <a:pt x="30872" y="10925"/>
                  </a:cubicBezTo>
                  <a:cubicBezTo>
                    <a:pt x="31501" y="9984"/>
                    <a:pt x="32125" y="9040"/>
                    <a:pt x="32743" y="8090"/>
                  </a:cubicBezTo>
                  <a:cubicBezTo>
                    <a:pt x="33451" y="7009"/>
                    <a:pt x="33713" y="6625"/>
                    <a:pt x="33728" y="6625"/>
                  </a:cubicBezTo>
                  <a:close/>
                  <a:moveTo>
                    <a:pt x="11379" y="2226"/>
                  </a:moveTo>
                  <a:lnTo>
                    <a:pt x="11379" y="2226"/>
                  </a:lnTo>
                  <a:cubicBezTo>
                    <a:pt x="9794" y="4389"/>
                    <a:pt x="8226" y="6554"/>
                    <a:pt x="6670" y="8725"/>
                  </a:cubicBezTo>
                  <a:lnTo>
                    <a:pt x="6670" y="8728"/>
                  </a:lnTo>
                  <a:cubicBezTo>
                    <a:pt x="5099" y="10766"/>
                    <a:pt x="3561" y="12874"/>
                    <a:pt x="2181" y="15071"/>
                  </a:cubicBezTo>
                  <a:cubicBezTo>
                    <a:pt x="2010" y="15286"/>
                    <a:pt x="1915" y="15380"/>
                    <a:pt x="1880" y="15380"/>
                  </a:cubicBezTo>
                  <a:cubicBezTo>
                    <a:pt x="1705" y="15380"/>
                    <a:pt x="3071" y="12960"/>
                    <a:pt x="3898" y="11600"/>
                  </a:cubicBezTo>
                  <a:cubicBezTo>
                    <a:pt x="5221" y="9854"/>
                    <a:pt x="6453" y="8041"/>
                    <a:pt x="7689" y="6225"/>
                  </a:cubicBezTo>
                  <a:cubicBezTo>
                    <a:pt x="8472" y="5148"/>
                    <a:pt x="9248" y="4068"/>
                    <a:pt x="9996" y="2963"/>
                  </a:cubicBezTo>
                  <a:cubicBezTo>
                    <a:pt x="10449" y="2700"/>
                    <a:pt x="10911" y="2454"/>
                    <a:pt x="11379" y="2226"/>
                  </a:cubicBezTo>
                  <a:close/>
                  <a:moveTo>
                    <a:pt x="15998" y="2050"/>
                  </a:moveTo>
                  <a:lnTo>
                    <a:pt x="15998" y="2050"/>
                  </a:lnTo>
                  <a:cubicBezTo>
                    <a:pt x="15695" y="2587"/>
                    <a:pt x="15071" y="3508"/>
                    <a:pt x="14572" y="4236"/>
                  </a:cubicBezTo>
                  <a:cubicBezTo>
                    <a:pt x="14047" y="4964"/>
                    <a:pt x="13619" y="5554"/>
                    <a:pt x="13622" y="5554"/>
                  </a:cubicBezTo>
                  <a:cubicBezTo>
                    <a:pt x="13623" y="5554"/>
                    <a:pt x="13727" y="5412"/>
                    <a:pt x="13974" y="5076"/>
                  </a:cubicBezTo>
                  <a:lnTo>
                    <a:pt x="13974" y="5076"/>
                  </a:lnTo>
                  <a:cubicBezTo>
                    <a:pt x="13804" y="5310"/>
                    <a:pt x="13631" y="5546"/>
                    <a:pt x="13460" y="5777"/>
                  </a:cubicBezTo>
                  <a:cubicBezTo>
                    <a:pt x="12713" y="6684"/>
                    <a:pt x="13177" y="6066"/>
                    <a:pt x="11982" y="7778"/>
                  </a:cubicBezTo>
                  <a:cubicBezTo>
                    <a:pt x="11589" y="8335"/>
                    <a:pt x="11188" y="8890"/>
                    <a:pt x="10793" y="9444"/>
                  </a:cubicBezTo>
                  <a:cubicBezTo>
                    <a:pt x="10478" y="9883"/>
                    <a:pt x="10163" y="10327"/>
                    <a:pt x="9849" y="10772"/>
                  </a:cubicBezTo>
                  <a:cubicBezTo>
                    <a:pt x="8726" y="12337"/>
                    <a:pt x="7605" y="13901"/>
                    <a:pt x="6485" y="15466"/>
                  </a:cubicBezTo>
                  <a:cubicBezTo>
                    <a:pt x="7854" y="13312"/>
                    <a:pt x="9216" y="11153"/>
                    <a:pt x="10547" y="8976"/>
                  </a:cubicBezTo>
                  <a:cubicBezTo>
                    <a:pt x="11061" y="8327"/>
                    <a:pt x="11581" y="7686"/>
                    <a:pt x="12086" y="7027"/>
                  </a:cubicBezTo>
                  <a:cubicBezTo>
                    <a:pt x="13374" y="5350"/>
                    <a:pt x="14664" y="3687"/>
                    <a:pt x="15998" y="2050"/>
                  </a:cubicBezTo>
                  <a:close/>
                  <a:moveTo>
                    <a:pt x="2348" y="13552"/>
                  </a:moveTo>
                  <a:lnTo>
                    <a:pt x="2348" y="13552"/>
                  </a:lnTo>
                  <a:cubicBezTo>
                    <a:pt x="1808" y="14389"/>
                    <a:pt x="1286" y="15244"/>
                    <a:pt x="801" y="16119"/>
                  </a:cubicBezTo>
                  <a:cubicBezTo>
                    <a:pt x="818" y="15807"/>
                    <a:pt x="856" y="15495"/>
                    <a:pt x="908" y="15186"/>
                  </a:cubicBezTo>
                  <a:lnTo>
                    <a:pt x="910" y="15186"/>
                  </a:lnTo>
                  <a:cubicBezTo>
                    <a:pt x="1407" y="14655"/>
                    <a:pt x="1883" y="14106"/>
                    <a:pt x="2348" y="13552"/>
                  </a:cubicBezTo>
                  <a:close/>
                  <a:moveTo>
                    <a:pt x="15666" y="8537"/>
                  </a:moveTo>
                  <a:lnTo>
                    <a:pt x="15666" y="8537"/>
                  </a:lnTo>
                  <a:cubicBezTo>
                    <a:pt x="15011" y="9611"/>
                    <a:pt x="14361" y="10685"/>
                    <a:pt x="13683" y="11719"/>
                  </a:cubicBezTo>
                  <a:cubicBezTo>
                    <a:pt x="13362" y="12210"/>
                    <a:pt x="13059" y="12715"/>
                    <a:pt x="12747" y="13209"/>
                  </a:cubicBezTo>
                  <a:cubicBezTo>
                    <a:pt x="11924" y="14242"/>
                    <a:pt x="11104" y="15273"/>
                    <a:pt x="10293" y="16306"/>
                  </a:cubicBezTo>
                  <a:cubicBezTo>
                    <a:pt x="10628" y="15772"/>
                    <a:pt x="10975" y="15247"/>
                    <a:pt x="11335" y="14730"/>
                  </a:cubicBezTo>
                  <a:cubicBezTo>
                    <a:pt x="12788" y="12654"/>
                    <a:pt x="14271" y="10622"/>
                    <a:pt x="15666" y="8537"/>
                  </a:cubicBezTo>
                  <a:close/>
                  <a:moveTo>
                    <a:pt x="17802" y="1187"/>
                  </a:moveTo>
                  <a:cubicBezTo>
                    <a:pt x="17542" y="1458"/>
                    <a:pt x="17092" y="2327"/>
                    <a:pt x="16624" y="3231"/>
                  </a:cubicBezTo>
                  <a:cubicBezTo>
                    <a:pt x="15224" y="5148"/>
                    <a:pt x="13922" y="7134"/>
                    <a:pt x="12663" y="9147"/>
                  </a:cubicBezTo>
                  <a:cubicBezTo>
                    <a:pt x="12346" y="9582"/>
                    <a:pt x="12023" y="10016"/>
                    <a:pt x="11719" y="10463"/>
                  </a:cubicBezTo>
                  <a:cubicBezTo>
                    <a:pt x="10328" y="12530"/>
                    <a:pt x="8933" y="14574"/>
                    <a:pt x="7493" y="16583"/>
                  </a:cubicBezTo>
                  <a:cubicBezTo>
                    <a:pt x="8165" y="15524"/>
                    <a:pt x="8829" y="14459"/>
                    <a:pt x="9468" y="13376"/>
                  </a:cubicBezTo>
                  <a:cubicBezTo>
                    <a:pt x="10966" y="10824"/>
                    <a:pt x="12406" y="8269"/>
                    <a:pt x="14058" y="5855"/>
                  </a:cubicBezTo>
                  <a:cubicBezTo>
                    <a:pt x="14352" y="5454"/>
                    <a:pt x="14638" y="5053"/>
                    <a:pt x="14918" y="4646"/>
                  </a:cubicBezTo>
                  <a:cubicBezTo>
                    <a:pt x="15802" y="3445"/>
                    <a:pt x="16746" y="2281"/>
                    <a:pt x="17802" y="1187"/>
                  </a:cubicBezTo>
                  <a:close/>
                  <a:moveTo>
                    <a:pt x="1976" y="15411"/>
                  </a:moveTo>
                  <a:lnTo>
                    <a:pt x="1976" y="15411"/>
                  </a:lnTo>
                  <a:cubicBezTo>
                    <a:pt x="1557" y="16087"/>
                    <a:pt x="1159" y="16774"/>
                    <a:pt x="781" y="17467"/>
                  </a:cubicBezTo>
                  <a:cubicBezTo>
                    <a:pt x="769" y="17129"/>
                    <a:pt x="772" y="16797"/>
                    <a:pt x="781" y="16477"/>
                  </a:cubicBezTo>
                  <a:lnTo>
                    <a:pt x="783" y="16477"/>
                  </a:lnTo>
                  <a:cubicBezTo>
                    <a:pt x="797" y="16481"/>
                    <a:pt x="811" y="16483"/>
                    <a:pt x="824" y="16483"/>
                  </a:cubicBezTo>
                  <a:cubicBezTo>
                    <a:pt x="854" y="16483"/>
                    <a:pt x="884" y="16472"/>
                    <a:pt x="908" y="16451"/>
                  </a:cubicBezTo>
                  <a:cubicBezTo>
                    <a:pt x="1277" y="16124"/>
                    <a:pt x="1624" y="15766"/>
                    <a:pt x="1976" y="15411"/>
                  </a:cubicBezTo>
                  <a:close/>
                  <a:moveTo>
                    <a:pt x="13163" y="1456"/>
                  </a:moveTo>
                  <a:cubicBezTo>
                    <a:pt x="9635" y="6996"/>
                    <a:pt x="5712" y="13353"/>
                    <a:pt x="1087" y="17946"/>
                  </a:cubicBezTo>
                  <a:cubicBezTo>
                    <a:pt x="1237" y="17796"/>
                    <a:pt x="2360" y="15186"/>
                    <a:pt x="2617" y="14768"/>
                  </a:cubicBezTo>
                  <a:cubicBezTo>
                    <a:pt x="2631" y="14744"/>
                    <a:pt x="2648" y="14721"/>
                    <a:pt x="2663" y="14698"/>
                  </a:cubicBezTo>
                  <a:cubicBezTo>
                    <a:pt x="5333" y="11782"/>
                    <a:pt x="7501" y="8200"/>
                    <a:pt x="9771" y="4914"/>
                  </a:cubicBezTo>
                  <a:cubicBezTo>
                    <a:pt x="10498" y="3944"/>
                    <a:pt x="11214" y="2963"/>
                    <a:pt x="11910" y="1967"/>
                  </a:cubicBezTo>
                  <a:cubicBezTo>
                    <a:pt x="12323" y="1779"/>
                    <a:pt x="12741" y="1611"/>
                    <a:pt x="13163" y="1456"/>
                  </a:cubicBezTo>
                  <a:close/>
                  <a:moveTo>
                    <a:pt x="28288" y="6462"/>
                  </a:moveTo>
                  <a:cubicBezTo>
                    <a:pt x="28631" y="6667"/>
                    <a:pt x="28995" y="6837"/>
                    <a:pt x="29371" y="6967"/>
                  </a:cubicBezTo>
                  <a:lnTo>
                    <a:pt x="29371" y="6970"/>
                  </a:lnTo>
                  <a:cubicBezTo>
                    <a:pt x="29362" y="6978"/>
                    <a:pt x="29350" y="6978"/>
                    <a:pt x="29342" y="6987"/>
                  </a:cubicBezTo>
                  <a:cubicBezTo>
                    <a:pt x="27537" y="9551"/>
                    <a:pt x="25880" y="12213"/>
                    <a:pt x="24209" y="14863"/>
                  </a:cubicBezTo>
                  <a:cubicBezTo>
                    <a:pt x="23236" y="16179"/>
                    <a:pt x="22254" y="17490"/>
                    <a:pt x="21246" y="18780"/>
                  </a:cubicBezTo>
                  <a:cubicBezTo>
                    <a:pt x="23648" y="14649"/>
                    <a:pt x="25805" y="10270"/>
                    <a:pt x="28288" y="6462"/>
                  </a:cubicBezTo>
                  <a:close/>
                  <a:moveTo>
                    <a:pt x="20037" y="10174"/>
                  </a:moveTo>
                  <a:lnTo>
                    <a:pt x="20037" y="10174"/>
                  </a:lnTo>
                  <a:cubicBezTo>
                    <a:pt x="18917" y="11849"/>
                    <a:pt x="17747" y="13494"/>
                    <a:pt x="16593" y="15146"/>
                  </a:cubicBezTo>
                  <a:cubicBezTo>
                    <a:pt x="16419" y="15394"/>
                    <a:pt x="16261" y="15642"/>
                    <a:pt x="16090" y="15891"/>
                  </a:cubicBezTo>
                  <a:cubicBezTo>
                    <a:pt x="15724" y="16387"/>
                    <a:pt x="15369" y="16887"/>
                    <a:pt x="14996" y="17380"/>
                  </a:cubicBezTo>
                  <a:cubicBezTo>
                    <a:pt x="14352" y="18232"/>
                    <a:pt x="13709" y="19078"/>
                    <a:pt x="13071" y="19924"/>
                  </a:cubicBezTo>
                  <a:cubicBezTo>
                    <a:pt x="14982" y="17210"/>
                    <a:pt x="16867" y="14479"/>
                    <a:pt x="18726" y="11730"/>
                  </a:cubicBezTo>
                  <a:cubicBezTo>
                    <a:pt x="19159" y="11217"/>
                    <a:pt x="19601" y="10700"/>
                    <a:pt x="20037" y="10174"/>
                  </a:cubicBezTo>
                  <a:close/>
                  <a:moveTo>
                    <a:pt x="17742" y="7336"/>
                  </a:moveTo>
                  <a:cubicBezTo>
                    <a:pt x="15115" y="11211"/>
                    <a:pt x="12568" y="15160"/>
                    <a:pt x="9846" y="18957"/>
                  </a:cubicBezTo>
                  <a:cubicBezTo>
                    <a:pt x="9574" y="19332"/>
                    <a:pt x="9315" y="19716"/>
                    <a:pt x="9052" y="20094"/>
                  </a:cubicBezTo>
                  <a:cubicBezTo>
                    <a:pt x="10123" y="18290"/>
                    <a:pt x="11185" y="16477"/>
                    <a:pt x="12236" y="14658"/>
                  </a:cubicBezTo>
                  <a:cubicBezTo>
                    <a:pt x="12539" y="14130"/>
                    <a:pt x="12863" y="13613"/>
                    <a:pt x="13183" y="13093"/>
                  </a:cubicBezTo>
                  <a:cubicBezTo>
                    <a:pt x="14742" y="11219"/>
                    <a:pt x="16327" y="9323"/>
                    <a:pt x="17742" y="7336"/>
                  </a:cubicBezTo>
                  <a:close/>
                  <a:moveTo>
                    <a:pt x="5325" y="13587"/>
                  </a:moveTo>
                  <a:lnTo>
                    <a:pt x="5325" y="13587"/>
                  </a:lnTo>
                  <a:cubicBezTo>
                    <a:pt x="3841" y="15810"/>
                    <a:pt x="2377" y="18039"/>
                    <a:pt x="1000" y="20195"/>
                  </a:cubicBezTo>
                  <a:cubicBezTo>
                    <a:pt x="928" y="19635"/>
                    <a:pt x="867" y="19063"/>
                    <a:pt x="830" y="18498"/>
                  </a:cubicBezTo>
                  <a:cubicBezTo>
                    <a:pt x="2458" y="17060"/>
                    <a:pt x="3942" y="15382"/>
                    <a:pt x="5325" y="13587"/>
                  </a:cubicBezTo>
                  <a:close/>
                  <a:moveTo>
                    <a:pt x="26059" y="7599"/>
                  </a:moveTo>
                  <a:cubicBezTo>
                    <a:pt x="23564" y="10833"/>
                    <a:pt x="21533" y="14582"/>
                    <a:pt x="19231" y="17981"/>
                  </a:cubicBezTo>
                  <a:cubicBezTo>
                    <a:pt x="18720" y="18734"/>
                    <a:pt x="18186" y="19482"/>
                    <a:pt x="17646" y="20230"/>
                  </a:cubicBezTo>
                  <a:lnTo>
                    <a:pt x="17644" y="20230"/>
                  </a:lnTo>
                  <a:cubicBezTo>
                    <a:pt x="20329" y="15939"/>
                    <a:pt x="22960" y="11614"/>
                    <a:pt x="26059" y="7599"/>
                  </a:cubicBezTo>
                  <a:close/>
                  <a:moveTo>
                    <a:pt x="23505" y="3891"/>
                  </a:moveTo>
                  <a:cubicBezTo>
                    <a:pt x="23514" y="3891"/>
                    <a:pt x="23517" y="3896"/>
                    <a:pt x="23516" y="3907"/>
                  </a:cubicBezTo>
                  <a:cubicBezTo>
                    <a:pt x="23458" y="4230"/>
                    <a:pt x="23363" y="4548"/>
                    <a:pt x="23233" y="4851"/>
                  </a:cubicBezTo>
                  <a:lnTo>
                    <a:pt x="23236" y="4851"/>
                  </a:lnTo>
                  <a:cubicBezTo>
                    <a:pt x="21189" y="7256"/>
                    <a:pt x="19390" y="9923"/>
                    <a:pt x="17641" y="12605"/>
                  </a:cubicBezTo>
                  <a:cubicBezTo>
                    <a:pt x="17286" y="13047"/>
                    <a:pt x="16933" y="13491"/>
                    <a:pt x="16596" y="13945"/>
                  </a:cubicBezTo>
                  <a:cubicBezTo>
                    <a:pt x="14953" y="16162"/>
                    <a:pt x="13353" y="18411"/>
                    <a:pt x="11699" y="20622"/>
                  </a:cubicBezTo>
                  <a:cubicBezTo>
                    <a:pt x="11627" y="20718"/>
                    <a:pt x="11549" y="20810"/>
                    <a:pt x="11477" y="20905"/>
                  </a:cubicBezTo>
                  <a:cubicBezTo>
                    <a:pt x="14644" y="15945"/>
                    <a:pt x="17288" y="10752"/>
                    <a:pt x="20992" y="6132"/>
                  </a:cubicBezTo>
                  <a:cubicBezTo>
                    <a:pt x="21116" y="5978"/>
                    <a:pt x="23328" y="3891"/>
                    <a:pt x="23505" y="3891"/>
                  </a:cubicBezTo>
                  <a:close/>
                  <a:moveTo>
                    <a:pt x="24652" y="5956"/>
                  </a:moveTo>
                  <a:cubicBezTo>
                    <a:pt x="24822" y="5956"/>
                    <a:pt x="22994" y="9464"/>
                    <a:pt x="22707" y="9978"/>
                  </a:cubicBezTo>
                  <a:cubicBezTo>
                    <a:pt x="21449" y="12244"/>
                    <a:pt x="19959" y="14386"/>
                    <a:pt x="18487" y="16514"/>
                  </a:cubicBezTo>
                  <a:cubicBezTo>
                    <a:pt x="17436" y="18036"/>
                    <a:pt x="16367" y="19537"/>
                    <a:pt x="15305" y="21047"/>
                  </a:cubicBezTo>
                  <a:cubicBezTo>
                    <a:pt x="18348" y="16555"/>
                    <a:pt x="20987" y="11699"/>
                    <a:pt x="23764" y="7238"/>
                  </a:cubicBezTo>
                  <a:cubicBezTo>
                    <a:pt x="24340" y="6313"/>
                    <a:pt x="24598" y="5956"/>
                    <a:pt x="24652" y="5956"/>
                  </a:cubicBezTo>
                  <a:close/>
                  <a:moveTo>
                    <a:pt x="18969" y="16676"/>
                  </a:moveTo>
                  <a:cubicBezTo>
                    <a:pt x="18905" y="16777"/>
                    <a:pt x="18842" y="16878"/>
                    <a:pt x="18775" y="16979"/>
                  </a:cubicBezTo>
                  <a:cubicBezTo>
                    <a:pt x="17848" y="18382"/>
                    <a:pt x="16826" y="19750"/>
                    <a:pt x="15796" y="21119"/>
                  </a:cubicBezTo>
                  <a:lnTo>
                    <a:pt x="15793" y="21116"/>
                  </a:lnTo>
                  <a:cubicBezTo>
                    <a:pt x="16769" y="19675"/>
                    <a:pt x="17805" y="18272"/>
                    <a:pt x="18827" y="16869"/>
                  </a:cubicBezTo>
                  <a:lnTo>
                    <a:pt x="18969" y="16676"/>
                  </a:lnTo>
                  <a:close/>
                  <a:moveTo>
                    <a:pt x="1956" y="19736"/>
                  </a:moveTo>
                  <a:lnTo>
                    <a:pt x="1956" y="19736"/>
                  </a:lnTo>
                  <a:cubicBezTo>
                    <a:pt x="1658" y="20337"/>
                    <a:pt x="1404" y="20957"/>
                    <a:pt x="1205" y="21598"/>
                  </a:cubicBezTo>
                  <a:cubicBezTo>
                    <a:pt x="1159" y="21333"/>
                    <a:pt x="1115" y="21058"/>
                    <a:pt x="1075" y="20778"/>
                  </a:cubicBezTo>
                  <a:lnTo>
                    <a:pt x="1078" y="20778"/>
                  </a:lnTo>
                  <a:cubicBezTo>
                    <a:pt x="1375" y="20435"/>
                    <a:pt x="1670" y="20085"/>
                    <a:pt x="1956" y="19736"/>
                  </a:cubicBezTo>
                  <a:close/>
                  <a:moveTo>
                    <a:pt x="8085" y="11984"/>
                  </a:moveTo>
                  <a:lnTo>
                    <a:pt x="8085" y="11984"/>
                  </a:lnTo>
                  <a:cubicBezTo>
                    <a:pt x="7732" y="12579"/>
                    <a:pt x="7380" y="13177"/>
                    <a:pt x="7028" y="13774"/>
                  </a:cubicBezTo>
                  <a:cubicBezTo>
                    <a:pt x="6312" y="14998"/>
                    <a:pt x="5587" y="16211"/>
                    <a:pt x="4848" y="17421"/>
                  </a:cubicBezTo>
                  <a:cubicBezTo>
                    <a:pt x="4259" y="18388"/>
                    <a:pt x="1629" y="21055"/>
                    <a:pt x="1280" y="22069"/>
                  </a:cubicBezTo>
                  <a:lnTo>
                    <a:pt x="1274" y="22037"/>
                  </a:lnTo>
                  <a:cubicBezTo>
                    <a:pt x="1445" y="21125"/>
                    <a:pt x="1803" y="20224"/>
                    <a:pt x="2282" y="19346"/>
                  </a:cubicBezTo>
                  <a:cubicBezTo>
                    <a:pt x="3359" y="18001"/>
                    <a:pt x="4363" y="16604"/>
                    <a:pt x="5330" y="15177"/>
                  </a:cubicBezTo>
                  <a:cubicBezTo>
                    <a:pt x="5992" y="14418"/>
                    <a:pt x="6641" y="13699"/>
                    <a:pt x="7207" y="13035"/>
                  </a:cubicBezTo>
                  <a:cubicBezTo>
                    <a:pt x="7507" y="12689"/>
                    <a:pt x="7793" y="12334"/>
                    <a:pt x="8085" y="11984"/>
                  </a:cubicBezTo>
                  <a:close/>
                  <a:moveTo>
                    <a:pt x="29846" y="8109"/>
                  </a:moveTo>
                  <a:cubicBezTo>
                    <a:pt x="28896" y="11804"/>
                    <a:pt x="25698" y="15158"/>
                    <a:pt x="23469" y="18137"/>
                  </a:cubicBezTo>
                  <a:lnTo>
                    <a:pt x="23467" y="18134"/>
                  </a:lnTo>
                  <a:cubicBezTo>
                    <a:pt x="22488" y="19442"/>
                    <a:pt x="21518" y="20764"/>
                    <a:pt x="20594" y="22121"/>
                  </a:cubicBezTo>
                  <a:cubicBezTo>
                    <a:pt x="21847" y="20054"/>
                    <a:pt x="23132" y="18013"/>
                    <a:pt x="24555" y="16035"/>
                  </a:cubicBezTo>
                  <a:cubicBezTo>
                    <a:pt x="25707" y="14436"/>
                    <a:pt x="26810" y="12827"/>
                    <a:pt x="27765" y="11136"/>
                  </a:cubicBezTo>
                  <a:cubicBezTo>
                    <a:pt x="28723" y="10034"/>
                    <a:pt x="29646" y="8886"/>
                    <a:pt x="29846" y="8109"/>
                  </a:cubicBezTo>
                  <a:close/>
                  <a:moveTo>
                    <a:pt x="35563" y="5399"/>
                  </a:moveTo>
                  <a:lnTo>
                    <a:pt x="35563" y="5399"/>
                  </a:lnTo>
                  <a:cubicBezTo>
                    <a:pt x="32038" y="11658"/>
                    <a:pt x="27350" y="17106"/>
                    <a:pt x="23181" y="22918"/>
                  </a:cubicBezTo>
                  <a:cubicBezTo>
                    <a:pt x="23449" y="22467"/>
                    <a:pt x="23721" y="22017"/>
                    <a:pt x="23995" y="21569"/>
                  </a:cubicBezTo>
                  <a:cubicBezTo>
                    <a:pt x="24939" y="20181"/>
                    <a:pt x="25845" y="18763"/>
                    <a:pt x="26746" y="17331"/>
                  </a:cubicBezTo>
                  <a:lnTo>
                    <a:pt x="26807" y="17233"/>
                  </a:lnTo>
                  <a:cubicBezTo>
                    <a:pt x="26997" y="16962"/>
                    <a:pt x="27185" y="16684"/>
                    <a:pt x="27381" y="16416"/>
                  </a:cubicBezTo>
                  <a:cubicBezTo>
                    <a:pt x="29928" y="12900"/>
                    <a:pt x="32624" y="9588"/>
                    <a:pt x="34348" y="5581"/>
                  </a:cubicBezTo>
                  <a:cubicBezTo>
                    <a:pt x="34746" y="5480"/>
                    <a:pt x="35153" y="5419"/>
                    <a:pt x="35563" y="5399"/>
                  </a:cubicBezTo>
                  <a:close/>
                  <a:moveTo>
                    <a:pt x="11751" y="8910"/>
                  </a:moveTo>
                  <a:lnTo>
                    <a:pt x="11751" y="8913"/>
                  </a:lnTo>
                  <a:cubicBezTo>
                    <a:pt x="11399" y="9499"/>
                    <a:pt x="11047" y="10091"/>
                    <a:pt x="10700" y="10685"/>
                  </a:cubicBezTo>
                  <a:cubicBezTo>
                    <a:pt x="8884" y="13806"/>
                    <a:pt x="6944" y="16840"/>
                    <a:pt x="5027" y="19895"/>
                  </a:cubicBezTo>
                  <a:cubicBezTo>
                    <a:pt x="4185" y="20982"/>
                    <a:pt x="3317" y="22058"/>
                    <a:pt x="2413" y="23112"/>
                  </a:cubicBezTo>
                  <a:lnTo>
                    <a:pt x="2413" y="23112"/>
                  </a:lnTo>
                  <a:cubicBezTo>
                    <a:pt x="4881" y="20228"/>
                    <a:pt x="7227" y="15573"/>
                    <a:pt x="9444" y="12140"/>
                  </a:cubicBezTo>
                  <a:cubicBezTo>
                    <a:pt x="10149" y="11049"/>
                    <a:pt x="10940" y="9981"/>
                    <a:pt x="11751" y="8910"/>
                  </a:cubicBezTo>
                  <a:close/>
                  <a:moveTo>
                    <a:pt x="22297" y="17854"/>
                  </a:moveTo>
                  <a:lnTo>
                    <a:pt x="22297" y="17854"/>
                  </a:lnTo>
                  <a:cubicBezTo>
                    <a:pt x="21073" y="19739"/>
                    <a:pt x="19803" y="21590"/>
                    <a:pt x="18440" y="23377"/>
                  </a:cubicBezTo>
                  <a:cubicBezTo>
                    <a:pt x="18524" y="23200"/>
                    <a:pt x="18611" y="23021"/>
                    <a:pt x="18703" y="22845"/>
                  </a:cubicBezTo>
                  <a:cubicBezTo>
                    <a:pt x="19280" y="21999"/>
                    <a:pt x="19838" y="21128"/>
                    <a:pt x="20378" y="20238"/>
                  </a:cubicBezTo>
                  <a:cubicBezTo>
                    <a:pt x="20995" y="19413"/>
                    <a:pt x="21656" y="18616"/>
                    <a:pt x="22297" y="17854"/>
                  </a:cubicBezTo>
                  <a:close/>
                  <a:moveTo>
                    <a:pt x="9283" y="14606"/>
                  </a:moveTo>
                  <a:lnTo>
                    <a:pt x="9283" y="14606"/>
                  </a:lnTo>
                  <a:cubicBezTo>
                    <a:pt x="7932" y="16788"/>
                    <a:pt x="6552" y="18954"/>
                    <a:pt x="5053" y="21038"/>
                  </a:cubicBezTo>
                  <a:cubicBezTo>
                    <a:pt x="3676" y="22954"/>
                    <a:pt x="3152" y="23622"/>
                    <a:pt x="3091" y="23622"/>
                  </a:cubicBezTo>
                  <a:cubicBezTo>
                    <a:pt x="2973" y="23622"/>
                    <a:pt x="4620" y="21074"/>
                    <a:pt x="5123" y="20287"/>
                  </a:cubicBezTo>
                  <a:cubicBezTo>
                    <a:pt x="5201" y="20163"/>
                    <a:pt x="5281" y="20042"/>
                    <a:pt x="5359" y="19918"/>
                  </a:cubicBezTo>
                  <a:cubicBezTo>
                    <a:pt x="6719" y="18189"/>
                    <a:pt x="8027" y="16419"/>
                    <a:pt x="9283" y="14606"/>
                  </a:cubicBezTo>
                  <a:close/>
                  <a:moveTo>
                    <a:pt x="23187" y="6250"/>
                  </a:moveTo>
                  <a:cubicBezTo>
                    <a:pt x="23189" y="6250"/>
                    <a:pt x="22911" y="6665"/>
                    <a:pt x="22150" y="7798"/>
                  </a:cubicBezTo>
                  <a:cubicBezTo>
                    <a:pt x="20473" y="10301"/>
                    <a:pt x="18793" y="12799"/>
                    <a:pt x="17109" y="15299"/>
                  </a:cubicBezTo>
                  <a:cubicBezTo>
                    <a:pt x="15253" y="18076"/>
                    <a:pt x="13437" y="20882"/>
                    <a:pt x="11667" y="23714"/>
                  </a:cubicBezTo>
                  <a:cubicBezTo>
                    <a:pt x="12164" y="22658"/>
                    <a:pt x="12646" y="21610"/>
                    <a:pt x="13218" y="20683"/>
                  </a:cubicBezTo>
                  <a:cubicBezTo>
                    <a:pt x="14679" y="18304"/>
                    <a:pt x="16269" y="16015"/>
                    <a:pt x="17860" y="13728"/>
                  </a:cubicBezTo>
                  <a:cubicBezTo>
                    <a:pt x="18943" y="12244"/>
                    <a:pt x="20025" y="10763"/>
                    <a:pt x="21108" y="9279"/>
                  </a:cubicBezTo>
                  <a:cubicBezTo>
                    <a:pt x="21446" y="8812"/>
                    <a:pt x="23181" y="6250"/>
                    <a:pt x="23187" y="6250"/>
                  </a:cubicBezTo>
                  <a:close/>
                  <a:moveTo>
                    <a:pt x="3974" y="19623"/>
                  </a:moveTo>
                  <a:cubicBezTo>
                    <a:pt x="3145" y="20998"/>
                    <a:pt x="2363" y="22381"/>
                    <a:pt x="1626" y="23772"/>
                  </a:cubicBezTo>
                  <a:cubicBezTo>
                    <a:pt x="1592" y="23636"/>
                    <a:pt x="1560" y="23495"/>
                    <a:pt x="1528" y="23339"/>
                  </a:cubicBezTo>
                  <a:lnTo>
                    <a:pt x="1531" y="23339"/>
                  </a:lnTo>
                  <a:cubicBezTo>
                    <a:pt x="2325" y="22086"/>
                    <a:pt x="3142" y="20850"/>
                    <a:pt x="3974" y="19623"/>
                  </a:cubicBezTo>
                  <a:close/>
                  <a:moveTo>
                    <a:pt x="7224" y="20772"/>
                  </a:moveTo>
                  <a:lnTo>
                    <a:pt x="7224" y="20772"/>
                  </a:lnTo>
                  <a:cubicBezTo>
                    <a:pt x="6543" y="22005"/>
                    <a:pt x="5867" y="23247"/>
                    <a:pt x="5137" y="24459"/>
                  </a:cubicBezTo>
                  <a:cubicBezTo>
                    <a:pt x="4683" y="25218"/>
                    <a:pt x="4498" y="25504"/>
                    <a:pt x="4478" y="25504"/>
                  </a:cubicBezTo>
                  <a:cubicBezTo>
                    <a:pt x="4419" y="25504"/>
                    <a:pt x="5804" y="22992"/>
                    <a:pt x="5917" y="22802"/>
                  </a:cubicBezTo>
                  <a:lnTo>
                    <a:pt x="5917" y="22799"/>
                  </a:lnTo>
                  <a:cubicBezTo>
                    <a:pt x="6324" y="22109"/>
                    <a:pt x="6768" y="21437"/>
                    <a:pt x="7224" y="20772"/>
                  </a:cubicBezTo>
                  <a:close/>
                  <a:moveTo>
                    <a:pt x="26862" y="12163"/>
                  </a:moveTo>
                  <a:cubicBezTo>
                    <a:pt x="26065" y="13442"/>
                    <a:pt x="25158" y="14664"/>
                    <a:pt x="24292" y="15882"/>
                  </a:cubicBezTo>
                  <a:cubicBezTo>
                    <a:pt x="23100" y="17553"/>
                    <a:pt x="21925" y="19205"/>
                    <a:pt x="20857" y="20960"/>
                  </a:cubicBezTo>
                  <a:cubicBezTo>
                    <a:pt x="20250" y="21994"/>
                    <a:pt x="19650" y="23030"/>
                    <a:pt x="19052" y="24072"/>
                  </a:cubicBezTo>
                  <a:cubicBezTo>
                    <a:pt x="19021" y="24300"/>
                    <a:pt x="18980" y="24497"/>
                    <a:pt x="18937" y="24676"/>
                  </a:cubicBezTo>
                  <a:cubicBezTo>
                    <a:pt x="18741" y="25002"/>
                    <a:pt x="18544" y="25322"/>
                    <a:pt x="18357" y="25652"/>
                  </a:cubicBezTo>
                  <a:cubicBezTo>
                    <a:pt x="18341" y="25654"/>
                    <a:pt x="18325" y="25655"/>
                    <a:pt x="18308" y="25655"/>
                  </a:cubicBezTo>
                  <a:cubicBezTo>
                    <a:pt x="18150" y="25655"/>
                    <a:pt x="17972" y="25540"/>
                    <a:pt x="17773" y="25302"/>
                  </a:cubicBezTo>
                  <a:cubicBezTo>
                    <a:pt x="17840" y="25011"/>
                    <a:pt x="17921" y="24725"/>
                    <a:pt x="18019" y="24445"/>
                  </a:cubicBezTo>
                  <a:cubicBezTo>
                    <a:pt x="20224" y="21676"/>
                    <a:pt x="22165" y="18711"/>
                    <a:pt x="24053" y="15706"/>
                  </a:cubicBezTo>
                  <a:cubicBezTo>
                    <a:pt x="24604" y="15013"/>
                    <a:pt x="25147" y="14317"/>
                    <a:pt x="25664" y="13598"/>
                  </a:cubicBezTo>
                  <a:cubicBezTo>
                    <a:pt x="25938" y="13214"/>
                    <a:pt x="26374" y="12715"/>
                    <a:pt x="26862" y="12163"/>
                  </a:cubicBezTo>
                  <a:close/>
                  <a:moveTo>
                    <a:pt x="18597" y="2935"/>
                  </a:moveTo>
                  <a:cubicBezTo>
                    <a:pt x="19053" y="2935"/>
                    <a:pt x="18859" y="3386"/>
                    <a:pt x="18019" y="4291"/>
                  </a:cubicBezTo>
                  <a:cubicBezTo>
                    <a:pt x="17519" y="5186"/>
                    <a:pt x="16994" y="6063"/>
                    <a:pt x="16440" y="6924"/>
                  </a:cubicBezTo>
                  <a:cubicBezTo>
                    <a:pt x="14531" y="10001"/>
                    <a:pt x="12279" y="12865"/>
                    <a:pt x="10207" y="15833"/>
                  </a:cubicBezTo>
                  <a:cubicBezTo>
                    <a:pt x="9468" y="16889"/>
                    <a:pt x="8812" y="17989"/>
                    <a:pt x="8174" y="19101"/>
                  </a:cubicBezTo>
                  <a:cubicBezTo>
                    <a:pt x="6433" y="21483"/>
                    <a:pt x="4822" y="23957"/>
                    <a:pt x="3523" y="26679"/>
                  </a:cubicBezTo>
                  <a:cubicBezTo>
                    <a:pt x="3494" y="26749"/>
                    <a:pt x="3515" y="26827"/>
                    <a:pt x="3569" y="26873"/>
                  </a:cubicBezTo>
                  <a:cubicBezTo>
                    <a:pt x="2695" y="26139"/>
                    <a:pt x="2033" y="25320"/>
                    <a:pt x="1808" y="24517"/>
                  </a:cubicBezTo>
                  <a:lnTo>
                    <a:pt x="1808" y="24517"/>
                  </a:lnTo>
                  <a:lnTo>
                    <a:pt x="1811" y="24520"/>
                  </a:lnTo>
                  <a:cubicBezTo>
                    <a:pt x="1791" y="24445"/>
                    <a:pt x="1765" y="24344"/>
                    <a:pt x="1742" y="24254"/>
                  </a:cubicBezTo>
                  <a:cubicBezTo>
                    <a:pt x="2446" y="23466"/>
                    <a:pt x="3136" y="22666"/>
                    <a:pt x="3809" y="21858"/>
                  </a:cubicBezTo>
                  <a:lnTo>
                    <a:pt x="3809" y="21858"/>
                  </a:lnTo>
                  <a:cubicBezTo>
                    <a:pt x="3240" y="22782"/>
                    <a:pt x="2669" y="23706"/>
                    <a:pt x="2114" y="24638"/>
                  </a:cubicBezTo>
                  <a:cubicBezTo>
                    <a:pt x="2056" y="24735"/>
                    <a:pt x="2146" y="24845"/>
                    <a:pt x="2239" y="24845"/>
                  </a:cubicBezTo>
                  <a:cubicBezTo>
                    <a:pt x="2270" y="24845"/>
                    <a:pt x="2302" y="24833"/>
                    <a:pt x="2328" y="24803"/>
                  </a:cubicBezTo>
                  <a:cubicBezTo>
                    <a:pt x="3159" y="23856"/>
                    <a:pt x="3948" y="22877"/>
                    <a:pt x="4704" y="21881"/>
                  </a:cubicBezTo>
                  <a:lnTo>
                    <a:pt x="4704" y="21881"/>
                  </a:lnTo>
                  <a:cubicBezTo>
                    <a:pt x="3959" y="23094"/>
                    <a:pt x="3249" y="24326"/>
                    <a:pt x="2579" y="25579"/>
                  </a:cubicBezTo>
                  <a:cubicBezTo>
                    <a:pt x="2519" y="25693"/>
                    <a:pt x="2611" y="25792"/>
                    <a:pt x="2707" y="25792"/>
                  </a:cubicBezTo>
                  <a:cubicBezTo>
                    <a:pt x="2751" y="25792"/>
                    <a:pt x="2795" y="25772"/>
                    <a:pt x="2827" y="25724"/>
                  </a:cubicBezTo>
                  <a:cubicBezTo>
                    <a:pt x="4591" y="23065"/>
                    <a:pt x="6326" y="20383"/>
                    <a:pt x="8064" y="17706"/>
                  </a:cubicBezTo>
                  <a:cubicBezTo>
                    <a:pt x="11307" y="13286"/>
                    <a:pt x="14681" y="8809"/>
                    <a:pt x="17323" y="4068"/>
                  </a:cubicBezTo>
                  <a:cubicBezTo>
                    <a:pt x="17580" y="3725"/>
                    <a:pt x="17834" y="3375"/>
                    <a:pt x="18091" y="3032"/>
                  </a:cubicBezTo>
                  <a:cubicBezTo>
                    <a:pt x="18306" y="2967"/>
                    <a:pt x="18475" y="2935"/>
                    <a:pt x="18597" y="2935"/>
                  </a:cubicBezTo>
                  <a:close/>
                  <a:moveTo>
                    <a:pt x="25785" y="15821"/>
                  </a:moveTo>
                  <a:lnTo>
                    <a:pt x="25785" y="15821"/>
                  </a:lnTo>
                  <a:cubicBezTo>
                    <a:pt x="25739" y="15899"/>
                    <a:pt x="25692" y="15971"/>
                    <a:pt x="25646" y="16049"/>
                  </a:cubicBezTo>
                  <a:cubicBezTo>
                    <a:pt x="24821" y="17415"/>
                    <a:pt x="23978" y="18772"/>
                    <a:pt x="23126" y="20123"/>
                  </a:cubicBezTo>
                  <a:cubicBezTo>
                    <a:pt x="22407" y="21073"/>
                    <a:pt x="21708" y="22037"/>
                    <a:pt x="21056" y="23033"/>
                  </a:cubicBezTo>
                  <a:cubicBezTo>
                    <a:pt x="19800" y="24525"/>
                    <a:pt x="18326" y="26084"/>
                    <a:pt x="17854" y="27083"/>
                  </a:cubicBezTo>
                  <a:lnTo>
                    <a:pt x="17854" y="27083"/>
                  </a:lnTo>
                  <a:cubicBezTo>
                    <a:pt x="19775" y="22998"/>
                    <a:pt x="23015" y="19518"/>
                    <a:pt x="25785" y="15821"/>
                  </a:cubicBezTo>
                  <a:close/>
                  <a:moveTo>
                    <a:pt x="33834" y="5728"/>
                  </a:moveTo>
                  <a:cubicBezTo>
                    <a:pt x="31732" y="9158"/>
                    <a:pt x="29437" y="12455"/>
                    <a:pt x="27303" y="15862"/>
                  </a:cubicBezTo>
                  <a:cubicBezTo>
                    <a:pt x="26720" y="16791"/>
                    <a:pt x="26137" y="17715"/>
                    <a:pt x="25551" y="18642"/>
                  </a:cubicBezTo>
                  <a:cubicBezTo>
                    <a:pt x="24913" y="19531"/>
                    <a:pt x="24284" y="20429"/>
                    <a:pt x="23698" y="21347"/>
                  </a:cubicBezTo>
                  <a:cubicBezTo>
                    <a:pt x="23490" y="21670"/>
                    <a:pt x="23288" y="22017"/>
                    <a:pt x="23091" y="22369"/>
                  </a:cubicBezTo>
                  <a:cubicBezTo>
                    <a:pt x="22794" y="22793"/>
                    <a:pt x="22508" y="23226"/>
                    <a:pt x="22205" y="23645"/>
                  </a:cubicBezTo>
                  <a:cubicBezTo>
                    <a:pt x="22251" y="23581"/>
                    <a:pt x="22272" y="23551"/>
                    <a:pt x="22272" y="23551"/>
                  </a:cubicBezTo>
                  <a:lnTo>
                    <a:pt x="22272" y="23551"/>
                  </a:lnTo>
                  <a:cubicBezTo>
                    <a:pt x="22271" y="23551"/>
                    <a:pt x="19729" y="27113"/>
                    <a:pt x="19302" y="27113"/>
                  </a:cubicBezTo>
                  <a:cubicBezTo>
                    <a:pt x="19170" y="27113"/>
                    <a:pt x="19239" y="26775"/>
                    <a:pt x="19644" y="25891"/>
                  </a:cubicBezTo>
                  <a:cubicBezTo>
                    <a:pt x="19780" y="25597"/>
                    <a:pt x="19930" y="25311"/>
                    <a:pt x="20074" y="25025"/>
                  </a:cubicBezTo>
                  <a:cubicBezTo>
                    <a:pt x="21590" y="23027"/>
                    <a:pt x="22984" y="20949"/>
                    <a:pt x="24324" y="18798"/>
                  </a:cubicBezTo>
                  <a:cubicBezTo>
                    <a:pt x="24541" y="18451"/>
                    <a:pt x="24748" y="18105"/>
                    <a:pt x="24959" y="17758"/>
                  </a:cubicBezTo>
                  <a:lnTo>
                    <a:pt x="24959" y="17758"/>
                  </a:lnTo>
                  <a:cubicBezTo>
                    <a:pt x="24408" y="18457"/>
                    <a:pt x="23862" y="19162"/>
                    <a:pt x="23322" y="19869"/>
                  </a:cubicBezTo>
                  <a:cubicBezTo>
                    <a:pt x="23891" y="19098"/>
                    <a:pt x="24477" y="18336"/>
                    <a:pt x="25069" y="17579"/>
                  </a:cubicBezTo>
                  <a:cubicBezTo>
                    <a:pt x="25874" y="16257"/>
                    <a:pt x="26671" y="14929"/>
                    <a:pt x="27477" y="13607"/>
                  </a:cubicBezTo>
                  <a:cubicBezTo>
                    <a:pt x="28438" y="12031"/>
                    <a:pt x="30586" y="9868"/>
                    <a:pt x="31238" y="8523"/>
                  </a:cubicBezTo>
                  <a:lnTo>
                    <a:pt x="31238" y="8523"/>
                  </a:lnTo>
                  <a:cubicBezTo>
                    <a:pt x="30196" y="10674"/>
                    <a:pt x="28874" y="12631"/>
                    <a:pt x="27459" y="14525"/>
                  </a:cubicBezTo>
                  <a:cubicBezTo>
                    <a:pt x="29448" y="11947"/>
                    <a:pt x="31313" y="9288"/>
                    <a:pt x="32581" y="6234"/>
                  </a:cubicBezTo>
                  <a:cubicBezTo>
                    <a:pt x="32988" y="6040"/>
                    <a:pt x="33407" y="5870"/>
                    <a:pt x="33834" y="5728"/>
                  </a:cubicBezTo>
                  <a:close/>
                  <a:moveTo>
                    <a:pt x="15161" y="16381"/>
                  </a:moveTo>
                  <a:lnTo>
                    <a:pt x="15161" y="16381"/>
                  </a:lnTo>
                  <a:cubicBezTo>
                    <a:pt x="14961" y="16679"/>
                    <a:pt x="14765" y="16976"/>
                    <a:pt x="14566" y="17271"/>
                  </a:cubicBezTo>
                  <a:cubicBezTo>
                    <a:pt x="12946" y="19641"/>
                    <a:pt x="11298" y="21991"/>
                    <a:pt x="9621" y="24318"/>
                  </a:cubicBezTo>
                  <a:cubicBezTo>
                    <a:pt x="9372" y="24665"/>
                    <a:pt x="7707" y="27131"/>
                    <a:pt x="7608" y="27131"/>
                  </a:cubicBezTo>
                  <a:cubicBezTo>
                    <a:pt x="7567" y="27131"/>
                    <a:pt x="7784" y="26725"/>
                    <a:pt x="8457" y="25608"/>
                  </a:cubicBezTo>
                  <a:cubicBezTo>
                    <a:pt x="8933" y="24817"/>
                    <a:pt x="9433" y="24041"/>
                    <a:pt x="9941" y="23267"/>
                  </a:cubicBezTo>
                  <a:cubicBezTo>
                    <a:pt x="11754" y="21032"/>
                    <a:pt x="13463" y="18714"/>
                    <a:pt x="15161" y="16381"/>
                  </a:cubicBezTo>
                  <a:close/>
                  <a:moveTo>
                    <a:pt x="11633" y="14973"/>
                  </a:moveTo>
                  <a:lnTo>
                    <a:pt x="11633" y="14973"/>
                  </a:lnTo>
                  <a:cubicBezTo>
                    <a:pt x="9107" y="19072"/>
                    <a:pt x="6725" y="23307"/>
                    <a:pt x="4323" y="27450"/>
                  </a:cubicBezTo>
                  <a:cubicBezTo>
                    <a:pt x="4065" y="27269"/>
                    <a:pt x="3819" y="27082"/>
                    <a:pt x="3586" y="26888"/>
                  </a:cubicBezTo>
                  <a:lnTo>
                    <a:pt x="3586" y="26888"/>
                  </a:lnTo>
                  <a:cubicBezTo>
                    <a:pt x="3606" y="26901"/>
                    <a:pt x="3629" y="26908"/>
                    <a:pt x="3652" y="26908"/>
                  </a:cubicBezTo>
                  <a:cubicBezTo>
                    <a:pt x="3689" y="26908"/>
                    <a:pt x="3726" y="26891"/>
                    <a:pt x="3748" y="26858"/>
                  </a:cubicBezTo>
                  <a:cubicBezTo>
                    <a:pt x="5928" y="24098"/>
                    <a:pt x="7527" y="20951"/>
                    <a:pt x="9312" y="17917"/>
                  </a:cubicBezTo>
                  <a:cubicBezTo>
                    <a:pt x="9661" y="17461"/>
                    <a:pt x="10013" y="17011"/>
                    <a:pt x="10365" y="16560"/>
                  </a:cubicBezTo>
                  <a:cubicBezTo>
                    <a:pt x="10775" y="16029"/>
                    <a:pt x="11203" y="15501"/>
                    <a:pt x="11633" y="14973"/>
                  </a:cubicBezTo>
                  <a:close/>
                  <a:moveTo>
                    <a:pt x="17635" y="24907"/>
                  </a:moveTo>
                  <a:cubicBezTo>
                    <a:pt x="17395" y="25660"/>
                    <a:pt x="17251" y="26437"/>
                    <a:pt x="17202" y="27225"/>
                  </a:cubicBezTo>
                  <a:cubicBezTo>
                    <a:pt x="17196" y="27316"/>
                    <a:pt x="17267" y="27366"/>
                    <a:pt x="17342" y="27366"/>
                  </a:cubicBezTo>
                  <a:cubicBezTo>
                    <a:pt x="17381" y="27366"/>
                    <a:pt x="17420" y="27352"/>
                    <a:pt x="17450" y="27323"/>
                  </a:cubicBezTo>
                  <a:lnTo>
                    <a:pt x="17450" y="27323"/>
                  </a:lnTo>
                  <a:cubicBezTo>
                    <a:pt x="17369" y="27482"/>
                    <a:pt x="17294" y="27641"/>
                    <a:pt x="17216" y="27799"/>
                  </a:cubicBezTo>
                  <a:cubicBezTo>
                    <a:pt x="16832" y="27566"/>
                    <a:pt x="16518" y="27268"/>
                    <a:pt x="16341" y="26838"/>
                  </a:cubicBezTo>
                  <a:cubicBezTo>
                    <a:pt x="16469" y="26702"/>
                    <a:pt x="16604" y="26575"/>
                    <a:pt x="16723" y="26431"/>
                  </a:cubicBezTo>
                  <a:cubicBezTo>
                    <a:pt x="16821" y="26313"/>
                    <a:pt x="16725" y="26160"/>
                    <a:pt x="16616" y="26142"/>
                  </a:cubicBezTo>
                  <a:cubicBezTo>
                    <a:pt x="16965" y="25738"/>
                    <a:pt x="17297" y="25322"/>
                    <a:pt x="17635" y="24907"/>
                  </a:cubicBezTo>
                  <a:close/>
                  <a:moveTo>
                    <a:pt x="14338" y="18555"/>
                  </a:moveTo>
                  <a:lnTo>
                    <a:pt x="14338" y="18555"/>
                  </a:lnTo>
                  <a:cubicBezTo>
                    <a:pt x="12961" y="20735"/>
                    <a:pt x="11691" y="22949"/>
                    <a:pt x="10495" y="25288"/>
                  </a:cubicBezTo>
                  <a:cubicBezTo>
                    <a:pt x="10205" y="25858"/>
                    <a:pt x="8640" y="27964"/>
                    <a:pt x="8349" y="27964"/>
                  </a:cubicBezTo>
                  <a:cubicBezTo>
                    <a:pt x="8226" y="27964"/>
                    <a:pt x="8329" y="27590"/>
                    <a:pt x="8850" y="26570"/>
                  </a:cubicBezTo>
                  <a:cubicBezTo>
                    <a:pt x="9802" y="24705"/>
                    <a:pt x="11096" y="22998"/>
                    <a:pt x="12329" y="21309"/>
                  </a:cubicBezTo>
                  <a:cubicBezTo>
                    <a:pt x="12998" y="20394"/>
                    <a:pt x="13668" y="19476"/>
                    <a:pt x="14338" y="18555"/>
                  </a:cubicBezTo>
                  <a:close/>
                  <a:moveTo>
                    <a:pt x="15071" y="12198"/>
                  </a:moveTo>
                  <a:lnTo>
                    <a:pt x="15071" y="12198"/>
                  </a:lnTo>
                  <a:cubicBezTo>
                    <a:pt x="14471" y="13171"/>
                    <a:pt x="13867" y="14138"/>
                    <a:pt x="13267" y="15108"/>
                  </a:cubicBezTo>
                  <a:cubicBezTo>
                    <a:pt x="12632" y="16130"/>
                    <a:pt x="12008" y="17155"/>
                    <a:pt x="11376" y="18177"/>
                  </a:cubicBezTo>
                  <a:cubicBezTo>
                    <a:pt x="10746" y="19084"/>
                    <a:pt x="10114" y="19996"/>
                    <a:pt x="9491" y="20914"/>
                  </a:cubicBezTo>
                  <a:cubicBezTo>
                    <a:pt x="7943" y="22981"/>
                    <a:pt x="6451" y="25089"/>
                    <a:pt x="5099" y="27312"/>
                  </a:cubicBezTo>
                  <a:cubicBezTo>
                    <a:pt x="5039" y="27415"/>
                    <a:pt x="5130" y="27523"/>
                    <a:pt x="5226" y="27523"/>
                  </a:cubicBezTo>
                  <a:cubicBezTo>
                    <a:pt x="5258" y="27523"/>
                    <a:pt x="5291" y="27511"/>
                    <a:pt x="5319" y="27482"/>
                  </a:cubicBezTo>
                  <a:cubicBezTo>
                    <a:pt x="5515" y="27283"/>
                    <a:pt x="5694" y="27066"/>
                    <a:pt x="5879" y="26858"/>
                  </a:cubicBezTo>
                  <a:lnTo>
                    <a:pt x="5879" y="26858"/>
                  </a:lnTo>
                  <a:cubicBezTo>
                    <a:pt x="5674" y="27257"/>
                    <a:pt x="5469" y="27652"/>
                    <a:pt x="5281" y="28059"/>
                  </a:cubicBezTo>
                  <a:cubicBezTo>
                    <a:pt x="5036" y="27918"/>
                    <a:pt x="4791" y="27771"/>
                    <a:pt x="4557" y="27615"/>
                  </a:cubicBezTo>
                  <a:lnTo>
                    <a:pt x="4557" y="27612"/>
                  </a:lnTo>
                  <a:cubicBezTo>
                    <a:pt x="7704" y="22228"/>
                    <a:pt x="11448" y="17262"/>
                    <a:pt x="15071" y="12198"/>
                  </a:cubicBezTo>
                  <a:close/>
                  <a:moveTo>
                    <a:pt x="19356" y="25963"/>
                  </a:moveTo>
                  <a:lnTo>
                    <a:pt x="19356" y="25963"/>
                  </a:lnTo>
                  <a:cubicBezTo>
                    <a:pt x="18966" y="26720"/>
                    <a:pt x="18616" y="27496"/>
                    <a:pt x="18305" y="28287"/>
                  </a:cubicBezTo>
                  <a:cubicBezTo>
                    <a:pt x="18305" y="28293"/>
                    <a:pt x="18308" y="28299"/>
                    <a:pt x="18305" y="28305"/>
                  </a:cubicBezTo>
                  <a:cubicBezTo>
                    <a:pt x="18074" y="28215"/>
                    <a:pt x="17846" y="28123"/>
                    <a:pt x="17623" y="28019"/>
                  </a:cubicBezTo>
                  <a:cubicBezTo>
                    <a:pt x="18221" y="27346"/>
                    <a:pt x="18801" y="26662"/>
                    <a:pt x="19356" y="25963"/>
                  </a:cubicBezTo>
                  <a:close/>
                  <a:moveTo>
                    <a:pt x="20118" y="445"/>
                  </a:moveTo>
                  <a:cubicBezTo>
                    <a:pt x="22684" y="988"/>
                    <a:pt x="24367" y="3162"/>
                    <a:pt x="26238" y="4906"/>
                  </a:cubicBezTo>
                  <a:lnTo>
                    <a:pt x="26238" y="4903"/>
                  </a:lnTo>
                  <a:cubicBezTo>
                    <a:pt x="26645" y="5284"/>
                    <a:pt x="27286" y="5829"/>
                    <a:pt x="28005" y="6288"/>
                  </a:cubicBezTo>
                  <a:cubicBezTo>
                    <a:pt x="22921" y="12357"/>
                    <a:pt x="19667" y="19664"/>
                    <a:pt x="14705" y="25825"/>
                  </a:cubicBezTo>
                  <a:cubicBezTo>
                    <a:pt x="13990" y="26712"/>
                    <a:pt x="13678" y="27039"/>
                    <a:pt x="13604" y="27039"/>
                  </a:cubicBezTo>
                  <a:cubicBezTo>
                    <a:pt x="13434" y="27039"/>
                    <a:pt x="14564" y="25267"/>
                    <a:pt x="14944" y="24702"/>
                  </a:cubicBezTo>
                  <a:cubicBezTo>
                    <a:pt x="16102" y="22972"/>
                    <a:pt x="17326" y="21283"/>
                    <a:pt x="18510" y="19569"/>
                  </a:cubicBezTo>
                  <a:cubicBezTo>
                    <a:pt x="21492" y="15244"/>
                    <a:pt x="24350" y="10838"/>
                    <a:pt x="27081" y="6352"/>
                  </a:cubicBezTo>
                  <a:cubicBezTo>
                    <a:pt x="27143" y="6249"/>
                    <a:pt x="27046" y="6131"/>
                    <a:pt x="26949" y="6131"/>
                  </a:cubicBezTo>
                  <a:cubicBezTo>
                    <a:pt x="26916" y="6131"/>
                    <a:pt x="26883" y="6145"/>
                    <a:pt x="26856" y="6179"/>
                  </a:cubicBezTo>
                  <a:cubicBezTo>
                    <a:pt x="21177" y="13125"/>
                    <a:pt x="17158" y="21194"/>
                    <a:pt x="11887" y="28432"/>
                  </a:cubicBezTo>
                  <a:cubicBezTo>
                    <a:pt x="12637" y="27398"/>
                    <a:pt x="13177" y="25885"/>
                    <a:pt x="13786" y="24531"/>
                  </a:cubicBezTo>
                  <a:cubicBezTo>
                    <a:pt x="16887" y="20331"/>
                    <a:pt x="19944" y="15980"/>
                    <a:pt x="22557" y="11629"/>
                  </a:cubicBezTo>
                  <a:cubicBezTo>
                    <a:pt x="23911" y="9629"/>
                    <a:pt x="25184" y="7579"/>
                    <a:pt x="26290" y="5405"/>
                  </a:cubicBezTo>
                  <a:cubicBezTo>
                    <a:pt x="26346" y="5292"/>
                    <a:pt x="26261" y="5200"/>
                    <a:pt x="26168" y="5200"/>
                  </a:cubicBezTo>
                  <a:cubicBezTo>
                    <a:pt x="26126" y="5200"/>
                    <a:pt x="26083" y="5219"/>
                    <a:pt x="26050" y="5264"/>
                  </a:cubicBezTo>
                  <a:cubicBezTo>
                    <a:pt x="23816" y="8295"/>
                    <a:pt x="22049" y="11681"/>
                    <a:pt x="20080" y="14915"/>
                  </a:cubicBezTo>
                  <a:cubicBezTo>
                    <a:pt x="18169" y="17551"/>
                    <a:pt x="16203" y="20149"/>
                    <a:pt x="14459" y="22892"/>
                  </a:cubicBezTo>
                  <a:cubicBezTo>
                    <a:pt x="13172" y="24608"/>
                    <a:pt x="11918" y="26339"/>
                    <a:pt x="10862" y="28142"/>
                  </a:cubicBezTo>
                  <a:lnTo>
                    <a:pt x="10862" y="28142"/>
                  </a:lnTo>
                  <a:cubicBezTo>
                    <a:pt x="15565" y="20103"/>
                    <a:pt x="21964" y="13260"/>
                    <a:pt x="25658" y="4617"/>
                  </a:cubicBezTo>
                  <a:cubicBezTo>
                    <a:pt x="25699" y="4520"/>
                    <a:pt x="25618" y="4401"/>
                    <a:pt x="25530" y="4401"/>
                  </a:cubicBezTo>
                  <a:cubicBezTo>
                    <a:pt x="25500" y="4401"/>
                    <a:pt x="25469" y="4415"/>
                    <a:pt x="25441" y="4449"/>
                  </a:cubicBezTo>
                  <a:cubicBezTo>
                    <a:pt x="20196" y="11240"/>
                    <a:pt x="16572" y="19164"/>
                    <a:pt x="11304" y="25946"/>
                  </a:cubicBezTo>
                  <a:cubicBezTo>
                    <a:pt x="10660" y="26773"/>
                    <a:pt x="9749" y="27895"/>
                    <a:pt x="9587" y="27895"/>
                  </a:cubicBezTo>
                  <a:cubicBezTo>
                    <a:pt x="9482" y="27895"/>
                    <a:pt x="9695" y="27419"/>
                    <a:pt x="10507" y="26076"/>
                  </a:cubicBezTo>
                  <a:cubicBezTo>
                    <a:pt x="12063" y="23498"/>
                    <a:pt x="13706" y="20969"/>
                    <a:pt x="15351" y="18448"/>
                  </a:cubicBezTo>
                  <a:cubicBezTo>
                    <a:pt x="18313" y="13907"/>
                    <a:pt x="21382" y="9435"/>
                    <a:pt x="24396" y="4929"/>
                  </a:cubicBezTo>
                  <a:cubicBezTo>
                    <a:pt x="24465" y="4828"/>
                    <a:pt x="24375" y="4739"/>
                    <a:pt x="24280" y="4739"/>
                  </a:cubicBezTo>
                  <a:cubicBezTo>
                    <a:pt x="24238" y="4739"/>
                    <a:pt x="24196" y="4756"/>
                    <a:pt x="24165" y="4796"/>
                  </a:cubicBezTo>
                  <a:cubicBezTo>
                    <a:pt x="23288" y="5933"/>
                    <a:pt x="22436" y="7088"/>
                    <a:pt x="21593" y="8252"/>
                  </a:cubicBezTo>
                  <a:cubicBezTo>
                    <a:pt x="22404" y="7007"/>
                    <a:pt x="23192" y="5751"/>
                    <a:pt x="23931" y="4461"/>
                  </a:cubicBezTo>
                  <a:cubicBezTo>
                    <a:pt x="23990" y="4360"/>
                    <a:pt x="23897" y="4246"/>
                    <a:pt x="23802" y="4246"/>
                  </a:cubicBezTo>
                  <a:cubicBezTo>
                    <a:pt x="23769" y="4246"/>
                    <a:pt x="23736" y="4259"/>
                    <a:pt x="23709" y="4291"/>
                  </a:cubicBezTo>
                  <a:cubicBezTo>
                    <a:pt x="23663" y="4340"/>
                    <a:pt x="23623" y="4395"/>
                    <a:pt x="23579" y="4444"/>
                  </a:cubicBezTo>
                  <a:cubicBezTo>
                    <a:pt x="23738" y="3976"/>
                    <a:pt x="23859" y="3497"/>
                    <a:pt x="23940" y="3009"/>
                  </a:cubicBezTo>
                  <a:cubicBezTo>
                    <a:pt x="23955" y="2915"/>
                    <a:pt x="23884" y="2835"/>
                    <a:pt x="23805" y="2835"/>
                  </a:cubicBezTo>
                  <a:cubicBezTo>
                    <a:pt x="23774" y="2835"/>
                    <a:pt x="23741" y="2848"/>
                    <a:pt x="23712" y="2876"/>
                  </a:cubicBezTo>
                  <a:cubicBezTo>
                    <a:pt x="20464" y="5971"/>
                    <a:pt x="17978" y="9582"/>
                    <a:pt x="15626" y="13382"/>
                  </a:cubicBezTo>
                  <a:cubicBezTo>
                    <a:pt x="13512" y="16786"/>
                    <a:pt x="11350" y="20207"/>
                    <a:pt x="9283" y="23665"/>
                  </a:cubicBezTo>
                  <a:cubicBezTo>
                    <a:pt x="8702" y="24367"/>
                    <a:pt x="8116" y="25063"/>
                    <a:pt x="7513" y="25753"/>
                  </a:cubicBezTo>
                  <a:cubicBezTo>
                    <a:pt x="6883" y="26475"/>
                    <a:pt x="6416" y="26954"/>
                    <a:pt x="6282" y="26954"/>
                  </a:cubicBezTo>
                  <a:cubicBezTo>
                    <a:pt x="6176" y="26954"/>
                    <a:pt x="6277" y="26654"/>
                    <a:pt x="6670" y="25937"/>
                  </a:cubicBezTo>
                  <a:cubicBezTo>
                    <a:pt x="8448" y="23735"/>
                    <a:pt x="9883" y="21246"/>
                    <a:pt x="11333" y="18801"/>
                  </a:cubicBezTo>
                  <a:cubicBezTo>
                    <a:pt x="13082" y="16430"/>
                    <a:pt x="14806" y="14083"/>
                    <a:pt x="16492" y="11707"/>
                  </a:cubicBezTo>
                  <a:lnTo>
                    <a:pt x="16492" y="11707"/>
                  </a:lnTo>
                  <a:cubicBezTo>
                    <a:pt x="15091" y="13642"/>
                    <a:pt x="13631" y="15524"/>
                    <a:pt x="12176" y="17403"/>
                  </a:cubicBezTo>
                  <a:cubicBezTo>
                    <a:pt x="12308" y="17184"/>
                    <a:pt x="12441" y="16965"/>
                    <a:pt x="12577" y="16748"/>
                  </a:cubicBezTo>
                  <a:cubicBezTo>
                    <a:pt x="12773" y="16433"/>
                    <a:pt x="12969" y="16122"/>
                    <a:pt x="13163" y="15807"/>
                  </a:cubicBezTo>
                  <a:cubicBezTo>
                    <a:pt x="14716" y="13569"/>
                    <a:pt x="16287" y="11355"/>
                    <a:pt x="17799" y="9161"/>
                  </a:cubicBezTo>
                  <a:cubicBezTo>
                    <a:pt x="19099" y="7274"/>
                    <a:pt x="20587" y="5321"/>
                    <a:pt x="21744" y="3466"/>
                  </a:cubicBezTo>
                  <a:lnTo>
                    <a:pt x="21744" y="3466"/>
                  </a:lnTo>
                  <a:cubicBezTo>
                    <a:pt x="20160" y="6008"/>
                    <a:pt x="18692" y="8572"/>
                    <a:pt x="16971" y="11027"/>
                  </a:cubicBezTo>
                  <a:lnTo>
                    <a:pt x="16971" y="11027"/>
                  </a:lnTo>
                  <a:cubicBezTo>
                    <a:pt x="18983" y="8172"/>
                    <a:pt x="20943" y="5277"/>
                    <a:pt x="22823" y="2255"/>
                  </a:cubicBezTo>
                  <a:cubicBezTo>
                    <a:pt x="22891" y="2147"/>
                    <a:pt x="22800" y="2054"/>
                    <a:pt x="22702" y="2054"/>
                  </a:cubicBezTo>
                  <a:cubicBezTo>
                    <a:pt x="22660" y="2054"/>
                    <a:pt x="22616" y="2072"/>
                    <a:pt x="22583" y="2114"/>
                  </a:cubicBezTo>
                  <a:cubicBezTo>
                    <a:pt x="20109" y="5385"/>
                    <a:pt x="17745" y="8728"/>
                    <a:pt x="15458" y="12126"/>
                  </a:cubicBezTo>
                  <a:cubicBezTo>
                    <a:pt x="17580" y="8719"/>
                    <a:pt x="19705" y="5315"/>
                    <a:pt x="21882" y="1941"/>
                  </a:cubicBezTo>
                  <a:cubicBezTo>
                    <a:pt x="21952" y="1832"/>
                    <a:pt x="21857" y="1736"/>
                    <a:pt x="21756" y="1736"/>
                  </a:cubicBezTo>
                  <a:cubicBezTo>
                    <a:pt x="21713" y="1736"/>
                    <a:pt x="21668" y="1754"/>
                    <a:pt x="21636" y="1796"/>
                  </a:cubicBezTo>
                  <a:cubicBezTo>
                    <a:pt x="20655" y="3121"/>
                    <a:pt x="19702" y="4472"/>
                    <a:pt x="18761" y="5835"/>
                  </a:cubicBezTo>
                  <a:cubicBezTo>
                    <a:pt x="19739" y="4328"/>
                    <a:pt x="20606" y="2769"/>
                    <a:pt x="21267" y="1118"/>
                  </a:cubicBezTo>
                  <a:cubicBezTo>
                    <a:pt x="21306" y="1020"/>
                    <a:pt x="21214" y="940"/>
                    <a:pt x="21123" y="940"/>
                  </a:cubicBezTo>
                  <a:cubicBezTo>
                    <a:pt x="21088" y="940"/>
                    <a:pt x="21054" y="952"/>
                    <a:pt x="21027" y="979"/>
                  </a:cubicBezTo>
                  <a:cubicBezTo>
                    <a:pt x="19789" y="2284"/>
                    <a:pt x="18715" y="3756"/>
                    <a:pt x="17707" y="5281"/>
                  </a:cubicBezTo>
                  <a:cubicBezTo>
                    <a:pt x="18611" y="3733"/>
                    <a:pt x="19433" y="2137"/>
                    <a:pt x="20118" y="445"/>
                  </a:cubicBezTo>
                  <a:close/>
                  <a:moveTo>
                    <a:pt x="28747" y="16390"/>
                  </a:moveTo>
                  <a:lnTo>
                    <a:pt x="28747" y="16390"/>
                  </a:lnTo>
                  <a:cubicBezTo>
                    <a:pt x="27924" y="17603"/>
                    <a:pt x="27119" y="18812"/>
                    <a:pt x="26371" y="19990"/>
                  </a:cubicBezTo>
                  <a:cubicBezTo>
                    <a:pt x="24893" y="22323"/>
                    <a:pt x="23588" y="24771"/>
                    <a:pt x="22170" y="27144"/>
                  </a:cubicBezTo>
                  <a:cubicBezTo>
                    <a:pt x="21519" y="28233"/>
                    <a:pt x="21229" y="28656"/>
                    <a:pt x="21171" y="28656"/>
                  </a:cubicBezTo>
                  <a:cubicBezTo>
                    <a:pt x="20989" y="28656"/>
                    <a:pt x="23065" y="24554"/>
                    <a:pt x="23533" y="23752"/>
                  </a:cubicBezTo>
                  <a:cubicBezTo>
                    <a:pt x="25046" y="21154"/>
                    <a:pt x="26879" y="18757"/>
                    <a:pt x="28747" y="16390"/>
                  </a:cubicBezTo>
                  <a:close/>
                  <a:moveTo>
                    <a:pt x="22153" y="24147"/>
                  </a:moveTo>
                  <a:lnTo>
                    <a:pt x="22153" y="24147"/>
                  </a:lnTo>
                  <a:cubicBezTo>
                    <a:pt x="22003" y="24448"/>
                    <a:pt x="21856" y="24745"/>
                    <a:pt x="21708" y="25039"/>
                  </a:cubicBezTo>
                  <a:cubicBezTo>
                    <a:pt x="20891" y="26246"/>
                    <a:pt x="20095" y="27467"/>
                    <a:pt x="19350" y="28729"/>
                  </a:cubicBezTo>
                  <a:cubicBezTo>
                    <a:pt x="19107" y="28614"/>
                    <a:pt x="18850" y="28510"/>
                    <a:pt x="18585" y="28409"/>
                  </a:cubicBezTo>
                  <a:cubicBezTo>
                    <a:pt x="19872" y="27055"/>
                    <a:pt x="21044" y="25626"/>
                    <a:pt x="22153" y="24147"/>
                  </a:cubicBezTo>
                  <a:close/>
                  <a:moveTo>
                    <a:pt x="27377" y="7335"/>
                  </a:moveTo>
                  <a:cubicBezTo>
                    <a:pt x="27407" y="7335"/>
                    <a:pt x="25807" y="9741"/>
                    <a:pt x="25326" y="10515"/>
                  </a:cubicBezTo>
                  <a:cubicBezTo>
                    <a:pt x="24122" y="12452"/>
                    <a:pt x="22970" y="14424"/>
                    <a:pt x="21804" y="16387"/>
                  </a:cubicBezTo>
                  <a:cubicBezTo>
                    <a:pt x="19535" y="20212"/>
                    <a:pt x="17228" y="24009"/>
                    <a:pt x="14710" y="27675"/>
                  </a:cubicBezTo>
                  <a:cubicBezTo>
                    <a:pt x="13807" y="28244"/>
                    <a:pt x="12767" y="28700"/>
                    <a:pt x="11757" y="29012"/>
                  </a:cubicBezTo>
                  <a:cubicBezTo>
                    <a:pt x="12213" y="28397"/>
                    <a:pt x="12675" y="27782"/>
                    <a:pt x="13114" y="27156"/>
                  </a:cubicBezTo>
                  <a:lnTo>
                    <a:pt x="13114" y="27156"/>
                  </a:lnTo>
                  <a:cubicBezTo>
                    <a:pt x="12955" y="27465"/>
                    <a:pt x="12790" y="27773"/>
                    <a:pt x="12646" y="28094"/>
                  </a:cubicBezTo>
                  <a:cubicBezTo>
                    <a:pt x="12592" y="28208"/>
                    <a:pt x="12683" y="28335"/>
                    <a:pt x="12787" y="28335"/>
                  </a:cubicBezTo>
                  <a:cubicBezTo>
                    <a:pt x="12823" y="28335"/>
                    <a:pt x="12861" y="28320"/>
                    <a:pt x="12894" y="28284"/>
                  </a:cubicBezTo>
                  <a:cubicBezTo>
                    <a:pt x="18114" y="22814"/>
                    <a:pt x="21388" y="16015"/>
                    <a:pt x="25638" y="9831"/>
                  </a:cubicBezTo>
                  <a:cubicBezTo>
                    <a:pt x="26909" y="7980"/>
                    <a:pt x="27362" y="7335"/>
                    <a:pt x="27377" y="7335"/>
                  </a:cubicBezTo>
                  <a:close/>
                  <a:moveTo>
                    <a:pt x="10311" y="23792"/>
                  </a:moveTo>
                  <a:cubicBezTo>
                    <a:pt x="9211" y="25447"/>
                    <a:pt x="8209" y="27167"/>
                    <a:pt x="7392" y="29026"/>
                  </a:cubicBezTo>
                  <a:cubicBezTo>
                    <a:pt x="6754" y="28804"/>
                    <a:pt x="6133" y="28527"/>
                    <a:pt x="5538" y="28204"/>
                  </a:cubicBezTo>
                  <a:cubicBezTo>
                    <a:pt x="6563" y="27173"/>
                    <a:pt x="7539" y="26105"/>
                    <a:pt x="8480" y="25011"/>
                  </a:cubicBezTo>
                  <a:lnTo>
                    <a:pt x="8480" y="25011"/>
                  </a:lnTo>
                  <a:cubicBezTo>
                    <a:pt x="7816" y="26142"/>
                    <a:pt x="7158" y="27277"/>
                    <a:pt x="6526" y="28420"/>
                  </a:cubicBezTo>
                  <a:cubicBezTo>
                    <a:pt x="6474" y="28515"/>
                    <a:pt x="6562" y="28626"/>
                    <a:pt x="6648" y="28626"/>
                  </a:cubicBezTo>
                  <a:cubicBezTo>
                    <a:pt x="6678" y="28626"/>
                    <a:pt x="6707" y="28613"/>
                    <a:pt x="6731" y="28582"/>
                  </a:cubicBezTo>
                  <a:cubicBezTo>
                    <a:pt x="7949" y="27003"/>
                    <a:pt x="9136" y="25400"/>
                    <a:pt x="10311" y="23792"/>
                  </a:cubicBezTo>
                  <a:close/>
                  <a:moveTo>
                    <a:pt x="12490" y="26275"/>
                  </a:moveTo>
                  <a:lnTo>
                    <a:pt x="12490" y="26275"/>
                  </a:lnTo>
                  <a:cubicBezTo>
                    <a:pt x="11997" y="27216"/>
                    <a:pt x="11546" y="28189"/>
                    <a:pt x="11136" y="29185"/>
                  </a:cubicBezTo>
                  <a:cubicBezTo>
                    <a:pt x="10813" y="29269"/>
                    <a:pt x="10487" y="29332"/>
                    <a:pt x="10158" y="29382"/>
                  </a:cubicBezTo>
                  <a:cubicBezTo>
                    <a:pt x="10928" y="28360"/>
                    <a:pt x="11708" y="27323"/>
                    <a:pt x="12490" y="26275"/>
                  </a:cubicBezTo>
                  <a:close/>
                  <a:moveTo>
                    <a:pt x="13911" y="23036"/>
                  </a:moveTo>
                  <a:lnTo>
                    <a:pt x="13911" y="23036"/>
                  </a:lnTo>
                  <a:cubicBezTo>
                    <a:pt x="12484" y="25100"/>
                    <a:pt x="11096" y="27187"/>
                    <a:pt x="9826" y="29361"/>
                  </a:cubicBezTo>
                  <a:cubicBezTo>
                    <a:pt x="9817" y="29384"/>
                    <a:pt x="9811" y="29408"/>
                    <a:pt x="9817" y="29431"/>
                  </a:cubicBezTo>
                  <a:cubicBezTo>
                    <a:pt x="9715" y="29441"/>
                    <a:pt x="9609" y="29446"/>
                    <a:pt x="9500" y="29446"/>
                  </a:cubicBezTo>
                  <a:cubicBezTo>
                    <a:pt x="9000" y="29446"/>
                    <a:pt x="8420" y="29341"/>
                    <a:pt x="7807" y="29159"/>
                  </a:cubicBezTo>
                  <a:cubicBezTo>
                    <a:pt x="8212" y="28879"/>
                    <a:pt x="8587" y="28559"/>
                    <a:pt x="8925" y="28201"/>
                  </a:cubicBezTo>
                  <a:lnTo>
                    <a:pt x="8925" y="28201"/>
                  </a:lnTo>
                  <a:cubicBezTo>
                    <a:pt x="8754" y="28484"/>
                    <a:pt x="8581" y="28764"/>
                    <a:pt x="8414" y="29050"/>
                  </a:cubicBezTo>
                  <a:cubicBezTo>
                    <a:pt x="8353" y="29149"/>
                    <a:pt x="8440" y="29250"/>
                    <a:pt x="8533" y="29250"/>
                  </a:cubicBezTo>
                  <a:cubicBezTo>
                    <a:pt x="8565" y="29250"/>
                    <a:pt x="8597" y="29238"/>
                    <a:pt x="8625" y="29211"/>
                  </a:cubicBezTo>
                  <a:cubicBezTo>
                    <a:pt x="10562" y="27346"/>
                    <a:pt x="12300" y="25253"/>
                    <a:pt x="13911" y="23036"/>
                  </a:cubicBezTo>
                  <a:close/>
                  <a:moveTo>
                    <a:pt x="25242" y="20602"/>
                  </a:moveTo>
                  <a:lnTo>
                    <a:pt x="25242" y="20602"/>
                  </a:lnTo>
                  <a:cubicBezTo>
                    <a:pt x="23256" y="23443"/>
                    <a:pt x="21524" y="26431"/>
                    <a:pt x="20441" y="29763"/>
                  </a:cubicBezTo>
                  <a:cubicBezTo>
                    <a:pt x="20288" y="29373"/>
                    <a:pt x="19999" y="29096"/>
                    <a:pt x="19636" y="28882"/>
                  </a:cubicBezTo>
                  <a:cubicBezTo>
                    <a:pt x="20043" y="28215"/>
                    <a:pt x="20444" y="27548"/>
                    <a:pt x="20839" y="26876"/>
                  </a:cubicBezTo>
                  <a:cubicBezTo>
                    <a:pt x="22179" y="24705"/>
                    <a:pt x="23700" y="22638"/>
                    <a:pt x="25242" y="20602"/>
                  </a:cubicBezTo>
                  <a:close/>
                  <a:moveTo>
                    <a:pt x="18762" y="1"/>
                  </a:moveTo>
                  <a:cubicBezTo>
                    <a:pt x="18729" y="1"/>
                    <a:pt x="18697" y="13"/>
                    <a:pt x="18671" y="38"/>
                  </a:cubicBezTo>
                  <a:cubicBezTo>
                    <a:pt x="18660" y="50"/>
                    <a:pt x="18648" y="61"/>
                    <a:pt x="18634" y="73"/>
                  </a:cubicBezTo>
                  <a:cubicBezTo>
                    <a:pt x="16902" y="81"/>
                    <a:pt x="15247" y="419"/>
                    <a:pt x="13651" y="973"/>
                  </a:cubicBezTo>
                  <a:cubicBezTo>
                    <a:pt x="13625" y="951"/>
                    <a:pt x="13592" y="940"/>
                    <a:pt x="13561" y="940"/>
                  </a:cubicBezTo>
                  <a:cubicBezTo>
                    <a:pt x="13515" y="940"/>
                    <a:pt x="13470" y="963"/>
                    <a:pt x="13446" y="1005"/>
                  </a:cubicBezTo>
                  <a:cubicBezTo>
                    <a:pt x="13434" y="1025"/>
                    <a:pt x="13423" y="1043"/>
                    <a:pt x="13408" y="1063"/>
                  </a:cubicBezTo>
                  <a:cubicBezTo>
                    <a:pt x="13007" y="1207"/>
                    <a:pt x="12611" y="1363"/>
                    <a:pt x="12219" y="1531"/>
                  </a:cubicBezTo>
                  <a:cubicBezTo>
                    <a:pt x="12233" y="1508"/>
                    <a:pt x="12251" y="1484"/>
                    <a:pt x="12268" y="1458"/>
                  </a:cubicBezTo>
                  <a:cubicBezTo>
                    <a:pt x="12339" y="1358"/>
                    <a:pt x="12246" y="1264"/>
                    <a:pt x="12149" y="1264"/>
                  </a:cubicBezTo>
                  <a:cubicBezTo>
                    <a:pt x="12107" y="1264"/>
                    <a:pt x="12064" y="1281"/>
                    <a:pt x="12034" y="1323"/>
                  </a:cubicBezTo>
                  <a:cubicBezTo>
                    <a:pt x="11933" y="1461"/>
                    <a:pt x="11826" y="1609"/>
                    <a:pt x="11722" y="1753"/>
                  </a:cubicBezTo>
                  <a:cubicBezTo>
                    <a:pt x="10666" y="2241"/>
                    <a:pt x="9635" y="2786"/>
                    <a:pt x="8636" y="3384"/>
                  </a:cubicBezTo>
                  <a:cubicBezTo>
                    <a:pt x="7357" y="4149"/>
                    <a:pt x="6355" y="5197"/>
                    <a:pt x="5455" y="6346"/>
                  </a:cubicBezTo>
                  <a:cubicBezTo>
                    <a:pt x="4118" y="7715"/>
                    <a:pt x="2980" y="9239"/>
                    <a:pt x="2100" y="10910"/>
                  </a:cubicBezTo>
                  <a:cubicBezTo>
                    <a:pt x="1670" y="11436"/>
                    <a:pt x="1222" y="11941"/>
                    <a:pt x="720" y="12392"/>
                  </a:cubicBezTo>
                  <a:cubicBezTo>
                    <a:pt x="598" y="12500"/>
                    <a:pt x="711" y="12662"/>
                    <a:pt x="839" y="12662"/>
                  </a:cubicBezTo>
                  <a:cubicBezTo>
                    <a:pt x="875" y="12662"/>
                    <a:pt x="912" y="12649"/>
                    <a:pt x="945" y="12620"/>
                  </a:cubicBezTo>
                  <a:cubicBezTo>
                    <a:pt x="1153" y="12432"/>
                    <a:pt x="1355" y="12241"/>
                    <a:pt x="1548" y="12045"/>
                  </a:cubicBezTo>
                  <a:lnTo>
                    <a:pt x="1548" y="12045"/>
                  </a:lnTo>
                  <a:cubicBezTo>
                    <a:pt x="1225" y="12773"/>
                    <a:pt x="951" y="13520"/>
                    <a:pt x="726" y="14283"/>
                  </a:cubicBezTo>
                  <a:cubicBezTo>
                    <a:pt x="705" y="14348"/>
                    <a:pt x="759" y="14391"/>
                    <a:pt x="813" y="14391"/>
                  </a:cubicBezTo>
                  <a:cubicBezTo>
                    <a:pt x="849" y="14391"/>
                    <a:pt x="885" y="14372"/>
                    <a:pt x="899" y="14329"/>
                  </a:cubicBezTo>
                  <a:cubicBezTo>
                    <a:pt x="1190" y="13362"/>
                    <a:pt x="1577" y="12449"/>
                    <a:pt x="2016" y="11557"/>
                  </a:cubicBezTo>
                  <a:cubicBezTo>
                    <a:pt x="3284" y="10186"/>
                    <a:pt x="4314" y="8670"/>
                    <a:pt x="5429" y="7224"/>
                  </a:cubicBezTo>
                  <a:lnTo>
                    <a:pt x="5429" y="7224"/>
                  </a:lnTo>
                  <a:cubicBezTo>
                    <a:pt x="5374" y="7446"/>
                    <a:pt x="5247" y="7781"/>
                    <a:pt x="5013" y="8292"/>
                  </a:cubicBezTo>
                  <a:cubicBezTo>
                    <a:pt x="4181" y="10111"/>
                    <a:pt x="2862" y="11696"/>
                    <a:pt x="1722" y="13373"/>
                  </a:cubicBezTo>
                  <a:cubicBezTo>
                    <a:pt x="1720" y="13367"/>
                    <a:pt x="1716" y="13362"/>
                    <a:pt x="1711" y="13362"/>
                  </a:cubicBezTo>
                  <a:cubicBezTo>
                    <a:pt x="1709" y="13362"/>
                    <a:pt x="1707" y="13363"/>
                    <a:pt x="1704" y="13364"/>
                  </a:cubicBezTo>
                  <a:cubicBezTo>
                    <a:pt x="1208" y="13572"/>
                    <a:pt x="962" y="14130"/>
                    <a:pt x="838" y="14788"/>
                  </a:cubicBezTo>
                  <a:cubicBezTo>
                    <a:pt x="792" y="14869"/>
                    <a:pt x="743" y="14947"/>
                    <a:pt x="697" y="15027"/>
                  </a:cubicBezTo>
                  <a:cubicBezTo>
                    <a:pt x="662" y="15100"/>
                    <a:pt x="700" y="15189"/>
                    <a:pt x="781" y="15212"/>
                  </a:cubicBezTo>
                  <a:cubicBezTo>
                    <a:pt x="746" y="15547"/>
                    <a:pt x="729" y="15888"/>
                    <a:pt x="731" y="16225"/>
                  </a:cubicBezTo>
                  <a:cubicBezTo>
                    <a:pt x="720" y="16246"/>
                    <a:pt x="708" y="16266"/>
                    <a:pt x="697" y="16286"/>
                  </a:cubicBezTo>
                  <a:cubicBezTo>
                    <a:pt x="662" y="16344"/>
                    <a:pt x="677" y="16416"/>
                    <a:pt x="731" y="16454"/>
                  </a:cubicBezTo>
                  <a:cubicBezTo>
                    <a:pt x="740" y="16849"/>
                    <a:pt x="755" y="17201"/>
                    <a:pt x="763" y="17484"/>
                  </a:cubicBezTo>
                  <a:cubicBezTo>
                    <a:pt x="524" y="17923"/>
                    <a:pt x="278" y="18356"/>
                    <a:pt x="59" y="18804"/>
                  </a:cubicBezTo>
                  <a:cubicBezTo>
                    <a:pt x="1" y="18907"/>
                    <a:pt x="86" y="19011"/>
                    <a:pt x="181" y="19011"/>
                  </a:cubicBezTo>
                  <a:cubicBezTo>
                    <a:pt x="213" y="19011"/>
                    <a:pt x="246" y="18999"/>
                    <a:pt x="275" y="18971"/>
                  </a:cubicBezTo>
                  <a:cubicBezTo>
                    <a:pt x="446" y="18832"/>
                    <a:pt x="607" y="18682"/>
                    <a:pt x="772" y="18538"/>
                  </a:cubicBezTo>
                  <a:cubicBezTo>
                    <a:pt x="772" y="19144"/>
                    <a:pt x="772" y="19811"/>
                    <a:pt x="795" y="20498"/>
                  </a:cubicBezTo>
                  <a:cubicBezTo>
                    <a:pt x="653" y="20721"/>
                    <a:pt x="506" y="20946"/>
                    <a:pt x="371" y="21165"/>
                  </a:cubicBezTo>
                  <a:cubicBezTo>
                    <a:pt x="303" y="21267"/>
                    <a:pt x="402" y="21382"/>
                    <a:pt x="500" y="21382"/>
                  </a:cubicBezTo>
                  <a:cubicBezTo>
                    <a:pt x="533" y="21382"/>
                    <a:pt x="566" y="21369"/>
                    <a:pt x="593" y="21338"/>
                  </a:cubicBezTo>
                  <a:cubicBezTo>
                    <a:pt x="674" y="21249"/>
                    <a:pt x="746" y="21154"/>
                    <a:pt x="827" y="21064"/>
                  </a:cubicBezTo>
                  <a:cubicBezTo>
                    <a:pt x="853" y="21546"/>
                    <a:pt x="896" y="22028"/>
                    <a:pt x="962" y="22502"/>
                  </a:cubicBezTo>
                  <a:cubicBezTo>
                    <a:pt x="919" y="22698"/>
                    <a:pt x="876" y="22894"/>
                    <a:pt x="844" y="23094"/>
                  </a:cubicBezTo>
                  <a:cubicBezTo>
                    <a:pt x="831" y="23171"/>
                    <a:pt x="901" y="23256"/>
                    <a:pt x="974" y="23256"/>
                  </a:cubicBezTo>
                  <a:cubicBezTo>
                    <a:pt x="1002" y="23256"/>
                    <a:pt x="1030" y="23244"/>
                    <a:pt x="1055" y="23215"/>
                  </a:cubicBezTo>
                  <a:cubicBezTo>
                    <a:pt x="1063" y="23203"/>
                    <a:pt x="1072" y="23189"/>
                    <a:pt x="1084" y="23177"/>
                  </a:cubicBezTo>
                  <a:cubicBezTo>
                    <a:pt x="1101" y="23276"/>
                    <a:pt x="1118" y="23374"/>
                    <a:pt x="1141" y="23466"/>
                  </a:cubicBezTo>
                  <a:cubicBezTo>
                    <a:pt x="1141" y="23475"/>
                    <a:pt x="1141" y="23481"/>
                    <a:pt x="1144" y="23489"/>
                  </a:cubicBezTo>
                  <a:cubicBezTo>
                    <a:pt x="1205" y="23740"/>
                    <a:pt x="1280" y="23989"/>
                    <a:pt x="1367" y="24234"/>
                  </a:cubicBezTo>
                  <a:cubicBezTo>
                    <a:pt x="1352" y="24263"/>
                    <a:pt x="1335" y="24292"/>
                    <a:pt x="1320" y="24318"/>
                  </a:cubicBezTo>
                  <a:cubicBezTo>
                    <a:pt x="1276" y="24412"/>
                    <a:pt x="1344" y="24520"/>
                    <a:pt x="1447" y="24520"/>
                  </a:cubicBezTo>
                  <a:cubicBezTo>
                    <a:pt x="1451" y="24520"/>
                    <a:pt x="1455" y="24520"/>
                    <a:pt x="1459" y="24520"/>
                  </a:cubicBezTo>
                  <a:cubicBezTo>
                    <a:pt x="1569" y="24803"/>
                    <a:pt x="1707" y="25074"/>
                    <a:pt x="1872" y="25331"/>
                  </a:cubicBezTo>
                  <a:cubicBezTo>
                    <a:pt x="3162" y="27306"/>
                    <a:pt x="5143" y="28619"/>
                    <a:pt x="7305" y="29205"/>
                  </a:cubicBezTo>
                  <a:cubicBezTo>
                    <a:pt x="7268" y="29298"/>
                    <a:pt x="7330" y="29409"/>
                    <a:pt x="7421" y="29409"/>
                  </a:cubicBezTo>
                  <a:cubicBezTo>
                    <a:pt x="7443" y="29409"/>
                    <a:pt x="7468" y="29403"/>
                    <a:pt x="7493" y="29387"/>
                  </a:cubicBezTo>
                  <a:cubicBezTo>
                    <a:pt x="7539" y="29361"/>
                    <a:pt x="7574" y="29324"/>
                    <a:pt x="7620" y="29295"/>
                  </a:cubicBezTo>
                  <a:cubicBezTo>
                    <a:pt x="8355" y="29466"/>
                    <a:pt x="9107" y="29552"/>
                    <a:pt x="9865" y="29552"/>
                  </a:cubicBezTo>
                  <a:cubicBezTo>
                    <a:pt x="9889" y="29552"/>
                    <a:pt x="9914" y="29552"/>
                    <a:pt x="9938" y="29552"/>
                  </a:cubicBezTo>
                  <a:lnTo>
                    <a:pt x="9979" y="29552"/>
                  </a:lnTo>
                  <a:cubicBezTo>
                    <a:pt x="10322" y="29546"/>
                    <a:pt x="10666" y="29523"/>
                    <a:pt x="11006" y="29483"/>
                  </a:cubicBezTo>
                  <a:lnTo>
                    <a:pt x="11006" y="29483"/>
                  </a:lnTo>
                  <a:cubicBezTo>
                    <a:pt x="10977" y="29558"/>
                    <a:pt x="10943" y="29633"/>
                    <a:pt x="10914" y="29708"/>
                  </a:cubicBezTo>
                  <a:cubicBezTo>
                    <a:pt x="10873" y="29810"/>
                    <a:pt x="10953" y="29870"/>
                    <a:pt x="11038" y="29870"/>
                  </a:cubicBezTo>
                  <a:cubicBezTo>
                    <a:pt x="11085" y="29870"/>
                    <a:pt x="11134" y="29852"/>
                    <a:pt x="11165" y="29812"/>
                  </a:cubicBezTo>
                  <a:cubicBezTo>
                    <a:pt x="11263" y="29685"/>
                    <a:pt x="11356" y="29549"/>
                    <a:pt x="11451" y="29422"/>
                  </a:cubicBezTo>
                  <a:cubicBezTo>
                    <a:pt x="13186" y="29127"/>
                    <a:pt x="14840" y="28351"/>
                    <a:pt x="16160" y="27026"/>
                  </a:cubicBezTo>
                  <a:cubicBezTo>
                    <a:pt x="16232" y="27505"/>
                    <a:pt x="16373" y="28045"/>
                    <a:pt x="16847" y="28201"/>
                  </a:cubicBezTo>
                  <a:cubicBezTo>
                    <a:pt x="16893" y="28215"/>
                    <a:pt x="16942" y="28227"/>
                    <a:pt x="16991" y="28241"/>
                  </a:cubicBezTo>
                  <a:cubicBezTo>
                    <a:pt x="16962" y="28296"/>
                    <a:pt x="16933" y="28354"/>
                    <a:pt x="16907" y="28409"/>
                  </a:cubicBezTo>
                  <a:cubicBezTo>
                    <a:pt x="16858" y="28514"/>
                    <a:pt x="16941" y="28632"/>
                    <a:pt x="17037" y="28632"/>
                  </a:cubicBezTo>
                  <a:cubicBezTo>
                    <a:pt x="17070" y="28632"/>
                    <a:pt x="17104" y="28618"/>
                    <a:pt x="17135" y="28585"/>
                  </a:cubicBezTo>
                  <a:cubicBezTo>
                    <a:pt x="17213" y="28501"/>
                    <a:pt x="17280" y="28412"/>
                    <a:pt x="17358" y="28328"/>
                  </a:cubicBezTo>
                  <a:cubicBezTo>
                    <a:pt x="18007" y="28455"/>
                    <a:pt x="18677" y="28487"/>
                    <a:pt x="19269" y="28847"/>
                  </a:cubicBezTo>
                  <a:cubicBezTo>
                    <a:pt x="19263" y="28856"/>
                    <a:pt x="19257" y="28865"/>
                    <a:pt x="19254" y="28873"/>
                  </a:cubicBezTo>
                  <a:cubicBezTo>
                    <a:pt x="19178" y="28998"/>
                    <a:pt x="19291" y="29116"/>
                    <a:pt x="19404" y="29116"/>
                  </a:cubicBezTo>
                  <a:cubicBezTo>
                    <a:pt x="19453" y="29116"/>
                    <a:pt x="19501" y="29094"/>
                    <a:pt x="19535" y="29041"/>
                  </a:cubicBezTo>
                  <a:cubicBezTo>
                    <a:pt x="19540" y="29047"/>
                    <a:pt x="19549" y="29050"/>
                    <a:pt x="19555" y="29055"/>
                  </a:cubicBezTo>
                  <a:cubicBezTo>
                    <a:pt x="21428" y="30678"/>
                    <a:pt x="19520" y="31382"/>
                    <a:pt x="19656" y="32742"/>
                  </a:cubicBezTo>
                  <a:cubicBezTo>
                    <a:pt x="19760" y="33767"/>
                    <a:pt x="20302" y="34414"/>
                    <a:pt x="21001" y="35147"/>
                  </a:cubicBezTo>
                  <a:cubicBezTo>
                    <a:pt x="22930" y="37168"/>
                    <a:pt x="24422" y="39070"/>
                    <a:pt x="24991" y="41905"/>
                  </a:cubicBezTo>
                  <a:cubicBezTo>
                    <a:pt x="25007" y="41988"/>
                    <a:pt x="25066" y="42024"/>
                    <a:pt x="25128" y="42024"/>
                  </a:cubicBezTo>
                  <a:cubicBezTo>
                    <a:pt x="25222" y="42024"/>
                    <a:pt x="25325" y="41942"/>
                    <a:pt x="25303" y="41819"/>
                  </a:cubicBezTo>
                  <a:cubicBezTo>
                    <a:pt x="24997" y="40078"/>
                    <a:pt x="24235" y="38681"/>
                    <a:pt x="23380" y="37139"/>
                  </a:cubicBezTo>
                  <a:cubicBezTo>
                    <a:pt x="22254" y="35115"/>
                    <a:pt x="19370" y="34434"/>
                    <a:pt x="20337" y="31573"/>
                  </a:cubicBezTo>
                  <a:cubicBezTo>
                    <a:pt x="20528" y="31010"/>
                    <a:pt x="20577" y="30571"/>
                    <a:pt x="20539" y="30201"/>
                  </a:cubicBezTo>
                  <a:cubicBezTo>
                    <a:pt x="20577" y="30193"/>
                    <a:pt x="20611" y="30170"/>
                    <a:pt x="20632" y="30138"/>
                  </a:cubicBezTo>
                  <a:cubicBezTo>
                    <a:pt x="23319" y="26001"/>
                    <a:pt x="25632" y="21636"/>
                    <a:pt x="28337" y="17504"/>
                  </a:cubicBezTo>
                  <a:cubicBezTo>
                    <a:pt x="29151" y="16260"/>
                    <a:pt x="29974" y="15024"/>
                    <a:pt x="30794" y="13792"/>
                  </a:cubicBezTo>
                  <a:cubicBezTo>
                    <a:pt x="31573" y="12796"/>
                    <a:pt x="32347" y="11791"/>
                    <a:pt x="33083" y="10769"/>
                  </a:cubicBezTo>
                  <a:cubicBezTo>
                    <a:pt x="33166" y="10651"/>
                    <a:pt x="33058" y="10545"/>
                    <a:pt x="32945" y="10545"/>
                  </a:cubicBezTo>
                  <a:cubicBezTo>
                    <a:pt x="32928" y="10545"/>
                    <a:pt x="32912" y="10548"/>
                    <a:pt x="32896" y="10552"/>
                  </a:cubicBezTo>
                  <a:cubicBezTo>
                    <a:pt x="33661" y="9346"/>
                    <a:pt x="34391" y="8116"/>
                    <a:pt x="35093" y="6866"/>
                  </a:cubicBezTo>
                  <a:lnTo>
                    <a:pt x="35093" y="6866"/>
                  </a:lnTo>
                  <a:cubicBezTo>
                    <a:pt x="34045" y="8601"/>
                    <a:pt x="32792" y="10472"/>
                    <a:pt x="31484" y="12389"/>
                  </a:cubicBezTo>
                  <a:cubicBezTo>
                    <a:pt x="30981" y="13050"/>
                    <a:pt x="30473" y="13711"/>
                    <a:pt x="29959" y="14369"/>
                  </a:cubicBezTo>
                  <a:cubicBezTo>
                    <a:pt x="31770" y="11935"/>
                    <a:pt x="33525" y="9467"/>
                    <a:pt x="35098" y="6854"/>
                  </a:cubicBezTo>
                  <a:cubicBezTo>
                    <a:pt x="35367" y="6372"/>
                    <a:pt x="35653" y="5902"/>
                    <a:pt x="35910" y="5411"/>
                  </a:cubicBezTo>
                  <a:cubicBezTo>
                    <a:pt x="35912" y="5405"/>
                    <a:pt x="35910" y="5399"/>
                    <a:pt x="35910" y="5393"/>
                  </a:cubicBezTo>
                  <a:cubicBezTo>
                    <a:pt x="35933" y="5393"/>
                    <a:pt x="35957" y="5393"/>
                    <a:pt x="35981" y="5393"/>
                  </a:cubicBezTo>
                  <a:cubicBezTo>
                    <a:pt x="36240" y="5393"/>
                    <a:pt x="36499" y="5407"/>
                    <a:pt x="36758" y="5434"/>
                  </a:cubicBezTo>
                  <a:cubicBezTo>
                    <a:pt x="37299" y="5496"/>
                    <a:pt x="37809" y="5531"/>
                    <a:pt x="38304" y="5531"/>
                  </a:cubicBezTo>
                  <a:cubicBezTo>
                    <a:pt x="39417" y="5531"/>
                    <a:pt x="40455" y="5356"/>
                    <a:pt x="41600" y="4929"/>
                  </a:cubicBezTo>
                  <a:cubicBezTo>
                    <a:pt x="41699" y="4895"/>
                    <a:pt x="41673" y="4753"/>
                    <a:pt x="41587" y="4753"/>
                  </a:cubicBezTo>
                  <a:cubicBezTo>
                    <a:pt x="41577" y="4753"/>
                    <a:pt x="41567" y="4755"/>
                    <a:pt x="41557" y="4758"/>
                  </a:cubicBezTo>
                  <a:cubicBezTo>
                    <a:pt x="40494" y="5096"/>
                    <a:pt x="39462" y="5203"/>
                    <a:pt x="38435" y="5203"/>
                  </a:cubicBezTo>
                  <a:cubicBezTo>
                    <a:pt x="36804" y="5203"/>
                    <a:pt x="35185" y="4936"/>
                    <a:pt x="33473" y="4906"/>
                  </a:cubicBezTo>
                  <a:cubicBezTo>
                    <a:pt x="33458" y="4905"/>
                    <a:pt x="33443" y="4905"/>
                    <a:pt x="33428" y="4905"/>
                  </a:cubicBezTo>
                  <a:cubicBezTo>
                    <a:pt x="32304" y="4905"/>
                    <a:pt x="32296" y="5650"/>
                    <a:pt x="32177" y="6268"/>
                  </a:cubicBezTo>
                  <a:cubicBezTo>
                    <a:pt x="32110" y="6352"/>
                    <a:pt x="32050" y="6441"/>
                    <a:pt x="31980" y="6528"/>
                  </a:cubicBezTo>
                  <a:cubicBezTo>
                    <a:pt x="31709" y="6667"/>
                    <a:pt x="31435" y="6805"/>
                    <a:pt x="31146" y="6955"/>
                  </a:cubicBezTo>
                  <a:cubicBezTo>
                    <a:pt x="31080" y="6987"/>
                    <a:pt x="31010" y="7016"/>
                    <a:pt x="30941" y="7039"/>
                  </a:cubicBezTo>
                  <a:cubicBezTo>
                    <a:pt x="31078" y="7061"/>
                    <a:pt x="31198" y="7072"/>
                    <a:pt x="31304" y="7072"/>
                  </a:cubicBezTo>
                  <a:cubicBezTo>
                    <a:pt x="31417" y="7072"/>
                    <a:pt x="31514" y="7060"/>
                    <a:pt x="31599" y="7039"/>
                  </a:cubicBezTo>
                  <a:lnTo>
                    <a:pt x="31599" y="7039"/>
                  </a:lnTo>
                  <a:cubicBezTo>
                    <a:pt x="30733" y="8185"/>
                    <a:pt x="29902" y="9354"/>
                    <a:pt x="29108" y="10547"/>
                  </a:cubicBezTo>
                  <a:cubicBezTo>
                    <a:pt x="29639" y="9455"/>
                    <a:pt x="30084" y="8327"/>
                    <a:pt x="30393" y="7134"/>
                  </a:cubicBezTo>
                  <a:cubicBezTo>
                    <a:pt x="30580" y="7131"/>
                    <a:pt x="30765" y="7097"/>
                    <a:pt x="30941" y="7036"/>
                  </a:cubicBezTo>
                  <a:cubicBezTo>
                    <a:pt x="30372" y="6941"/>
                    <a:pt x="29529" y="6641"/>
                    <a:pt x="28259" y="6023"/>
                  </a:cubicBezTo>
                  <a:cubicBezTo>
                    <a:pt x="25173" y="4527"/>
                    <a:pt x="23623" y="431"/>
                    <a:pt x="19881" y="110"/>
                  </a:cubicBezTo>
                  <a:cubicBezTo>
                    <a:pt x="19543" y="81"/>
                    <a:pt x="19214" y="84"/>
                    <a:pt x="18879" y="78"/>
                  </a:cubicBezTo>
                  <a:cubicBezTo>
                    <a:pt x="18858" y="28"/>
                    <a:pt x="18810" y="1"/>
                    <a:pt x="187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65"/>
            <p:cNvSpPr/>
            <p:nvPr/>
          </p:nvSpPr>
          <p:spPr>
            <a:xfrm>
              <a:off x="4020600" y="4528725"/>
              <a:ext cx="89650" cy="23625"/>
            </a:xfrm>
            <a:custGeom>
              <a:avLst/>
              <a:gdLst/>
              <a:ahLst/>
              <a:cxnLst/>
              <a:rect l="l" t="t" r="r" b="b"/>
              <a:pathLst>
                <a:path w="3586" h="945" extrusionOk="0">
                  <a:moveTo>
                    <a:pt x="0" y="1"/>
                  </a:moveTo>
                  <a:cubicBezTo>
                    <a:pt x="567" y="575"/>
                    <a:pt x="1293" y="944"/>
                    <a:pt x="2237" y="944"/>
                  </a:cubicBezTo>
                  <a:cubicBezTo>
                    <a:pt x="2645" y="944"/>
                    <a:pt x="3093" y="876"/>
                    <a:pt x="3586" y="725"/>
                  </a:cubicBezTo>
                  <a:lnTo>
                    <a:pt x="3586" y="725"/>
                  </a:lnTo>
                  <a:cubicBezTo>
                    <a:pt x="3152" y="825"/>
                    <a:pt x="2752" y="872"/>
                    <a:pt x="2381" y="872"/>
                  </a:cubicBezTo>
                  <a:cubicBezTo>
                    <a:pt x="1399" y="872"/>
                    <a:pt x="625" y="54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65"/>
            <p:cNvSpPr/>
            <p:nvPr/>
          </p:nvSpPr>
          <p:spPr>
            <a:xfrm>
              <a:off x="3817925" y="4050975"/>
              <a:ext cx="202775" cy="477700"/>
            </a:xfrm>
            <a:custGeom>
              <a:avLst/>
              <a:gdLst/>
              <a:ahLst/>
              <a:cxnLst/>
              <a:rect l="l" t="t" r="r" b="b"/>
              <a:pathLst>
                <a:path w="8111" h="19108" extrusionOk="0">
                  <a:moveTo>
                    <a:pt x="3197" y="1"/>
                  </a:moveTo>
                  <a:cubicBezTo>
                    <a:pt x="3182" y="1"/>
                    <a:pt x="3167" y="5"/>
                    <a:pt x="3153" y="16"/>
                  </a:cubicBezTo>
                  <a:cubicBezTo>
                    <a:pt x="1" y="2265"/>
                    <a:pt x="3583" y="8105"/>
                    <a:pt x="4626" y="10626"/>
                  </a:cubicBezTo>
                  <a:cubicBezTo>
                    <a:pt x="5587" y="12941"/>
                    <a:pt x="5982" y="17263"/>
                    <a:pt x="8110" y="19108"/>
                  </a:cubicBezTo>
                  <a:cubicBezTo>
                    <a:pt x="6863" y="17846"/>
                    <a:pt x="6378" y="15597"/>
                    <a:pt x="6034" y="14104"/>
                  </a:cubicBezTo>
                  <a:cubicBezTo>
                    <a:pt x="5327" y="11050"/>
                    <a:pt x="154" y="2802"/>
                    <a:pt x="3260" y="157"/>
                  </a:cubicBezTo>
                  <a:cubicBezTo>
                    <a:pt x="3324" y="103"/>
                    <a:pt x="3265" y="1"/>
                    <a:pt x="3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65"/>
            <p:cNvSpPr/>
            <p:nvPr/>
          </p:nvSpPr>
          <p:spPr>
            <a:xfrm>
              <a:off x="4110175" y="3244525"/>
              <a:ext cx="798225" cy="1302350"/>
            </a:xfrm>
            <a:custGeom>
              <a:avLst/>
              <a:gdLst/>
              <a:ahLst/>
              <a:cxnLst/>
              <a:rect l="l" t="t" r="r" b="b"/>
              <a:pathLst>
                <a:path w="31929" h="52094" extrusionOk="0">
                  <a:moveTo>
                    <a:pt x="8813" y="0"/>
                  </a:moveTo>
                  <a:cubicBezTo>
                    <a:pt x="8739" y="0"/>
                    <a:pt x="8678" y="70"/>
                    <a:pt x="8667" y="147"/>
                  </a:cubicBezTo>
                  <a:cubicBezTo>
                    <a:pt x="8277" y="3060"/>
                    <a:pt x="10133" y="5982"/>
                    <a:pt x="11568" y="8367"/>
                  </a:cubicBezTo>
                  <a:cubicBezTo>
                    <a:pt x="13811" y="12091"/>
                    <a:pt x="17059" y="13428"/>
                    <a:pt x="20278" y="16078"/>
                  </a:cubicBezTo>
                  <a:cubicBezTo>
                    <a:pt x="19357" y="17126"/>
                    <a:pt x="18699" y="18477"/>
                    <a:pt x="17787" y="19531"/>
                  </a:cubicBezTo>
                  <a:cubicBezTo>
                    <a:pt x="16289" y="21257"/>
                    <a:pt x="14530" y="22689"/>
                    <a:pt x="13133" y="24511"/>
                  </a:cubicBezTo>
                  <a:cubicBezTo>
                    <a:pt x="12253" y="25660"/>
                    <a:pt x="12299" y="26985"/>
                    <a:pt x="12362" y="28342"/>
                  </a:cubicBezTo>
                  <a:cubicBezTo>
                    <a:pt x="12374" y="28584"/>
                    <a:pt x="12989" y="32606"/>
                    <a:pt x="13026" y="32632"/>
                  </a:cubicBezTo>
                  <a:cubicBezTo>
                    <a:pt x="13225" y="34970"/>
                    <a:pt x="12105" y="37765"/>
                    <a:pt x="11225" y="39829"/>
                  </a:cubicBezTo>
                  <a:cubicBezTo>
                    <a:pt x="10211" y="42202"/>
                    <a:pt x="8667" y="44359"/>
                    <a:pt x="7154" y="46432"/>
                  </a:cubicBezTo>
                  <a:cubicBezTo>
                    <a:pt x="5814" y="48274"/>
                    <a:pt x="4302" y="49665"/>
                    <a:pt x="2402" y="50907"/>
                  </a:cubicBezTo>
                  <a:cubicBezTo>
                    <a:pt x="1498" y="51498"/>
                    <a:pt x="704" y="51877"/>
                    <a:pt x="0" y="52093"/>
                  </a:cubicBezTo>
                  <a:cubicBezTo>
                    <a:pt x="46" y="52082"/>
                    <a:pt x="87" y="52082"/>
                    <a:pt x="133" y="52070"/>
                  </a:cubicBezTo>
                  <a:cubicBezTo>
                    <a:pt x="5878" y="50618"/>
                    <a:pt x="10324" y="43790"/>
                    <a:pt x="12146" y="38527"/>
                  </a:cubicBezTo>
                  <a:cubicBezTo>
                    <a:pt x="12642" y="37092"/>
                    <a:pt x="13194" y="35597"/>
                    <a:pt x="13280" y="34064"/>
                  </a:cubicBezTo>
                  <a:cubicBezTo>
                    <a:pt x="13439" y="31240"/>
                    <a:pt x="12082" y="27155"/>
                    <a:pt x="13428" y="24684"/>
                  </a:cubicBezTo>
                  <a:cubicBezTo>
                    <a:pt x="14421" y="22854"/>
                    <a:pt x="16569" y="21257"/>
                    <a:pt x="18027" y="19770"/>
                  </a:cubicBezTo>
                  <a:cubicBezTo>
                    <a:pt x="19254" y="18520"/>
                    <a:pt x="19943" y="16776"/>
                    <a:pt x="21179" y="15581"/>
                  </a:cubicBezTo>
                  <a:cubicBezTo>
                    <a:pt x="21283" y="15482"/>
                    <a:pt x="21188" y="15350"/>
                    <a:pt x="21077" y="15350"/>
                  </a:cubicBezTo>
                  <a:cubicBezTo>
                    <a:pt x="21045" y="15350"/>
                    <a:pt x="21013" y="15360"/>
                    <a:pt x="20983" y="15385"/>
                  </a:cubicBezTo>
                  <a:cubicBezTo>
                    <a:pt x="20752" y="15575"/>
                    <a:pt x="20535" y="15783"/>
                    <a:pt x="20339" y="16009"/>
                  </a:cubicBezTo>
                  <a:cubicBezTo>
                    <a:pt x="18330" y="14132"/>
                    <a:pt x="15815" y="12989"/>
                    <a:pt x="13843" y="11054"/>
                  </a:cubicBezTo>
                  <a:cubicBezTo>
                    <a:pt x="11649" y="8901"/>
                    <a:pt x="9902" y="5159"/>
                    <a:pt x="9068" y="2278"/>
                  </a:cubicBezTo>
                  <a:cubicBezTo>
                    <a:pt x="8740" y="1144"/>
                    <a:pt x="8844" y="756"/>
                    <a:pt x="9139" y="756"/>
                  </a:cubicBezTo>
                  <a:cubicBezTo>
                    <a:pt x="9616" y="756"/>
                    <a:pt x="10593" y="1766"/>
                    <a:pt x="11060" y="2272"/>
                  </a:cubicBezTo>
                  <a:cubicBezTo>
                    <a:pt x="12175" y="3485"/>
                    <a:pt x="13044" y="4963"/>
                    <a:pt x="13973" y="6317"/>
                  </a:cubicBezTo>
                  <a:cubicBezTo>
                    <a:pt x="15044" y="7873"/>
                    <a:pt x="16222" y="9288"/>
                    <a:pt x="17827" y="10312"/>
                  </a:cubicBezTo>
                  <a:cubicBezTo>
                    <a:pt x="18447" y="10708"/>
                    <a:pt x="19242" y="10882"/>
                    <a:pt x="20120" y="10882"/>
                  </a:cubicBezTo>
                  <a:cubicBezTo>
                    <a:pt x="24818" y="10882"/>
                    <a:pt x="31928" y="5900"/>
                    <a:pt x="27736" y="3072"/>
                  </a:cubicBezTo>
                  <a:cubicBezTo>
                    <a:pt x="27706" y="3052"/>
                    <a:pt x="27677" y="3044"/>
                    <a:pt x="27650" y="3044"/>
                  </a:cubicBezTo>
                  <a:cubicBezTo>
                    <a:pt x="27514" y="3044"/>
                    <a:pt x="27424" y="3259"/>
                    <a:pt x="27568" y="3358"/>
                  </a:cubicBezTo>
                  <a:cubicBezTo>
                    <a:pt x="31148" y="5774"/>
                    <a:pt x="25302" y="9097"/>
                    <a:pt x="23749" y="9882"/>
                  </a:cubicBezTo>
                  <a:cubicBezTo>
                    <a:pt x="22728" y="10400"/>
                    <a:pt x="21723" y="10650"/>
                    <a:pt x="20749" y="10650"/>
                  </a:cubicBezTo>
                  <a:cubicBezTo>
                    <a:pt x="19138" y="10650"/>
                    <a:pt x="17613" y="9965"/>
                    <a:pt x="16239" y="8673"/>
                  </a:cubicBezTo>
                  <a:cubicBezTo>
                    <a:pt x="13436" y="6028"/>
                    <a:pt x="12212" y="2183"/>
                    <a:pt x="8886" y="23"/>
                  </a:cubicBezTo>
                  <a:cubicBezTo>
                    <a:pt x="8861" y="7"/>
                    <a:pt x="8837" y="0"/>
                    <a:pt x="88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65"/>
            <p:cNvSpPr/>
            <p:nvPr/>
          </p:nvSpPr>
          <p:spPr>
            <a:xfrm>
              <a:off x="3835550" y="2303200"/>
              <a:ext cx="19500" cy="20300"/>
            </a:xfrm>
            <a:custGeom>
              <a:avLst/>
              <a:gdLst/>
              <a:ahLst/>
              <a:cxnLst/>
              <a:rect l="l" t="t" r="r" b="b"/>
              <a:pathLst>
                <a:path w="780" h="812" extrusionOk="0">
                  <a:moveTo>
                    <a:pt x="779" y="1"/>
                  </a:moveTo>
                  <a:cubicBezTo>
                    <a:pt x="638" y="145"/>
                    <a:pt x="494" y="289"/>
                    <a:pt x="352" y="434"/>
                  </a:cubicBezTo>
                  <a:cubicBezTo>
                    <a:pt x="231" y="555"/>
                    <a:pt x="121" y="691"/>
                    <a:pt x="0" y="812"/>
                  </a:cubicBezTo>
                  <a:cubicBezTo>
                    <a:pt x="263" y="549"/>
                    <a:pt x="517" y="269"/>
                    <a:pt x="7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65"/>
            <p:cNvSpPr/>
            <p:nvPr/>
          </p:nvSpPr>
          <p:spPr>
            <a:xfrm>
              <a:off x="3855025" y="2280550"/>
              <a:ext cx="21675" cy="22675"/>
            </a:xfrm>
            <a:custGeom>
              <a:avLst/>
              <a:gdLst/>
              <a:ahLst/>
              <a:cxnLst/>
              <a:rect l="l" t="t" r="r" b="b"/>
              <a:pathLst>
                <a:path w="867" h="907" extrusionOk="0">
                  <a:moveTo>
                    <a:pt x="867" y="0"/>
                  </a:moveTo>
                  <a:lnTo>
                    <a:pt x="867" y="0"/>
                  </a:lnTo>
                  <a:cubicBezTo>
                    <a:pt x="578" y="306"/>
                    <a:pt x="289" y="607"/>
                    <a:pt x="0" y="907"/>
                  </a:cubicBezTo>
                  <a:cubicBezTo>
                    <a:pt x="289" y="607"/>
                    <a:pt x="581" y="306"/>
                    <a:pt x="8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65"/>
            <p:cNvSpPr/>
            <p:nvPr/>
          </p:nvSpPr>
          <p:spPr>
            <a:xfrm>
              <a:off x="3876675" y="2249375"/>
              <a:ext cx="28750" cy="31200"/>
            </a:xfrm>
            <a:custGeom>
              <a:avLst/>
              <a:gdLst/>
              <a:ahLst/>
              <a:cxnLst/>
              <a:rect l="l" t="t" r="r" b="b"/>
              <a:pathLst>
                <a:path w="1150" h="1248" extrusionOk="0">
                  <a:moveTo>
                    <a:pt x="1150" y="0"/>
                  </a:moveTo>
                  <a:lnTo>
                    <a:pt x="1150" y="0"/>
                  </a:lnTo>
                  <a:cubicBezTo>
                    <a:pt x="902" y="272"/>
                    <a:pt x="654" y="544"/>
                    <a:pt x="405" y="814"/>
                  </a:cubicBezTo>
                  <a:lnTo>
                    <a:pt x="405" y="814"/>
                  </a:lnTo>
                  <a:cubicBezTo>
                    <a:pt x="654" y="546"/>
                    <a:pt x="902" y="275"/>
                    <a:pt x="1150" y="0"/>
                  </a:cubicBezTo>
                  <a:close/>
                  <a:moveTo>
                    <a:pt x="405" y="814"/>
                  </a:moveTo>
                  <a:cubicBezTo>
                    <a:pt x="270" y="959"/>
                    <a:pt x="135" y="1103"/>
                    <a:pt x="1" y="1247"/>
                  </a:cubicBezTo>
                  <a:cubicBezTo>
                    <a:pt x="136" y="1104"/>
                    <a:pt x="271" y="959"/>
                    <a:pt x="405" y="81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65"/>
            <p:cNvSpPr/>
            <p:nvPr/>
          </p:nvSpPr>
          <p:spPr>
            <a:xfrm>
              <a:off x="3514925" y="1774450"/>
              <a:ext cx="981275" cy="1252850"/>
            </a:xfrm>
            <a:custGeom>
              <a:avLst/>
              <a:gdLst/>
              <a:ahLst/>
              <a:cxnLst/>
              <a:rect l="l" t="t" r="r" b="b"/>
              <a:pathLst>
                <a:path w="39251" h="50114" extrusionOk="0">
                  <a:moveTo>
                    <a:pt x="28510" y="607"/>
                  </a:moveTo>
                  <a:lnTo>
                    <a:pt x="28510" y="607"/>
                  </a:lnTo>
                  <a:cubicBezTo>
                    <a:pt x="28758" y="656"/>
                    <a:pt x="29004" y="719"/>
                    <a:pt x="29243" y="797"/>
                  </a:cubicBezTo>
                  <a:cubicBezTo>
                    <a:pt x="29238" y="800"/>
                    <a:pt x="29232" y="800"/>
                    <a:pt x="29226" y="803"/>
                  </a:cubicBezTo>
                  <a:cubicBezTo>
                    <a:pt x="27800" y="2215"/>
                    <a:pt x="26455" y="3681"/>
                    <a:pt x="25150" y="5171"/>
                  </a:cubicBezTo>
                  <a:cubicBezTo>
                    <a:pt x="26290" y="3673"/>
                    <a:pt x="27410" y="2172"/>
                    <a:pt x="28499" y="670"/>
                  </a:cubicBezTo>
                  <a:cubicBezTo>
                    <a:pt x="28510" y="650"/>
                    <a:pt x="28513" y="627"/>
                    <a:pt x="28510" y="607"/>
                  </a:cubicBezTo>
                  <a:close/>
                  <a:moveTo>
                    <a:pt x="21958" y="1924"/>
                  </a:moveTo>
                  <a:lnTo>
                    <a:pt x="21958" y="1924"/>
                  </a:lnTo>
                  <a:cubicBezTo>
                    <a:pt x="20344" y="3328"/>
                    <a:pt x="18839" y="4833"/>
                    <a:pt x="17355" y="6364"/>
                  </a:cubicBezTo>
                  <a:cubicBezTo>
                    <a:pt x="18385" y="5295"/>
                    <a:pt x="19390" y="4233"/>
                    <a:pt x="20305" y="3038"/>
                  </a:cubicBezTo>
                  <a:cubicBezTo>
                    <a:pt x="20377" y="2945"/>
                    <a:pt x="20302" y="2853"/>
                    <a:pt x="20210" y="2827"/>
                  </a:cubicBezTo>
                  <a:cubicBezTo>
                    <a:pt x="20777" y="2496"/>
                    <a:pt x="21360" y="2194"/>
                    <a:pt x="21958" y="1924"/>
                  </a:cubicBezTo>
                  <a:close/>
                  <a:moveTo>
                    <a:pt x="19916" y="3441"/>
                  </a:moveTo>
                  <a:cubicBezTo>
                    <a:pt x="19946" y="3441"/>
                    <a:pt x="17312" y="6062"/>
                    <a:pt x="17124" y="6260"/>
                  </a:cubicBezTo>
                  <a:cubicBezTo>
                    <a:pt x="16818" y="6586"/>
                    <a:pt x="16607" y="6820"/>
                    <a:pt x="16431" y="7022"/>
                  </a:cubicBezTo>
                  <a:cubicBezTo>
                    <a:pt x="17037" y="5855"/>
                    <a:pt x="18414" y="4877"/>
                    <a:pt x="19344" y="3982"/>
                  </a:cubicBezTo>
                  <a:cubicBezTo>
                    <a:pt x="19742" y="3597"/>
                    <a:pt x="19908" y="3441"/>
                    <a:pt x="19916" y="3441"/>
                  </a:cubicBezTo>
                  <a:close/>
                  <a:moveTo>
                    <a:pt x="19875" y="3032"/>
                  </a:moveTo>
                  <a:cubicBezTo>
                    <a:pt x="18642" y="4187"/>
                    <a:pt x="16925" y="5399"/>
                    <a:pt x="16162" y="6872"/>
                  </a:cubicBezTo>
                  <a:cubicBezTo>
                    <a:pt x="16100" y="6992"/>
                    <a:pt x="16204" y="7103"/>
                    <a:pt x="16305" y="7103"/>
                  </a:cubicBezTo>
                  <a:cubicBezTo>
                    <a:pt x="16332" y="7103"/>
                    <a:pt x="16358" y="7095"/>
                    <a:pt x="16381" y="7078"/>
                  </a:cubicBezTo>
                  <a:lnTo>
                    <a:pt x="16381" y="7078"/>
                  </a:lnTo>
                  <a:cubicBezTo>
                    <a:pt x="16025" y="7492"/>
                    <a:pt x="15805" y="7796"/>
                    <a:pt x="15276" y="8488"/>
                  </a:cubicBezTo>
                  <a:cubicBezTo>
                    <a:pt x="15392" y="8099"/>
                    <a:pt x="15530" y="7718"/>
                    <a:pt x="15698" y="7345"/>
                  </a:cubicBezTo>
                  <a:cubicBezTo>
                    <a:pt x="16523" y="5558"/>
                    <a:pt x="18091" y="4132"/>
                    <a:pt x="19875" y="3032"/>
                  </a:cubicBezTo>
                  <a:close/>
                  <a:moveTo>
                    <a:pt x="23272" y="1373"/>
                  </a:moveTo>
                  <a:cubicBezTo>
                    <a:pt x="20868" y="4227"/>
                    <a:pt x="18194" y="6812"/>
                    <a:pt x="15637" y="9525"/>
                  </a:cubicBezTo>
                  <a:cubicBezTo>
                    <a:pt x="17482" y="7567"/>
                    <a:pt x="20028" y="4501"/>
                    <a:pt x="22222" y="2099"/>
                  </a:cubicBezTo>
                  <a:cubicBezTo>
                    <a:pt x="22309" y="2007"/>
                    <a:pt x="22251" y="1857"/>
                    <a:pt x="22127" y="1842"/>
                  </a:cubicBezTo>
                  <a:cubicBezTo>
                    <a:pt x="22510" y="1676"/>
                    <a:pt x="22892" y="1517"/>
                    <a:pt x="23272" y="1373"/>
                  </a:cubicBezTo>
                  <a:close/>
                  <a:moveTo>
                    <a:pt x="34879" y="5645"/>
                  </a:moveTo>
                  <a:lnTo>
                    <a:pt x="34879" y="5645"/>
                  </a:lnTo>
                  <a:cubicBezTo>
                    <a:pt x="35092" y="5925"/>
                    <a:pt x="35306" y="6202"/>
                    <a:pt x="35517" y="6485"/>
                  </a:cubicBezTo>
                  <a:cubicBezTo>
                    <a:pt x="35500" y="6488"/>
                    <a:pt x="35482" y="6496"/>
                    <a:pt x="35468" y="6508"/>
                  </a:cubicBezTo>
                  <a:cubicBezTo>
                    <a:pt x="34452" y="7498"/>
                    <a:pt x="33476" y="8555"/>
                    <a:pt x="32517" y="9640"/>
                  </a:cubicBezTo>
                  <a:cubicBezTo>
                    <a:pt x="33357" y="8379"/>
                    <a:pt x="34151" y="7085"/>
                    <a:pt x="34867" y="5743"/>
                  </a:cubicBezTo>
                  <a:cubicBezTo>
                    <a:pt x="34882" y="5714"/>
                    <a:pt x="34888" y="5679"/>
                    <a:pt x="34879" y="5645"/>
                  </a:cubicBezTo>
                  <a:close/>
                  <a:moveTo>
                    <a:pt x="19656" y="4406"/>
                  </a:moveTo>
                  <a:cubicBezTo>
                    <a:pt x="17846" y="6320"/>
                    <a:pt x="16142" y="8229"/>
                    <a:pt x="14739" y="10466"/>
                  </a:cubicBezTo>
                  <a:cubicBezTo>
                    <a:pt x="14889" y="9884"/>
                    <a:pt x="15033" y="9307"/>
                    <a:pt x="15197" y="8748"/>
                  </a:cubicBezTo>
                  <a:lnTo>
                    <a:pt x="15197" y="8748"/>
                  </a:lnTo>
                  <a:cubicBezTo>
                    <a:pt x="15230" y="8792"/>
                    <a:pt x="15284" y="8823"/>
                    <a:pt x="15337" y="8823"/>
                  </a:cubicBezTo>
                  <a:cubicBezTo>
                    <a:pt x="15371" y="8823"/>
                    <a:pt x="15404" y="8811"/>
                    <a:pt x="15432" y="8783"/>
                  </a:cubicBezTo>
                  <a:cubicBezTo>
                    <a:pt x="16529" y="7663"/>
                    <a:pt x="17617" y="6531"/>
                    <a:pt x="18706" y="5402"/>
                  </a:cubicBezTo>
                  <a:cubicBezTo>
                    <a:pt x="18830" y="5272"/>
                    <a:pt x="19225" y="4857"/>
                    <a:pt x="19656" y="4406"/>
                  </a:cubicBezTo>
                  <a:close/>
                  <a:moveTo>
                    <a:pt x="20089" y="6554"/>
                  </a:moveTo>
                  <a:lnTo>
                    <a:pt x="20089" y="6554"/>
                  </a:lnTo>
                  <a:cubicBezTo>
                    <a:pt x="18778" y="8177"/>
                    <a:pt x="17430" y="9764"/>
                    <a:pt x="16105" y="11367"/>
                  </a:cubicBezTo>
                  <a:lnTo>
                    <a:pt x="16102" y="11367"/>
                  </a:lnTo>
                  <a:cubicBezTo>
                    <a:pt x="16760" y="10495"/>
                    <a:pt x="17418" y="9623"/>
                    <a:pt x="18074" y="8748"/>
                  </a:cubicBezTo>
                  <a:cubicBezTo>
                    <a:pt x="18746" y="8018"/>
                    <a:pt x="19416" y="7284"/>
                    <a:pt x="20089" y="6554"/>
                  </a:cubicBezTo>
                  <a:close/>
                  <a:moveTo>
                    <a:pt x="20787" y="4628"/>
                  </a:moveTo>
                  <a:lnTo>
                    <a:pt x="20787" y="4628"/>
                  </a:lnTo>
                  <a:cubicBezTo>
                    <a:pt x="20123" y="5503"/>
                    <a:pt x="19462" y="6381"/>
                    <a:pt x="18804" y="7261"/>
                  </a:cubicBezTo>
                  <a:cubicBezTo>
                    <a:pt x="17219" y="8916"/>
                    <a:pt x="15640" y="10590"/>
                    <a:pt x="14162" y="12325"/>
                  </a:cubicBezTo>
                  <a:cubicBezTo>
                    <a:pt x="14335" y="11875"/>
                    <a:pt x="14482" y="11419"/>
                    <a:pt x="14606" y="10957"/>
                  </a:cubicBezTo>
                  <a:cubicBezTo>
                    <a:pt x="14630" y="10974"/>
                    <a:pt x="14659" y="10983"/>
                    <a:pt x="14687" y="10983"/>
                  </a:cubicBezTo>
                  <a:cubicBezTo>
                    <a:pt x="14723" y="10983"/>
                    <a:pt x="14759" y="10969"/>
                    <a:pt x="14785" y="10939"/>
                  </a:cubicBezTo>
                  <a:cubicBezTo>
                    <a:pt x="16722" y="8774"/>
                    <a:pt x="18781" y="6724"/>
                    <a:pt x="20787" y="4628"/>
                  </a:cubicBezTo>
                  <a:close/>
                  <a:moveTo>
                    <a:pt x="21760" y="9187"/>
                  </a:moveTo>
                  <a:lnTo>
                    <a:pt x="21760" y="9187"/>
                  </a:lnTo>
                  <a:cubicBezTo>
                    <a:pt x="19751" y="11655"/>
                    <a:pt x="17799" y="14158"/>
                    <a:pt x="15796" y="16633"/>
                  </a:cubicBezTo>
                  <a:cubicBezTo>
                    <a:pt x="16483" y="15674"/>
                    <a:pt x="17167" y="14719"/>
                    <a:pt x="17900" y="13798"/>
                  </a:cubicBezTo>
                  <a:cubicBezTo>
                    <a:pt x="19145" y="12227"/>
                    <a:pt x="20441" y="10697"/>
                    <a:pt x="21760" y="9187"/>
                  </a:cubicBezTo>
                  <a:close/>
                  <a:moveTo>
                    <a:pt x="27226" y="480"/>
                  </a:moveTo>
                  <a:cubicBezTo>
                    <a:pt x="27549" y="480"/>
                    <a:pt x="27873" y="504"/>
                    <a:pt x="28193" y="552"/>
                  </a:cubicBezTo>
                  <a:cubicBezTo>
                    <a:pt x="22944" y="6811"/>
                    <a:pt x="17294" y="12721"/>
                    <a:pt x="12092" y="19043"/>
                  </a:cubicBezTo>
                  <a:cubicBezTo>
                    <a:pt x="12242" y="18853"/>
                    <a:pt x="12363" y="18691"/>
                    <a:pt x="12435" y="18584"/>
                  </a:cubicBezTo>
                  <a:cubicBezTo>
                    <a:pt x="13758" y="16676"/>
                    <a:pt x="15077" y="14765"/>
                    <a:pt x="16431" y="12879"/>
                  </a:cubicBezTo>
                  <a:cubicBezTo>
                    <a:pt x="17181" y="11834"/>
                    <a:pt x="17970" y="10827"/>
                    <a:pt x="18781" y="9839"/>
                  </a:cubicBezTo>
                  <a:cubicBezTo>
                    <a:pt x="21665" y="6820"/>
                    <a:pt x="24616" y="3915"/>
                    <a:pt x="27032" y="483"/>
                  </a:cubicBezTo>
                  <a:cubicBezTo>
                    <a:pt x="27096" y="481"/>
                    <a:pt x="27161" y="480"/>
                    <a:pt x="27226" y="480"/>
                  </a:cubicBezTo>
                  <a:close/>
                  <a:moveTo>
                    <a:pt x="15637" y="11468"/>
                  </a:moveTo>
                  <a:lnTo>
                    <a:pt x="15637" y="11468"/>
                  </a:lnTo>
                  <a:cubicBezTo>
                    <a:pt x="14072" y="13543"/>
                    <a:pt x="12499" y="15611"/>
                    <a:pt x="10894" y="17655"/>
                  </a:cubicBezTo>
                  <a:cubicBezTo>
                    <a:pt x="10703" y="17897"/>
                    <a:pt x="9698" y="19311"/>
                    <a:pt x="9620" y="19311"/>
                  </a:cubicBezTo>
                  <a:cubicBezTo>
                    <a:pt x="9582" y="19311"/>
                    <a:pt x="9763" y="18976"/>
                    <a:pt x="10365" y="18010"/>
                  </a:cubicBezTo>
                  <a:cubicBezTo>
                    <a:pt x="11670" y="15920"/>
                    <a:pt x="13454" y="13982"/>
                    <a:pt x="15062" y="12114"/>
                  </a:cubicBezTo>
                  <a:lnTo>
                    <a:pt x="15060" y="12114"/>
                  </a:lnTo>
                  <a:cubicBezTo>
                    <a:pt x="15247" y="11895"/>
                    <a:pt x="15446" y="11687"/>
                    <a:pt x="15637" y="11468"/>
                  </a:cubicBezTo>
                  <a:close/>
                  <a:moveTo>
                    <a:pt x="34726" y="7697"/>
                  </a:moveTo>
                  <a:cubicBezTo>
                    <a:pt x="34654" y="7787"/>
                    <a:pt x="33170" y="10258"/>
                    <a:pt x="32402" y="11032"/>
                  </a:cubicBezTo>
                  <a:cubicBezTo>
                    <a:pt x="30947" y="12496"/>
                    <a:pt x="29723" y="14248"/>
                    <a:pt x="28432" y="15856"/>
                  </a:cubicBezTo>
                  <a:cubicBezTo>
                    <a:pt x="27485" y="17037"/>
                    <a:pt x="26558" y="18229"/>
                    <a:pt x="25629" y="19421"/>
                  </a:cubicBezTo>
                  <a:cubicBezTo>
                    <a:pt x="28507" y="15385"/>
                    <a:pt x="31521" y="11439"/>
                    <a:pt x="34726" y="7697"/>
                  </a:cubicBezTo>
                  <a:close/>
                  <a:moveTo>
                    <a:pt x="26553" y="509"/>
                  </a:moveTo>
                  <a:lnTo>
                    <a:pt x="26553" y="509"/>
                  </a:lnTo>
                  <a:cubicBezTo>
                    <a:pt x="23819" y="3684"/>
                    <a:pt x="20810" y="6638"/>
                    <a:pt x="18255" y="9955"/>
                  </a:cubicBezTo>
                  <a:cubicBezTo>
                    <a:pt x="18166" y="10073"/>
                    <a:pt x="18082" y="10192"/>
                    <a:pt x="17993" y="10310"/>
                  </a:cubicBezTo>
                  <a:cubicBezTo>
                    <a:pt x="15830" y="12663"/>
                    <a:pt x="13714" y="15088"/>
                    <a:pt x="11855" y="17611"/>
                  </a:cubicBezTo>
                  <a:cubicBezTo>
                    <a:pt x="11257" y="18399"/>
                    <a:pt x="10686" y="19205"/>
                    <a:pt x="10137" y="20025"/>
                  </a:cubicBezTo>
                  <a:cubicBezTo>
                    <a:pt x="10651" y="19133"/>
                    <a:pt x="11197" y="18261"/>
                    <a:pt x="11780" y="17415"/>
                  </a:cubicBezTo>
                  <a:cubicBezTo>
                    <a:pt x="13223" y="15224"/>
                    <a:pt x="14947" y="13217"/>
                    <a:pt x="16624" y="11208"/>
                  </a:cubicBezTo>
                  <a:cubicBezTo>
                    <a:pt x="19410" y="7868"/>
                    <a:pt x="22101" y="4447"/>
                    <a:pt x="24916" y="1132"/>
                  </a:cubicBezTo>
                  <a:cubicBezTo>
                    <a:pt x="25015" y="1016"/>
                    <a:pt x="24911" y="861"/>
                    <a:pt x="24799" y="861"/>
                  </a:cubicBezTo>
                  <a:cubicBezTo>
                    <a:pt x="24764" y="861"/>
                    <a:pt x="24727" y="876"/>
                    <a:pt x="24696" y="913"/>
                  </a:cubicBezTo>
                  <a:cubicBezTo>
                    <a:pt x="23423" y="2408"/>
                    <a:pt x="22043" y="3878"/>
                    <a:pt x="20634" y="5350"/>
                  </a:cubicBezTo>
                  <a:cubicBezTo>
                    <a:pt x="21599" y="4074"/>
                    <a:pt x="22563" y="2798"/>
                    <a:pt x="23539" y="1528"/>
                  </a:cubicBezTo>
                  <a:cubicBezTo>
                    <a:pt x="23608" y="1438"/>
                    <a:pt x="23527" y="1334"/>
                    <a:pt x="23432" y="1311"/>
                  </a:cubicBezTo>
                  <a:cubicBezTo>
                    <a:pt x="23845" y="1158"/>
                    <a:pt x="24249" y="1020"/>
                    <a:pt x="24642" y="898"/>
                  </a:cubicBezTo>
                  <a:lnTo>
                    <a:pt x="24642" y="896"/>
                  </a:lnTo>
                  <a:cubicBezTo>
                    <a:pt x="25262" y="699"/>
                    <a:pt x="25903" y="569"/>
                    <a:pt x="26553" y="509"/>
                  </a:cubicBezTo>
                  <a:close/>
                  <a:moveTo>
                    <a:pt x="33837" y="6961"/>
                  </a:moveTo>
                  <a:cubicBezTo>
                    <a:pt x="33129" y="8292"/>
                    <a:pt x="32327" y="9577"/>
                    <a:pt x="31472" y="10833"/>
                  </a:cubicBezTo>
                  <a:cubicBezTo>
                    <a:pt x="29844" y="12758"/>
                    <a:pt x="28291" y="14788"/>
                    <a:pt x="26795" y="16866"/>
                  </a:cubicBezTo>
                  <a:cubicBezTo>
                    <a:pt x="25828" y="17998"/>
                    <a:pt x="24835" y="19113"/>
                    <a:pt x="23836" y="20221"/>
                  </a:cubicBezTo>
                  <a:cubicBezTo>
                    <a:pt x="24512" y="19190"/>
                    <a:pt x="25179" y="18157"/>
                    <a:pt x="25871" y="17138"/>
                  </a:cubicBezTo>
                  <a:cubicBezTo>
                    <a:pt x="27381" y="14909"/>
                    <a:pt x="28984" y="12752"/>
                    <a:pt x="30638" y="10633"/>
                  </a:cubicBezTo>
                  <a:cubicBezTo>
                    <a:pt x="31518" y="9507"/>
                    <a:pt x="33210" y="8136"/>
                    <a:pt x="33837" y="6961"/>
                  </a:cubicBezTo>
                  <a:close/>
                  <a:moveTo>
                    <a:pt x="16281" y="12611"/>
                  </a:moveTo>
                  <a:lnTo>
                    <a:pt x="16281" y="12611"/>
                  </a:lnTo>
                  <a:cubicBezTo>
                    <a:pt x="13893" y="15888"/>
                    <a:pt x="11636" y="19257"/>
                    <a:pt x="9274" y="22554"/>
                  </a:cubicBezTo>
                  <a:cubicBezTo>
                    <a:pt x="7521" y="21391"/>
                    <a:pt x="9080" y="18859"/>
                    <a:pt x="10763" y="16796"/>
                  </a:cubicBezTo>
                  <a:lnTo>
                    <a:pt x="10763" y="16796"/>
                  </a:lnTo>
                  <a:cubicBezTo>
                    <a:pt x="10005" y="17939"/>
                    <a:pt x="9314" y="19116"/>
                    <a:pt x="8723" y="20342"/>
                  </a:cubicBezTo>
                  <a:cubicBezTo>
                    <a:pt x="8669" y="20454"/>
                    <a:pt x="8766" y="20585"/>
                    <a:pt x="8867" y="20585"/>
                  </a:cubicBezTo>
                  <a:cubicBezTo>
                    <a:pt x="8902" y="20585"/>
                    <a:pt x="8938" y="20570"/>
                    <a:pt x="8968" y="20533"/>
                  </a:cubicBezTo>
                  <a:cubicBezTo>
                    <a:pt x="9860" y="19439"/>
                    <a:pt x="10729" y="18327"/>
                    <a:pt x="11598" y="17216"/>
                  </a:cubicBezTo>
                  <a:lnTo>
                    <a:pt x="11598" y="17216"/>
                  </a:lnTo>
                  <a:cubicBezTo>
                    <a:pt x="10709" y="18500"/>
                    <a:pt x="9892" y="19831"/>
                    <a:pt x="9153" y="21203"/>
                  </a:cubicBezTo>
                  <a:cubicBezTo>
                    <a:pt x="9093" y="21317"/>
                    <a:pt x="9196" y="21448"/>
                    <a:pt x="9299" y="21448"/>
                  </a:cubicBezTo>
                  <a:cubicBezTo>
                    <a:pt x="9334" y="21448"/>
                    <a:pt x="9369" y="21433"/>
                    <a:pt x="9398" y="21396"/>
                  </a:cubicBezTo>
                  <a:cubicBezTo>
                    <a:pt x="11690" y="18451"/>
                    <a:pt x="13859" y="15440"/>
                    <a:pt x="16281" y="12611"/>
                  </a:cubicBezTo>
                  <a:close/>
                  <a:moveTo>
                    <a:pt x="25176" y="4412"/>
                  </a:moveTo>
                  <a:lnTo>
                    <a:pt x="25176" y="4412"/>
                  </a:lnTo>
                  <a:cubicBezTo>
                    <a:pt x="20002" y="10154"/>
                    <a:pt x="14794" y="16485"/>
                    <a:pt x="10339" y="22822"/>
                  </a:cubicBezTo>
                  <a:cubicBezTo>
                    <a:pt x="10302" y="22871"/>
                    <a:pt x="10308" y="22946"/>
                    <a:pt x="10357" y="22990"/>
                  </a:cubicBezTo>
                  <a:cubicBezTo>
                    <a:pt x="10077" y="22926"/>
                    <a:pt x="9805" y="22831"/>
                    <a:pt x="9548" y="22707"/>
                  </a:cubicBezTo>
                  <a:cubicBezTo>
                    <a:pt x="14505" y="16376"/>
                    <a:pt x="19760" y="10333"/>
                    <a:pt x="25176" y="4412"/>
                  </a:cubicBezTo>
                  <a:close/>
                  <a:moveTo>
                    <a:pt x="29489" y="878"/>
                  </a:moveTo>
                  <a:cubicBezTo>
                    <a:pt x="30187" y="1135"/>
                    <a:pt x="30828" y="1505"/>
                    <a:pt x="31432" y="1955"/>
                  </a:cubicBezTo>
                  <a:cubicBezTo>
                    <a:pt x="28250" y="5486"/>
                    <a:pt x="25014" y="8968"/>
                    <a:pt x="21876" y="12530"/>
                  </a:cubicBezTo>
                  <a:cubicBezTo>
                    <a:pt x="24728" y="8916"/>
                    <a:pt x="27592" y="5313"/>
                    <a:pt x="30413" y="1669"/>
                  </a:cubicBezTo>
                  <a:cubicBezTo>
                    <a:pt x="30503" y="1555"/>
                    <a:pt x="30409" y="1401"/>
                    <a:pt x="30298" y="1401"/>
                  </a:cubicBezTo>
                  <a:cubicBezTo>
                    <a:pt x="30263" y="1401"/>
                    <a:pt x="30226" y="1416"/>
                    <a:pt x="30193" y="1453"/>
                  </a:cubicBezTo>
                  <a:cubicBezTo>
                    <a:pt x="25173" y="6990"/>
                    <a:pt x="20591" y="13468"/>
                    <a:pt x="15617" y="18997"/>
                  </a:cubicBezTo>
                  <a:cubicBezTo>
                    <a:pt x="19451" y="14796"/>
                    <a:pt x="22987" y="10336"/>
                    <a:pt x="26657" y="5985"/>
                  </a:cubicBezTo>
                  <a:lnTo>
                    <a:pt x="26657" y="5985"/>
                  </a:lnTo>
                  <a:cubicBezTo>
                    <a:pt x="23697" y="9533"/>
                    <a:pt x="20758" y="13339"/>
                    <a:pt x="17990" y="17077"/>
                  </a:cubicBezTo>
                  <a:cubicBezTo>
                    <a:pt x="16188" y="19254"/>
                    <a:pt x="14439" y="21474"/>
                    <a:pt x="12787" y="23772"/>
                  </a:cubicBezTo>
                  <a:cubicBezTo>
                    <a:pt x="12201" y="23322"/>
                    <a:pt x="11783" y="23209"/>
                    <a:pt x="11029" y="23114"/>
                  </a:cubicBezTo>
                  <a:cubicBezTo>
                    <a:pt x="10853" y="23091"/>
                    <a:pt x="10689" y="23062"/>
                    <a:pt x="10533" y="23030"/>
                  </a:cubicBezTo>
                  <a:cubicBezTo>
                    <a:pt x="10550" y="23024"/>
                    <a:pt x="10570" y="23024"/>
                    <a:pt x="10585" y="23010"/>
                  </a:cubicBezTo>
                  <a:cubicBezTo>
                    <a:pt x="12323" y="21393"/>
                    <a:pt x="13729" y="19511"/>
                    <a:pt x="15103" y="17597"/>
                  </a:cubicBezTo>
                  <a:cubicBezTo>
                    <a:pt x="18123" y="14078"/>
                    <a:pt x="21093" y="10437"/>
                    <a:pt x="23937" y="6750"/>
                  </a:cubicBezTo>
                  <a:cubicBezTo>
                    <a:pt x="25279" y="5287"/>
                    <a:pt x="26645" y="3844"/>
                    <a:pt x="28034" y="2423"/>
                  </a:cubicBezTo>
                  <a:lnTo>
                    <a:pt x="28034" y="2423"/>
                  </a:lnTo>
                  <a:cubicBezTo>
                    <a:pt x="21935" y="8688"/>
                    <a:pt x="17772" y="16613"/>
                    <a:pt x="11549" y="22791"/>
                  </a:cubicBezTo>
                  <a:cubicBezTo>
                    <a:pt x="11440" y="22900"/>
                    <a:pt x="11544" y="23053"/>
                    <a:pt x="11663" y="23053"/>
                  </a:cubicBezTo>
                  <a:cubicBezTo>
                    <a:pt x="11698" y="23053"/>
                    <a:pt x="11735" y="23040"/>
                    <a:pt x="11768" y="23007"/>
                  </a:cubicBezTo>
                  <a:cubicBezTo>
                    <a:pt x="12245" y="22542"/>
                    <a:pt x="12707" y="22060"/>
                    <a:pt x="13174" y="21581"/>
                  </a:cubicBezTo>
                  <a:cubicBezTo>
                    <a:pt x="15914" y="18778"/>
                    <a:pt x="18218" y="15512"/>
                    <a:pt x="20536" y="12368"/>
                  </a:cubicBezTo>
                  <a:cubicBezTo>
                    <a:pt x="23400" y="8485"/>
                    <a:pt x="26720" y="4949"/>
                    <a:pt x="29469" y="991"/>
                  </a:cubicBezTo>
                  <a:cubicBezTo>
                    <a:pt x="29495" y="959"/>
                    <a:pt x="29500" y="916"/>
                    <a:pt x="29489" y="878"/>
                  </a:cubicBezTo>
                  <a:close/>
                  <a:moveTo>
                    <a:pt x="34293" y="4891"/>
                  </a:moveTo>
                  <a:cubicBezTo>
                    <a:pt x="34457" y="5096"/>
                    <a:pt x="34619" y="5301"/>
                    <a:pt x="34778" y="5512"/>
                  </a:cubicBezTo>
                  <a:cubicBezTo>
                    <a:pt x="34756" y="5499"/>
                    <a:pt x="34733" y="5493"/>
                    <a:pt x="34709" y="5493"/>
                  </a:cubicBezTo>
                  <a:cubicBezTo>
                    <a:pt x="34670" y="5493"/>
                    <a:pt x="34632" y="5510"/>
                    <a:pt x="34605" y="5541"/>
                  </a:cubicBezTo>
                  <a:cubicBezTo>
                    <a:pt x="29945" y="10570"/>
                    <a:pt x="26059" y="16162"/>
                    <a:pt x="22332" y="21884"/>
                  </a:cubicBezTo>
                  <a:cubicBezTo>
                    <a:pt x="21636" y="22652"/>
                    <a:pt x="20943" y="23423"/>
                    <a:pt x="20253" y="24194"/>
                  </a:cubicBezTo>
                  <a:cubicBezTo>
                    <a:pt x="22257" y="21009"/>
                    <a:pt x="24292" y="17874"/>
                    <a:pt x="26671" y="14923"/>
                  </a:cubicBezTo>
                  <a:cubicBezTo>
                    <a:pt x="29330" y="11627"/>
                    <a:pt x="32093" y="8523"/>
                    <a:pt x="34293" y="4891"/>
                  </a:cubicBezTo>
                  <a:close/>
                  <a:moveTo>
                    <a:pt x="25981" y="18015"/>
                  </a:moveTo>
                  <a:lnTo>
                    <a:pt x="25981" y="18015"/>
                  </a:lnTo>
                  <a:cubicBezTo>
                    <a:pt x="24353" y="20331"/>
                    <a:pt x="22794" y="22678"/>
                    <a:pt x="21295" y="24985"/>
                  </a:cubicBezTo>
                  <a:cubicBezTo>
                    <a:pt x="20718" y="25727"/>
                    <a:pt x="20144" y="26469"/>
                    <a:pt x="19569" y="27211"/>
                  </a:cubicBezTo>
                  <a:cubicBezTo>
                    <a:pt x="19029" y="27903"/>
                    <a:pt x="18495" y="28596"/>
                    <a:pt x="17958" y="29286"/>
                  </a:cubicBezTo>
                  <a:cubicBezTo>
                    <a:pt x="18218" y="28885"/>
                    <a:pt x="18484" y="28487"/>
                    <a:pt x="18740" y="28085"/>
                  </a:cubicBezTo>
                  <a:cubicBezTo>
                    <a:pt x="20222" y="25787"/>
                    <a:pt x="21703" y="23492"/>
                    <a:pt x="23189" y="21200"/>
                  </a:cubicBezTo>
                  <a:cubicBezTo>
                    <a:pt x="23195" y="21194"/>
                    <a:pt x="23198" y="21191"/>
                    <a:pt x="23201" y="21185"/>
                  </a:cubicBezTo>
                  <a:cubicBezTo>
                    <a:pt x="24131" y="20135"/>
                    <a:pt x="25054" y="19078"/>
                    <a:pt x="25981" y="18015"/>
                  </a:cubicBezTo>
                  <a:close/>
                  <a:moveTo>
                    <a:pt x="15758" y="22814"/>
                  </a:moveTo>
                  <a:lnTo>
                    <a:pt x="15758" y="22814"/>
                  </a:lnTo>
                  <a:cubicBezTo>
                    <a:pt x="14930" y="24084"/>
                    <a:pt x="14104" y="25357"/>
                    <a:pt x="13270" y="26619"/>
                  </a:cubicBezTo>
                  <a:cubicBezTo>
                    <a:pt x="12354" y="28002"/>
                    <a:pt x="11431" y="29384"/>
                    <a:pt x="10504" y="30767"/>
                  </a:cubicBezTo>
                  <a:cubicBezTo>
                    <a:pt x="10769" y="30225"/>
                    <a:pt x="10992" y="29665"/>
                    <a:pt x="11168" y="29087"/>
                  </a:cubicBezTo>
                  <a:cubicBezTo>
                    <a:pt x="11191" y="29012"/>
                    <a:pt x="11153" y="28931"/>
                    <a:pt x="11081" y="28902"/>
                  </a:cubicBezTo>
                  <a:cubicBezTo>
                    <a:pt x="12603" y="26853"/>
                    <a:pt x="14162" y="24823"/>
                    <a:pt x="15758" y="22814"/>
                  </a:cubicBezTo>
                  <a:close/>
                  <a:moveTo>
                    <a:pt x="10022" y="29904"/>
                  </a:moveTo>
                  <a:cubicBezTo>
                    <a:pt x="9721" y="30288"/>
                    <a:pt x="9441" y="30689"/>
                    <a:pt x="9176" y="31102"/>
                  </a:cubicBezTo>
                  <a:cubicBezTo>
                    <a:pt x="8607" y="31870"/>
                    <a:pt x="8035" y="32638"/>
                    <a:pt x="7475" y="33415"/>
                  </a:cubicBezTo>
                  <a:cubicBezTo>
                    <a:pt x="7805" y="31775"/>
                    <a:pt x="9020" y="30998"/>
                    <a:pt x="10022" y="29904"/>
                  </a:cubicBezTo>
                  <a:close/>
                  <a:moveTo>
                    <a:pt x="19000" y="28466"/>
                  </a:moveTo>
                  <a:cubicBezTo>
                    <a:pt x="17467" y="30689"/>
                    <a:pt x="15802" y="32846"/>
                    <a:pt x="14118" y="34997"/>
                  </a:cubicBezTo>
                  <a:cubicBezTo>
                    <a:pt x="14621" y="34278"/>
                    <a:pt x="15120" y="33556"/>
                    <a:pt x="15614" y="32832"/>
                  </a:cubicBezTo>
                  <a:cubicBezTo>
                    <a:pt x="16734" y="31371"/>
                    <a:pt x="17863" y="29916"/>
                    <a:pt x="19000" y="28466"/>
                  </a:cubicBezTo>
                  <a:close/>
                  <a:moveTo>
                    <a:pt x="4606" y="34702"/>
                  </a:moveTo>
                  <a:lnTo>
                    <a:pt x="4606" y="34702"/>
                  </a:lnTo>
                  <a:cubicBezTo>
                    <a:pt x="4389" y="34994"/>
                    <a:pt x="4176" y="35288"/>
                    <a:pt x="3973" y="35589"/>
                  </a:cubicBezTo>
                  <a:cubicBezTo>
                    <a:pt x="3904" y="35690"/>
                    <a:pt x="3751" y="35900"/>
                    <a:pt x="3584" y="36131"/>
                  </a:cubicBezTo>
                  <a:cubicBezTo>
                    <a:pt x="3578" y="36131"/>
                    <a:pt x="3573" y="36130"/>
                    <a:pt x="3567" y="36130"/>
                  </a:cubicBezTo>
                  <a:cubicBezTo>
                    <a:pt x="3535" y="36130"/>
                    <a:pt x="3502" y="36144"/>
                    <a:pt x="3480" y="36169"/>
                  </a:cubicBezTo>
                  <a:cubicBezTo>
                    <a:pt x="3301" y="36336"/>
                    <a:pt x="3136" y="36518"/>
                    <a:pt x="2986" y="36715"/>
                  </a:cubicBezTo>
                  <a:cubicBezTo>
                    <a:pt x="3272" y="35880"/>
                    <a:pt x="3815" y="35164"/>
                    <a:pt x="4606" y="34702"/>
                  </a:cubicBezTo>
                  <a:close/>
                  <a:moveTo>
                    <a:pt x="33173" y="6112"/>
                  </a:moveTo>
                  <a:cubicBezTo>
                    <a:pt x="33034" y="6314"/>
                    <a:pt x="32806" y="6655"/>
                    <a:pt x="32445" y="7192"/>
                  </a:cubicBezTo>
                  <a:cubicBezTo>
                    <a:pt x="28525" y="13073"/>
                    <a:pt x="23622" y="18093"/>
                    <a:pt x="19861" y="24142"/>
                  </a:cubicBezTo>
                  <a:cubicBezTo>
                    <a:pt x="19465" y="24780"/>
                    <a:pt x="19044" y="25398"/>
                    <a:pt x="18634" y="26027"/>
                  </a:cubicBezTo>
                  <a:cubicBezTo>
                    <a:pt x="17846" y="26939"/>
                    <a:pt x="17075" y="27854"/>
                    <a:pt x="16333" y="28781"/>
                  </a:cubicBezTo>
                  <a:cubicBezTo>
                    <a:pt x="14113" y="31553"/>
                    <a:pt x="11815" y="34405"/>
                    <a:pt x="9618" y="37338"/>
                  </a:cubicBezTo>
                  <a:cubicBezTo>
                    <a:pt x="12386" y="33213"/>
                    <a:pt x="15218" y="29087"/>
                    <a:pt x="18152" y="25051"/>
                  </a:cubicBezTo>
                  <a:cubicBezTo>
                    <a:pt x="20094" y="22612"/>
                    <a:pt x="21959" y="20100"/>
                    <a:pt x="23801" y="17582"/>
                  </a:cubicBezTo>
                  <a:cubicBezTo>
                    <a:pt x="25505" y="15443"/>
                    <a:pt x="27243" y="13333"/>
                    <a:pt x="28989" y="11231"/>
                  </a:cubicBezTo>
                  <a:cubicBezTo>
                    <a:pt x="30075" y="9926"/>
                    <a:pt x="31160" y="8624"/>
                    <a:pt x="32249" y="7322"/>
                  </a:cubicBezTo>
                  <a:cubicBezTo>
                    <a:pt x="32621" y="6872"/>
                    <a:pt x="32973" y="6392"/>
                    <a:pt x="33173" y="6112"/>
                  </a:cubicBezTo>
                  <a:close/>
                  <a:moveTo>
                    <a:pt x="5778" y="34258"/>
                  </a:moveTo>
                  <a:lnTo>
                    <a:pt x="5778" y="34258"/>
                  </a:lnTo>
                  <a:cubicBezTo>
                    <a:pt x="5527" y="34653"/>
                    <a:pt x="5281" y="35049"/>
                    <a:pt x="5039" y="35447"/>
                  </a:cubicBezTo>
                  <a:cubicBezTo>
                    <a:pt x="4415" y="36348"/>
                    <a:pt x="3714" y="37237"/>
                    <a:pt x="3289" y="38227"/>
                  </a:cubicBezTo>
                  <a:cubicBezTo>
                    <a:pt x="3281" y="38234"/>
                    <a:pt x="3275" y="38237"/>
                    <a:pt x="3270" y="38237"/>
                  </a:cubicBezTo>
                  <a:cubicBezTo>
                    <a:pt x="3223" y="38237"/>
                    <a:pt x="3354" y="37896"/>
                    <a:pt x="3803" y="36948"/>
                  </a:cubicBezTo>
                  <a:cubicBezTo>
                    <a:pt x="4199" y="36114"/>
                    <a:pt x="4724" y="35352"/>
                    <a:pt x="5105" y="34509"/>
                  </a:cubicBezTo>
                  <a:cubicBezTo>
                    <a:pt x="5114" y="34489"/>
                    <a:pt x="5108" y="34471"/>
                    <a:pt x="5111" y="34457"/>
                  </a:cubicBezTo>
                  <a:cubicBezTo>
                    <a:pt x="5327" y="34370"/>
                    <a:pt x="5550" y="34307"/>
                    <a:pt x="5778" y="34258"/>
                  </a:cubicBezTo>
                  <a:close/>
                  <a:moveTo>
                    <a:pt x="10603" y="29607"/>
                  </a:moveTo>
                  <a:cubicBezTo>
                    <a:pt x="10727" y="29607"/>
                    <a:pt x="9375" y="32145"/>
                    <a:pt x="9104" y="32557"/>
                  </a:cubicBezTo>
                  <a:cubicBezTo>
                    <a:pt x="7761" y="34598"/>
                    <a:pt x="6003" y="36345"/>
                    <a:pt x="4730" y="38438"/>
                  </a:cubicBezTo>
                  <a:cubicBezTo>
                    <a:pt x="4727" y="38450"/>
                    <a:pt x="4718" y="38455"/>
                    <a:pt x="4715" y="38464"/>
                  </a:cubicBezTo>
                  <a:cubicBezTo>
                    <a:pt x="4640" y="38453"/>
                    <a:pt x="4565" y="38427"/>
                    <a:pt x="4499" y="38389"/>
                  </a:cubicBezTo>
                  <a:cubicBezTo>
                    <a:pt x="5486" y="36614"/>
                    <a:pt x="6886" y="35109"/>
                    <a:pt x="8079" y="33452"/>
                  </a:cubicBezTo>
                  <a:lnTo>
                    <a:pt x="8076" y="33452"/>
                  </a:lnTo>
                  <a:cubicBezTo>
                    <a:pt x="8737" y="32537"/>
                    <a:pt x="9303" y="31553"/>
                    <a:pt x="9909" y="30597"/>
                  </a:cubicBezTo>
                  <a:cubicBezTo>
                    <a:pt x="10361" y="29882"/>
                    <a:pt x="10562" y="29607"/>
                    <a:pt x="10603" y="29607"/>
                  </a:cubicBezTo>
                  <a:close/>
                  <a:moveTo>
                    <a:pt x="7461" y="35257"/>
                  </a:moveTo>
                  <a:cubicBezTo>
                    <a:pt x="7126" y="35747"/>
                    <a:pt x="6797" y="36238"/>
                    <a:pt x="6462" y="36726"/>
                  </a:cubicBezTo>
                  <a:cubicBezTo>
                    <a:pt x="6116" y="37306"/>
                    <a:pt x="5781" y="37892"/>
                    <a:pt x="5452" y="38484"/>
                  </a:cubicBezTo>
                  <a:cubicBezTo>
                    <a:pt x="5379" y="38490"/>
                    <a:pt x="5322" y="38490"/>
                    <a:pt x="5255" y="38490"/>
                  </a:cubicBezTo>
                  <a:cubicBezTo>
                    <a:pt x="5980" y="37506"/>
                    <a:pt x="6589" y="36351"/>
                    <a:pt x="7169" y="35620"/>
                  </a:cubicBezTo>
                  <a:lnTo>
                    <a:pt x="7461" y="35257"/>
                  </a:lnTo>
                  <a:close/>
                  <a:moveTo>
                    <a:pt x="6841" y="34147"/>
                  </a:moveTo>
                  <a:cubicBezTo>
                    <a:pt x="6879" y="34147"/>
                    <a:pt x="6917" y="34147"/>
                    <a:pt x="6956" y="34148"/>
                  </a:cubicBezTo>
                  <a:cubicBezTo>
                    <a:pt x="6575" y="34682"/>
                    <a:pt x="6191" y="35213"/>
                    <a:pt x="5812" y="35753"/>
                  </a:cubicBezTo>
                  <a:cubicBezTo>
                    <a:pt x="5024" y="36882"/>
                    <a:pt x="4031" y="37927"/>
                    <a:pt x="3647" y="39169"/>
                  </a:cubicBezTo>
                  <a:cubicBezTo>
                    <a:pt x="3633" y="39169"/>
                    <a:pt x="3619" y="39169"/>
                    <a:pt x="3605" y="39169"/>
                  </a:cubicBezTo>
                  <a:cubicBezTo>
                    <a:pt x="3477" y="39169"/>
                    <a:pt x="3350" y="39157"/>
                    <a:pt x="3226" y="39134"/>
                  </a:cubicBezTo>
                  <a:cubicBezTo>
                    <a:pt x="3255" y="38952"/>
                    <a:pt x="3307" y="38773"/>
                    <a:pt x="3373" y="38603"/>
                  </a:cubicBezTo>
                  <a:cubicBezTo>
                    <a:pt x="3994" y="37693"/>
                    <a:pt x="4571" y="36764"/>
                    <a:pt x="5131" y="35817"/>
                  </a:cubicBezTo>
                  <a:cubicBezTo>
                    <a:pt x="5212" y="35681"/>
                    <a:pt x="5290" y="35545"/>
                    <a:pt x="5362" y="35415"/>
                  </a:cubicBezTo>
                  <a:cubicBezTo>
                    <a:pt x="5639" y="35020"/>
                    <a:pt x="5905" y="34616"/>
                    <a:pt x="6142" y="34194"/>
                  </a:cubicBezTo>
                  <a:cubicBezTo>
                    <a:pt x="6375" y="34162"/>
                    <a:pt x="6608" y="34147"/>
                    <a:pt x="6841" y="34147"/>
                  </a:cubicBezTo>
                  <a:close/>
                  <a:moveTo>
                    <a:pt x="4577" y="34959"/>
                  </a:moveTo>
                  <a:cubicBezTo>
                    <a:pt x="3973" y="36305"/>
                    <a:pt x="3145" y="37327"/>
                    <a:pt x="2899" y="38813"/>
                  </a:cubicBezTo>
                  <a:cubicBezTo>
                    <a:pt x="2879" y="38900"/>
                    <a:pt x="2946" y="38981"/>
                    <a:pt x="3035" y="38984"/>
                  </a:cubicBezTo>
                  <a:cubicBezTo>
                    <a:pt x="2992" y="39134"/>
                    <a:pt x="2960" y="39290"/>
                    <a:pt x="2937" y="39446"/>
                  </a:cubicBezTo>
                  <a:lnTo>
                    <a:pt x="2934" y="39446"/>
                  </a:lnTo>
                  <a:cubicBezTo>
                    <a:pt x="2764" y="38839"/>
                    <a:pt x="2712" y="38201"/>
                    <a:pt x="2787" y="37575"/>
                  </a:cubicBezTo>
                  <a:cubicBezTo>
                    <a:pt x="2798" y="37566"/>
                    <a:pt x="2810" y="37569"/>
                    <a:pt x="2822" y="37558"/>
                  </a:cubicBezTo>
                  <a:cubicBezTo>
                    <a:pt x="3535" y="36758"/>
                    <a:pt x="4193" y="35814"/>
                    <a:pt x="4577" y="34959"/>
                  </a:cubicBezTo>
                  <a:close/>
                  <a:moveTo>
                    <a:pt x="31706" y="2166"/>
                  </a:moveTo>
                  <a:cubicBezTo>
                    <a:pt x="32555" y="2850"/>
                    <a:pt x="33320" y="3696"/>
                    <a:pt x="34056" y="4602"/>
                  </a:cubicBezTo>
                  <a:cubicBezTo>
                    <a:pt x="31683" y="7495"/>
                    <a:pt x="29290" y="10362"/>
                    <a:pt x="26928" y="13252"/>
                  </a:cubicBezTo>
                  <a:cubicBezTo>
                    <a:pt x="26940" y="13237"/>
                    <a:pt x="26951" y="13223"/>
                    <a:pt x="26960" y="13206"/>
                  </a:cubicBezTo>
                  <a:cubicBezTo>
                    <a:pt x="27404" y="12623"/>
                    <a:pt x="27852" y="12039"/>
                    <a:pt x="28291" y="11453"/>
                  </a:cubicBezTo>
                  <a:cubicBezTo>
                    <a:pt x="29905" y="9305"/>
                    <a:pt x="32569" y="7039"/>
                    <a:pt x="33164" y="4302"/>
                  </a:cubicBezTo>
                  <a:cubicBezTo>
                    <a:pt x="33187" y="4192"/>
                    <a:pt x="33086" y="4077"/>
                    <a:pt x="32986" y="4077"/>
                  </a:cubicBezTo>
                  <a:cubicBezTo>
                    <a:pt x="32948" y="4077"/>
                    <a:pt x="32909" y="4094"/>
                    <a:pt x="32878" y="4135"/>
                  </a:cubicBezTo>
                  <a:cubicBezTo>
                    <a:pt x="28562" y="9591"/>
                    <a:pt x="24722" y="15388"/>
                    <a:pt x="20634" y="21015"/>
                  </a:cubicBezTo>
                  <a:cubicBezTo>
                    <a:pt x="19944" y="21942"/>
                    <a:pt x="19251" y="22869"/>
                    <a:pt x="18570" y="23801"/>
                  </a:cubicBezTo>
                  <a:cubicBezTo>
                    <a:pt x="17225" y="25585"/>
                    <a:pt x="15848" y="27346"/>
                    <a:pt x="14401" y="29058"/>
                  </a:cubicBezTo>
                  <a:cubicBezTo>
                    <a:pt x="11598" y="32375"/>
                    <a:pt x="8962" y="35698"/>
                    <a:pt x="6502" y="39275"/>
                  </a:cubicBezTo>
                  <a:cubicBezTo>
                    <a:pt x="6240" y="39659"/>
                    <a:pt x="5940" y="40064"/>
                    <a:pt x="5619" y="40476"/>
                  </a:cubicBezTo>
                  <a:cubicBezTo>
                    <a:pt x="6638" y="39062"/>
                    <a:pt x="7441" y="37364"/>
                    <a:pt x="8324" y="35996"/>
                  </a:cubicBezTo>
                  <a:cubicBezTo>
                    <a:pt x="10541" y="32560"/>
                    <a:pt x="12747" y="29142"/>
                    <a:pt x="15140" y="25828"/>
                  </a:cubicBezTo>
                  <a:cubicBezTo>
                    <a:pt x="20683" y="18145"/>
                    <a:pt x="26735" y="10772"/>
                    <a:pt x="32690" y="3410"/>
                  </a:cubicBezTo>
                  <a:cubicBezTo>
                    <a:pt x="32802" y="3272"/>
                    <a:pt x="32700" y="3115"/>
                    <a:pt x="32566" y="3115"/>
                  </a:cubicBezTo>
                  <a:cubicBezTo>
                    <a:pt x="32526" y="3115"/>
                    <a:pt x="32483" y="3129"/>
                    <a:pt x="32442" y="3162"/>
                  </a:cubicBezTo>
                  <a:cubicBezTo>
                    <a:pt x="31155" y="4172"/>
                    <a:pt x="29933" y="5278"/>
                    <a:pt x="28758" y="6450"/>
                  </a:cubicBezTo>
                  <a:cubicBezTo>
                    <a:pt x="29783" y="5053"/>
                    <a:pt x="30779" y="3635"/>
                    <a:pt x="31706" y="2169"/>
                  </a:cubicBezTo>
                  <a:lnTo>
                    <a:pt x="31706" y="2166"/>
                  </a:lnTo>
                  <a:close/>
                  <a:moveTo>
                    <a:pt x="31533" y="4314"/>
                  </a:moveTo>
                  <a:cubicBezTo>
                    <a:pt x="30167" y="5532"/>
                    <a:pt x="29059" y="7365"/>
                    <a:pt x="27921" y="8797"/>
                  </a:cubicBezTo>
                  <a:cubicBezTo>
                    <a:pt x="24959" y="12524"/>
                    <a:pt x="22011" y="16266"/>
                    <a:pt x="19078" y="20022"/>
                  </a:cubicBezTo>
                  <a:cubicBezTo>
                    <a:pt x="16561" y="23250"/>
                    <a:pt x="14147" y="26549"/>
                    <a:pt x="11835" y="29924"/>
                  </a:cubicBezTo>
                  <a:cubicBezTo>
                    <a:pt x="10515" y="31856"/>
                    <a:pt x="9294" y="33859"/>
                    <a:pt x="8041" y="35831"/>
                  </a:cubicBezTo>
                  <a:cubicBezTo>
                    <a:pt x="7948" y="35978"/>
                    <a:pt x="4548" y="41393"/>
                    <a:pt x="3972" y="41393"/>
                  </a:cubicBezTo>
                  <a:cubicBezTo>
                    <a:pt x="3960" y="41393"/>
                    <a:pt x="3949" y="41391"/>
                    <a:pt x="3939" y="41386"/>
                  </a:cubicBezTo>
                  <a:lnTo>
                    <a:pt x="3936" y="41383"/>
                  </a:lnTo>
                  <a:cubicBezTo>
                    <a:pt x="3807" y="41224"/>
                    <a:pt x="3688" y="41061"/>
                    <a:pt x="3576" y="40887"/>
                  </a:cubicBezTo>
                  <a:lnTo>
                    <a:pt x="3576" y="40887"/>
                  </a:lnTo>
                  <a:cubicBezTo>
                    <a:pt x="3606" y="40922"/>
                    <a:pt x="3649" y="40944"/>
                    <a:pt x="3692" y="40944"/>
                  </a:cubicBezTo>
                  <a:cubicBezTo>
                    <a:pt x="3716" y="40944"/>
                    <a:pt x="3739" y="40937"/>
                    <a:pt x="3760" y="40921"/>
                  </a:cubicBezTo>
                  <a:cubicBezTo>
                    <a:pt x="5521" y="39616"/>
                    <a:pt x="6323" y="37462"/>
                    <a:pt x="7542" y="35693"/>
                  </a:cubicBezTo>
                  <a:cubicBezTo>
                    <a:pt x="10198" y="31841"/>
                    <a:pt x="12790" y="27921"/>
                    <a:pt x="15357" y="24012"/>
                  </a:cubicBezTo>
                  <a:cubicBezTo>
                    <a:pt x="17233" y="21154"/>
                    <a:pt x="19312" y="18454"/>
                    <a:pt x="21437" y="15790"/>
                  </a:cubicBezTo>
                  <a:cubicBezTo>
                    <a:pt x="23374" y="13431"/>
                    <a:pt x="25314" y="11084"/>
                    <a:pt x="27225" y="8745"/>
                  </a:cubicBezTo>
                  <a:cubicBezTo>
                    <a:pt x="28536" y="7143"/>
                    <a:pt x="29988" y="5691"/>
                    <a:pt x="31533" y="4314"/>
                  </a:cubicBezTo>
                  <a:close/>
                  <a:moveTo>
                    <a:pt x="21434" y="23270"/>
                  </a:moveTo>
                  <a:cubicBezTo>
                    <a:pt x="20733" y="24358"/>
                    <a:pt x="20031" y="25450"/>
                    <a:pt x="19332" y="26544"/>
                  </a:cubicBezTo>
                  <a:cubicBezTo>
                    <a:pt x="17851" y="28862"/>
                    <a:pt x="16338" y="31148"/>
                    <a:pt x="14794" y="33409"/>
                  </a:cubicBezTo>
                  <a:cubicBezTo>
                    <a:pt x="13925" y="34549"/>
                    <a:pt x="13056" y="35690"/>
                    <a:pt x="12204" y="36842"/>
                  </a:cubicBezTo>
                  <a:cubicBezTo>
                    <a:pt x="11410" y="37924"/>
                    <a:pt x="10645" y="39024"/>
                    <a:pt x="9886" y="40133"/>
                  </a:cubicBezTo>
                  <a:cubicBezTo>
                    <a:pt x="8954" y="41236"/>
                    <a:pt x="7937" y="42321"/>
                    <a:pt x="6956" y="43430"/>
                  </a:cubicBezTo>
                  <a:cubicBezTo>
                    <a:pt x="10972" y="38129"/>
                    <a:pt x="14895" y="32707"/>
                    <a:pt x="18411" y="27127"/>
                  </a:cubicBezTo>
                  <a:cubicBezTo>
                    <a:pt x="18608" y="26818"/>
                    <a:pt x="18801" y="26509"/>
                    <a:pt x="18995" y="26200"/>
                  </a:cubicBezTo>
                  <a:cubicBezTo>
                    <a:pt x="19791" y="25213"/>
                    <a:pt x="20614" y="24240"/>
                    <a:pt x="21434" y="23270"/>
                  </a:cubicBezTo>
                  <a:close/>
                  <a:moveTo>
                    <a:pt x="15042" y="29047"/>
                  </a:moveTo>
                  <a:cubicBezTo>
                    <a:pt x="12756" y="32312"/>
                    <a:pt x="10461" y="35571"/>
                    <a:pt x="8203" y="38854"/>
                  </a:cubicBezTo>
                  <a:cubicBezTo>
                    <a:pt x="6990" y="40615"/>
                    <a:pt x="5850" y="42428"/>
                    <a:pt x="4669" y="44212"/>
                  </a:cubicBezTo>
                  <a:cubicBezTo>
                    <a:pt x="4294" y="44783"/>
                    <a:pt x="1895" y="47604"/>
                    <a:pt x="1659" y="47604"/>
                  </a:cubicBezTo>
                  <a:cubicBezTo>
                    <a:pt x="1584" y="47604"/>
                    <a:pt x="1725" y="47323"/>
                    <a:pt x="2212" y="46603"/>
                  </a:cubicBezTo>
                  <a:lnTo>
                    <a:pt x="2209" y="46603"/>
                  </a:lnTo>
                  <a:cubicBezTo>
                    <a:pt x="6248" y="40635"/>
                    <a:pt x="10674" y="34838"/>
                    <a:pt x="15042" y="29047"/>
                  </a:cubicBezTo>
                  <a:close/>
                  <a:moveTo>
                    <a:pt x="8760" y="41776"/>
                  </a:moveTo>
                  <a:lnTo>
                    <a:pt x="8763" y="41778"/>
                  </a:lnTo>
                  <a:cubicBezTo>
                    <a:pt x="8630" y="41975"/>
                    <a:pt x="8497" y="42168"/>
                    <a:pt x="8365" y="42362"/>
                  </a:cubicBezTo>
                  <a:cubicBezTo>
                    <a:pt x="7140" y="44160"/>
                    <a:pt x="4796" y="46043"/>
                    <a:pt x="3962" y="47931"/>
                  </a:cubicBezTo>
                  <a:cubicBezTo>
                    <a:pt x="4915" y="45765"/>
                    <a:pt x="6907" y="43733"/>
                    <a:pt x="8760" y="41776"/>
                  </a:cubicBezTo>
                  <a:close/>
                  <a:moveTo>
                    <a:pt x="16087" y="29852"/>
                  </a:moveTo>
                  <a:lnTo>
                    <a:pt x="16087" y="29852"/>
                  </a:lnTo>
                  <a:cubicBezTo>
                    <a:pt x="13524" y="33574"/>
                    <a:pt x="10850" y="37208"/>
                    <a:pt x="8203" y="40901"/>
                  </a:cubicBezTo>
                  <a:cubicBezTo>
                    <a:pt x="7172" y="42338"/>
                    <a:pt x="6139" y="43776"/>
                    <a:pt x="5105" y="45211"/>
                  </a:cubicBezTo>
                  <a:cubicBezTo>
                    <a:pt x="4867" y="45542"/>
                    <a:pt x="3102" y="48268"/>
                    <a:pt x="2957" y="48268"/>
                  </a:cubicBezTo>
                  <a:cubicBezTo>
                    <a:pt x="2903" y="48268"/>
                    <a:pt x="3072" y="47893"/>
                    <a:pt x="3624" y="46883"/>
                  </a:cubicBezTo>
                  <a:lnTo>
                    <a:pt x="3627" y="46883"/>
                  </a:lnTo>
                  <a:cubicBezTo>
                    <a:pt x="3783" y="46597"/>
                    <a:pt x="3965" y="46325"/>
                    <a:pt x="4129" y="46045"/>
                  </a:cubicBezTo>
                  <a:cubicBezTo>
                    <a:pt x="4744" y="45162"/>
                    <a:pt x="5325" y="44235"/>
                    <a:pt x="5882" y="43306"/>
                  </a:cubicBezTo>
                  <a:cubicBezTo>
                    <a:pt x="7132" y="41501"/>
                    <a:pt x="8480" y="39763"/>
                    <a:pt x="9808" y="38037"/>
                  </a:cubicBezTo>
                  <a:cubicBezTo>
                    <a:pt x="11910" y="35300"/>
                    <a:pt x="13980" y="32560"/>
                    <a:pt x="16087" y="29852"/>
                  </a:cubicBezTo>
                  <a:close/>
                  <a:moveTo>
                    <a:pt x="14318" y="29714"/>
                  </a:moveTo>
                  <a:lnTo>
                    <a:pt x="14318" y="29714"/>
                  </a:lnTo>
                  <a:cubicBezTo>
                    <a:pt x="11641" y="33455"/>
                    <a:pt x="8858" y="37104"/>
                    <a:pt x="6144" y="40817"/>
                  </a:cubicBezTo>
                  <a:cubicBezTo>
                    <a:pt x="4155" y="43537"/>
                    <a:pt x="1698" y="46190"/>
                    <a:pt x="339" y="49311"/>
                  </a:cubicBezTo>
                  <a:cubicBezTo>
                    <a:pt x="1107" y="45875"/>
                    <a:pt x="4886" y="42159"/>
                    <a:pt x="6785" y="39440"/>
                  </a:cubicBezTo>
                  <a:lnTo>
                    <a:pt x="6783" y="39440"/>
                  </a:lnTo>
                  <a:cubicBezTo>
                    <a:pt x="9150" y="36056"/>
                    <a:pt x="11702" y="32878"/>
                    <a:pt x="14318" y="29714"/>
                  </a:cubicBezTo>
                  <a:close/>
                  <a:moveTo>
                    <a:pt x="27060" y="1"/>
                  </a:moveTo>
                  <a:cubicBezTo>
                    <a:pt x="27025" y="1"/>
                    <a:pt x="26989" y="15"/>
                    <a:pt x="26960" y="50"/>
                  </a:cubicBezTo>
                  <a:cubicBezTo>
                    <a:pt x="26931" y="84"/>
                    <a:pt x="26902" y="116"/>
                    <a:pt x="26873" y="148"/>
                  </a:cubicBezTo>
                  <a:cubicBezTo>
                    <a:pt x="23077" y="162"/>
                    <a:pt x="19202" y="2789"/>
                    <a:pt x="16725" y="5281"/>
                  </a:cubicBezTo>
                  <a:cubicBezTo>
                    <a:pt x="15129" y="6886"/>
                    <a:pt x="14569" y="9014"/>
                    <a:pt x="14075" y="11144"/>
                  </a:cubicBezTo>
                  <a:cubicBezTo>
                    <a:pt x="13203" y="14918"/>
                    <a:pt x="9317" y="15764"/>
                    <a:pt x="8255" y="19049"/>
                  </a:cubicBezTo>
                  <a:cubicBezTo>
                    <a:pt x="7871" y="20233"/>
                    <a:pt x="7493" y="21829"/>
                    <a:pt x="8512" y="22848"/>
                  </a:cubicBezTo>
                  <a:cubicBezTo>
                    <a:pt x="8861" y="23198"/>
                    <a:pt x="9234" y="23244"/>
                    <a:pt x="9684" y="23359"/>
                  </a:cubicBezTo>
                  <a:cubicBezTo>
                    <a:pt x="9912" y="23391"/>
                    <a:pt x="10143" y="23414"/>
                    <a:pt x="10374" y="23429"/>
                  </a:cubicBezTo>
                  <a:cubicBezTo>
                    <a:pt x="10460" y="23420"/>
                    <a:pt x="10543" y="23416"/>
                    <a:pt x="10621" y="23416"/>
                  </a:cubicBezTo>
                  <a:cubicBezTo>
                    <a:pt x="11886" y="23416"/>
                    <a:pt x="12124" y="24488"/>
                    <a:pt x="11341" y="26630"/>
                  </a:cubicBezTo>
                  <a:cubicBezTo>
                    <a:pt x="11201" y="26665"/>
                    <a:pt x="11247" y="26864"/>
                    <a:pt x="11376" y="26864"/>
                  </a:cubicBezTo>
                  <a:cubicBezTo>
                    <a:pt x="11385" y="26864"/>
                    <a:pt x="11395" y="26863"/>
                    <a:pt x="11405" y="26861"/>
                  </a:cubicBezTo>
                  <a:cubicBezTo>
                    <a:pt x="12626" y="26613"/>
                    <a:pt x="14390" y="25279"/>
                    <a:pt x="13010" y="23968"/>
                  </a:cubicBezTo>
                  <a:cubicBezTo>
                    <a:pt x="14762" y="21639"/>
                    <a:pt x="16541" y="19326"/>
                    <a:pt x="18339" y="17037"/>
                  </a:cubicBezTo>
                  <a:cubicBezTo>
                    <a:pt x="20100" y="14944"/>
                    <a:pt x="21919" y="12900"/>
                    <a:pt x="23741" y="10870"/>
                  </a:cubicBezTo>
                  <a:cubicBezTo>
                    <a:pt x="25280" y="9158"/>
                    <a:pt x="26839" y="7469"/>
                    <a:pt x="28392" y="5772"/>
                  </a:cubicBezTo>
                  <a:cubicBezTo>
                    <a:pt x="28720" y="5412"/>
                    <a:pt x="30516" y="3132"/>
                    <a:pt x="30650" y="3132"/>
                  </a:cubicBezTo>
                  <a:cubicBezTo>
                    <a:pt x="30703" y="3132"/>
                    <a:pt x="30493" y="3493"/>
                    <a:pt x="29824" y="4478"/>
                  </a:cubicBezTo>
                  <a:cubicBezTo>
                    <a:pt x="28851" y="5907"/>
                    <a:pt x="27794" y="7279"/>
                    <a:pt x="26700" y="8627"/>
                  </a:cubicBezTo>
                  <a:cubicBezTo>
                    <a:pt x="25513" y="9949"/>
                    <a:pt x="24370" y="11326"/>
                    <a:pt x="23256" y="12735"/>
                  </a:cubicBezTo>
                  <a:cubicBezTo>
                    <a:pt x="22401" y="13743"/>
                    <a:pt x="21552" y="14756"/>
                    <a:pt x="20727" y="15781"/>
                  </a:cubicBezTo>
                  <a:cubicBezTo>
                    <a:pt x="19246" y="17623"/>
                    <a:pt x="17906" y="19563"/>
                    <a:pt x="16598" y="21532"/>
                  </a:cubicBezTo>
                  <a:cubicBezTo>
                    <a:pt x="15859" y="22499"/>
                    <a:pt x="15120" y="23452"/>
                    <a:pt x="14367" y="24378"/>
                  </a:cubicBezTo>
                  <a:cubicBezTo>
                    <a:pt x="13085" y="25961"/>
                    <a:pt x="11838" y="27557"/>
                    <a:pt x="10614" y="29168"/>
                  </a:cubicBezTo>
                  <a:cubicBezTo>
                    <a:pt x="10755" y="28966"/>
                    <a:pt x="10879" y="28752"/>
                    <a:pt x="10983" y="28527"/>
                  </a:cubicBezTo>
                  <a:cubicBezTo>
                    <a:pt x="11003" y="28483"/>
                    <a:pt x="10967" y="28444"/>
                    <a:pt x="10931" y="28444"/>
                  </a:cubicBezTo>
                  <a:cubicBezTo>
                    <a:pt x="10915" y="28444"/>
                    <a:pt x="10899" y="28452"/>
                    <a:pt x="10888" y="28472"/>
                  </a:cubicBezTo>
                  <a:cubicBezTo>
                    <a:pt x="10062" y="29947"/>
                    <a:pt x="8030" y="30528"/>
                    <a:pt x="7421" y="32081"/>
                  </a:cubicBezTo>
                  <a:cubicBezTo>
                    <a:pt x="7045" y="33028"/>
                    <a:pt x="7184" y="33727"/>
                    <a:pt x="5934" y="33787"/>
                  </a:cubicBezTo>
                  <a:cubicBezTo>
                    <a:pt x="5172" y="33822"/>
                    <a:pt x="4499" y="34174"/>
                    <a:pt x="3887" y="34593"/>
                  </a:cubicBezTo>
                  <a:cubicBezTo>
                    <a:pt x="1421" y="36284"/>
                    <a:pt x="2143" y="39954"/>
                    <a:pt x="3898" y="41865"/>
                  </a:cubicBezTo>
                  <a:lnTo>
                    <a:pt x="4002" y="42041"/>
                  </a:lnTo>
                  <a:cubicBezTo>
                    <a:pt x="4023" y="42076"/>
                    <a:pt x="4062" y="42096"/>
                    <a:pt x="4102" y="42096"/>
                  </a:cubicBezTo>
                  <a:cubicBezTo>
                    <a:pt x="4111" y="42096"/>
                    <a:pt x="4120" y="42095"/>
                    <a:pt x="4129" y="42093"/>
                  </a:cubicBezTo>
                  <a:cubicBezTo>
                    <a:pt x="4164" y="42131"/>
                    <a:pt x="4202" y="42171"/>
                    <a:pt x="4242" y="42206"/>
                  </a:cubicBezTo>
                  <a:cubicBezTo>
                    <a:pt x="4242" y="42206"/>
                    <a:pt x="4245" y="42206"/>
                    <a:pt x="4248" y="42209"/>
                  </a:cubicBezTo>
                  <a:cubicBezTo>
                    <a:pt x="2371" y="44559"/>
                    <a:pt x="350" y="47192"/>
                    <a:pt x="10" y="49703"/>
                  </a:cubicBezTo>
                  <a:cubicBezTo>
                    <a:pt x="1" y="49767"/>
                    <a:pt x="41" y="49827"/>
                    <a:pt x="105" y="49848"/>
                  </a:cubicBezTo>
                  <a:cubicBezTo>
                    <a:pt x="96" y="49868"/>
                    <a:pt x="88" y="49885"/>
                    <a:pt x="79" y="49905"/>
                  </a:cubicBezTo>
                  <a:cubicBezTo>
                    <a:pt x="40" y="50010"/>
                    <a:pt x="142" y="50114"/>
                    <a:pt x="242" y="50114"/>
                  </a:cubicBezTo>
                  <a:cubicBezTo>
                    <a:pt x="269" y="50114"/>
                    <a:pt x="295" y="50106"/>
                    <a:pt x="319" y="50090"/>
                  </a:cubicBezTo>
                  <a:cubicBezTo>
                    <a:pt x="1231" y="49452"/>
                    <a:pt x="2051" y="48658"/>
                    <a:pt x="2804" y="47775"/>
                  </a:cubicBezTo>
                  <a:lnTo>
                    <a:pt x="2804" y="47775"/>
                  </a:lnTo>
                  <a:cubicBezTo>
                    <a:pt x="2507" y="48326"/>
                    <a:pt x="2201" y="48875"/>
                    <a:pt x="1924" y="49435"/>
                  </a:cubicBezTo>
                  <a:cubicBezTo>
                    <a:pt x="1866" y="49553"/>
                    <a:pt x="1970" y="49695"/>
                    <a:pt x="2079" y="49695"/>
                  </a:cubicBezTo>
                  <a:cubicBezTo>
                    <a:pt x="2116" y="49695"/>
                    <a:pt x="2154" y="49678"/>
                    <a:pt x="2186" y="49637"/>
                  </a:cubicBezTo>
                  <a:cubicBezTo>
                    <a:pt x="2804" y="48837"/>
                    <a:pt x="3422" y="48037"/>
                    <a:pt x="4043" y="47235"/>
                  </a:cubicBezTo>
                  <a:lnTo>
                    <a:pt x="4043" y="47235"/>
                  </a:lnTo>
                  <a:cubicBezTo>
                    <a:pt x="3734" y="47734"/>
                    <a:pt x="3460" y="48254"/>
                    <a:pt x="3220" y="48788"/>
                  </a:cubicBezTo>
                  <a:cubicBezTo>
                    <a:pt x="3166" y="48908"/>
                    <a:pt x="3258" y="49041"/>
                    <a:pt x="3365" y="49041"/>
                  </a:cubicBezTo>
                  <a:cubicBezTo>
                    <a:pt x="3402" y="49041"/>
                    <a:pt x="3441" y="49025"/>
                    <a:pt x="3477" y="48987"/>
                  </a:cubicBezTo>
                  <a:cubicBezTo>
                    <a:pt x="4629" y="47804"/>
                    <a:pt x="5671" y="46545"/>
                    <a:pt x="6661" y="45249"/>
                  </a:cubicBezTo>
                  <a:lnTo>
                    <a:pt x="6661" y="45249"/>
                  </a:lnTo>
                  <a:cubicBezTo>
                    <a:pt x="6055" y="46230"/>
                    <a:pt x="5478" y="47229"/>
                    <a:pt x="4949" y="48251"/>
                  </a:cubicBezTo>
                  <a:cubicBezTo>
                    <a:pt x="4889" y="48367"/>
                    <a:pt x="4986" y="48495"/>
                    <a:pt x="5092" y="48495"/>
                  </a:cubicBezTo>
                  <a:cubicBezTo>
                    <a:pt x="5128" y="48495"/>
                    <a:pt x="5165" y="48480"/>
                    <a:pt x="5198" y="48444"/>
                  </a:cubicBezTo>
                  <a:cubicBezTo>
                    <a:pt x="5295" y="48338"/>
                    <a:pt x="6277" y="47005"/>
                    <a:pt x="6573" y="47005"/>
                  </a:cubicBezTo>
                  <a:cubicBezTo>
                    <a:pt x="6679" y="47005"/>
                    <a:pt x="6697" y="47178"/>
                    <a:pt x="6552" y="47645"/>
                  </a:cubicBezTo>
                  <a:cubicBezTo>
                    <a:pt x="6514" y="47760"/>
                    <a:pt x="6607" y="47836"/>
                    <a:pt x="6704" y="47836"/>
                  </a:cubicBezTo>
                  <a:cubicBezTo>
                    <a:pt x="6743" y="47836"/>
                    <a:pt x="6782" y="47824"/>
                    <a:pt x="6814" y="47798"/>
                  </a:cubicBezTo>
                  <a:cubicBezTo>
                    <a:pt x="7030" y="47455"/>
                    <a:pt x="7198" y="47283"/>
                    <a:pt x="7316" y="47283"/>
                  </a:cubicBezTo>
                  <a:cubicBezTo>
                    <a:pt x="7421" y="47283"/>
                    <a:pt x="7487" y="47417"/>
                    <a:pt x="7516" y="47685"/>
                  </a:cubicBezTo>
                  <a:cubicBezTo>
                    <a:pt x="7506" y="47785"/>
                    <a:pt x="7578" y="47835"/>
                    <a:pt x="7655" y="47835"/>
                  </a:cubicBezTo>
                  <a:cubicBezTo>
                    <a:pt x="7733" y="47835"/>
                    <a:pt x="7816" y="47785"/>
                    <a:pt x="7828" y="47685"/>
                  </a:cubicBezTo>
                  <a:lnTo>
                    <a:pt x="7934" y="46715"/>
                  </a:lnTo>
                  <a:cubicBezTo>
                    <a:pt x="7946" y="46621"/>
                    <a:pt x="7864" y="46565"/>
                    <a:pt x="7781" y="46565"/>
                  </a:cubicBezTo>
                  <a:cubicBezTo>
                    <a:pt x="7740" y="46565"/>
                    <a:pt x="7699" y="46579"/>
                    <a:pt x="7669" y="46608"/>
                  </a:cubicBezTo>
                  <a:cubicBezTo>
                    <a:pt x="7357" y="46910"/>
                    <a:pt x="7192" y="47092"/>
                    <a:pt x="7125" y="47092"/>
                  </a:cubicBezTo>
                  <a:cubicBezTo>
                    <a:pt x="7055" y="47092"/>
                    <a:pt x="7091" y="46897"/>
                    <a:pt x="7178" y="46435"/>
                  </a:cubicBezTo>
                  <a:cubicBezTo>
                    <a:pt x="7199" y="46325"/>
                    <a:pt x="7115" y="46238"/>
                    <a:pt x="7023" y="46238"/>
                  </a:cubicBezTo>
                  <a:cubicBezTo>
                    <a:pt x="6986" y="46238"/>
                    <a:pt x="6949" y="46251"/>
                    <a:pt x="6915" y="46282"/>
                  </a:cubicBezTo>
                  <a:cubicBezTo>
                    <a:pt x="6263" y="46881"/>
                    <a:pt x="5949" y="47112"/>
                    <a:pt x="5851" y="47112"/>
                  </a:cubicBezTo>
                  <a:cubicBezTo>
                    <a:pt x="5557" y="47112"/>
                    <a:pt x="7177" y="45064"/>
                    <a:pt x="7467" y="44625"/>
                  </a:cubicBezTo>
                  <a:cubicBezTo>
                    <a:pt x="8861" y="42523"/>
                    <a:pt x="10541" y="40606"/>
                    <a:pt x="12144" y="38663"/>
                  </a:cubicBezTo>
                  <a:cubicBezTo>
                    <a:pt x="14491" y="35817"/>
                    <a:pt x="16595" y="32837"/>
                    <a:pt x="18611" y="29745"/>
                  </a:cubicBezTo>
                  <a:cubicBezTo>
                    <a:pt x="19751" y="27999"/>
                    <a:pt x="20909" y="26258"/>
                    <a:pt x="22087" y="24520"/>
                  </a:cubicBezTo>
                  <a:cubicBezTo>
                    <a:pt x="25398" y="20250"/>
                    <a:pt x="28715" y="15986"/>
                    <a:pt x="32148" y="11811"/>
                  </a:cubicBezTo>
                  <a:cubicBezTo>
                    <a:pt x="33430" y="10252"/>
                    <a:pt x="35589" y="8939"/>
                    <a:pt x="35733" y="6771"/>
                  </a:cubicBezTo>
                  <a:cubicBezTo>
                    <a:pt x="36727" y="8099"/>
                    <a:pt x="37723" y="9412"/>
                    <a:pt x="38843" y="10452"/>
                  </a:cubicBezTo>
                  <a:cubicBezTo>
                    <a:pt x="38883" y="10489"/>
                    <a:pt x="38927" y="10504"/>
                    <a:pt x="38970" y="10504"/>
                  </a:cubicBezTo>
                  <a:cubicBezTo>
                    <a:pt x="39119" y="10504"/>
                    <a:pt x="39250" y="10313"/>
                    <a:pt x="39111" y="10183"/>
                  </a:cubicBezTo>
                  <a:cubicBezTo>
                    <a:pt x="36285" y="7559"/>
                    <a:pt x="34815" y="4013"/>
                    <a:pt x="31859" y="1854"/>
                  </a:cubicBezTo>
                  <a:cubicBezTo>
                    <a:pt x="31839" y="1781"/>
                    <a:pt x="31770" y="1730"/>
                    <a:pt x="31695" y="1730"/>
                  </a:cubicBezTo>
                  <a:cubicBezTo>
                    <a:pt x="31693" y="1730"/>
                    <a:pt x="31691" y="1730"/>
                    <a:pt x="31689" y="1730"/>
                  </a:cubicBezTo>
                  <a:cubicBezTo>
                    <a:pt x="30967" y="1225"/>
                    <a:pt x="30179" y="823"/>
                    <a:pt x="29347" y="538"/>
                  </a:cubicBezTo>
                  <a:cubicBezTo>
                    <a:pt x="28660" y="309"/>
                    <a:pt x="27947" y="182"/>
                    <a:pt x="27225" y="159"/>
                  </a:cubicBezTo>
                  <a:cubicBezTo>
                    <a:pt x="27221" y="75"/>
                    <a:pt x="27141" y="1"/>
                    <a:pt x="27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65"/>
            <p:cNvSpPr/>
            <p:nvPr/>
          </p:nvSpPr>
          <p:spPr>
            <a:xfrm>
              <a:off x="4676950" y="2073550"/>
              <a:ext cx="20750" cy="22675"/>
            </a:xfrm>
            <a:custGeom>
              <a:avLst/>
              <a:gdLst/>
              <a:ahLst/>
              <a:cxnLst/>
              <a:rect l="l" t="t" r="r" b="b"/>
              <a:pathLst>
                <a:path w="830" h="907" extrusionOk="0">
                  <a:moveTo>
                    <a:pt x="829" y="0"/>
                  </a:moveTo>
                  <a:cubicBezTo>
                    <a:pt x="748" y="87"/>
                    <a:pt x="662" y="174"/>
                    <a:pt x="581" y="260"/>
                  </a:cubicBezTo>
                  <a:cubicBezTo>
                    <a:pt x="388" y="477"/>
                    <a:pt x="194" y="693"/>
                    <a:pt x="1" y="907"/>
                  </a:cubicBezTo>
                  <a:cubicBezTo>
                    <a:pt x="278" y="604"/>
                    <a:pt x="555" y="301"/>
                    <a:pt x="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65"/>
            <p:cNvSpPr/>
            <p:nvPr/>
          </p:nvSpPr>
          <p:spPr>
            <a:xfrm>
              <a:off x="4104175" y="2561150"/>
              <a:ext cx="133900" cy="132250"/>
            </a:xfrm>
            <a:custGeom>
              <a:avLst/>
              <a:gdLst/>
              <a:ahLst/>
              <a:cxnLst/>
              <a:rect l="l" t="t" r="r" b="b"/>
              <a:pathLst>
                <a:path w="5356" h="5290" extrusionOk="0">
                  <a:moveTo>
                    <a:pt x="5356" y="1"/>
                  </a:moveTo>
                  <a:lnTo>
                    <a:pt x="5356" y="1"/>
                  </a:lnTo>
                  <a:cubicBezTo>
                    <a:pt x="3525" y="1727"/>
                    <a:pt x="1701" y="3480"/>
                    <a:pt x="0" y="5290"/>
                  </a:cubicBezTo>
                  <a:cubicBezTo>
                    <a:pt x="249" y="5056"/>
                    <a:pt x="497" y="4822"/>
                    <a:pt x="748" y="4591"/>
                  </a:cubicBezTo>
                  <a:cubicBezTo>
                    <a:pt x="2333" y="3110"/>
                    <a:pt x="3852" y="1563"/>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65"/>
            <p:cNvSpPr/>
            <p:nvPr/>
          </p:nvSpPr>
          <p:spPr>
            <a:xfrm>
              <a:off x="4529425" y="2080700"/>
              <a:ext cx="100725" cy="115050"/>
            </a:xfrm>
            <a:custGeom>
              <a:avLst/>
              <a:gdLst/>
              <a:ahLst/>
              <a:cxnLst/>
              <a:rect l="l" t="t" r="r" b="b"/>
              <a:pathLst>
                <a:path w="4029" h="4602" extrusionOk="0">
                  <a:moveTo>
                    <a:pt x="4028" y="0"/>
                  </a:moveTo>
                  <a:cubicBezTo>
                    <a:pt x="2686" y="1533"/>
                    <a:pt x="1343" y="3066"/>
                    <a:pt x="1" y="4602"/>
                  </a:cubicBezTo>
                  <a:cubicBezTo>
                    <a:pt x="468" y="4088"/>
                    <a:pt x="939" y="3577"/>
                    <a:pt x="1404" y="3060"/>
                  </a:cubicBezTo>
                  <a:cubicBezTo>
                    <a:pt x="2302" y="2067"/>
                    <a:pt x="3168" y="1039"/>
                    <a:pt x="4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65"/>
            <p:cNvSpPr/>
            <p:nvPr/>
          </p:nvSpPr>
          <p:spPr>
            <a:xfrm>
              <a:off x="4023550" y="2864950"/>
              <a:ext cx="12525" cy="11925"/>
            </a:xfrm>
            <a:custGeom>
              <a:avLst/>
              <a:gdLst/>
              <a:ahLst/>
              <a:cxnLst/>
              <a:rect l="l" t="t" r="r" b="b"/>
              <a:pathLst>
                <a:path w="501" h="477" extrusionOk="0">
                  <a:moveTo>
                    <a:pt x="500" y="0"/>
                  </a:moveTo>
                  <a:lnTo>
                    <a:pt x="500" y="0"/>
                  </a:lnTo>
                  <a:cubicBezTo>
                    <a:pt x="336" y="159"/>
                    <a:pt x="168" y="318"/>
                    <a:pt x="1" y="477"/>
                  </a:cubicBezTo>
                  <a:cubicBezTo>
                    <a:pt x="136" y="468"/>
                    <a:pt x="301" y="312"/>
                    <a:pt x="5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65"/>
            <p:cNvSpPr/>
            <p:nvPr/>
          </p:nvSpPr>
          <p:spPr>
            <a:xfrm>
              <a:off x="4146900" y="2619550"/>
              <a:ext cx="291675" cy="383175"/>
            </a:xfrm>
            <a:custGeom>
              <a:avLst/>
              <a:gdLst/>
              <a:ahLst/>
              <a:cxnLst/>
              <a:rect l="l" t="t" r="r" b="b"/>
              <a:pathLst>
                <a:path w="11667" h="15327" extrusionOk="0">
                  <a:moveTo>
                    <a:pt x="11667" y="0"/>
                  </a:moveTo>
                  <a:lnTo>
                    <a:pt x="11667" y="0"/>
                  </a:lnTo>
                  <a:cubicBezTo>
                    <a:pt x="10873" y="933"/>
                    <a:pt x="10076" y="1860"/>
                    <a:pt x="9259" y="2772"/>
                  </a:cubicBezTo>
                  <a:lnTo>
                    <a:pt x="9236" y="2795"/>
                  </a:lnTo>
                  <a:cubicBezTo>
                    <a:pt x="7764" y="4830"/>
                    <a:pt x="6317" y="6886"/>
                    <a:pt x="4900" y="8962"/>
                  </a:cubicBezTo>
                  <a:cubicBezTo>
                    <a:pt x="3734" y="10678"/>
                    <a:pt x="2482" y="12334"/>
                    <a:pt x="1150" y="13927"/>
                  </a:cubicBezTo>
                  <a:lnTo>
                    <a:pt x="1150" y="13927"/>
                  </a:lnTo>
                  <a:cubicBezTo>
                    <a:pt x="1636" y="13343"/>
                    <a:pt x="2727" y="11050"/>
                    <a:pt x="3436" y="10050"/>
                  </a:cubicBezTo>
                  <a:cubicBezTo>
                    <a:pt x="4856" y="8047"/>
                    <a:pt x="6398" y="6101"/>
                    <a:pt x="7992" y="4190"/>
                  </a:cubicBezTo>
                  <a:lnTo>
                    <a:pt x="7992" y="4190"/>
                  </a:lnTo>
                  <a:cubicBezTo>
                    <a:pt x="4972" y="7579"/>
                    <a:pt x="2091" y="10983"/>
                    <a:pt x="53" y="15105"/>
                  </a:cubicBezTo>
                  <a:cubicBezTo>
                    <a:pt x="1" y="15211"/>
                    <a:pt x="87" y="15326"/>
                    <a:pt x="183" y="15326"/>
                  </a:cubicBezTo>
                  <a:cubicBezTo>
                    <a:pt x="215" y="15326"/>
                    <a:pt x="248" y="15313"/>
                    <a:pt x="278" y="15281"/>
                  </a:cubicBezTo>
                  <a:cubicBezTo>
                    <a:pt x="3274" y="12085"/>
                    <a:pt x="5593" y="8405"/>
                    <a:pt x="8110" y="4833"/>
                  </a:cubicBezTo>
                  <a:cubicBezTo>
                    <a:pt x="9265" y="3196"/>
                    <a:pt x="10457" y="1594"/>
                    <a:pt x="116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65"/>
            <p:cNvSpPr/>
            <p:nvPr/>
          </p:nvSpPr>
          <p:spPr>
            <a:xfrm>
              <a:off x="4438500" y="2570050"/>
              <a:ext cx="41375" cy="49525"/>
            </a:xfrm>
            <a:custGeom>
              <a:avLst/>
              <a:gdLst/>
              <a:ahLst/>
              <a:cxnLst/>
              <a:rect l="l" t="t" r="r" b="b"/>
              <a:pathLst>
                <a:path w="1655" h="1981" extrusionOk="0">
                  <a:moveTo>
                    <a:pt x="1654" y="0"/>
                  </a:moveTo>
                  <a:lnTo>
                    <a:pt x="1654" y="0"/>
                  </a:lnTo>
                  <a:cubicBezTo>
                    <a:pt x="1305" y="396"/>
                    <a:pt x="956" y="794"/>
                    <a:pt x="603" y="1192"/>
                  </a:cubicBezTo>
                  <a:cubicBezTo>
                    <a:pt x="404" y="1455"/>
                    <a:pt x="202" y="1718"/>
                    <a:pt x="0" y="1980"/>
                  </a:cubicBezTo>
                  <a:cubicBezTo>
                    <a:pt x="557" y="1325"/>
                    <a:pt x="1106" y="664"/>
                    <a:pt x="16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65"/>
            <p:cNvSpPr/>
            <p:nvPr/>
          </p:nvSpPr>
          <p:spPr>
            <a:xfrm>
              <a:off x="4346675" y="2672675"/>
              <a:ext cx="43475" cy="51550"/>
            </a:xfrm>
            <a:custGeom>
              <a:avLst/>
              <a:gdLst/>
              <a:ahLst/>
              <a:cxnLst/>
              <a:rect l="l" t="t" r="r" b="b"/>
              <a:pathLst>
                <a:path w="1739" h="2062" extrusionOk="0">
                  <a:moveTo>
                    <a:pt x="1739" y="0"/>
                  </a:moveTo>
                  <a:lnTo>
                    <a:pt x="1739" y="0"/>
                  </a:lnTo>
                  <a:cubicBezTo>
                    <a:pt x="1153" y="685"/>
                    <a:pt x="575" y="1372"/>
                    <a:pt x="1" y="2062"/>
                  </a:cubicBezTo>
                  <a:cubicBezTo>
                    <a:pt x="414" y="1597"/>
                    <a:pt x="829" y="1135"/>
                    <a:pt x="1245" y="670"/>
                  </a:cubicBezTo>
                  <a:cubicBezTo>
                    <a:pt x="1407" y="445"/>
                    <a:pt x="1574" y="226"/>
                    <a:pt x="17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65"/>
            <p:cNvSpPr/>
            <p:nvPr/>
          </p:nvSpPr>
          <p:spPr>
            <a:xfrm>
              <a:off x="3715150" y="1348850"/>
              <a:ext cx="1605150" cy="1793100"/>
            </a:xfrm>
            <a:custGeom>
              <a:avLst/>
              <a:gdLst/>
              <a:ahLst/>
              <a:cxnLst/>
              <a:rect l="l" t="t" r="r" b="b"/>
              <a:pathLst>
                <a:path w="64206" h="71724" extrusionOk="0">
                  <a:moveTo>
                    <a:pt x="50004" y="923"/>
                  </a:moveTo>
                  <a:cubicBezTo>
                    <a:pt x="50129" y="923"/>
                    <a:pt x="48748" y="2564"/>
                    <a:pt x="48675" y="2665"/>
                  </a:cubicBezTo>
                  <a:cubicBezTo>
                    <a:pt x="47824" y="3614"/>
                    <a:pt x="46767" y="4405"/>
                    <a:pt x="45774" y="5199"/>
                  </a:cubicBezTo>
                  <a:cubicBezTo>
                    <a:pt x="45540" y="5387"/>
                    <a:pt x="45318" y="5586"/>
                    <a:pt x="45087" y="5777"/>
                  </a:cubicBezTo>
                  <a:cubicBezTo>
                    <a:pt x="46605" y="4137"/>
                    <a:pt x="48167" y="2529"/>
                    <a:pt x="49830" y="1051"/>
                  </a:cubicBezTo>
                  <a:cubicBezTo>
                    <a:pt x="49930" y="962"/>
                    <a:pt x="49985" y="923"/>
                    <a:pt x="50004" y="923"/>
                  </a:cubicBezTo>
                  <a:close/>
                  <a:moveTo>
                    <a:pt x="46698" y="2105"/>
                  </a:moveTo>
                  <a:lnTo>
                    <a:pt x="46698" y="2105"/>
                  </a:lnTo>
                  <a:cubicBezTo>
                    <a:pt x="45416" y="3196"/>
                    <a:pt x="44074" y="4203"/>
                    <a:pt x="42780" y="5280"/>
                  </a:cubicBezTo>
                  <a:cubicBezTo>
                    <a:pt x="42384" y="5612"/>
                    <a:pt x="41454" y="6614"/>
                    <a:pt x="41429" y="6614"/>
                  </a:cubicBezTo>
                  <a:cubicBezTo>
                    <a:pt x="41414" y="6614"/>
                    <a:pt x="41698" y="6284"/>
                    <a:pt x="42552" y="5306"/>
                  </a:cubicBezTo>
                  <a:cubicBezTo>
                    <a:pt x="43464" y="4267"/>
                    <a:pt x="44619" y="3421"/>
                    <a:pt x="45745" y="2636"/>
                  </a:cubicBezTo>
                  <a:cubicBezTo>
                    <a:pt x="45754" y="2633"/>
                    <a:pt x="45751" y="2627"/>
                    <a:pt x="45757" y="2621"/>
                  </a:cubicBezTo>
                  <a:cubicBezTo>
                    <a:pt x="46063" y="2445"/>
                    <a:pt x="46380" y="2272"/>
                    <a:pt x="46698" y="2105"/>
                  </a:cubicBezTo>
                  <a:close/>
                  <a:moveTo>
                    <a:pt x="50407" y="718"/>
                  </a:moveTo>
                  <a:cubicBezTo>
                    <a:pt x="51022" y="718"/>
                    <a:pt x="51244" y="1089"/>
                    <a:pt x="50737" y="2073"/>
                  </a:cubicBezTo>
                  <a:cubicBezTo>
                    <a:pt x="49596" y="4281"/>
                    <a:pt x="46920" y="5716"/>
                    <a:pt x="44914" y="7151"/>
                  </a:cubicBezTo>
                  <a:cubicBezTo>
                    <a:pt x="46169" y="5852"/>
                    <a:pt x="47466" y="4593"/>
                    <a:pt x="48762" y="3334"/>
                  </a:cubicBezTo>
                  <a:cubicBezTo>
                    <a:pt x="49453" y="2664"/>
                    <a:pt x="49748" y="2409"/>
                    <a:pt x="49795" y="2409"/>
                  </a:cubicBezTo>
                  <a:cubicBezTo>
                    <a:pt x="49933" y="2409"/>
                    <a:pt x="48016" y="4531"/>
                    <a:pt x="47639" y="4916"/>
                  </a:cubicBezTo>
                  <a:cubicBezTo>
                    <a:pt x="47552" y="5006"/>
                    <a:pt x="47637" y="5133"/>
                    <a:pt x="47735" y="5133"/>
                  </a:cubicBezTo>
                  <a:cubicBezTo>
                    <a:pt x="47764" y="5133"/>
                    <a:pt x="47794" y="5122"/>
                    <a:pt x="47821" y="5095"/>
                  </a:cubicBezTo>
                  <a:cubicBezTo>
                    <a:pt x="49054" y="3868"/>
                    <a:pt x="50243" y="2907"/>
                    <a:pt x="50884" y="1270"/>
                  </a:cubicBezTo>
                  <a:cubicBezTo>
                    <a:pt x="50923" y="1171"/>
                    <a:pt x="50833" y="1098"/>
                    <a:pt x="50745" y="1098"/>
                  </a:cubicBezTo>
                  <a:cubicBezTo>
                    <a:pt x="50711" y="1098"/>
                    <a:pt x="50676" y="1109"/>
                    <a:pt x="50650" y="1134"/>
                  </a:cubicBezTo>
                  <a:cubicBezTo>
                    <a:pt x="50027" y="1726"/>
                    <a:pt x="49417" y="2333"/>
                    <a:pt x="48800" y="2930"/>
                  </a:cubicBezTo>
                  <a:cubicBezTo>
                    <a:pt x="49420" y="2272"/>
                    <a:pt x="49957" y="1550"/>
                    <a:pt x="50350" y="719"/>
                  </a:cubicBezTo>
                  <a:cubicBezTo>
                    <a:pt x="50369" y="718"/>
                    <a:pt x="50388" y="718"/>
                    <a:pt x="50407" y="718"/>
                  </a:cubicBezTo>
                  <a:close/>
                  <a:moveTo>
                    <a:pt x="48802" y="1123"/>
                  </a:moveTo>
                  <a:cubicBezTo>
                    <a:pt x="48315" y="1530"/>
                    <a:pt x="47841" y="1949"/>
                    <a:pt x="47368" y="2373"/>
                  </a:cubicBezTo>
                  <a:cubicBezTo>
                    <a:pt x="47304" y="2416"/>
                    <a:pt x="47258" y="2448"/>
                    <a:pt x="47255" y="2451"/>
                  </a:cubicBezTo>
                  <a:cubicBezTo>
                    <a:pt x="45315" y="4123"/>
                    <a:pt x="43401" y="5861"/>
                    <a:pt x="41663" y="7749"/>
                  </a:cubicBezTo>
                  <a:cubicBezTo>
                    <a:pt x="40927" y="8444"/>
                    <a:pt x="40188" y="9137"/>
                    <a:pt x="39425" y="9807"/>
                  </a:cubicBezTo>
                  <a:cubicBezTo>
                    <a:pt x="40531" y="8834"/>
                    <a:pt x="41897" y="6807"/>
                    <a:pt x="43256" y="5543"/>
                  </a:cubicBezTo>
                  <a:cubicBezTo>
                    <a:pt x="44463" y="4420"/>
                    <a:pt x="45716" y="3349"/>
                    <a:pt x="46935" y="2237"/>
                  </a:cubicBezTo>
                  <a:cubicBezTo>
                    <a:pt x="46949" y="2229"/>
                    <a:pt x="46958" y="2220"/>
                    <a:pt x="46969" y="2211"/>
                  </a:cubicBezTo>
                  <a:cubicBezTo>
                    <a:pt x="46972" y="2209"/>
                    <a:pt x="46973" y="2209"/>
                    <a:pt x="46972" y="2209"/>
                  </a:cubicBezTo>
                  <a:lnTo>
                    <a:pt x="46972" y="2209"/>
                  </a:lnTo>
                  <a:cubicBezTo>
                    <a:pt x="46972" y="2209"/>
                    <a:pt x="46970" y="2209"/>
                    <a:pt x="46969" y="2209"/>
                  </a:cubicBezTo>
                  <a:cubicBezTo>
                    <a:pt x="46969" y="2209"/>
                    <a:pt x="46969" y="2209"/>
                    <a:pt x="46969" y="2208"/>
                  </a:cubicBezTo>
                  <a:cubicBezTo>
                    <a:pt x="47168" y="2024"/>
                    <a:pt x="47376" y="1848"/>
                    <a:pt x="47573" y="1663"/>
                  </a:cubicBezTo>
                  <a:cubicBezTo>
                    <a:pt x="48000" y="1458"/>
                    <a:pt x="48416" y="1273"/>
                    <a:pt x="48802" y="1123"/>
                  </a:cubicBezTo>
                  <a:close/>
                  <a:moveTo>
                    <a:pt x="49643" y="840"/>
                  </a:moveTo>
                  <a:lnTo>
                    <a:pt x="49643" y="840"/>
                  </a:lnTo>
                  <a:cubicBezTo>
                    <a:pt x="47310" y="2722"/>
                    <a:pt x="45269" y="5101"/>
                    <a:pt x="43285" y="7356"/>
                  </a:cubicBezTo>
                  <a:cubicBezTo>
                    <a:pt x="41937" y="8595"/>
                    <a:pt x="40641" y="9882"/>
                    <a:pt x="39339" y="11181"/>
                  </a:cubicBezTo>
                  <a:cubicBezTo>
                    <a:pt x="38820" y="11700"/>
                    <a:pt x="38595" y="11896"/>
                    <a:pt x="38551" y="11896"/>
                  </a:cubicBezTo>
                  <a:cubicBezTo>
                    <a:pt x="38422" y="11896"/>
                    <a:pt x="39849" y="10211"/>
                    <a:pt x="40006" y="10006"/>
                  </a:cubicBezTo>
                  <a:cubicBezTo>
                    <a:pt x="40531" y="9325"/>
                    <a:pt x="41109" y="8681"/>
                    <a:pt x="41700" y="8052"/>
                  </a:cubicBezTo>
                  <a:cubicBezTo>
                    <a:pt x="42624" y="7186"/>
                    <a:pt x="43531" y="6305"/>
                    <a:pt x="44437" y="5419"/>
                  </a:cubicBezTo>
                  <a:cubicBezTo>
                    <a:pt x="45231" y="4645"/>
                    <a:pt x="46040" y="3886"/>
                    <a:pt x="46851" y="3135"/>
                  </a:cubicBezTo>
                  <a:cubicBezTo>
                    <a:pt x="47676" y="2419"/>
                    <a:pt x="48502" y="1706"/>
                    <a:pt x="49328" y="996"/>
                  </a:cubicBezTo>
                  <a:cubicBezTo>
                    <a:pt x="49348" y="979"/>
                    <a:pt x="49360" y="953"/>
                    <a:pt x="49362" y="924"/>
                  </a:cubicBezTo>
                  <a:cubicBezTo>
                    <a:pt x="49458" y="892"/>
                    <a:pt x="49553" y="866"/>
                    <a:pt x="49643" y="840"/>
                  </a:cubicBezTo>
                  <a:close/>
                  <a:moveTo>
                    <a:pt x="54467" y="11600"/>
                  </a:moveTo>
                  <a:cubicBezTo>
                    <a:pt x="54501" y="11727"/>
                    <a:pt x="54516" y="11857"/>
                    <a:pt x="54539" y="11987"/>
                  </a:cubicBezTo>
                  <a:cubicBezTo>
                    <a:pt x="54529" y="11984"/>
                    <a:pt x="54519" y="11983"/>
                    <a:pt x="54509" y="11983"/>
                  </a:cubicBezTo>
                  <a:cubicBezTo>
                    <a:pt x="54476" y="11983"/>
                    <a:pt x="54445" y="11997"/>
                    <a:pt x="54421" y="12021"/>
                  </a:cubicBezTo>
                  <a:cubicBezTo>
                    <a:pt x="53568" y="12877"/>
                    <a:pt x="53191" y="13192"/>
                    <a:pt x="53116" y="13192"/>
                  </a:cubicBezTo>
                  <a:cubicBezTo>
                    <a:pt x="52992" y="13192"/>
                    <a:pt x="53707" y="12316"/>
                    <a:pt x="54467" y="11600"/>
                  </a:cubicBezTo>
                  <a:close/>
                  <a:moveTo>
                    <a:pt x="40600" y="11840"/>
                  </a:moveTo>
                  <a:cubicBezTo>
                    <a:pt x="40427" y="12273"/>
                    <a:pt x="40326" y="12706"/>
                    <a:pt x="40329" y="13133"/>
                  </a:cubicBezTo>
                  <a:cubicBezTo>
                    <a:pt x="39394" y="13968"/>
                    <a:pt x="38963" y="14281"/>
                    <a:pt x="38844" y="14281"/>
                  </a:cubicBezTo>
                  <a:cubicBezTo>
                    <a:pt x="38568" y="14281"/>
                    <a:pt x="39954" y="12607"/>
                    <a:pt x="40600" y="11840"/>
                  </a:cubicBezTo>
                  <a:close/>
                  <a:moveTo>
                    <a:pt x="47994" y="3713"/>
                  </a:moveTo>
                  <a:lnTo>
                    <a:pt x="47994" y="3713"/>
                  </a:lnTo>
                  <a:cubicBezTo>
                    <a:pt x="46484" y="5191"/>
                    <a:pt x="44994" y="6680"/>
                    <a:pt x="43548" y="8213"/>
                  </a:cubicBezTo>
                  <a:cubicBezTo>
                    <a:pt x="42708" y="8929"/>
                    <a:pt x="41755" y="9873"/>
                    <a:pt x="41103" y="10890"/>
                  </a:cubicBezTo>
                  <a:cubicBezTo>
                    <a:pt x="40029" y="12105"/>
                    <a:pt x="38987" y="13352"/>
                    <a:pt x="37979" y="14631"/>
                  </a:cubicBezTo>
                  <a:cubicBezTo>
                    <a:pt x="37093" y="11225"/>
                    <a:pt x="40820" y="6473"/>
                    <a:pt x="42916" y="4478"/>
                  </a:cubicBezTo>
                  <a:cubicBezTo>
                    <a:pt x="43072" y="4328"/>
                    <a:pt x="43404" y="4085"/>
                    <a:pt x="43840" y="3793"/>
                  </a:cubicBezTo>
                  <a:lnTo>
                    <a:pt x="43840" y="3793"/>
                  </a:lnTo>
                  <a:cubicBezTo>
                    <a:pt x="42714" y="4743"/>
                    <a:pt x="41700" y="5806"/>
                    <a:pt x="40944" y="7102"/>
                  </a:cubicBezTo>
                  <a:cubicBezTo>
                    <a:pt x="40894" y="7188"/>
                    <a:pt x="40972" y="7283"/>
                    <a:pt x="41053" y="7283"/>
                  </a:cubicBezTo>
                  <a:cubicBezTo>
                    <a:pt x="41081" y="7283"/>
                    <a:pt x="41108" y="7272"/>
                    <a:pt x="41132" y="7246"/>
                  </a:cubicBezTo>
                  <a:cubicBezTo>
                    <a:pt x="41937" y="6360"/>
                    <a:pt x="42815" y="5575"/>
                    <a:pt x="43730" y="4824"/>
                  </a:cubicBezTo>
                  <a:lnTo>
                    <a:pt x="43730" y="4824"/>
                  </a:lnTo>
                  <a:cubicBezTo>
                    <a:pt x="41859" y="6525"/>
                    <a:pt x="40081" y="8288"/>
                    <a:pt x="38686" y="10442"/>
                  </a:cubicBezTo>
                  <a:cubicBezTo>
                    <a:pt x="38630" y="10532"/>
                    <a:pt x="38708" y="10610"/>
                    <a:pt x="38791" y="10610"/>
                  </a:cubicBezTo>
                  <a:cubicBezTo>
                    <a:pt x="38818" y="10610"/>
                    <a:pt x="38845" y="10602"/>
                    <a:pt x="38868" y="10584"/>
                  </a:cubicBezTo>
                  <a:cubicBezTo>
                    <a:pt x="39373" y="10159"/>
                    <a:pt x="39850" y="9709"/>
                    <a:pt x="40338" y="9270"/>
                  </a:cubicBezTo>
                  <a:lnTo>
                    <a:pt x="40338" y="9270"/>
                  </a:lnTo>
                  <a:cubicBezTo>
                    <a:pt x="39469" y="10324"/>
                    <a:pt x="38655" y="11424"/>
                    <a:pt x="37936" y="12599"/>
                  </a:cubicBezTo>
                  <a:cubicBezTo>
                    <a:pt x="37884" y="12681"/>
                    <a:pt x="37959" y="12769"/>
                    <a:pt x="38038" y="12769"/>
                  </a:cubicBezTo>
                  <a:cubicBezTo>
                    <a:pt x="38064" y="12769"/>
                    <a:pt x="38090" y="12759"/>
                    <a:pt x="38112" y="12737"/>
                  </a:cubicBezTo>
                  <a:cubicBezTo>
                    <a:pt x="38793" y="12056"/>
                    <a:pt x="39475" y="11369"/>
                    <a:pt x="40159" y="10685"/>
                  </a:cubicBezTo>
                  <a:lnTo>
                    <a:pt x="40159" y="10685"/>
                  </a:lnTo>
                  <a:cubicBezTo>
                    <a:pt x="39010" y="11961"/>
                    <a:pt x="37942" y="13349"/>
                    <a:pt x="38187" y="13967"/>
                  </a:cubicBezTo>
                  <a:cubicBezTo>
                    <a:pt x="38199" y="13997"/>
                    <a:pt x="38225" y="14010"/>
                    <a:pt x="38251" y="14010"/>
                  </a:cubicBezTo>
                  <a:cubicBezTo>
                    <a:pt x="38288" y="14010"/>
                    <a:pt x="38324" y="13982"/>
                    <a:pt x="38308" y="13935"/>
                  </a:cubicBezTo>
                  <a:cubicBezTo>
                    <a:pt x="37924" y="12810"/>
                    <a:pt x="42416" y="8713"/>
                    <a:pt x="43127" y="7925"/>
                  </a:cubicBezTo>
                  <a:cubicBezTo>
                    <a:pt x="43326" y="7702"/>
                    <a:pt x="43531" y="7483"/>
                    <a:pt x="43733" y="7261"/>
                  </a:cubicBezTo>
                  <a:cubicBezTo>
                    <a:pt x="44267" y="6781"/>
                    <a:pt x="44810" y="6308"/>
                    <a:pt x="45370" y="5858"/>
                  </a:cubicBezTo>
                  <a:cubicBezTo>
                    <a:pt x="46239" y="5162"/>
                    <a:pt x="47154" y="4472"/>
                    <a:pt x="47994" y="3713"/>
                  </a:cubicBezTo>
                  <a:close/>
                  <a:moveTo>
                    <a:pt x="54588" y="12249"/>
                  </a:moveTo>
                  <a:cubicBezTo>
                    <a:pt x="54675" y="12876"/>
                    <a:pt x="54698" y="13523"/>
                    <a:pt x="54738" y="14161"/>
                  </a:cubicBezTo>
                  <a:cubicBezTo>
                    <a:pt x="53967" y="14533"/>
                    <a:pt x="53225" y="14969"/>
                    <a:pt x="52527" y="15466"/>
                  </a:cubicBezTo>
                  <a:cubicBezTo>
                    <a:pt x="53199" y="14830"/>
                    <a:pt x="53863" y="14184"/>
                    <a:pt x="54510" y="13511"/>
                  </a:cubicBezTo>
                  <a:cubicBezTo>
                    <a:pt x="54611" y="13407"/>
                    <a:pt x="54519" y="13277"/>
                    <a:pt x="54408" y="13277"/>
                  </a:cubicBezTo>
                  <a:cubicBezTo>
                    <a:pt x="54377" y="13277"/>
                    <a:pt x="54344" y="13288"/>
                    <a:pt x="54314" y="13312"/>
                  </a:cubicBezTo>
                  <a:cubicBezTo>
                    <a:pt x="52459" y="14787"/>
                    <a:pt x="51730" y="15317"/>
                    <a:pt x="51628" y="15317"/>
                  </a:cubicBezTo>
                  <a:cubicBezTo>
                    <a:pt x="51423" y="15317"/>
                    <a:pt x="53777" y="13155"/>
                    <a:pt x="54588" y="12249"/>
                  </a:cubicBezTo>
                  <a:close/>
                  <a:moveTo>
                    <a:pt x="40727" y="14498"/>
                  </a:moveTo>
                  <a:cubicBezTo>
                    <a:pt x="40831" y="14712"/>
                    <a:pt x="40947" y="14920"/>
                    <a:pt x="41074" y="15119"/>
                  </a:cubicBezTo>
                  <a:cubicBezTo>
                    <a:pt x="41061" y="15116"/>
                    <a:pt x="41048" y="15114"/>
                    <a:pt x="41036" y="15114"/>
                  </a:cubicBezTo>
                  <a:cubicBezTo>
                    <a:pt x="41004" y="15114"/>
                    <a:pt x="40973" y="15124"/>
                    <a:pt x="40947" y="15142"/>
                  </a:cubicBezTo>
                  <a:cubicBezTo>
                    <a:pt x="40232" y="15737"/>
                    <a:pt x="39896" y="15955"/>
                    <a:pt x="39788" y="15955"/>
                  </a:cubicBezTo>
                  <a:cubicBezTo>
                    <a:pt x="39555" y="15955"/>
                    <a:pt x="40365" y="14953"/>
                    <a:pt x="40727" y="14498"/>
                  </a:cubicBezTo>
                  <a:close/>
                  <a:moveTo>
                    <a:pt x="53846" y="10874"/>
                  </a:moveTo>
                  <a:cubicBezTo>
                    <a:pt x="54053" y="10874"/>
                    <a:pt x="54232" y="10994"/>
                    <a:pt x="54363" y="11285"/>
                  </a:cubicBezTo>
                  <a:cubicBezTo>
                    <a:pt x="53786" y="11758"/>
                    <a:pt x="53186" y="12328"/>
                    <a:pt x="53100" y="12328"/>
                  </a:cubicBezTo>
                  <a:cubicBezTo>
                    <a:pt x="53039" y="12328"/>
                    <a:pt x="53232" y="12047"/>
                    <a:pt x="53866" y="11253"/>
                  </a:cubicBezTo>
                  <a:cubicBezTo>
                    <a:pt x="53954" y="11144"/>
                    <a:pt x="53859" y="10998"/>
                    <a:pt x="53756" y="10998"/>
                  </a:cubicBezTo>
                  <a:cubicBezTo>
                    <a:pt x="53723" y="10998"/>
                    <a:pt x="53690" y="11013"/>
                    <a:pt x="53661" y="11048"/>
                  </a:cubicBezTo>
                  <a:lnTo>
                    <a:pt x="51938" y="13202"/>
                  </a:lnTo>
                  <a:cubicBezTo>
                    <a:pt x="51846" y="13316"/>
                    <a:pt x="51931" y="13449"/>
                    <a:pt x="52041" y="13449"/>
                  </a:cubicBezTo>
                  <a:cubicBezTo>
                    <a:pt x="52074" y="13449"/>
                    <a:pt x="52109" y="13437"/>
                    <a:pt x="52143" y="13410"/>
                  </a:cubicBezTo>
                  <a:cubicBezTo>
                    <a:pt x="53119" y="12638"/>
                    <a:pt x="53493" y="12341"/>
                    <a:pt x="53512" y="12341"/>
                  </a:cubicBezTo>
                  <a:lnTo>
                    <a:pt x="53512" y="12341"/>
                  </a:lnTo>
                  <a:cubicBezTo>
                    <a:pt x="53557" y="12341"/>
                    <a:pt x="51462" y="14126"/>
                    <a:pt x="50841" y="15067"/>
                  </a:cubicBezTo>
                  <a:cubicBezTo>
                    <a:pt x="50778" y="15160"/>
                    <a:pt x="50867" y="15284"/>
                    <a:pt x="50965" y="15284"/>
                  </a:cubicBezTo>
                  <a:cubicBezTo>
                    <a:pt x="50988" y="15284"/>
                    <a:pt x="51012" y="15277"/>
                    <a:pt x="51034" y="15261"/>
                  </a:cubicBezTo>
                  <a:cubicBezTo>
                    <a:pt x="52531" y="14177"/>
                    <a:pt x="52106" y="14519"/>
                    <a:pt x="53195" y="13591"/>
                  </a:cubicBezTo>
                  <a:lnTo>
                    <a:pt x="53195" y="13591"/>
                  </a:lnTo>
                  <a:cubicBezTo>
                    <a:pt x="52455" y="14222"/>
                    <a:pt x="51158" y="15350"/>
                    <a:pt x="50434" y="16118"/>
                  </a:cubicBezTo>
                  <a:cubicBezTo>
                    <a:pt x="50346" y="16211"/>
                    <a:pt x="50424" y="16358"/>
                    <a:pt x="50529" y="16358"/>
                  </a:cubicBezTo>
                  <a:cubicBezTo>
                    <a:pt x="50552" y="16358"/>
                    <a:pt x="50577" y="16351"/>
                    <a:pt x="50601" y="16335"/>
                  </a:cubicBezTo>
                  <a:cubicBezTo>
                    <a:pt x="50709" y="16265"/>
                    <a:pt x="53112" y="14499"/>
                    <a:pt x="53174" y="14499"/>
                  </a:cubicBezTo>
                  <a:lnTo>
                    <a:pt x="53174" y="14499"/>
                  </a:lnTo>
                  <a:cubicBezTo>
                    <a:pt x="53177" y="14499"/>
                    <a:pt x="53175" y="14503"/>
                    <a:pt x="53168" y="14510"/>
                  </a:cubicBezTo>
                  <a:cubicBezTo>
                    <a:pt x="52039" y="15691"/>
                    <a:pt x="50786" y="16762"/>
                    <a:pt x="49559" y="17859"/>
                  </a:cubicBezTo>
                  <a:cubicBezTo>
                    <a:pt x="49977" y="16381"/>
                    <a:pt x="50436" y="14975"/>
                    <a:pt x="51297" y="13537"/>
                  </a:cubicBezTo>
                  <a:lnTo>
                    <a:pt x="51297" y="13540"/>
                  </a:lnTo>
                  <a:cubicBezTo>
                    <a:pt x="51619" y="13006"/>
                    <a:pt x="52977" y="10874"/>
                    <a:pt x="53846" y="10874"/>
                  </a:cubicBezTo>
                  <a:close/>
                  <a:moveTo>
                    <a:pt x="41178" y="15284"/>
                  </a:moveTo>
                  <a:cubicBezTo>
                    <a:pt x="41674" y="16034"/>
                    <a:pt x="42310" y="16710"/>
                    <a:pt x="43031" y="17307"/>
                  </a:cubicBezTo>
                  <a:cubicBezTo>
                    <a:pt x="42631" y="17623"/>
                    <a:pt x="42161" y="17998"/>
                    <a:pt x="41980" y="17998"/>
                  </a:cubicBezTo>
                  <a:cubicBezTo>
                    <a:pt x="41826" y="17998"/>
                    <a:pt x="41879" y="17730"/>
                    <a:pt x="42356" y="16932"/>
                  </a:cubicBezTo>
                  <a:cubicBezTo>
                    <a:pt x="42412" y="16839"/>
                    <a:pt x="42328" y="16713"/>
                    <a:pt x="42231" y="16713"/>
                  </a:cubicBezTo>
                  <a:cubicBezTo>
                    <a:pt x="42208" y="16713"/>
                    <a:pt x="42185" y="16720"/>
                    <a:pt x="42162" y="16736"/>
                  </a:cubicBezTo>
                  <a:cubicBezTo>
                    <a:pt x="41644" y="17109"/>
                    <a:pt x="41314" y="17354"/>
                    <a:pt x="41193" y="17354"/>
                  </a:cubicBezTo>
                  <a:cubicBezTo>
                    <a:pt x="41059" y="17354"/>
                    <a:pt x="41184" y="17051"/>
                    <a:pt x="41599" y="16285"/>
                  </a:cubicBezTo>
                  <a:cubicBezTo>
                    <a:pt x="41659" y="16176"/>
                    <a:pt x="41576" y="16077"/>
                    <a:pt x="41475" y="16077"/>
                  </a:cubicBezTo>
                  <a:cubicBezTo>
                    <a:pt x="41454" y="16077"/>
                    <a:pt x="41431" y="16082"/>
                    <a:pt x="41409" y="16092"/>
                  </a:cubicBezTo>
                  <a:cubicBezTo>
                    <a:pt x="40960" y="16295"/>
                    <a:pt x="40699" y="16391"/>
                    <a:pt x="40577" y="16391"/>
                  </a:cubicBezTo>
                  <a:cubicBezTo>
                    <a:pt x="40328" y="16391"/>
                    <a:pt x="40660" y="15995"/>
                    <a:pt x="41169" y="15315"/>
                  </a:cubicBezTo>
                  <a:cubicBezTo>
                    <a:pt x="41178" y="15304"/>
                    <a:pt x="41175" y="15295"/>
                    <a:pt x="41178" y="15284"/>
                  </a:cubicBezTo>
                  <a:close/>
                  <a:moveTo>
                    <a:pt x="39788" y="14044"/>
                  </a:moveTo>
                  <a:cubicBezTo>
                    <a:pt x="39870" y="14044"/>
                    <a:pt x="39479" y="14454"/>
                    <a:pt x="38770" y="15494"/>
                  </a:cubicBezTo>
                  <a:cubicBezTo>
                    <a:pt x="38701" y="15594"/>
                    <a:pt x="38796" y="15709"/>
                    <a:pt x="38897" y="15709"/>
                  </a:cubicBezTo>
                  <a:cubicBezTo>
                    <a:pt x="38920" y="15709"/>
                    <a:pt x="38942" y="15703"/>
                    <a:pt x="38964" y="15691"/>
                  </a:cubicBezTo>
                  <a:cubicBezTo>
                    <a:pt x="39628" y="15297"/>
                    <a:pt x="39916" y="15129"/>
                    <a:pt x="39983" y="15129"/>
                  </a:cubicBezTo>
                  <a:cubicBezTo>
                    <a:pt x="40105" y="15129"/>
                    <a:pt x="39496" y="15686"/>
                    <a:pt x="39093" y="16464"/>
                  </a:cubicBezTo>
                  <a:cubicBezTo>
                    <a:pt x="39042" y="16565"/>
                    <a:pt x="39118" y="16681"/>
                    <a:pt x="39216" y="16681"/>
                  </a:cubicBezTo>
                  <a:cubicBezTo>
                    <a:pt x="39239" y="16681"/>
                    <a:pt x="39263" y="16675"/>
                    <a:pt x="39287" y="16661"/>
                  </a:cubicBezTo>
                  <a:cubicBezTo>
                    <a:pt x="39899" y="16298"/>
                    <a:pt x="40190" y="16081"/>
                    <a:pt x="40243" y="16081"/>
                  </a:cubicBezTo>
                  <a:cubicBezTo>
                    <a:pt x="40303" y="16081"/>
                    <a:pt x="40061" y="16355"/>
                    <a:pt x="39633" y="17004"/>
                  </a:cubicBezTo>
                  <a:cubicBezTo>
                    <a:pt x="39565" y="17106"/>
                    <a:pt x="39657" y="17215"/>
                    <a:pt x="39759" y="17215"/>
                  </a:cubicBezTo>
                  <a:cubicBezTo>
                    <a:pt x="39782" y="17215"/>
                    <a:pt x="39805" y="17210"/>
                    <a:pt x="39827" y="17198"/>
                  </a:cubicBezTo>
                  <a:cubicBezTo>
                    <a:pt x="40261" y="16961"/>
                    <a:pt x="40527" y="16852"/>
                    <a:pt x="40670" y="16852"/>
                  </a:cubicBezTo>
                  <a:cubicBezTo>
                    <a:pt x="40967" y="16852"/>
                    <a:pt x="40737" y="17319"/>
                    <a:pt x="40387" y="18084"/>
                  </a:cubicBezTo>
                  <a:cubicBezTo>
                    <a:pt x="40372" y="18113"/>
                    <a:pt x="40369" y="18148"/>
                    <a:pt x="40375" y="18179"/>
                  </a:cubicBezTo>
                  <a:cubicBezTo>
                    <a:pt x="39402" y="17224"/>
                    <a:pt x="38525" y="16193"/>
                    <a:pt x="38080" y="14998"/>
                  </a:cubicBezTo>
                  <a:cubicBezTo>
                    <a:pt x="39186" y="14429"/>
                    <a:pt x="39709" y="14044"/>
                    <a:pt x="39788" y="14044"/>
                  </a:cubicBezTo>
                  <a:close/>
                  <a:moveTo>
                    <a:pt x="41470" y="17765"/>
                  </a:moveTo>
                  <a:cubicBezTo>
                    <a:pt x="41642" y="17765"/>
                    <a:pt x="41476" y="18095"/>
                    <a:pt x="40976" y="18751"/>
                  </a:cubicBezTo>
                  <a:cubicBezTo>
                    <a:pt x="40808" y="18598"/>
                    <a:pt x="40647" y="18439"/>
                    <a:pt x="40482" y="18280"/>
                  </a:cubicBezTo>
                  <a:lnTo>
                    <a:pt x="40482" y="18280"/>
                  </a:lnTo>
                  <a:cubicBezTo>
                    <a:pt x="40493" y="18283"/>
                    <a:pt x="40505" y="18285"/>
                    <a:pt x="40517" y="18285"/>
                  </a:cubicBezTo>
                  <a:cubicBezTo>
                    <a:pt x="40549" y="18285"/>
                    <a:pt x="40581" y="18274"/>
                    <a:pt x="40609" y="18254"/>
                  </a:cubicBezTo>
                  <a:cubicBezTo>
                    <a:pt x="41063" y="17928"/>
                    <a:pt x="41350" y="17765"/>
                    <a:pt x="41470" y="17765"/>
                  </a:cubicBezTo>
                  <a:close/>
                  <a:moveTo>
                    <a:pt x="43317" y="17547"/>
                  </a:moveTo>
                  <a:cubicBezTo>
                    <a:pt x="43531" y="17715"/>
                    <a:pt x="43753" y="17873"/>
                    <a:pt x="43978" y="18026"/>
                  </a:cubicBezTo>
                  <a:cubicBezTo>
                    <a:pt x="43275" y="18408"/>
                    <a:pt x="42747" y="18764"/>
                    <a:pt x="42594" y="18764"/>
                  </a:cubicBezTo>
                  <a:cubicBezTo>
                    <a:pt x="42450" y="18764"/>
                    <a:pt x="42636" y="18450"/>
                    <a:pt x="43317" y="17550"/>
                  </a:cubicBezTo>
                  <a:lnTo>
                    <a:pt x="43317" y="17547"/>
                  </a:lnTo>
                  <a:close/>
                  <a:moveTo>
                    <a:pt x="42438" y="18157"/>
                  </a:moveTo>
                  <a:cubicBezTo>
                    <a:pt x="42487" y="18157"/>
                    <a:pt x="42222" y="18466"/>
                    <a:pt x="41579" y="19302"/>
                  </a:cubicBezTo>
                  <a:cubicBezTo>
                    <a:pt x="41461" y="19196"/>
                    <a:pt x="41342" y="19086"/>
                    <a:pt x="41224" y="18979"/>
                  </a:cubicBezTo>
                  <a:cubicBezTo>
                    <a:pt x="41953" y="18527"/>
                    <a:pt x="42384" y="18157"/>
                    <a:pt x="42438" y="18157"/>
                  </a:cubicBezTo>
                  <a:close/>
                  <a:moveTo>
                    <a:pt x="44319" y="18252"/>
                  </a:moveTo>
                  <a:cubicBezTo>
                    <a:pt x="44518" y="18379"/>
                    <a:pt x="44714" y="18506"/>
                    <a:pt x="44919" y="18621"/>
                  </a:cubicBezTo>
                  <a:cubicBezTo>
                    <a:pt x="44432" y="18997"/>
                    <a:pt x="43697" y="19550"/>
                    <a:pt x="43496" y="19550"/>
                  </a:cubicBezTo>
                  <a:cubicBezTo>
                    <a:pt x="43341" y="19550"/>
                    <a:pt x="43499" y="19226"/>
                    <a:pt x="44319" y="18252"/>
                  </a:cubicBezTo>
                  <a:close/>
                  <a:moveTo>
                    <a:pt x="57896" y="13713"/>
                  </a:moveTo>
                  <a:lnTo>
                    <a:pt x="57896" y="13713"/>
                  </a:lnTo>
                  <a:cubicBezTo>
                    <a:pt x="56785" y="14882"/>
                    <a:pt x="55671" y="16052"/>
                    <a:pt x="54553" y="17218"/>
                  </a:cubicBezTo>
                  <a:cubicBezTo>
                    <a:pt x="52766" y="18887"/>
                    <a:pt x="51049" y="20622"/>
                    <a:pt x="49400" y="22423"/>
                  </a:cubicBezTo>
                  <a:cubicBezTo>
                    <a:pt x="50076" y="21612"/>
                    <a:pt x="50745" y="20801"/>
                    <a:pt x="51409" y="19987"/>
                  </a:cubicBezTo>
                  <a:cubicBezTo>
                    <a:pt x="52789" y="18537"/>
                    <a:pt x="54126" y="17042"/>
                    <a:pt x="55373" y="15451"/>
                  </a:cubicBezTo>
                  <a:cubicBezTo>
                    <a:pt x="55414" y="15396"/>
                    <a:pt x="55414" y="15318"/>
                    <a:pt x="55367" y="15266"/>
                  </a:cubicBezTo>
                  <a:cubicBezTo>
                    <a:pt x="56153" y="14530"/>
                    <a:pt x="57042" y="13855"/>
                    <a:pt x="57896" y="13713"/>
                  </a:cubicBezTo>
                  <a:close/>
                  <a:moveTo>
                    <a:pt x="57466" y="15010"/>
                  </a:moveTo>
                  <a:cubicBezTo>
                    <a:pt x="57599" y="15010"/>
                    <a:pt x="56095" y="16565"/>
                    <a:pt x="55832" y="16834"/>
                  </a:cubicBezTo>
                  <a:cubicBezTo>
                    <a:pt x="54828" y="17859"/>
                    <a:pt x="53806" y="18875"/>
                    <a:pt x="52795" y="19897"/>
                  </a:cubicBezTo>
                  <a:cubicBezTo>
                    <a:pt x="51837" y="20864"/>
                    <a:pt x="50901" y="21857"/>
                    <a:pt x="49969" y="22848"/>
                  </a:cubicBezTo>
                  <a:cubicBezTo>
                    <a:pt x="51964" y="20648"/>
                    <a:pt x="53967" y="18454"/>
                    <a:pt x="55974" y="16265"/>
                  </a:cubicBezTo>
                  <a:cubicBezTo>
                    <a:pt x="56040" y="16205"/>
                    <a:pt x="56107" y="16141"/>
                    <a:pt x="56176" y="16081"/>
                  </a:cubicBezTo>
                  <a:cubicBezTo>
                    <a:pt x="57053" y="15293"/>
                    <a:pt x="57409" y="15010"/>
                    <a:pt x="57466" y="15010"/>
                  </a:cubicBezTo>
                  <a:close/>
                  <a:moveTo>
                    <a:pt x="36149" y="21730"/>
                  </a:moveTo>
                  <a:lnTo>
                    <a:pt x="36149" y="21730"/>
                  </a:lnTo>
                  <a:cubicBezTo>
                    <a:pt x="35903" y="22054"/>
                    <a:pt x="35658" y="22380"/>
                    <a:pt x="35424" y="22715"/>
                  </a:cubicBezTo>
                  <a:cubicBezTo>
                    <a:pt x="35350" y="22820"/>
                    <a:pt x="35453" y="22930"/>
                    <a:pt x="35559" y="22930"/>
                  </a:cubicBezTo>
                  <a:cubicBezTo>
                    <a:pt x="35582" y="22930"/>
                    <a:pt x="35605" y="22925"/>
                    <a:pt x="35626" y="22914"/>
                  </a:cubicBezTo>
                  <a:cubicBezTo>
                    <a:pt x="35803" y="22822"/>
                    <a:pt x="35926" y="22780"/>
                    <a:pt x="36003" y="22780"/>
                  </a:cubicBezTo>
                  <a:cubicBezTo>
                    <a:pt x="36273" y="22780"/>
                    <a:pt x="35983" y="23294"/>
                    <a:pt x="35505" y="23948"/>
                  </a:cubicBezTo>
                  <a:cubicBezTo>
                    <a:pt x="35005" y="22472"/>
                    <a:pt x="35389" y="21892"/>
                    <a:pt x="36149" y="21730"/>
                  </a:cubicBezTo>
                  <a:close/>
                  <a:moveTo>
                    <a:pt x="46089" y="19230"/>
                  </a:moveTo>
                  <a:cubicBezTo>
                    <a:pt x="46372" y="19366"/>
                    <a:pt x="46657" y="19490"/>
                    <a:pt x="46943" y="19603"/>
                  </a:cubicBezTo>
                  <a:cubicBezTo>
                    <a:pt x="44608" y="21320"/>
                    <a:pt x="42468" y="23289"/>
                    <a:pt x="40450" y="25408"/>
                  </a:cubicBezTo>
                  <a:cubicBezTo>
                    <a:pt x="42278" y="23307"/>
                    <a:pt x="44146" y="21234"/>
                    <a:pt x="46089" y="19230"/>
                  </a:cubicBezTo>
                  <a:close/>
                  <a:moveTo>
                    <a:pt x="49611" y="22848"/>
                  </a:moveTo>
                  <a:cubicBezTo>
                    <a:pt x="48869" y="23670"/>
                    <a:pt x="48121" y="24487"/>
                    <a:pt x="47379" y="25310"/>
                  </a:cubicBezTo>
                  <a:cubicBezTo>
                    <a:pt x="45800" y="27071"/>
                    <a:pt x="44247" y="28861"/>
                    <a:pt x="42694" y="30651"/>
                  </a:cubicBezTo>
                  <a:cubicBezTo>
                    <a:pt x="43912" y="29179"/>
                    <a:pt x="45139" y="27712"/>
                    <a:pt x="46377" y="26254"/>
                  </a:cubicBezTo>
                  <a:cubicBezTo>
                    <a:pt x="47454" y="25117"/>
                    <a:pt x="48531" y="23979"/>
                    <a:pt x="49611" y="22848"/>
                  </a:cubicBezTo>
                  <a:close/>
                  <a:moveTo>
                    <a:pt x="28713" y="28360"/>
                  </a:moveTo>
                  <a:cubicBezTo>
                    <a:pt x="28755" y="28360"/>
                    <a:pt x="27453" y="30067"/>
                    <a:pt x="26119" y="31685"/>
                  </a:cubicBezTo>
                  <a:cubicBezTo>
                    <a:pt x="25233" y="32762"/>
                    <a:pt x="24321" y="33818"/>
                    <a:pt x="23408" y="34875"/>
                  </a:cubicBezTo>
                  <a:cubicBezTo>
                    <a:pt x="24592" y="33452"/>
                    <a:pt x="25770" y="32025"/>
                    <a:pt x="26919" y="30570"/>
                  </a:cubicBezTo>
                  <a:cubicBezTo>
                    <a:pt x="28183" y="28969"/>
                    <a:pt x="28688" y="28360"/>
                    <a:pt x="28713" y="28360"/>
                  </a:cubicBezTo>
                  <a:close/>
                  <a:moveTo>
                    <a:pt x="48750" y="22695"/>
                  </a:moveTo>
                  <a:lnTo>
                    <a:pt x="48750" y="22695"/>
                  </a:lnTo>
                  <a:cubicBezTo>
                    <a:pt x="44406" y="27698"/>
                    <a:pt x="39988" y="32637"/>
                    <a:pt x="35496" y="37511"/>
                  </a:cubicBezTo>
                  <a:cubicBezTo>
                    <a:pt x="38314" y="34072"/>
                    <a:pt x="41045" y="30570"/>
                    <a:pt x="44125" y="27354"/>
                  </a:cubicBezTo>
                  <a:cubicBezTo>
                    <a:pt x="45644" y="25769"/>
                    <a:pt x="47206" y="24239"/>
                    <a:pt x="48750" y="22695"/>
                  </a:cubicBezTo>
                  <a:close/>
                  <a:moveTo>
                    <a:pt x="46258" y="20583"/>
                  </a:moveTo>
                  <a:cubicBezTo>
                    <a:pt x="46470" y="20583"/>
                    <a:pt x="46135" y="21188"/>
                    <a:pt x="44616" y="23015"/>
                  </a:cubicBezTo>
                  <a:cubicBezTo>
                    <a:pt x="43626" y="24207"/>
                    <a:pt x="42601" y="25388"/>
                    <a:pt x="41562" y="26566"/>
                  </a:cubicBezTo>
                  <a:cubicBezTo>
                    <a:pt x="40805" y="27369"/>
                    <a:pt x="40052" y="28177"/>
                    <a:pt x="39304" y="28988"/>
                  </a:cubicBezTo>
                  <a:cubicBezTo>
                    <a:pt x="39737" y="28523"/>
                    <a:pt x="40182" y="28062"/>
                    <a:pt x="40638" y="27605"/>
                  </a:cubicBezTo>
                  <a:lnTo>
                    <a:pt x="40638" y="27605"/>
                  </a:lnTo>
                  <a:cubicBezTo>
                    <a:pt x="39241" y="29164"/>
                    <a:pt x="37809" y="30709"/>
                    <a:pt x="36362" y="32236"/>
                  </a:cubicBezTo>
                  <a:cubicBezTo>
                    <a:pt x="37061" y="31454"/>
                    <a:pt x="37765" y="30674"/>
                    <a:pt x="38473" y="29895"/>
                  </a:cubicBezTo>
                  <a:lnTo>
                    <a:pt x="38473" y="29895"/>
                  </a:lnTo>
                  <a:cubicBezTo>
                    <a:pt x="37523" y="30928"/>
                    <a:pt x="36576" y="31968"/>
                    <a:pt x="35632" y="33007"/>
                  </a:cubicBezTo>
                  <a:cubicBezTo>
                    <a:pt x="34125" y="34586"/>
                    <a:pt x="32603" y="36145"/>
                    <a:pt x="31091" y="37681"/>
                  </a:cubicBezTo>
                  <a:cubicBezTo>
                    <a:pt x="32286" y="36154"/>
                    <a:pt x="33478" y="34632"/>
                    <a:pt x="34691" y="33134"/>
                  </a:cubicBezTo>
                  <a:cubicBezTo>
                    <a:pt x="36651" y="30709"/>
                    <a:pt x="38660" y="28316"/>
                    <a:pt x="40673" y="25931"/>
                  </a:cubicBezTo>
                  <a:cubicBezTo>
                    <a:pt x="41654" y="24765"/>
                    <a:pt x="42702" y="23665"/>
                    <a:pt x="43770" y="22579"/>
                  </a:cubicBezTo>
                  <a:cubicBezTo>
                    <a:pt x="44411" y="21928"/>
                    <a:pt x="45943" y="20583"/>
                    <a:pt x="46258" y="20583"/>
                  </a:cubicBezTo>
                  <a:close/>
                  <a:moveTo>
                    <a:pt x="38830" y="23803"/>
                  </a:moveTo>
                  <a:cubicBezTo>
                    <a:pt x="38936" y="23803"/>
                    <a:pt x="38791" y="24073"/>
                    <a:pt x="38233" y="24776"/>
                  </a:cubicBezTo>
                  <a:cubicBezTo>
                    <a:pt x="37852" y="25258"/>
                    <a:pt x="37456" y="25729"/>
                    <a:pt x="37067" y="26202"/>
                  </a:cubicBezTo>
                  <a:cubicBezTo>
                    <a:pt x="36397" y="26924"/>
                    <a:pt x="35742" y="27660"/>
                    <a:pt x="35101" y="28408"/>
                  </a:cubicBezTo>
                  <a:cubicBezTo>
                    <a:pt x="33262" y="30311"/>
                    <a:pt x="31501" y="32311"/>
                    <a:pt x="29685" y="34217"/>
                  </a:cubicBezTo>
                  <a:cubicBezTo>
                    <a:pt x="27825" y="36168"/>
                    <a:pt x="26007" y="38149"/>
                    <a:pt x="24228" y="40161"/>
                  </a:cubicBezTo>
                  <a:cubicBezTo>
                    <a:pt x="23977" y="40415"/>
                    <a:pt x="23732" y="40675"/>
                    <a:pt x="23483" y="40932"/>
                  </a:cubicBezTo>
                  <a:cubicBezTo>
                    <a:pt x="24941" y="39073"/>
                    <a:pt x="26382" y="37205"/>
                    <a:pt x="27846" y="35357"/>
                  </a:cubicBezTo>
                  <a:cubicBezTo>
                    <a:pt x="30663" y="32262"/>
                    <a:pt x="33467" y="29150"/>
                    <a:pt x="36209" y="25992"/>
                  </a:cubicBezTo>
                  <a:cubicBezTo>
                    <a:pt x="37168" y="25093"/>
                    <a:pt x="38599" y="23803"/>
                    <a:pt x="38830" y="23803"/>
                  </a:cubicBezTo>
                  <a:close/>
                  <a:moveTo>
                    <a:pt x="42968" y="27320"/>
                  </a:moveTo>
                  <a:lnTo>
                    <a:pt x="42968" y="27320"/>
                  </a:lnTo>
                  <a:cubicBezTo>
                    <a:pt x="39538" y="31321"/>
                    <a:pt x="36244" y="35435"/>
                    <a:pt x="32632" y="39286"/>
                  </a:cubicBezTo>
                  <a:cubicBezTo>
                    <a:pt x="31529" y="40461"/>
                    <a:pt x="30415" y="41628"/>
                    <a:pt x="29306" y="42797"/>
                  </a:cubicBezTo>
                  <a:cubicBezTo>
                    <a:pt x="30323" y="41365"/>
                    <a:pt x="31350" y="39973"/>
                    <a:pt x="32413" y="38663"/>
                  </a:cubicBezTo>
                  <a:cubicBezTo>
                    <a:pt x="35678" y="34641"/>
                    <a:pt x="39313" y="30977"/>
                    <a:pt x="42968" y="27320"/>
                  </a:cubicBezTo>
                  <a:close/>
                  <a:moveTo>
                    <a:pt x="33213" y="34029"/>
                  </a:moveTo>
                  <a:cubicBezTo>
                    <a:pt x="31541" y="36200"/>
                    <a:pt x="29895" y="38397"/>
                    <a:pt x="28233" y="40559"/>
                  </a:cubicBezTo>
                  <a:cubicBezTo>
                    <a:pt x="26630" y="42162"/>
                    <a:pt x="25022" y="43761"/>
                    <a:pt x="23411" y="45355"/>
                  </a:cubicBezTo>
                  <a:cubicBezTo>
                    <a:pt x="26821" y="41708"/>
                    <a:pt x="30025" y="37877"/>
                    <a:pt x="33213" y="34029"/>
                  </a:cubicBezTo>
                  <a:close/>
                  <a:moveTo>
                    <a:pt x="54776" y="14576"/>
                  </a:moveTo>
                  <a:cubicBezTo>
                    <a:pt x="54796" y="14833"/>
                    <a:pt x="54833" y="15090"/>
                    <a:pt x="54885" y="15341"/>
                  </a:cubicBezTo>
                  <a:lnTo>
                    <a:pt x="54882" y="15341"/>
                  </a:lnTo>
                  <a:cubicBezTo>
                    <a:pt x="54897" y="15399"/>
                    <a:pt x="54940" y="15442"/>
                    <a:pt x="54995" y="15460"/>
                  </a:cubicBezTo>
                  <a:cubicBezTo>
                    <a:pt x="53485" y="17218"/>
                    <a:pt x="51972" y="18976"/>
                    <a:pt x="50454" y="20729"/>
                  </a:cubicBezTo>
                  <a:cubicBezTo>
                    <a:pt x="48323" y="22917"/>
                    <a:pt x="46063" y="24998"/>
                    <a:pt x="43929" y="27152"/>
                  </a:cubicBezTo>
                  <a:cubicBezTo>
                    <a:pt x="40011" y="31119"/>
                    <a:pt x="36703" y="35652"/>
                    <a:pt x="33129" y="39919"/>
                  </a:cubicBezTo>
                  <a:cubicBezTo>
                    <a:pt x="32479" y="40695"/>
                    <a:pt x="31801" y="41446"/>
                    <a:pt x="31120" y="42191"/>
                  </a:cubicBezTo>
                  <a:cubicBezTo>
                    <a:pt x="29439" y="43957"/>
                    <a:pt x="27756" y="45721"/>
                    <a:pt x="26067" y="47480"/>
                  </a:cubicBezTo>
                  <a:cubicBezTo>
                    <a:pt x="26798" y="46408"/>
                    <a:pt x="27528" y="45349"/>
                    <a:pt x="28256" y="44292"/>
                  </a:cubicBezTo>
                  <a:cubicBezTo>
                    <a:pt x="29786" y="42696"/>
                    <a:pt x="31316" y="41099"/>
                    <a:pt x="32840" y="39497"/>
                  </a:cubicBezTo>
                  <a:cubicBezTo>
                    <a:pt x="36775" y="35363"/>
                    <a:pt x="40309" y="30798"/>
                    <a:pt x="43938" y="26344"/>
                  </a:cubicBezTo>
                  <a:cubicBezTo>
                    <a:pt x="43946" y="26335"/>
                    <a:pt x="43955" y="26326"/>
                    <a:pt x="43964" y="26318"/>
                  </a:cubicBezTo>
                  <a:cubicBezTo>
                    <a:pt x="47443" y="22833"/>
                    <a:pt x="51632" y="19392"/>
                    <a:pt x="54429" y="15318"/>
                  </a:cubicBezTo>
                  <a:cubicBezTo>
                    <a:pt x="54493" y="15226"/>
                    <a:pt x="54415" y="15116"/>
                    <a:pt x="54322" y="15099"/>
                  </a:cubicBezTo>
                  <a:cubicBezTo>
                    <a:pt x="54472" y="14926"/>
                    <a:pt x="54628" y="14755"/>
                    <a:pt x="54776" y="14576"/>
                  </a:cubicBezTo>
                  <a:close/>
                  <a:moveTo>
                    <a:pt x="48001" y="21382"/>
                  </a:moveTo>
                  <a:cubicBezTo>
                    <a:pt x="47628" y="21864"/>
                    <a:pt x="47250" y="22337"/>
                    <a:pt x="46871" y="22807"/>
                  </a:cubicBezTo>
                  <a:cubicBezTo>
                    <a:pt x="45837" y="23953"/>
                    <a:pt x="44798" y="25082"/>
                    <a:pt x="43767" y="26119"/>
                  </a:cubicBezTo>
                  <a:cubicBezTo>
                    <a:pt x="39778" y="30126"/>
                    <a:pt x="35843" y="34119"/>
                    <a:pt x="32217" y="38463"/>
                  </a:cubicBezTo>
                  <a:cubicBezTo>
                    <a:pt x="30522" y="40496"/>
                    <a:pt x="28960" y="42621"/>
                    <a:pt x="27436" y="44774"/>
                  </a:cubicBezTo>
                  <a:cubicBezTo>
                    <a:pt x="25981" y="46302"/>
                    <a:pt x="24526" y="47832"/>
                    <a:pt x="23071" y="49359"/>
                  </a:cubicBezTo>
                  <a:cubicBezTo>
                    <a:pt x="26079" y="45733"/>
                    <a:pt x="29006" y="42043"/>
                    <a:pt x="31986" y="38487"/>
                  </a:cubicBezTo>
                  <a:cubicBezTo>
                    <a:pt x="35822" y="33908"/>
                    <a:pt x="39821" y="29482"/>
                    <a:pt x="43981" y="25209"/>
                  </a:cubicBezTo>
                  <a:cubicBezTo>
                    <a:pt x="45269" y="23889"/>
                    <a:pt x="46632" y="22633"/>
                    <a:pt x="48001" y="21382"/>
                  </a:cubicBezTo>
                  <a:close/>
                  <a:moveTo>
                    <a:pt x="29306" y="35562"/>
                  </a:moveTo>
                  <a:cubicBezTo>
                    <a:pt x="27701" y="37577"/>
                    <a:pt x="26079" y="39581"/>
                    <a:pt x="24352" y="41480"/>
                  </a:cubicBezTo>
                  <a:cubicBezTo>
                    <a:pt x="21806" y="44284"/>
                    <a:pt x="19202" y="47032"/>
                    <a:pt x="16615" y="49795"/>
                  </a:cubicBezTo>
                  <a:cubicBezTo>
                    <a:pt x="18994" y="46755"/>
                    <a:pt x="21416" y="43761"/>
                    <a:pt x="23954" y="40845"/>
                  </a:cubicBezTo>
                  <a:cubicBezTo>
                    <a:pt x="25669" y="39099"/>
                    <a:pt x="27491" y="37346"/>
                    <a:pt x="29306" y="35562"/>
                  </a:cubicBezTo>
                  <a:close/>
                  <a:moveTo>
                    <a:pt x="33649" y="23688"/>
                  </a:moveTo>
                  <a:cubicBezTo>
                    <a:pt x="34136" y="23711"/>
                    <a:pt x="34676" y="23875"/>
                    <a:pt x="35257" y="24213"/>
                  </a:cubicBezTo>
                  <a:cubicBezTo>
                    <a:pt x="35271" y="24219"/>
                    <a:pt x="35285" y="24222"/>
                    <a:pt x="35300" y="24222"/>
                  </a:cubicBezTo>
                  <a:cubicBezTo>
                    <a:pt x="34506" y="25261"/>
                    <a:pt x="33397" y="26503"/>
                    <a:pt x="33259" y="26653"/>
                  </a:cubicBezTo>
                  <a:cubicBezTo>
                    <a:pt x="31795" y="28223"/>
                    <a:pt x="30302" y="29771"/>
                    <a:pt x="28836" y="31341"/>
                  </a:cubicBezTo>
                  <a:cubicBezTo>
                    <a:pt x="27161" y="33137"/>
                    <a:pt x="25553" y="34999"/>
                    <a:pt x="23957" y="36870"/>
                  </a:cubicBezTo>
                  <a:cubicBezTo>
                    <a:pt x="23137" y="37768"/>
                    <a:pt x="22329" y="38674"/>
                    <a:pt x="21543" y="39604"/>
                  </a:cubicBezTo>
                  <a:cubicBezTo>
                    <a:pt x="20588" y="40736"/>
                    <a:pt x="19612" y="41873"/>
                    <a:pt x="18633" y="43013"/>
                  </a:cubicBezTo>
                  <a:cubicBezTo>
                    <a:pt x="16500" y="45392"/>
                    <a:pt x="14277" y="47760"/>
                    <a:pt x="12091" y="50170"/>
                  </a:cubicBezTo>
                  <a:cubicBezTo>
                    <a:pt x="14332" y="47358"/>
                    <a:pt x="16572" y="44549"/>
                    <a:pt x="18850" y="41769"/>
                  </a:cubicBezTo>
                  <a:cubicBezTo>
                    <a:pt x="23827" y="35701"/>
                    <a:pt x="29884" y="30501"/>
                    <a:pt x="34616" y="24274"/>
                  </a:cubicBezTo>
                  <a:cubicBezTo>
                    <a:pt x="34698" y="24165"/>
                    <a:pt x="34584" y="24022"/>
                    <a:pt x="34467" y="24022"/>
                  </a:cubicBezTo>
                  <a:cubicBezTo>
                    <a:pt x="34441" y="24022"/>
                    <a:pt x="34415" y="24029"/>
                    <a:pt x="34390" y="24046"/>
                  </a:cubicBezTo>
                  <a:cubicBezTo>
                    <a:pt x="33882" y="24394"/>
                    <a:pt x="33151" y="25036"/>
                    <a:pt x="32959" y="25036"/>
                  </a:cubicBezTo>
                  <a:cubicBezTo>
                    <a:pt x="32823" y="25036"/>
                    <a:pt x="32959" y="24712"/>
                    <a:pt x="33640" y="23731"/>
                  </a:cubicBezTo>
                  <a:cubicBezTo>
                    <a:pt x="33649" y="23717"/>
                    <a:pt x="33646" y="23702"/>
                    <a:pt x="33649" y="23688"/>
                  </a:cubicBezTo>
                  <a:close/>
                  <a:moveTo>
                    <a:pt x="9455" y="50032"/>
                  </a:moveTo>
                  <a:lnTo>
                    <a:pt x="9455" y="50032"/>
                  </a:lnTo>
                  <a:cubicBezTo>
                    <a:pt x="8130" y="51692"/>
                    <a:pt x="6799" y="53346"/>
                    <a:pt x="5483" y="55012"/>
                  </a:cubicBezTo>
                  <a:cubicBezTo>
                    <a:pt x="5196" y="55374"/>
                    <a:pt x="2346" y="58789"/>
                    <a:pt x="2248" y="58789"/>
                  </a:cubicBezTo>
                  <a:cubicBezTo>
                    <a:pt x="2222" y="58789"/>
                    <a:pt x="2380" y="58562"/>
                    <a:pt x="2812" y="57997"/>
                  </a:cubicBezTo>
                  <a:cubicBezTo>
                    <a:pt x="4761" y="55448"/>
                    <a:pt x="6834" y="53020"/>
                    <a:pt x="8950" y="50609"/>
                  </a:cubicBezTo>
                  <a:cubicBezTo>
                    <a:pt x="9118" y="50419"/>
                    <a:pt x="9288" y="50225"/>
                    <a:pt x="9455" y="50032"/>
                  </a:cubicBezTo>
                  <a:close/>
                  <a:moveTo>
                    <a:pt x="17784" y="50970"/>
                  </a:moveTo>
                  <a:lnTo>
                    <a:pt x="17784" y="50970"/>
                  </a:lnTo>
                  <a:cubicBezTo>
                    <a:pt x="16736" y="52029"/>
                    <a:pt x="15694" y="53092"/>
                    <a:pt x="14655" y="54160"/>
                  </a:cubicBezTo>
                  <a:cubicBezTo>
                    <a:pt x="13705" y="55145"/>
                    <a:pt x="12825" y="56204"/>
                    <a:pt x="11906" y="57220"/>
                  </a:cubicBezTo>
                  <a:cubicBezTo>
                    <a:pt x="11642" y="57513"/>
                    <a:pt x="10210" y="58917"/>
                    <a:pt x="10066" y="58917"/>
                  </a:cubicBezTo>
                  <a:cubicBezTo>
                    <a:pt x="9995" y="58917"/>
                    <a:pt x="10242" y="58569"/>
                    <a:pt x="11113" y="57564"/>
                  </a:cubicBezTo>
                  <a:cubicBezTo>
                    <a:pt x="13154" y="55202"/>
                    <a:pt x="15495" y="53092"/>
                    <a:pt x="17784" y="50970"/>
                  </a:cubicBezTo>
                  <a:close/>
                  <a:moveTo>
                    <a:pt x="9917" y="51039"/>
                  </a:moveTo>
                  <a:cubicBezTo>
                    <a:pt x="8835" y="52442"/>
                    <a:pt x="7743" y="53843"/>
                    <a:pt x="6626" y="55225"/>
                  </a:cubicBezTo>
                  <a:cubicBezTo>
                    <a:pt x="5535" y="56579"/>
                    <a:pt x="4441" y="57933"/>
                    <a:pt x="3381" y="59316"/>
                  </a:cubicBezTo>
                  <a:lnTo>
                    <a:pt x="3381" y="59313"/>
                  </a:lnTo>
                  <a:cubicBezTo>
                    <a:pt x="3488" y="59129"/>
                    <a:pt x="3615" y="58918"/>
                    <a:pt x="3771" y="58647"/>
                  </a:cubicBezTo>
                  <a:cubicBezTo>
                    <a:pt x="4796" y="56966"/>
                    <a:pt x="6130" y="55474"/>
                    <a:pt x="7409" y="53984"/>
                  </a:cubicBezTo>
                  <a:cubicBezTo>
                    <a:pt x="8252" y="53005"/>
                    <a:pt x="9080" y="52021"/>
                    <a:pt x="9917" y="51039"/>
                  </a:cubicBezTo>
                  <a:close/>
                  <a:moveTo>
                    <a:pt x="54504" y="18791"/>
                  </a:moveTo>
                  <a:lnTo>
                    <a:pt x="54504" y="18791"/>
                  </a:lnTo>
                  <a:cubicBezTo>
                    <a:pt x="47457" y="26543"/>
                    <a:pt x="40875" y="34809"/>
                    <a:pt x="34466" y="43114"/>
                  </a:cubicBezTo>
                  <a:cubicBezTo>
                    <a:pt x="31428" y="46790"/>
                    <a:pt x="28409" y="50471"/>
                    <a:pt x="25334" y="54111"/>
                  </a:cubicBezTo>
                  <a:cubicBezTo>
                    <a:pt x="23761" y="55976"/>
                    <a:pt x="22095" y="57749"/>
                    <a:pt x="20461" y="59547"/>
                  </a:cubicBezTo>
                  <a:cubicBezTo>
                    <a:pt x="26073" y="52278"/>
                    <a:pt x="31688" y="44994"/>
                    <a:pt x="37436" y="37843"/>
                  </a:cubicBezTo>
                  <a:cubicBezTo>
                    <a:pt x="40973" y="33440"/>
                    <a:pt x="44639" y="29144"/>
                    <a:pt x="48439" y="24949"/>
                  </a:cubicBezTo>
                  <a:cubicBezTo>
                    <a:pt x="50350" y="22839"/>
                    <a:pt x="52483" y="20856"/>
                    <a:pt x="54504" y="18791"/>
                  </a:cubicBezTo>
                  <a:close/>
                  <a:moveTo>
                    <a:pt x="38139" y="23513"/>
                  </a:moveTo>
                  <a:cubicBezTo>
                    <a:pt x="38242" y="23513"/>
                    <a:pt x="36313" y="25473"/>
                    <a:pt x="35770" y="26064"/>
                  </a:cubicBezTo>
                  <a:cubicBezTo>
                    <a:pt x="32326" y="29413"/>
                    <a:pt x="29185" y="33073"/>
                    <a:pt x="26148" y="36829"/>
                  </a:cubicBezTo>
                  <a:cubicBezTo>
                    <a:pt x="23437" y="39809"/>
                    <a:pt x="20723" y="42788"/>
                    <a:pt x="18056" y="45805"/>
                  </a:cubicBezTo>
                  <a:cubicBezTo>
                    <a:pt x="15071" y="49183"/>
                    <a:pt x="12057" y="52538"/>
                    <a:pt x="9141" y="55976"/>
                  </a:cubicBezTo>
                  <a:cubicBezTo>
                    <a:pt x="8070" y="57241"/>
                    <a:pt x="6886" y="58390"/>
                    <a:pt x="5757" y="59585"/>
                  </a:cubicBezTo>
                  <a:cubicBezTo>
                    <a:pt x="6193" y="59036"/>
                    <a:pt x="6606" y="58468"/>
                    <a:pt x="7004" y="57905"/>
                  </a:cubicBezTo>
                  <a:cubicBezTo>
                    <a:pt x="7033" y="57930"/>
                    <a:pt x="7072" y="57947"/>
                    <a:pt x="7111" y="57947"/>
                  </a:cubicBezTo>
                  <a:cubicBezTo>
                    <a:pt x="7151" y="57947"/>
                    <a:pt x="7192" y="57930"/>
                    <a:pt x="7221" y="57887"/>
                  </a:cubicBezTo>
                  <a:cubicBezTo>
                    <a:pt x="8373" y="56195"/>
                    <a:pt x="9594" y="54521"/>
                    <a:pt x="10859" y="52864"/>
                  </a:cubicBezTo>
                  <a:cubicBezTo>
                    <a:pt x="12911" y="50341"/>
                    <a:pt x="15053" y="47895"/>
                    <a:pt x="17204" y="45438"/>
                  </a:cubicBezTo>
                  <a:cubicBezTo>
                    <a:pt x="21875" y="40106"/>
                    <a:pt x="26616" y="34820"/>
                    <a:pt x="31472" y="29647"/>
                  </a:cubicBezTo>
                  <a:cubicBezTo>
                    <a:pt x="31668" y="29456"/>
                    <a:pt x="31867" y="29265"/>
                    <a:pt x="32066" y="29078"/>
                  </a:cubicBezTo>
                  <a:cubicBezTo>
                    <a:pt x="33672" y="27553"/>
                    <a:pt x="35303" y="26064"/>
                    <a:pt x="36928" y="24568"/>
                  </a:cubicBezTo>
                  <a:cubicBezTo>
                    <a:pt x="37760" y="23802"/>
                    <a:pt x="38099" y="23513"/>
                    <a:pt x="38139" y="23513"/>
                  </a:cubicBezTo>
                  <a:close/>
                  <a:moveTo>
                    <a:pt x="14080" y="54039"/>
                  </a:moveTo>
                  <a:cubicBezTo>
                    <a:pt x="12264" y="55892"/>
                    <a:pt x="10503" y="57798"/>
                    <a:pt x="8875" y="59824"/>
                  </a:cubicBezTo>
                  <a:cubicBezTo>
                    <a:pt x="8892" y="59495"/>
                    <a:pt x="9040" y="59134"/>
                    <a:pt x="9259" y="58756"/>
                  </a:cubicBezTo>
                  <a:cubicBezTo>
                    <a:pt x="9744" y="58147"/>
                    <a:pt x="10241" y="57547"/>
                    <a:pt x="10746" y="56955"/>
                  </a:cubicBezTo>
                  <a:cubicBezTo>
                    <a:pt x="11956" y="55762"/>
                    <a:pt x="13388" y="54680"/>
                    <a:pt x="13870" y="54238"/>
                  </a:cubicBezTo>
                  <a:cubicBezTo>
                    <a:pt x="13942" y="54172"/>
                    <a:pt x="14008" y="54102"/>
                    <a:pt x="14080" y="54039"/>
                  </a:cubicBezTo>
                  <a:close/>
                  <a:moveTo>
                    <a:pt x="27314" y="43429"/>
                  </a:moveTo>
                  <a:lnTo>
                    <a:pt x="27314" y="43429"/>
                  </a:lnTo>
                  <a:cubicBezTo>
                    <a:pt x="24038" y="47361"/>
                    <a:pt x="20793" y="51325"/>
                    <a:pt x="17493" y="55220"/>
                  </a:cubicBezTo>
                  <a:cubicBezTo>
                    <a:pt x="17184" y="55586"/>
                    <a:pt x="16863" y="55936"/>
                    <a:pt x="16549" y="56294"/>
                  </a:cubicBezTo>
                  <a:cubicBezTo>
                    <a:pt x="15703" y="57209"/>
                    <a:pt x="14843" y="58110"/>
                    <a:pt x="13930" y="58935"/>
                  </a:cubicBezTo>
                  <a:cubicBezTo>
                    <a:pt x="13304" y="59501"/>
                    <a:pt x="12712" y="59983"/>
                    <a:pt x="12227" y="60540"/>
                  </a:cubicBezTo>
                  <a:cubicBezTo>
                    <a:pt x="13344" y="58753"/>
                    <a:pt x="14718" y="57134"/>
                    <a:pt x="16078" y="55531"/>
                  </a:cubicBezTo>
                  <a:cubicBezTo>
                    <a:pt x="19641" y="51339"/>
                    <a:pt x="23657" y="47540"/>
                    <a:pt x="27314" y="43429"/>
                  </a:cubicBezTo>
                  <a:close/>
                  <a:moveTo>
                    <a:pt x="12184" y="57342"/>
                  </a:moveTo>
                  <a:lnTo>
                    <a:pt x="12184" y="57342"/>
                  </a:lnTo>
                  <a:cubicBezTo>
                    <a:pt x="11404" y="58323"/>
                    <a:pt x="10731" y="59383"/>
                    <a:pt x="10232" y="60561"/>
                  </a:cubicBezTo>
                  <a:cubicBezTo>
                    <a:pt x="9929" y="60370"/>
                    <a:pt x="9594" y="60240"/>
                    <a:pt x="9242" y="60177"/>
                  </a:cubicBezTo>
                  <a:cubicBezTo>
                    <a:pt x="9380" y="59980"/>
                    <a:pt x="9519" y="59781"/>
                    <a:pt x="9658" y="59585"/>
                  </a:cubicBezTo>
                  <a:cubicBezTo>
                    <a:pt x="10544" y="58889"/>
                    <a:pt x="11390" y="58141"/>
                    <a:pt x="12184" y="57342"/>
                  </a:cubicBezTo>
                  <a:close/>
                  <a:moveTo>
                    <a:pt x="26994" y="42144"/>
                  </a:moveTo>
                  <a:lnTo>
                    <a:pt x="26994" y="42144"/>
                  </a:lnTo>
                  <a:cubicBezTo>
                    <a:pt x="26873" y="42300"/>
                    <a:pt x="26751" y="42456"/>
                    <a:pt x="26630" y="42609"/>
                  </a:cubicBezTo>
                  <a:cubicBezTo>
                    <a:pt x="26437" y="42803"/>
                    <a:pt x="26249" y="43005"/>
                    <a:pt x="26053" y="43198"/>
                  </a:cubicBezTo>
                  <a:cubicBezTo>
                    <a:pt x="24312" y="44933"/>
                    <a:pt x="22620" y="46720"/>
                    <a:pt x="20914" y="48493"/>
                  </a:cubicBezTo>
                  <a:cubicBezTo>
                    <a:pt x="22317" y="47168"/>
                    <a:pt x="23714" y="45857"/>
                    <a:pt x="25063" y="44546"/>
                  </a:cubicBezTo>
                  <a:lnTo>
                    <a:pt x="25063" y="44546"/>
                  </a:lnTo>
                  <a:cubicBezTo>
                    <a:pt x="23914" y="45935"/>
                    <a:pt x="22747" y="47289"/>
                    <a:pt x="21532" y="48580"/>
                  </a:cubicBezTo>
                  <a:cubicBezTo>
                    <a:pt x="19329" y="50921"/>
                    <a:pt x="16898" y="53049"/>
                    <a:pt x="14851" y="55537"/>
                  </a:cubicBezTo>
                  <a:cubicBezTo>
                    <a:pt x="14384" y="56103"/>
                    <a:pt x="13725" y="57079"/>
                    <a:pt x="13298" y="57676"/>
                  </a:cubicBezTo>
                  <a:cubicBezTo>
                    <a:pt x="12591" y="58750"/>
                    <a:pt x="11768" y="59744"/>
                    <a:pt x="10844" y="60639"/>
                  </a:cubicBezTo>
                  <a:cubicBezTo>
                    <a:pt x="10856" y="59270"/>
                    <a:pt x="11430" y="58133"/>
                    <a:pt x="12568" y="57226"/>
                  </a:cubicBezTo>
                  <a:cubicBezTo>
                    <a:pt x="13494" y="56048"/>
                    <a:pt x="14505" y="54905"/>
                    <a:pt x="15559" y="53782"/>
                  </a:cubicBezTo>
                  <a:lnTo>
                    <a:pt x="15559" y="53782"/>
                  </a:lnTo>
                  <a:cubicBezTo>
                    <a:pt x="15371" y="53958"/>
                    <a:pt x="15186" y="54134"/>
                    <a:pt x="15001" y="54313"/>
                  </a:cubicBezTo>
                  <a:cubicBezTo>
                    <a:pt x="15775" y="53453"/>
                    <a:pt x="16546" y="52592"/>
                    <a:pt x="17343" y="51770"/>
                  </a:cubicBezTo>
                  <a:cubicBezTo>
                    <a:pt x="20504" y="48504"/>
                    <a:pt x="23752" y="45329"/>
                    <a:pt x="26994" y="42144"/>
                  </a:cubicBezTo>
                  <a:close/>
                  <a:moveTo>
                    <a:pt x="32167" y="37436"/>
                  </a:moveTo>
                  <a:lnTo>
                    <a:pt x="32167" y="37436"/>
                  </a:lnTo>
                  <a:cubicBezTo>
                    <a:pt x="29485" y="40525"/>
                    <a:pt x="26824" y="43628"/>
                    <a:pt x="24067" y="46654"/>
                  </a:cubicBezTo>
                  <a:cubicBezTo>
                    <a:pt x="19629" y="51521"/>
                    <a:pt x="14822" y="55927"/>
                    <a:pt x="11303" y="61531"/>
                  </a:cubicBezTo>
                  <a:cubicBezTo>
                    <a:pt x="11141" y="61331"/>
                    <a:pt x="10965" y="61141"/>
                    <a:pt x="10778" y="60968"/>
                  </a:cubicBezTo>
                  <a:cubicBezTo>
                    <a:pt x="12149" y="59712"/>
                    <a:pt x="13209" y="58271"/>
                    <a:pt x="14300" y="56735"/>
                  </a:cubicBezTo>
                  <a:cubicBezTo>
                    <a:pt x="16399" y="53776"/>
                    <a:pt x="19196" y="51348"/>
                    <a:pt x="21722" y="48767"/>
                  </a:cubicBezTo>
                  <a:cubicBezTo>
                    <a:pt x="23867" y="46576"/>
                    <a:pt x="25859" y="44229"/>
                    <a:pt x="27799" y="41830"/>
                  </a:cubicBezTo>
                  <a:cubicBezTo>
                    <a:pt x="29263" y="40366"/>
                    <a:pt x="30718" y="38902"/>
                    <a:pt x="32167" y="37436"/>
                  </a:cubicBezTo>
                  <a:close/>
                  <a:moveTo>
                    <a:pt x="21815" y="52266"/>
                  </a:moveTo>
                  <a:lnTo>
                    <a:pt x="21815" y="52266"/>
                  </a:lnTo>
                  <a:cubicBezTo>
                    <a:pt x="20412" y="53941"/>
                    <a:pt x="19046" y="55650"/>
                    <a:pt x="17715" y="57391"/>
                  </a:cubicBezTo>
                  <a:cubicBezTo>
                    <a:pt x="17247" y="57884"/>
                    <a:pt x="16780" y="58378"/>
                    <a:pt x="16329" y="58889"/>
                  </a:cubicBezTo>
                  <a:cubicBezTo>
                    <a:pt x="15652" y="59642"/>
                    <a:pt x="13299" y="61075"/>
                    <a:pt x="12915" y="61737"/>
                  </a:cubicBezTo>
                  <a:lnTo>
                    <a:pt x="12915" y="61737"/>
                  </a:lnTo>
                  <a:cubicBezTo>
                    <a:pt x="14896" y="58313"/>
                    <a:pt x="18807" y="55176"/>
                    <a:pt x="21815" y="52266"/>
                  </a:cubicBezTo>
                  <a:close/>
                  <a:moveTo>
                    <a:pt x="13119" y="49498"/>
                  </a:moveTo>
                  <a:cubicBezTo>
                    <a:pt x="11958" y="50817"/>
                    <a:pt x="10821" y="52154"/>
                    <a:pt x="9773" y="53537"/>
                  </a:cubicBezTo>
                  <a:cubicBezTo>
                    <a:pt x="7720" y="56242"/>
                    <a:pt x="5979" y="59960"/>
                    <a:pt x="3069" y="61880"/>
                  </a:cubicBezTo>
                  <a:cubicBezTo>
                    <a:pt x="4195" y="60168"/>
                    <a:pt x="5417" y="58502"/>
                    <a:pt x="6713" y="56877"/>
                  </a:cubicBezTo>
                  <a:cubicBezTo>
                    <a:pt x="6768" y="56807"/>
                    <a:pt x="6825" y="56738"/>
                    <a:pt x="6880" y="56669"/>
                  </a:cubicBezTo>
                  <a:cubicBezTo>
                    <a:pt x="8852" y="54212"/>
                    <a:pt x="10974" y="51839"/>
                    <a:pt x="13119" y="49498"/>
                  </a:cubicBezTo>
                  <a:close/>
                  <a:moveTo>
                    <a:pt x="3909" y="60278"/>
                  </a:moveTo>
                  <a:lnTo>
                    <a:pt x="3909" y="60278"/>
                  </a:lnTo>
                  <a:cubicBezTo>
                    <a:pt x="3502" y="60875"/>
                    <a:pt x="3090" y="61467"/>
                    <a:pt x="2708" y="62079"/>
                  </a:cubicBezTo>
                  <a:cubicBezTo>
                    <a:pt x="2703" y="62088"/>
                    <a:pt x="2708" y="62094"/>
                    <a:pt x="2706" y="62102"/>
                  </a:cubicBezTo>
                  <a:cubicBezTo>
                    <a:pt x="2657" y="62131"/>
                    <a:pt x="2610" y="62160"/>
                    <a:pt x="2561" y="62186"/>
                  </a:cubicBezTo>
                  <a:cubicBezTo>
                    <a:pt x="2544" y="62114"/>
                    <a:pt x="2532" y="62042"/>
                    <a:pt x="2512" y="61972"/>
                  </a:cubicBezTo>
                  <a:cubicBezTo>
                    <a:pt x="2983" y="61412"/>
                    <a:pt x="3442" y="60841"/>
                    <a:pt x="3909" y="60278"/>
                  </a:cubicBezTo>
                  <a:close/>
                  <a:moveTo>
                    <a:pt x="9138" y="60324"/>
                  </a:moveTo>
                  <a:cubicBezTo>
                    <a:pt x="9216" y="60341"/>
                    <a:pt x="9297" y="60347"/>
                    <a:pt x="9372" y="60367"/>
                  </a:cubicBezTo>
                  <a:cubicBezTo>
                    <a:pt x="9363" y="60384"/>
                    <a:pt x="9351" y="60399"/>
                    <a:pt x="9351" y="60422"/>
                  </a:cubicBezTo>
                  <a:cubicBezTo>
                    <a:pt x="9360" y="60483"/>
                    <a:pt x="9383" y="60532"/>
                    <a:pt x="9395" y="60589"/>
                  </a:cubicBezTo>
                  <a:cubicBezTo>
                    <a:pt x="8843" y="61106"/>
                    <a:pt x="8012" y="61995"/>
                    <a:pt x="7836" y="62278"/>
                  </a:cubicBezTo>
                  <a:cubicBezTo>
                    <a:pt x="8185" y="61715"/>
                    <a:pt x="8563" y="61170"/>
                    <a:pt x="8939" y="60624"/>
                  </a:cubicBezTo>
                  <a:cubicBezTo>
                    <a:pt x="8953" y="60644"/>
                    <a:pt x="8962" y="60662"/>
                    <a:pt x="8976" y="60679"/>
                  </a:cubicBezTo>
                  <a:cubicBezTo>
                    <a:pt x="8994" y="60701"/>
                    <a:pt x="9015" y="60710"/>
                    <a:pt x="9035" y="60710"/>
                  </a:cubicBezTo>
                  <a:cubicBezTo>
                    <a:pt x="9097" y="60710"/>
                    <a:pt x="9155" y="60622"/>
                    <a:pt x="9100" y="60555"/>
                  </a:cubicBezTo>
                  <a:cubicBezTo>
                    <a:pt x="9083" y="60523"/>
                    <a:pt x="9066" y="60491"/>
                    <a:pt x="9051" y="60457"/>
                  </a:cubicBezTo>
                  <a:cubicBezTo>
                    <a:pt x="9080" y="60413"/>
                    <a:pt x="9109" y="60370"/>
                    <a:pt x="9138" y="60324"/>
                  </a:cubicBezTo>
                  <a:close/>
                  <a:moveTo>
                    <a:pt x="32938" y="40684"/>
                  </a:moveTo>
                  <a:cubicBezTo>
                    <a:pt x="26701" y="47967"/>
                    <a:pt x="20711" y="55457"/>
                    <a:pt x="14108" y="62423"/>
                  </a:cubicBezTo>
                  <a:lnTo>
                    <a:pt x="14108" y="62423"/>
                  </a:lnTo>
                  <a:cubicBezTo>
                    <a:pt x="15022" y="61455"/>
                    <a:pt x="15976" y="60288"/>
                    <a:pt x="16947" y="59042"/>
                  </a:cubicBezTo>
                  <a:cubicBezTo>
                    <a:pt x="19941" y="56103"/>
                    <a:pt x="22519" y="52607"/>
                    <a:pt x="24982" y="49053"/>
                  </a:cubicBezTo>
                  <a:cubicBezTo>
                    <a:pt x="26954" y="46914"/>
                    <a:pt x="29009" y="44850"/>
                    <a:pt x="30992" y="42719"/>
                  </a:cubicBezTo>
                  <a:cubicBezTo>
                    <a:pt x="31639" y="42038"/>
                    <a:pt x="32292" y="41362"/>
                    <a:pt x="32938" y="40684"/>
                  </a:cubicBezTo>
                  <a:close/>
                  <a:moveTo>
                    <a:pt x="26393" y="46247"/>
                  </a:moveTo>
                  <a:cubicBezTo>
                    <a:pt x="25712" y="47226"/>
                    <a:pt x="25028" y="48207"/>
                    <a:pt x="24349" y="49189"/>
                  </a:cubicBezTo>
                  <a:cubicBezTo>
                    <a:pt x="24263" y="49310"/>
                    <a:pt x="24173" y="49428"/>
                    <a:pt x="24090" y="49550"/>
                  </a:cubicBezTo>
                  <a:cubicBezTo>
                    <a:pt x="22897" y="50794"/>
                    <a:pt x="21705" y="52041"/>
                    <a:pt x="20516" y="53288"/>
                  </a:cubicBezTo>
                  <a:cubicBezTo>
                    <a:pt x="17669" y="56259"/>
                    <a:pt x="14170" y="59097"/>
                    <a:pt x="12074" y="62674"/>
                  </a:cubicBezTo>
                  <a:cubicBezTo>
                    <a:pt x="12019" y="62573"/>
                    <a:pt x="11961" y="62478"/>
                    <a:pt x="11909" y="62391"/>
                  </a:cubicBezTo>
                  <a:cubicBezTo>
                    <a:pt x="11814" y="62235"/>
                    <a:pt x="11707" y="62082"/>
                    <a:pt x="11603" y="61932"/>
                  </a:cubicBezTo>
                  <a:cubicBezTo>
                    <a:pt x="11629" y="61877"/>
                    <a:pt x="11641" y="61819"/>
                    <a:pt x="11670" y="61764"/>
                  </a:cubicBezTo>
                  <a:cubicBezTo>
                    <a:pt x="11895" y="61551"/>
                    <a:pt x="12114" y="61334"/>
                    <a:pt x="12337" y="61124"/>
                  </a:cubicBezTo>
                  <a:lnTo>
                    <a:pt x="12337" y="61124"/>
                  </a:lnTo>
                  <a:cubicBezTo>
                    <a:pt x="12335" y="61124"/>
                    <a:pt x="12333" y="61124"/>
                    <a:pt x="12331" y="61124"/>
                  </a:cubicBezTo>
                  <a:cubicBezTo>
                    <a:pt x="12261" y="61124"/>
                    <a:pt x="12205" y="61072"/>
                    <a:pt x="12152" y="60991"/>
                  </a:cubicBezTo>
                  <a:cubicBezTo>
                    <a:pt x="12712" y="60237"/>
                    <a:pt x="13471" y="59527"/>
                    <a:pt x="14216" y="58857"/>
                  </a:cubicBezTo>
                  <a:lnTo>
                    <a:pt x="14216" y="58857"/>
                  </a:lnTo>
                  <a:cubicBezTo>
                    <a:pt x="13890" y="59198"/>
                    <a:pt x="13575" y="59547"/>
                    <a:pt x="13246" y="59885"/>
                  </a:cubicBezTo>
                  <a:cubicBezTo>
                    <a:pt x="13125" y="60148"/>
                    <a:pt x="12986" y="60399"/>
                    <a:pt x="12836" y="60644"/>
                  </a:cubicBezTo>
                  <a:cubicBezTo>
                    <a:pt x="15429" y="58133"/>
                    <a:pt x="17883" y="55448"/>
                    <a:pt x="20261" y="52688"/>
                  </a:cubicBezTo>
                  <a:cubicBezTo>
                    <a:pt x="20747" y="52185"/>
                    <a:pt x="21232" y="51686"/>
                    <a:pt x="21708" y="51178"/>
                  </a:cubicBezTo>
                  <a:cubicBezTo>
                    <a:pt x="23261" y="49524"/>
                    <a:pt x="24823" y="47881"/>
                    <a:pt x="26393" y="46247"/>
                  </a:cubicBezTo>
                  <a:close/>
                  <a:moveTo>
                    <a:pt x="9499" y="61020"/>
                  </a:moveTo>
                  <a:cubicBezTo>
                    <a:pt x="9556" y="61170"/>
                    <a:pt x="9626" y="61314"/>
                    <a:pt x="9707" y="61453"/>
                  </a:cubicBezTo>
                  <a:cubicBezTo>
                    <a:pt x="9242" y="61860"/>
                    <a:pt x="8685" y="62275"/>
                    <a:pt x="8428" y="62749"/>
                  </a:cubicBezTo>
                  <a:cubicBezTo>
                    <a:pt x="8751" y="62151"/>
                    <a:pt x="9147" y="61600"/>
                    <a:pt x="9499" y="61020"/>
                  </a:cubicBezTo>
                  <a:close/>
                  <a:moveTo>
                    <a:pt x="16993" y="48323"/>
                  </a:moveTo>
                  <a:lnTo>
                    <a:pt x="16993" y="48323"/>
                  </a:lnTo>
                  <a:cubicBezTo>
                    <a:pt x="16237" y="49249"/>
                    <a:pt x="15475" y="50170"/>
                    <a:pt x="14701" y="51077"/>
                  </a:cubicBezTo>
                  <a:cubicBezTo>
                    <a:pt x="13630" y="52333"/>
                    <a:pt x="12596" y="53612"/>
                    <a:pt x="11583" y="54908"/>
                  </a:cubicBezTo>
                  <a:cubicBezTo>
                    <a:pt x="9522" y="56865"/>
                    <a:pt x="7414" y="58947"/>
                    <a:pt x="6332" y="61196"/>
                  </a:cubicBezTo>
                  <a:cubicBezTo>
                    <a:pt x="6282" y="61299"/>
                    <a:pt x="6363" y="61408"/>
                    <a:pt x="6456" y="61408"/>
                  </a:cubicBezTo>
                  <a:cubicBezTo>
                    <a:pt x="6488" y="61408"/>
                    <a:pt x="6521" y="61395"/>
                    <a:pt x="6551" y="61366"/>
                  </a:cubicBezTo>
                  <a:cubicBezTo>
                    <a:pt x="7045" y="60875"/>
                    <a:pt x="7530" y="60361"/>
                    <a:pt x="8015" y="59853"/>
                  </a:cubicBezTo>
                  <a:lnTo>
                    <a:pt x="8015" y="59853"/>
                  </a:lnTo>
                  <a:cubicBezTo>
                    <a:pt x="7582" y="60471"/>
                    <a:pt x="7157" y="61095"/>
                    <a:pt x="6756" y="61730"/>
                  </a:cubicBezTo>
                  <a:cubicBezTo>
                    <a:pt x="6686" y="61840"/>
                    <a:pt x="6787" y="61945"/>
                    <a:pt x="6890" y="61945"/>
                  </a:cubicBezTo>
                  <a:cubicBezTo>
                    <a:pt x="6935" y="61945"/>
                    <a:pt x="6979" y="61925"/>
                    <a:pt x="7010" y="61877"/>
                  </a:cubicBezTo>
                  <a:cubicBezTo>
                    <a:pt x="7530" y="61051"/>
                    <a:pt x="8093" y="60263"/>
                    <a:pt x="8676" y="59495"/>
                  </a:cubicBezTo>
                  <a:lnTo>
                    <a:pt x="8676" y="59495"/>
                  </a:lnTo>
                  <a:cubicBezTo>
                    <a:pt x="8630" y="59723"/>
                    <a:pt x="8641" y="59960"/>
                    <a:pt x="8708" y="60182"/>
                  </a:cubicBezTo>
                  <a:cubicBezTo>
                    <a:pt x="8237" y="60708"/>
                    <a:pt x="7781" y="61239"/>
                    <a:pt x="7397" y="61834"/>
                  </a:cubicBezTo>
                  <a:cubicBezTo>
                    <a:pt x="7323" y="61950"/>
                    <a:pt x="7429" y="62060"/>
                    <a:pt x="7536" y="62060"/>
                  </a:cubicBezTo>
                  <a:cubicBezTo>
                    <a:pt x="7582" y="62060"/>
                    <a:pt x="7628" y="62039"/>
                    <a:pt x="7660" y="61990"/>
                  </a:cubicBezTo>
                  <a:cubicBezTo>
                    <a:pt x="7709" y="61915"/>
                    <a:pt x="7764" y="61848"/>
                    <a:pt x="7813" y="61776"/>
                  </a:cubicBezTo>
                  <a:lnTo>
                    <a:pt x="7813" y="61776"/>
                  </a:lnTo>
                  <a:cubicBezTo>
                    <a:pt x="7668" y="62004"/>
                    <a:pt x="7518" y="62232"/>
                    <a:pt x="7377" y="62463"/>
                  </a:cubicBezTo>
                  <a:lnTo>
                    <a:pt x="7377" y="62466"/>
                  </a:lnTo>
                  <a:cubicBezTo>
                    <a:pt x="6924" y="61975"/>
                    <a:pt x="6307" y="61580"/>
                    <a:pt x="5750" y="61580"/>
                  </a:cubicBezTo>
                  <a:cubicBezTo>
                    <a:pt x="5601" y="61580"/>
                    <a:pt x="5455" y="61609"/>
                    <a:pt x="5318" y="61672"/>
                  </a:cubicBezTo>
                  <a:cubicBezTo>
                    <a:pt x="5474" y="61340"/>
                    <a:pt x="5604" y="60999"/>
                    <a:pt x="5708" y="60650"/>
                  </a:cubicBezTo>
                  <a:cubicBezTo>
                    <a:pt x="5731" y="60562"/>
                    <a:pt x="5660" y="60500"/>
                    <a:pt x="5588" y="60500"/>
                  </a:cubicBezTo>
                  <a:cubicBezTo>
                    <a:pt x="5550" y="60500"/>
                    <a:pt x="5511" y="60518"/>
                    <a:pt x="5486" y="60558"/>
                  </a:cubicBezTo>
                  <a:cubicBezTo>
                    <a:pt x="4920" y="61473"/>
                    <a:pt x="4158" y="62267"/>
                    <a:pt x="3580" y="63173"/>
                  </a:cubicBezTo>
                  <a:cubicBezTo>
                    <a:pt x="5916" y="59368"/>
                    <a:pt x="9984" y="55936"/>
                    <a:pt x="12963" y="52688"/>
                  </a:cubicBezTo>
                  <a:cubicBezTo>
                    <a:pt x="14303" y="51227"/>
                    <a:pt x="15654" y="49778"/>
                    <a:pt x="16993" y="48323"/>
                  </a:cubicBezTo>
                  <a:close/>
                  <a:moveTo>
                    <a:pt x="33074" y="42052"/>
                  </a:moveTo>
                  <a:cubicBezTo>
                    <a:pt x="29332" y="46625"/>
                    <a:pt x="25660" y="51244"/>
                    <a:pt x="22060" y="55907"/>
                  </a:cubicBezTo>
                  <a:cubicBezTo>
                    <a:pt x="20781" y="57564"/>
                    <a:pt x="19508" y="59224"/>
                    <a:pt x="18189" y="60852"/>
                  </a:cubicBezTo>
                  <a:cubicBezTo>
                    <a:pt x="17702" y="61450"/>
                    <a:pt x="15982" y="63204"/>
                    <a:pt x="15741" y="63204"/>
                  </a:cubicBezTo>
                  <a:cubicBezTo>
                    <a:pt x="15598" y="63204"/>
                    <a:pt x="15979" y="62584"/>
                    <a:pt x="17452" y="60731"/>
                  </a:cubicBezTo>
                  <a:cubicBezTo>
                    <a:pt x="19381" y="58314"/>
                    <a:pt x="21503" y="56016"/>
                    <a:pt x="23492" y="53646"/>
                  </a:cubicBezTo>
                  <a:cubicBezTo>
                    <a:pt x="26720" y="49801"/>
                    <a:pt x="29858" y="45897"/>
                    <a:pt x="33074" y="42052"/>
                  </a:cubicBezTo>
                  <a:close/>
                  <a:moveTo>
                    <a:pt x="9943" y="61834"/>
                  </a:moveTo>
                  <a:cubicBezTo>
                    <a:pt x="10053" y="61984"/>
                    <a:pt x="10166" y="62134"/>
                    <a:pt x="10287" y="62278"/>
                  </a:cubicBezTo>
                  <a:cubicBezTo>
                    <a:pt x="9707" y="62792"/>
                    <a:pt x="8737" y="63450"/>
                    <a:pt x="8485" y="64031"/>
                  </a:cubicBezTo>
                  <a:cubicBezTo>
                    <a:pt x="8829" y="63237"/>
                    <a:pt x="9424" y="62547"/>
                    <a:pt x="9943" y="61834"/>
                  </a:cubicBezTo>
                  <a:close/>
                  <a:moveTo>
                    <a:pt x="58304" y="13690"/>
                  </a:moveTo>
                  <a:cubicBezTo>
                    <a:pt x="59002" y="13725"/>
                    <a:pt x="59655" y="14190"/>
                    <a:pt x="60180" y="15376"/>
                  </a:cubicBezTo>
                  <a:cubicBezTo>
                    <a:pt x="60202" y="15420"/>
                    <a:pt x="60248" y="15448"/>
                    <a:pt x="60300" y="15448"/>
                  </a:cubicBezTo>
                  <a:cubicBezTo>
                    <a:pt x="60302" y="15448"/>
                    <a:pt x="60305" y="15448"/>
                    <a:pt x="60307" y="15448"/>
                  </a:cubicBezTo>
                  <a:lnTo>
                    <a:pt x="60307" y="15448"/>
                  </a:lnTo>
                  <a:cubicBezTo>
                    <a:pt x="58895" y="16964"/>
                    <a:pt x="57605" y="18534"/>
                    <a:pt x="56338" y="20180"/>
                  </a:cubicBezTo>
                  <a:cubicBezTo>
                    <a:pt x="52385" y="25316"/>
                    <a:pt x="48211" y="30224"/>
                    <a:pt x="44050" y="35184"/>
                  </a:cubicBezTo>
                  <a:lnTo>
                    <a:pt x="44053" y="35181"/>
                  </a:lnTo>
                  <a:lnTo>
                    <a:pt x="44053" y="35181"/>
                  </a:lnTo>
                  <a:cubicBezTo>
                    <a:pt x="36345" y="44376"/>
                    <a:pt x="28859" y="53753"/>
                    <a:pt x="21246" y="63023"/>
                  </a:cubicBezTo>
                  <a:cubicBezTo>
                    <a:pt x="20432" y="64015"/>
                    <a:pt x="20090" y="64394"/>
                    <a:pt x="20044" y="64394"/>
                  </a:cubicBezTo>
                  <a:cubicBezTo>
                    <a:pt x="19907" y="64394"/>
                    <a:pt x="22316" y="61123"/>
                    <a:pt x="22744" y="60529"/>
                  </a:cubicBezTo>
                  <a:cubicBezTo>
                    <a:pt x="24661" y="57864"/>
                    <a:pt x="26827" y="55370"/>
                    <a:pt x="28940" y="52861"/>
                  </a:cubicBezTo>
                  <a:cubicBezTo>
                    <a:pt x="32566" y="48556"/>
                    <a:pt x="36025" y="44122"/>
                    <a:pt x="39515" y="39708"/>
                  </a:cubicBezTo>
                  <a:cubicBezTo>
                    <a:pt x="43184" y="35063"/>
                    <a:pt x="47047" y="30562"/>
                    <a:pt x="50884" y="26055"/>
                  </a:cubicBezTo>
                  <a:cubicBezTo>
                    <a:pt x="53941" y="22467"/>
                    <a:pt x="57513" y="19037"/>
                    <a:pt x="59816" y="14888"/>
                  </a:cubicBezTo>
                  <a:cubicBezTo>
                    <a:pt x="59875" y="14783"/>
                    <a:pt x="59783" y="14667"/>
                    <a:pt x="59686" y="14667"/>
                  </a:cubicBezTo>
                  <a:cubicBezTo>
                    <a:pt x="59653" y="14667"/>
                    <a:pt x="59620" y="14681"/>
                    <a:pt x="59591" y="14712"/>
                  </a:cubicBezTo>
                  <a:cubicBezTo>
                    <a:pt x="57533" y="16938"/>
                    <a:pt x="55500" y="19187"/>
                    <a:pt x="53494" y="21459"/>
                  </a:cubicBezTo>
                  <a:cubicBezTo>
                    <a:pt x="55408" y="19129"/>
                    <a:pt x="57279" y="16771"/>
                    <a:pt x="59074" y="14354"/>
                  </a:cubicBezTo>
                  <a:cubicBezTo>
                    <a:pt x="59156" y="14244"/>
                    <a:pt x="59040" y="14118"/>
                    <a:pt x="58927" y="14118"/>
                  </a:cubicBezTo>
                  <a:cubicBezTo>
                    <a:pt x="58891" y="14118"/>
                    <a:pt x="58855" y="14131"/>
                    <a:pt x="58826" y="14161"/>
                  </a:cubicBezTo>
                  <a:cubicBezTo>
                    <a:pt x="58093" y="14920"/>
                    <a:pt x="57383" y="15699"/>
                    <a:pt x="56661" y="16470"/>
                  </a:cubicBezTo>
                  <a:cubicBezTo>
                    <a:pt x="57354" y="15679"/>
                    <a:pt x="58024" y="14871"/>
                    <a:pt x="58636" y="14025"/>
                  </a:cubicBezTo>
                  <a:cubicBezTo>
                    <a:pt x="58717" y="13911"/>
                    <a:pt x="58610" y="13809"/>
                    <a:pt x="58501" y="13809"/>
                  </a:cubicBezTo>
                  <a:cubicBezTo>
                    <a:pt x="58466" y="13809"/>
                    <a:pt x="58431" y="13819"/>
                    <a:pt x="58402" y="13843"/>
                  </a:cubicBezTo>
                  <a:cubicBezTo>
                    <a:pt x="58052" y="14126"/>
                    <a:pt x="57726" y="14432"/>
                    <a:pt x="57385" y="14721"/>
                  </a:cubicBezTo>
                  <a:cubicBezTo>
                    <a:pt x="57686" y="14389"/>
                    <a:pt x="57986" y="14060"/>
                    <a:pt x="58289" y="13730"/>
                  </a:cubicBezTo>
                  <a:cubicBezTo>
                    <a:pt x="58301" y="13716"/>
                    <a:pt x="58298" y="13702"/>
                    <a:pt x="58304" y="13690"/>
                  </a:cubicBezTo>
                  <a:close/>
                  <a:moveTo>
                    <a:pt x="23310" y="40383"/>
                  </a:moveTo>
                  <a:lnTo>
                    <a:pt x="23310" y="40383"/>
                  </a:lnTo>
                  <a:cubicBezTo>
                    <a:pt x="22167" y="41833"/>
                    <a:pt x="21027" y="43279"/>
                    <a:pt x="19883" y="44725"/>
                  </a:cubicBezTo>
                  <a:cubicBezTo>
                    <a:pt x="19857" y="44754"/>
                    <a:pt x="19826" y="44786"/>
                    <a:pt x="19800" y="44815"/>
                  </a:cubicBezTo>
                  <a:cubicBezTo>
                    <a:pt x="16607" y="48250"/>
                    <a:pt x="13442" y="51712"/>
                    <a:pt x="10307" y="55202"/>
                  </a:cubicBezTo>
                  <a:cubicBezTo>
                    <a:pt x="7931" y="57835"/>
                    <a:pt x="4894" y="60491"/>
                    <a:pt x="3173" y="63606"/>
                  </a:cubicBezTo>
                  <a:cubicBezTo>
                    <a:pt x="3150" y="63650"/>
                    <a:pt x="3186" y="63688"/>
                    <a:pt x="3224" y="63688"/>
                  </a:cubicBezTo>
                  <a:cubicBezTo>
                    <a:pt x="3241" y="63688"/>
                    <a:pt x="3259" y="63680"/>
                    <a:pt x="3271" y="63661"/>
                  </a:cubicBezTo>
                  <a:cubicBezTo>
                    <a:pt x="3339" y="63541"/>
                    <a:pt x="3422" y="63422"/>
                    <a:pt x="3501" y="63303"/>
                  </a:cubicBezTo>
                  <a:lnTo>
                    <a:pt x="3501" y="63303"/>
                  </a:lnTo>
                  <a:cubicBezTo>
                    <a:pt x="3332" y="63574"/>
                    <a:pt x="3186" y="63862"/>
                    <a:pt x="3066" y="64161"/>
                  </a:cubicBezTo>
                  <a:cubicBezTo>
                    <a:pt x="3053" y="64193"/>
                    <a:pt x="3085" y="64220"/>
                    <a:pt x="3116" y="64220"/>
                  </a:cubicBezTo>
                  <a:cubicBezTo>
                    <a:pt x="3132" y="64220"/>
                    <a:pt x="3147" y="64213"/>
                    <a:pt x="3156" y="64195"/>
                  </a:cubicBezTo>
                  <a:cubicBezTo>
                    <a:pt x="3673" y="63162"/>
                    <a:pt x="4432" y="62307"/>
                    <a:pt x="5139" y="61409"/>
                  </a:cubicBezTo>
                  <a:lnTo>
                    <a:pt x="5139" y="61409"/>
                  </a:lnTo>
                  <a:cubicBezTo>
                    <a:pt x="4637" y="62397"/>
                    <a:pt x="3866" y="63220"/>
                    <a:pt x="3462" y="64256"/>
                  </a:cubicBezTo>
                  <a:cubicBezTo>
                    <a:pt x="3439" y="64315"/>
                    <a:pt x="3496" y="64369"/>
                    <a:pt x="3549" y="64369"/>
                  </a:cubicBezTo>
                  <a:cubicBezTo>
                    <a:pt x="3570" y="64369"/>
                    <a:pt x="3589" y="64361"/>
                    <a:pt x="3603" y="64343"/>
                  </a:cubicBezTo>
                  <a:cubicBezTo>
                    <a:pt x="3933" y="63930"/>
                    <a:pt x="4262" y="63468"/>
                    <a:pt x="4571" y="62994"/>
                  </a:cubicBezTo>
                  <a:lnTo>
                    <a:pt x="4571" y="62994"/>
                  </a:lnTo>
                  <a:cubicBezTo>
                    <a:pt x="4562" y="63046"/>
                    <a:pt x="4550" y="63101"/>
                    <a:pt x="4542" y="63150"/>
                  </a:cubicBezTo>
                  <a:cubicBezTo>
                    <a:pt x="4458" y="63622"/>
                    <a:pt x="3971" y="64644"/>
                    <a:pt x="3487" y="64644"/>
                  </a:cubicBezTo>
                  <a:cubicBezTo>
                    <a:pt x="3267" y="64644"/>
                    <a:pt x="3047" y="64432"/>
                    <a:pt x="2867" y="63858"/>
                  </a:cubicBezTo>
                  <a:cubicBezTo>
                    <a:pt x="2723" y="63396"/>
                    <a:pt x="2694" y="62862"/>
                    <a:pt x="2602" y="62359"/>
                  </a:cubicBezTo>
                  <a:cubicBezTo>
                    <a:pt x="3318" y="62004"/>
                    <a:pt x="3944" y="61513"/>
                    <a:pt x="4522" y="60956"/>
                  </a:cubicBezTo>
                  <a:lnTo>
                    <a:pt x="4522" y="60956"/>
                  </a:lnTo>
                  <a:cubicBezTo>
                    <a:pt x="3907" y="61681"/>
                    <a:pt x="3321" y="62437"/>
                    <a:pt x="2812" y="63263"/>
                  </a:cubicBezTo>
                  <a:cubicBezTo>
                    <a:pt x="2768" y="63337"/>
                    <a:pt x="2831" y="63401"/>
                    <a:pt x="2898" y="63401"/>
                  </a:cubicBezTo>
                  <a:cubicBezTo>
                    <a:pt x="2927" y="63401"/>
                    <a:pt x="2958" y="63388"/>
                    <a:pt x="2980" y="63358"/>
                  </a:cubicBezTo>
                  <a:cubicBezTo>
                    <a:pt x="5468" y="59845"/>
                    <a:pt x="8754" y="56897"/>
                    <a:pt x="11563" y="53635"/>
                  </a:cubicBezTo>
                  <a:cubicBezTo>
                    <a:pt x="14511" y="50214"/>
                    <a:pt x="17556" y="46876"/>
                    <a:pt x="20539" y="43484"/>
                  </a:cubicBezTo>
                  <a:cubicBezTo>
                    <a:pt x="21454" y="42442"/>
                    <a:pt x="22383" y="41414"/>
                    <a:pt x="23310" y="40383"/>
                  </a:cubicBezTo>
                  <a:close/>
                  <a:moveTo>
                    <a:pt x="10503" y="62524"/>
                  </a:moveTo>
                  <a:cubicBezTo>
                    <a:pt x="10570" y="62602"/>
                    <a:pt x="10636" y="62680"/>
                    <a:pt x="10703" y="62755"/>
                  </a:cubicBezTo>
                  <a:cubicBezTo>
                    <a:pt x="10036" y="63433"/>
                    <a:pt x="9392" y="64135"/>
                    <a:pt x="8742" y="64833"/>
                  </a:cubicBezTo>
                  <a:cubicBezTo>
                    <a:pt x="8815" y="64735"/>
                    <a:pt x="8881" y="64634"/>
                    <a:pt x="8950" y="64539"/>
                  </a:cubicBezTo>
                  <a:cubicBezTo>
                    <a:pt x="9444" y="63849"/>
                    <a:pt x="9966" y="63182"/>
                    <a:pt x="10503" y="62524"/>
                  </a:cubicBezTo>
                  <a:close/>
                  <a:moveTo>
                    <a:pt x="11657" y="64457"/>
                  </a:moveTo>
                  <a:cubicBezTo>
                    <a:pt x="11781" y="64457"/>
                    <a:pt x="11263" y="65140"/>
                    <a:pt x="11240" y="65263"/>
                  </a:cubicBezTo>
                  <a:lnTo>
                    <a:pt x="11240" y="65263"/>
                  </a:lnTo>
                  <a:cubicBezTo>
                    <a:pt x="11246" y="65227"/>
                    <a:pt x="11218" y="65204"/>
                    <a:pt x="11192" y="65204"/>
                  </a:cubicBezTo>
                  <a:cubicBezTo>
                    <a:pt x="11174" y="65204"/>
                    <a:pt x="11158" y="65214"/>
                    <a:pt x="11153" y="65238"/>
                  </a:cubicBezTo>
                  <a:lnTo>
                    <a:pt x="11150" y="65240"/>
                  </a:lnTo>
                  <a:lnTo>
                    <a:pt x="11110" y="65391"/>
                  </a:lnTo>
                  <a:cubicBezTo>
                    <a:pt x="11107" y="65399"/>
                    <a:pt x="11113" y="65405"/>
                    <a:pt x="11115" y="65414"/>
                  </a:cubicBezTo>
                  <a:cubicBezTo>
                    <a:pt x="11076" y="65412"/>
                    <a:pt x="11036" y="65410"/>
                    <a:pt x="10997" y="65410"/>
                  </a:cubicBezTo>
                  <a:cubicBezTo>
                    <a:pt x="10872" y="65410"/>
                    <a:pt x="10747" y="65421"/>
                    <a:pt x="10622" y="65445"/>
                  </a:cubicBezTo>
                  <a:cubicBezTo>
                    <a:pt x="10547" y="65460"/>
                    <a:pt x="10472" y="65486"/>
                    <a:pt x="10402" y="65520"/>
                  </a:cubicBezTo>
                  <a:cubicBezTo>
                    <a:pt x="10674" y="65278"/>
                    <a:pt x="10942" y="65030"/>
                    <a:pt x="11214" y="64787"/>
                  </a:cubicBezTo>
                  <a:cubicBezTo>
                    <a:pt x="11482" y="64548"/>
                    <a:pt x="11612" y="64457"/>
                    <a:pt x="11657" y="64457"/>
                  </a:cubicBezTo>
                  <a:close/>
                  <a:moveTo>
                    <a:pt x="11840" y="64623"/>
                  </a:moveTo>
                  <a:lnTo>
                    <a:pt x="11840" y="64623"/>
                  </a:lnTo>
                  <a:cubicBezTo>
                    <a:pt x="11970" y="65112"/>
                    <a:pt x="12015" y="65608"/>
                    <a:pt x="11771" y="65608"/>
                  </a:cubicBezTo>
                  <a:cubicBezTo>
                    <a:pt x="11728" y="65608"/>
                    <a:pt x="11675" y="65593"/>
                    <a:pt x="11612" y="65558"/>
                  </a:cubicBezTo>
                  <a:cubicBezTo>
                    <a:pt x="11494" y="65497"/>
                    <a:pt x="11370" y="65454"/>
                    <a:pt x="11237" y="65434"/>
                  </a:cubicBezTo>
                  <a:cubicBezTo>
                    <a:pt x="11465" y="65353"/>
                    <a:pt x="11684" y="64960"/>
                    <a:pt x="11840" y="64623"/>
                  </a:cubicBezTo>
                  <a:close/>
                  <a:moveTo>
                    <a:pt x="11439" y="63676"/>
                  </a:moveTo>
                  <a:cubicBezTo>
                    <a:pt x="11456" y="63699"/>
                    <a:pt x="11476" y="63719"/>
                    <a:pt x="11494" y="63742"/>
                  </a:cubicBezTo>
                  <a:lnTo>
                    <a:pt x="11494" y="63745"/>
                  </a:lnTo>
                  <a:cubicBezTo>
                    <a:pt x="11560" y="63837"/>
                    <a:pt x="11644" y="64016"/>
                    <a:pt x="11719" y="64224"/>
                  </a:cubicBezTo>
                  <a:cubicBezTo>
                    <a:pt x="11081" y="64631"/>
                    <a:pt x="10555" y="65134"/>
                    <a:pt x="9987" y="65645"/>
                  </a:cubicBezTo>
                  <a:cubicBezTo>
                    <a:pt x="10541" y="65145"/>
                    <a:pt x="11012" y="64334"/>
                    <a:pt x="11439" y="63676"/>
                  </a:cubicBezTo>
                  <a:close/>
                  <a:moveTo>
                    <a:pt x="9306" y="61069"/>
                  </a:moveTo>
                  <a:cubicBezTo>
                    <a:pt x="8924" y="61454"/>
                    <a:pt x="8318" y="62341"/>
                    <a:pt x="7946" y="63023"/>
                  </a:cubicBezTo>
                  <a:cubicBezTo>
                    <a:pt x="7892" y="63118"/>
                    <a:pt x="7971" y="63247"/>
                    <a:pt x="8069" y="63247"/>
                  </a:cubicBezTo>
                  <a:cubicBezTo>
                    <a:pt x="8093" y="63247"/>
                    <a:pt x="8118" y="63240"/>
                    <a:pt x="8142" y="63222"/>
                  </a:cubicBezTo>
                  <a:cubicBezTo>
                    <a:pt x="8448" y="62997"/>
                    <a:pt x="8627" y="62862"/>
                    <a:pt x="8921" y="62625"/>
                  </a:cubicBezTo>
                  <a:cubicBezTo>
                    <a:pt x="9083" y="62492"/>
                    <a:pt x="9236" y="62348"/>
                    <a:pt x="9389" y="62209"/>
                  </a:cubicBezTo>
                  <a:lnTo>
                    <a:pt x="9389" y="62209"/>
                  </a:lnTo>
                  <a:cubicBezTo>
                    <a:pt x="8910" y="62890"/>
                    <a:pt x="8393" y="63528"/>
                    <a:pt x="8052" y="64317"/>
                  </a:cubicBezTo>
                  <a:cubicBezTo>
                    <a:pt x="8005" y="64428"/>
                    <a:pt x="8082" y="64531"/>
                    <a:pt x="8177" y="64531"/>
                  </a:cubicBezTo>
                  <a:cubicBezTo>
                    <a:pt x="8210" y="64531"/>
                    <a:pt x="8245" y="64519"/>
                    <a:pt x="8278" y="64490"/>
                  </a:cubicBezTo>
                  <a:cubicBezTo>
                    <a:pt x="8633" y="64184"/>
                    <a:pt x="8988" y="63875"/>
                    <a:pt x="9337" y="63563"/>
                  </a:cubicBezTo>
                  <a:lnTo>
                    <a:pt x="9337" y="63563"/>
                  </a:lnTo>
                  <a:cubicBezTo>
                    <a:pt x="8780" y="64305"/>
                    <a:pt x="8246" y="65059"/>
                    <a:pt x="7720" y="65821"/>
                  </a:cubicBezTo>
                  <a:cubicBezTo>
                    <a:pt x="7769" y="65544"/>
                    <a:pt x="7844" y="65261"/>
                    <a:pt x="7896" y="65009"/>
                  </a:cubicBezTo>
                  <a:cubicBezTo>
                    <a:pt x="7995" y="64519"/>
                    <a:pt x="8119" y="63921"/>
                    <a:pt x="7977" y="63433"/>
                  </a:cubicBezTo>
                  <a:cubicBezTo>
                    <a:pt x="7911" y="63200"/>
                    <a:pt x="7773" y="62952"/>
                    <a:pt x="7592" y="62710"/>
                  </a:cubicBezTo>
                  <a:lnTo>
                    <a:pt x="7592" y="62710"/>
                  </a:lnTo>
                  <a:cubicBezTo>
                    <a:pt x="8209" y="62208"/>
                    <a:pt x="8743" y="61634"/>
                    <a:pt x="9306" y="61069"/>
                  </a:cubicBezTo>
                  <a:close/>
                  <a:moveTo>
                    <a:pt x="43848" y="29704"/>
                  </a:moveTo>
                  <a:lnTo>
                    <a:pt x="43848" y="29704"/>
                  </a:lnTo>
                  <a:cubicBezTo>
                    <a:pt x="37843" y="36737"/>
                    <a:pt x="32248" y="44113"/>
                    <a:pt x="26549" y="51400"/>
                  </a:cubicBezTo>
                  <a:cubicBezTo>
                    <a:pt x="24352" y="54215"/>
                    <a:pt x="22132" y="57010"/>
                    <a:pt x="19924" y="59816"/>
                  </a:cubicBezTo>
                  <a:cubicBezTo>
                    <a:pt x="19003" y="60985"/>
                    <a:pt x="18085" y="62157"/>
                    <a:pt x="17172" y="63332"/>
                  </a:cubicBezTo>
                  <a:cubicBezTo>
                    <a:pt x="16814" y="63771"/>
                    <a:pt x="16462" y="64218"/>
                    <a:pt x="16116" y="64672"/>
                  </a:cubicBezTo>
                  <a:cubicBezTo>
                    <a:pt x="16070" y="64602"/>
                    <a:pt x="16029" y="64542"/>
                    <a:pt x="15997" y="64498"/>
                  </a:cubicBezTo>
                  <a:cubicBezTo>
                    <a:pt x="15959" y="64445"/>
                    <a:pt x="15903" y="64419"/>
                    <a:pt x="15849" y="64419"/>
                  </a:cubicBezTo>
                  <a:cubicBezTo>
                    <a:pt x="15783" y="64419"/>
                    <a:pt x="15718" y="64459"/>
                    <a:pt x="15691" y="64539"/>
                  </a:cubicBezTo>
                  <a:cubicBezTo>
                    <a:pt x="15328" y="65578"/>
                    <a:pt x="14942" y="65975"/>
                    <a:pt x="14554" y="65975"/>
                  </a:cubicBezTo>
                  <a:cubicBezTo>
                    <a:pt x="13715" y="65975"/>
                    <a:pt x="12864" y="64113"/>
                    <a:pt x="12198" y="62890"/>
                  </a:cubicBezTo>
                  <a:cubicBezTo>
                    <a:pt x="12207" y="62888"/>
                    <a:pt x="12218" y="62890"/>
                    <a:pt x="12230" y="62885"/>
                  </a:cubicBezTo>
                  <a:cubicBezTo>
                    <a:pt x="13298" y="62183"/>
                    <a:pt x="14314" y="61415"/>
                    <a:pt x="15279" y="60581"/>
                  </a:cubicBezTo>
                  <a:lnTo>
                    <a:pt x="15279" y="60581"/>
                  </a:lnTo>
                  <a:cubicBezTo>
                    <a:pt x="14467" y="61643"/>
                    <a:pt x="13653" y="62706"/>
                    <a:pt x="12825" y="63754"/>
                  </a:cubicBezTo>
                  <a:cubicBezTo>
                    <a:pt x="12743" y="63855"/>
                    <a:pt x="12824" y="63988"/>
                    <a:pt x="12923" y="63988"/>
                  </a:cubicBezTo>
                  <a:cubicBezTo>
                    <a:pt x="12953" y="63988"/>
                    <a:pt x="12986" y="63975"/>
                    <a:pt x="13015" y="63944"/>
                  </a:cubicBezTo>
                  <a:cubicBezTo>
                    <a:pt x="22245" y="54385"/>
                    <a:pt x="30337" y="43833"/>
                    <a:pt x="39232" y="33974"/>
                  </a:cubicBezTo>
                  <a:cubicBezTo>
                    <a:pt x="40248" y="32848"/>
                    <a:pt x="41270" y="31731"/>
                    <a:pt x="42301" y="30619"/>
                  </a:cubicBezTo>
                  <a:lnTo>
                    <a:pt x="42301" y="30619"/>
                  </a:lnTo>
                  <a:cubicBezTo>
                    <a:pt x="39934" y="33469"/>
                    <a:pt x="37584" y="36333"/>
                    <a:pt x="35156" y="39125"/>
                  </a:cubicBezTo>
                  <a:cubicBezTo>
                    <a:pt x="31082" y="43807"/>
                    <a:pt x="27248" y="48660"/>
                    <a:pt x="23284" y="53433"/>
                  </a:cubicBezTo>
                  <a:cubicBezTo>
                    <a:pt x="20443" y="56851"/>
                    <a:pt x="16586" y="60159"/>
                    <a:pt x="14932" y="64348"/>
                  </a:cubicBezTo>
                  <a:cubicBezTo>
                    <a:pt x="14890" y="64452"/>
                    <a:pt x="14987" y="64532"/>
                    <a:pt x="15080" y="64532"/>
                  </a:cubicBezTo>
                  <a:cubicBezTo>
                    <a:pt x="15117" y="64532"/>
                    <a:pt x="15153" y="64520"/>
                    <a:pt x="15180" y="64493"/>
                  </a:cubicBezTo>
                  <a:cubicBezTo>
                    <a:pt x="22539" y="57333"/>
                    <a:pt x="28579" y="48401"/>
                    <a:pt x="34942" y="40352"/>
                  </a:cubicBezTo>
                  <a:cubicBezTo>
                    <a:pt x="37812" y="36720"/>
                    <a:pt x="40800" y="33186"/>
                    <a:pt x="43848" y="29704"/>
                  </a:cubicBezTo>
                  <a:close/>
                  <a:moveTo>
                    <a:pt x="10887" y="62986"/>
                  </a:moveTo>
                  <a:cubicBezTo>
                    <a:pt x="11029" y="63150"/>
                    <a:pt x="11162" y="63318"/>
                    <a:pt x="11294" y="63491"/>
                  </a:cubicBezTo>
                  <a:lnTo>
                    <a:pt x="11292" y="63491"/>
                  </a:lnTo>
                  <a:cubicBezTo>
                    <a:pt x="10249" y="64366"/>
                    <a:pt x="9470" y="65468"/>
                    <a:pt x="8558" y="66470"/>
                  </a:cubicBezTo>
                  <a:cubicBezTo>
                    <a:pt x="8806" y="66095"/>
                    <a:pt x="9054" y="65723"/>
                    <a:pt x="9305" y="65353"/>
                  </a:cubicBezTo>
                  <a:cubicBezTo>
                    <a:pt x="9839" y="64568"/>
                    <a:pt x="10368" y="63780"/>
                    <a:pt x="10887" y="62986"/>
                  </a:cubicBezTo>
                  <a:close/>
                  <a:moveTo>
                    <a:pt x="58961" y="15873"/>
                  </a:moveTo>
                  <a:cubicBezTo>
                    <a:pt x="59031" y="15873"/>
                    <a:pt x="58588" y="16499"/>
                    <a:pt x="57155" y="18318"/>
                  </a:cubicBezTo>
                  <a:cubicBezTo>
                    <a:pt x="54351" y="21881"/>
                    <a:pt x="51210" y="25221"/>
                    <a:pt x="48277" y="28679"/>
                  </a:cubicBezTo>
                  <a:cubicBezTo>
                    <a:pt x="43040" y="34855"/>
                    <a:pt x="38031" y="41192"/>
                    <a:pt x="32979" y="47517"/>
                  </a:cubicBezTo>
                  <a:cubicBezTo>
                    <a:pt x="28169" y="53539"/>
                    <a:pt x="22848" y="59134"/>
                    <a:pt x="18939" y="65821"/>
                  </a:cubicBezTo>
                  <a:cubicBezTo>
                    <a:pt x="18881" y="65922"/>
                    <a:pt x="18971" y="66034"/>
                    <a:pt x="19066" y="66043"/>
                  </a:cubicBezTo>
                  <a:cubicBezTo>
                    <a:pt x="18794" y="66431"/>
                    <a:pt x="18503" y="66584"/>
                    <a:pt x="18213" y="66584"/>
                  </a:cubicBezTo>
                  <a:cubicBezTo>
                    <a:pt x="17471" y="66584"/>
                    <a:pt x="16730" y="65580"/>
                    <a:pt x="16292" y="64934"/>
                  </a:cubicBezTo>
                  <a:lnTo>
                    <a:pt x="16292" y="64932"/>
                  </a:lnTo>
                  <a:cubicBezTo>
                    <a:pt x="17164" y="63808"/>
                    <a:pt x="18036" y="62683"/>
                    <a:pt x="18905" y="61557"/>
                  </a:cubicBezTo>
                  <a:cubicBezTo>
                    <a:pt x="19251" y="61202"/>
                    <a:pt x="19592" y="60846"/>
                    <a:pt x="19906" y="60491"/>
                  </a:cubicBezTo>
                  <a:cubicBezTo>
                    <a:pt x="23293" y="56657"/>
                    <a:pt x="26665" y="52844"/>
                    <a:pt x="29973" y="48958"/>
                  </a:cubicBezTo>
                  <a:lnTo>
                    <a:pt x="29973" y="48958"/>
                  </a:lnTo>
                  <a:lnTo>
                    <a:pt x="29223" y="49939"/>
                  </a:lnTo>
                  <a:cubicBezTo>
                    <a:pt x="28466" y="50930"/>
                    <a:pt x="27739" y="51943"/>
                    <a:pt x="27003" y="52950"/>
                  </a:cubicBezTo>
                  <a:cubicBezTo>
                    <a:pt x="27840" y="51975"/>
                    <a:pt x="28686" y="51005"/>
                    <a:pt x="29540" y="50037"/>
                  </a:cubicBezTo>
                  <a:cubicBezTo>
                    <a:pt x="31968" y="46868"/>
                    <a:pt x="34471" y="43755"/>
                    <a:pt x="36974" y="40640"/>
                  </a:cubicBezTo>
                  <a:lnTo>
                    <a:pt x="37073" y="40519"/>
                  </a:lnTo>
                  <a:cubicBezTo>
                    <a:pt x="39039" y="38224"/>
                    <a:pt x="41028" y="35946"/>
                    <a:pt x="43023" y="33674"/>
                  </a:cubicBezTo>
                  <a:lnTo>
                    <a:pt x="43023" y="33674"/>
                  </a:lnTo>
                  <a:cubicBezTo>
                    <a:pt x="41031" y="36059"/>
                    <a:pt x="39053" y="38452"/>
                    <a:pt x="37090" y="40857"/>
                  </a:cubicBezTo>
                  <a:cubicBezTo>
                    <a:pt x="34919" y="43516"/>
                    <a:pt x="32780" y="46204"/>
                    <a:pt x="30591" y="48848"/>
                  </a:cubicBezTo>
                  <a:cubicBezTo>
                    <a:pt x="32872" y="46264"/>
                    <a:pt x="35156" y="43689"/>
                    <a:pt x="37295" y="41062"/>
                  </a:cubicBezTo>
                  <a:cubicBezTo>
                    <a:pt x="42385" y="34809"/>
                    <a:pt x="47613" y="28671"/>
                    <a:pt x="52905" y="22588"/>
                  </a:cubicBezTo>
                  <a:cubicBezTo>
                    <a:pt x="54037" y="21286"/>
                    <a:pt x="55183" y="19998"/>
                    <a:pt x="56329" y="18711"/>
                  </a:cubicBezTo>
                  <a:cubicBezTo>
                    <a:pt x="56933" y="18033"/>
                    <a:pt x="58832" y="15873"/>
                    <a:pt x="58961" y="15873"/>
                  </a:cubicBezTo>
                  <a:close/>
                  <a:moveTo>
                    <a:pt x="10598" y="63243"/>
                  </a:moveTo>
                  <a:cubicBezTo>
                    <a:pt x="9668" y="64201"/>
                    <a:pt x="8787" y="65610"/>
                    <a:pt x="7974" y="66872"/>
                  </a:cubicBezTo>
                  <a:cubicBezTo>
                    <a:pt x="7862" y="66713"/>
                    <a:pt x="7761" y="66549"/>
                    <a:pt x="7672" y="66380"/>
                  </a:cubicBezTo>
                  <a:lnTo>
                    <a:pt x="7672" y="66380"/>
                  </a:lnTo>
                  <a:cubicBezTo>
                    <a:pt x="8634" y="65323"/>
                    <a:pt x="9602" y="64269"/>
                    <a:pt x="10598" y="63243"/>
                  </a:cubicBezTo>
                  <a:close/>
                  <a:moveTo>
                    <a:pt x="11047" y="63873"/>
                  </a:moveTo>
                  <a:lnTo>
                    <a:pt x="11047" y="63873"/>
                  </a:lnTo>
                  <a:cubicBezTo>
                    <a:pt x="11057" y="63873"/>
                    <a:pt x="10983" y="63989"/>
                    <a:pt x="10757" y="64311"/>
                  </a:cubicBezTo>
                  <a:cubicBezTo>
                    <a:pt x="10371" y="64859"/>
                    <a:pt x="9969" y="65393"/>
                    <a:pt x="9603" y="65956"/>
                  </a:cubicBezTo>
                  <a:cubicBezTo>
                    <a:pt x="9553" y="66032"/>
                    <a:pt x="9619" y="66098"/>
                    <a:pt x="9689" y="66098"/>
                  </a:cubicBezTo>
                  <a:cubicBezTo>
                    <a:pt x="9712" y="66098"/>
                    <a:pt x="9736" y="66091"/>
                    <a:pt x="9756" y="66075"/>
                  </a:cubicBezTo>
                  <a:cubicBezTo>
                    <a:pt x="9839" y="66011"/>
                    <a:pt x="9912" y="65942"/>
                    <a:pt x="9990" y="65876"/>
                  </a:cubicBezTo>
                  <a:lnTo>
                    <a:pt x="9990" y="65876"/>
                  </a:lnTo>
                  <a:cubicBezTo>
                    <a:pt x="9718" y="66196"/>
                    <a:pt x="9513" y="66618"/>
                    <a:pt x="9343" y="66886"/>
                  </a:cubicBezTo>
                  <a:lnTo>
                    <a:pt x="9343" y="66889"/>
                  </a:lnTo>
                  <a:cubicBezTo>
                    <a:pt x="9143" y="67234"/>
                    <a:pt x="8931" y="67404"/>
                    <a:pt x="8706" y="67404"/>
                  </a:cubicBezTo>
                  <a:cubicBezTo>
                    <a:pt x="8547" y="67404"/>
                    <a:pt x="8381" y="67319"/>
                    <a:pt x="8208" y="67149"/>
                  </a:cubicBezTo>
                  <a:cubicBezTo>
                    <a:pt x="9048" y="66387"/>
                    <a:pt x="9712" y="65468"/>
                    <a:pt x="10446" y="64605"/>
                  </a:cubicBezTo>
                  <a:cubicBezTo>
                    <a:pt x="10589" y="64436"/>
                    <a:pt x="11024" y="63873"/>
                    <a:pt x="11047" y="63873"/>
                  </a:cubicBezTo>
                  <a:close/>
                  <a:moveTo>
                    <a:pt x="51544" y="0"/>
                  </a:moveTo>
                  <a:cubicBezTo>
                    <a:pt x="51532" y="0"/>
                    <a:pt x="51520" y="1"/>
                    <a:pt x="51508" y="3"/>
                  </a:cubicBezTo>
                  <a:cubicBezTo>
                    <a:pt x="45670" y="863"/>
                    <a:pt x="40863" y="4740"/>
                    <a:pt x="38597" y="10125"/>
                  </a:cubicBezTo>
                  <a:cubicBezTo>
                    <a:pt x="37809" y="12001"/>
                    <a:pt x="37656" y="13439"/>
                    <a:pt x="37939" y="14675"/>
                  </a:cubicBezTo>
                  <a:cubicBezTo>
                    <a:pt x="37901" y="14724"/>
                    <a:pt x="37858" y="14770"/>
                    <a:pt x="37820" y="14819"/>
                  </a:cubicBezTo>
                  <a:cubicBezTo>
                    <a:pt x="37739" y="14922"/>
                    <a:pt x="37806" y="15060"/>
                    <a:pt x="37917" y="15060"/>
                  </a:cubicBezTo>
                  <a:cubicBezTo>
                    <a:pt x="37940" y="15060"/>
                    <a:pt x="37965" y="15055"/>
                    <a:pt x="37991" y="15041"/>
                  </a:cubicBezTo>
                  <a:cubicBezTo>
                    <a:pt x="38002" y="15035"/>
                    <a:pt x="38014" y="15030"/>
                    <a:pt x="38025" y="15024"/>
                  </a:cubicBezTo>
                  <a:cubicBezTo>
                    <a:pt x="38467" y="16459"/>
                    <a:pt x="39524" y="17634"/>
                    <a:pt x="40895" y="18927"/>
                  </a:cubicBezTo>
                  <a:cubicBezTo>
                    <a:pt x="40906" y="18996"/>
                    <a:pt x="40964" y="19048"/>
                    <a:pt x="41033" y="19057"/>
                  </a:cubicBezTo>
                  <a:cubicBezTo>
                    <a:pt x="41172" y="19187"/>
                    <a:pt x="41316" y="19320"/>
                    <a:pt x="41461" y="19453"/>
                  </a:cubicBezTo>
                  <a:lnTo>
                    <a:pt x="41443" y="19476"/>
                  </a:lnTo>
                  <a:cubicBezTo>
                    <a:pt x="41360" y="19588"/>
                    <a:pt x="41477" y="19713"/>
                    <a:pt x="41594" y="19713"/>
                  </a:cubicBezTo>
                  <a:cubicBezTo>
                    <a:pt x="41618" y="19713"/>
                    <a:pt x="41643" y="19708"/>
                    <a:pt x="41666" y="19695"/>
                  </a:cubicBezTo>
                  <a:lnTo>
                    <a:pt x="41700" y="19675"/>
                  </a:lnTo>
                  <a:cubicBezTo>
                    <a:pt x="42102" y="20041"/>
                    <a:pt x="42520" y="20423"/>
                    <a:pt x="42956" y="20830"/>
                  </a:cubicBezTo>
                  <a:cubicBezTo>
                    <a:pt x="42973" y="20846"/>
                    <a:pt x="42992" y="20853"/>
                    <a:pt x="43011" y="20853"/>
                  </a:cubicBezTo>
                  <a:cubicBezTo>
                    <a:pt x="43074" y="20853"/>
                    <a:pt x="43130" y="20772"/>
                    <a:pt x="43072" y="20711"/>
                  </a:cubicBezTo>
                  <a:cubicBezTo>
                    <a:pt x="42702" y="20333"/>
                    <a:pt x="42292" y="19958"/>
                    <a:pt x="41871" y="19574"/>
                  </a:cubicBezTo>
                  <a:cubicBezTo>
                    <a:pt x="42528" y="19185"/>
                    <a:pt x="43050" y="18782"/>
                    <a:pt x="43210" y="18782"/>
                  </a:cubicBezTo>
                  <a:cubicBezTo>
                    <a:pt x="43351" y="18782"/>
                    <a:pt x="43210" y="19097"/>
                    <a:pt x="42630" y="20013"/>
                  </a:cubicBezTo>
                  <a:cubicBezTo>
                    <a:pt x="42554" y="20134"/>
                    <a:pt x="42661" y="20248"/>
                    <a:pt x="42777" y="20248"/>
                  </a:cubicBezTo>
                  <a:cubicBezTo>
                    <a:pt x="42801" y="20248"/>
                    <a:pt x="42826" y="20243"/>
                    <a:pt x="42849" y="20232"/>
                  </a:cubicBezTo>
                  <a:cubicBezTo>
                    <a:pt x="43877" y="19756"/>
                    <a:pt x="44340" y="19479"/>
                    <a:pt x="44403" y="19479"/>
                  </a:cubicBezTo>
                  <a:cubicBezTo>
                    <a:pt x="44484" y="19479"/>
                    <a:pt x="43912" y="19931"/>
                    <a:pt x="43028" y="21003"/>
                  </a:cubicBezTo>
                  <a:cubicBezTo>
                    <a:pt x="42973" y="21069"/>
                    <a:pt x="43031" y="21156"/>
                    <a:pt x="43095" y="21156"/>
                  </a:cubicBezTo>
                  <a:cubicBezTo>
                    <a:pt x="43116" y="21156"/>
                    <a:pt x="43137" y="21148"/>
                    <a:pt x="43155" y="21127"/>
                  </a:cubicBezTo>
                  <a:cubicBezTo>
                    <a:pt x="43860" y="20356"/>
                    <a:pt x="44561" y="19582"/>
                    <a:pt x="45263" y="18809"/>
                  </a:cubicBezTo>
                  <a:cubicBezTo>
                    <a:pt x="45448" y="18910"/>
                    <a:pt x="45632" y="19014"/>
                    <a:pt x="45820" y="19103"/>
                  </a:cubicBezTo>
                  <a:cubicBezTo>
                    <a:pt x="42353" y="22085"/>
                    <a:pt x="39524" y="25740"/>
                    <a:pt x="36596" y="29274"/>
                  </a:cubicBezTo>
                  <a:cubicBezTo>
                    <a:pt x="37751" y="27952"/>
                    <a:pt x="38917" y="26641"/>
                    <a:pt x="40092" y="25339"/>
                  </a:cubicBezTo>
                  <a:lnTo>
                    <a:pt x="40092" y="25339"/>
                  </a:lnTo>
                  <a:cubicBezTo>
                    <a:pt x="39373" y="26162"/>
                    <a:pt x="38660" y="26988"/>
                    <a:pt x="37950" y="27819"/>
                  </a:cubicBezTo>
                  <a:cubicBezTo>
                    <a:pt x="34610" y="31722"/>
                    <a:pt x="31397" y="35738"/>
                    <a:pt x="28111" y="39685"/>
                  </a:cubicBezTo>
                  <a:cubicBezTo>
                    <a:pt x="24855" y="43594"/>
                    <a:pt x="21159" y="47075"/>
                    <a:pt x="17527" y="50609"/>
                  </a:cubicBezTo>
                  <a:cubicBezTo>
                    <a:pt x="20007" y="47996"/>
                    <a:pt x="22378" y="45239"/>
                    <a:pt x="24800" y="42621"/>
                  </a:cubicBezTo>
                  <a:cubicBezTo>
                    <a:pt x="27441" y="39760"/>
                    <a:pt x="30008" y="36821"/>
                    <a:pt x="32569" y="33876"/>
                  </a:cubicBezTo>
                  <a:lnTo>
                    <a:pt x="32569" y="33876"/>
                  </a:lnTo>
                  <a:cubicBezTo>
                    <a:pt x="28357" y="38507"/>
                    <a:pt x="24052" y="43054"/>
                    <a:pt x="19797" y="47638"/>
                  </a:cubicBezTo>
                  <a:cubicBezTo>
                    <a:pt x="17285" y="50343"/>
                    <a:pt x="14666" y="52875"/>
                    <a:pt x="12048" y="55433"/>
                  </a:cubicBezTo>
                  <a:cubicBezTo>
                    <a:pt x="12778" y="54587"/>
                    <a:pt x="13509" y="53736"/>
                    <a:pt x="14216" y="52858"/>
                  </a:cubicBezTo>
                  <a:cubicBezTo>
                    <a:pt x="18076" y="48715"/>
                    <a:pt x="21916" y="44552"/>
                    <a:pt x="25738" y="40372"/>
                  </a:cubicBezTo>
                  <a:cubicBezTo>
                    <a:pt x="27820" y="38085"/>
                    <a:pt x="29731" y="35657"/>
                    <a:pt x="31639" y="33226"/>
                  </a:cubicBezTo>
                  <a:cubicBezTo>
                    <a:pt x="32673" y="32170"/>
                    <a:pt x="33686" y="31096"/>
                    <a:pt x="34656" y="29999"/>
                  </a:cubicBezTo>
                  <a:cubicBezTo>
                    <a:pt x="36983" y="27657"/>
                    <a:pt x="39197" y="25250"/>
                    <a:pt x="41059" y="22648"/>
                  </a:cubicBezTo>
                  <a:cubicBezTo>
                    <a:pt x="41136" y="22543"/>
                    <a:pt x="41035" y="22440"/>
                    <a:pt x="40932" y="22440"/>
                  </a:cubicBezTo>
                  <a:cubicBezTo>
                    <a:pt x="40899" y="22440"/>
                    <a:pt x="40865" y="22451"/>
                    <a:pt x="40837" y="22475"/>
                  </a:cubicBezTo>
                  <a:cubicBezTo>
                    <a:pt x="40294" y="22952"/>
                    <a:pt x="39781" y="23457"/>
                    <a:pt x="39264" y="23959"/>
                  </a:cubicBezTo>
                  <a:cubicBezTo>
                    <a:pt x="39555" y="23491"/>
                    <a:pt x="39832" y="23021"/>
                    <a:pt x="40095" y="22545"/>
                  </a:cubicBezTo>
                  <a:cubicBezTo>
                    <a:pt x="40160" y="22428"/>
                    <a:pt x="40068" y="22324"/>
                    <a:pt x="39964" y="22324"/>
                  </a:cubicBezTo>
                  <a:cubicBezTo>
                    <a:pt x="39929" y="22324"/>
                    <a:pt x="39893" y="22336"/>
                    <a:pt x="39861" y="22363"/>
                  </a:cubicBezTo>
                  <a:cubicBezTo>
                    <a:pt x="39134" y="22969"/>
                    <a:pt x="38427" y="23590"/>
                    <a:pt x="37725" y="24225"/>
                  </a:cubicBezTo>
                  <a:cubicBezTo>
                    <a:pt x="38256" y="23604"/>
                    <a:pt x="38802" y="22992"/>
                    <a:pt x="39324" y="22366"/>
                  </a:cubicBezTo>
                  <a:cubicBezTo>
                    <a:pt x="39422" y="22248"/>
                    <a:pt x="39327" y="22098"/>
                    <a:pt x="39209" y="22098"/>
                  </a:cubicBezTo>
                  <a:cubicBezTo>
                    <a:pt x="39174" y="22098"/>
                    <a:pt x="39137" y="22111"/>
                    <a:pt x="39102" y="22143"/>
                  </a:cubicBezTo>
                  <a:cubicBezTo>
                    <a:pt x="37711" y="23437"/>
                    <a:pt x="36319" y="24727"/>
                    <a:pt x="34925" y="26015"/>
                  </a:cubicBezTo>
                  <a:cubicBezTo>
                    <a:pt x="36097" y="24793"/>
                    <a:pt x="37266" y="23567"/>
                    <a:pt x="38461" y="22363"/>
                  </a:cubicBezTo>
                  <a:cubicBezTo>
                    <a:pt x="38568" y="22253"/>
                    <a:pt x="38464" y="22101"/>
                    <a:pt x="38346" y="22101"/>
                  </a:cubicBezTo>
                  <a:cubicBezTo>
                    <a:pt x="38312" y="22101"/>
                    <a:pt x="38276" y="22115"/>
                    <a:pt x="38245" y="22146"/>
                  </a:cubicBezTo>
                  <a:cubicBezTo>
                    <a:pt x="36354" y="24043"/>
                    <a:pt x="34489" y="25969"/>
                    <a:pt x="32653" y="27920"/>
                  </a:cubicBezTo>
                  <a:cubicBezTo>
                    <a:pt x="34359" y="26012"/>
                    <a:pt x="36053" y="24095"/>
                    <a:pt x="37705" y="22146"/>
                  </a:cubicBezTo>
                  <a:cubicBezTo>
                    <a:pt x="37802" y="22044"/>
                    <a:pt x="37725" y="21881"/>
                    <a:pt x="37595" y="21881"/>
                  </a:cubicBezTo>
                  <a:cubicBezTo>
                    <a:pt x="37582" y="21881"/>
                    <a:pt x="37568" y="21883"/>
                    <a:pt x="37555" y="21886"/>
                  </a:cubicBezTo>
                  <a:cubicBezTo>
                    <a:pt x="37146" y="21974"/>
                    <a:pt x="36679" y="22165"/>
                    <a:pt x="36457" y="22165"/>
                  </a:cubicBezTo>
                  <a:cubicBezTo>
                    <a:pt x="36285" y="22165"/>
                    <a:pt x="36261" y="22051"/>
                    <a:pt x="36524" y="21687"/>
                  </a:cubicBezTo>
                  <a:cubicBezTo>
                    <a:pt x="36582" y="21684"/>
                    <a:pt x="36642" y="21683"/>
                    <a:pt x="36703" y="21683"/>
                  </a:cubicBezTo>
                  <a:cubicBezTo>
                    <a:pt x="37627" y="21683"/>
                    <a:pt x="38824" y="22014"/>
                    <a:pt x="39734" y="22163"/>
                  </a:cubicBezTo>
                  <a:cubicBezTo>
                    <a:pt x="40128" y="22228"/>
                    <a:pt x="40556" y="22279"/>
                    <a:pt x="40983" y="22279"/>
                  </a:cubicBezTo>
                  <a:cubicBezTo>
                    <a:pt x="41775" y="22279"/>
                    <a:pt x="42562" y="22105"/>
                    <a:pt x="43109" y="21525"/>
                  </a:cubicBezTo>
                  <a:cubicBezTo>
                    <a:pt x="43199" y="21431"/>
                    <a:pt x="43118" y="21295"/>
                    <a:pt x="43012" y="21295"/>
                  </a:cubicBezTo>
                  <a:cubicBezTo>
                    <a:pt x="42991" y="21295"/>
                    <a:pt x="42969" y="21300"/>
                    <a:pt x="42948" y="21312"/>
                  </a:cubicBezTo>
                  <a:cubicBezTo>
                    <a:pt x="42221" y="21715"/>
                    <a:pt x="41484" y="21855"/>
                    <a:pt x="40740" y="21855"/>
                  </a:cubicBezTo>
                  <a:cubicBezTo>
                    <a:pt x="39417" y="21855"/>
                    <a:pt x="38071" y="21412"/>
                    <a:pt x="36715" y="21216"/>
                  </a:cubicBezTo>
                  <a:cubicBezTo>
                    <a:pt x="36524" y="21189"/>
                    <a:pt x="36333" y="21171"/>
                    <a:pt x="36148" y="21171"/>
                  </a:cubicBezTo>
                  <a:cubicBezTo>
                    <a:pt x="35552" y="21171"/>
                    <a:pt x="35022" y="21357"/>
                    <a:pt x="34795" y="22005"/>
                  </a:cubicBezTo>
                  <a:cubicBezTo>
                    <a:pt x="34694" y="22288"/>
                    <a:pt x="34873" y="23572"/>
                    <a:pt x="34881" y="23578"/>
                  </a:cubicBezTo>
                  <a:cubicBezTo>
                    <a:pt x="34411" y="23308"/>
                    <a:pt x="33916" y="23209"/>
                    <a:pt x="33407" y="23209"/>
                  </a:cubicBezTo>
                  <a:cubicBezTo>
                    <a:pt x="33197" y="23209"/>
                    <a:pt x="32985" y="23226"/>
                    <a:pt x="32771" y="23255"/>
                  </a:cubicBezTo>
                  <a:cubicBezTo>
                    <a:pt x="30943" y="23503"/>
                    <a:pt x="30984" y="25859"/>
                    <a:pt x="31319" y="27149"/>
                  </a:cubicBezTo>
                  <a:cubicBezTo>
                    <a:pt x="31330" y="27194"/>
                    <a:pt x="31363" y="27213"/>
                    <a:pt x="31396" y="27213"/>
                  </a:cubicBezTo>
                  <a:cubicBezTo>
                    <a:pt x="31447" y="27213"/>
                    <a:pt x="31501" y="27169"/>
                    <a:pt x="31489" y="27103"/>
                  </a:cubicBezTo>
                  <a:cubicBezTo>
                    <a:pt x="31313" y="26156"/>
                    <a:pt x="31426" y="25348"/>
                    <a:pt x="31746" y="24753"/>
                  </a:cubicBezTo>
                  <a:cubicBezTo>
                    <a:pt x="31761" y="24823"/>
                    <a:pt x="31819" y="24884"/>
                    <a:pt x="31890" y="24884"/>
                  </a:cubicBezTo>
                  <a:cubicBezTo>
                    <a:pt x="31913" y="24884"/>
                    <a:pt x="31938" y="24878"/>
                    <a:pt x="31963" y="24863"/>
                  </a:cubicBezTo>
                  <a:cubicBezTo>
                    <a:pt x="32381" y="24606"/>
                    <a:pt x="32607" y="24503"/>
                    <a:pt x="32702" y="24503"/>
                  </a:cubicBezTo>
                  <a:cubicBezTo>
                    <a:pt x="33011" y="24503"/>
                    <a:pt x="31969" y="25574"/>
                    <a:pt x="31636" y="26049"/>
                  </a:cubicBezTo>
                  <a:cubicBezTo>
                    <a:pt x="31561" y="26157"/>
                    <a:pt x="31667" y="26296"/>
                    <a:pt x="31781" y="26296"/>
                  </a:cubicBezTo>
                  <a:cubicBezTo>
                    <a:pt x="31807" y="26296"/>
                    <a:pt x="31834" y="26288"/>
                    <a:pt x="31859" y="26272"/>
                  </a:cubicBezTo>
                  <a:cubicBezTo>
                    <a:pt x="31884" y="26253"/>
                    <a:pt x="32747" y="25579"/>
                    <a:pt x="32959" y="25579"/>
                  </a:cubicBezTo>
                  <a:cubicBezTo>
                    <a:pt x="33084" y="25579"/>
                    <a:pt x="32982" y="25814"/>
                    <a:pt x="32346" y="26557"/>
                  </a:cubicBezTo>
                  <a:cubicBezTo>
                    <a:pt x="30897" y="28252"/>
                    <a:pt x="29234" y="29788"/>
                    <a:pt x="27649" y="31359"/>
                  </a:cubicBezTo>
                  <a:cubicBezTo>
                    <a:pt x="24835" y="34147"/>
                    <a:pt x="22262" y="37164"/>
                    <a:pt x="19710" y="40193"/>
                  </a:cubicBezTo>
                  <a:cubicBezTo>
                    <a:pt x="14493" y="46397"/>
                    <a:pt x="9611" y="52872"/>
                    <a:pt x="4470" y="59134"/>
                  </a:cubicBezTo>
                  <a:cubicBezTo>
                    <a:pt x="4369" y="59259"/>
                    <a:pt x="4276" y="59374"/>
                    <a:pt x="4190" y="59484"/>
                  </a:cubicBezTo>
                  <a:cubicBezTo>
                    <a:pt x="4250" y="59394"/>
                    <a:pt x="4314" y="59308"/>
                    <a:pt x="4386" y="59207"/>
                  </a:cubicBezTo>
                  <a:cubicBezTo>
                    <a:pt x="5991" y="56911"/>
                    <a:pt x="7801" y="54761"/>
                    <a:pt x="9582" y="52598"/>
                  </a:cubicBezTo>
                  <a:cubicBezTo>
                    <a:pt x="11751" y="49965"/>
                    <a:pt x="13896" y="47318"/>
                    <a:pt x="15977" y="44610"/>
                  </a:cubicBezTo>
                  <a:cubicBezTo>
                    <a:pt x="20553" y="38660"/>
                    <a:pt x="25877" y="33186"/>
                    <a:pt x="30086" y="26967"/>
                  </a:cubicBezTo>
                  <a:cubicBezTo>
                    <a:pt x="30164" y="26852"/>
                    <a:pt x="30051" y="26724"/>
                    <a:pt x="29938" y="26724"/>
                  </a:cubicBezTo>
                  <a:cubicBezTo>
                    <a:pt x="29900" y="26724"/>
                    <a:pt x="29863" y="26738"/>
                    <a:pt x="29832" y="26771"/>
                  </a:cubicBezTo>
                  <a:cubicBezTo>
                    <a:pt x="25395" y="31431"/>
                    <a:pt x="21338" y="36630"/>
                    <a:pt x="17297" y="41700"/>
                  </a:cubicBezTo>
                  <a:cubicBezTo>
                    <a:pt x="21177" y="36382"/>
                    <a:pt x="25602" y="31509"/>
                    <a:pt x="29330" y="26104"/>
                  </a:cubicBezTo>
                  <a:cubicBezTo>
                    <a:pt x="29405" y="25994"/>
                    <a:pt x="29290" y="25861"/>
                    <a:pt x="29179" y="25861"/>
                  </a:cubicBezTo>
                  <a:cubicBezTo>
                    <a:pt x="29143" y="25861"/>
                    <a:pt x="29107" y="25875"/>
                    <a:pt x="29078" y="25911"/>
                  </a:cubicBezTo>
                  <a:cubicBezTo>
                    <a:pt x="24803" y="31356"/>
                    <a:pt x="20490" y="36725"/>
                    <a:pt x="16003" y="41983"/>
                  </a:cubicBezTo>
                  <a:cubicBezTo>
                    <a:pt x="16029" y="41945"/>
                    <a:pt x="16058" y="41908"/>
                    <a:pt x="16084" y="41870"/>
                  </a:cubicBezTo>
                  <a:cubicBezTo>
                    <a:pt x="18498" y="38515"/>
                    <a:pt x="20732" y="35063"/>
                    <a:pt x="23564" y="32040"/>
                  </a:cubicBezTo>
                  <a:cubicBezTo>
                    <a:pt x="25487" y="29993"/>
                    <a:pt x="27326" y="28056"/>
                    <a:pt x="28371" y="25420"/>
                  </a:cubicBezTo>
                  <a:cubicBezTo>
                    <a:pt x="28413" y="25316"/>
                    <a:pt x="28310" y="25220"/>
                    <a:pt x="28212" y="25220"/>
                  </a:cubicBezTo>
                  <a:cubicBezTo>
                    <a:pt x="28175" y="25220"/>
                    <a:pt x="28138" y="25234"/>
                    <a:pt x="28111" y="25267"/>
                  </a:cubicBezTo>
                  <a:cubicBezTo>
                    <a:pt x="23368" y="30960"/>
                    <a:pt x="18379" y="36532"/>
                    <a:pt x="13870" y="42407"/>
                  </a:cubicBezTo>
                  <a:cubicBezTo>
                    <a:pt x="11150" y="45955"/>
                    <a:pt x="8595" y="49648"/>
                    <a:pt x="5702" y="53057"/>
                  </a:cubicBezTo>
                  <a:cubicBezTo>
                    <a:pt x="3632" y="55503"/>
                    <a:pt x="1603" y="57769"/>
                    <a:pt x="32" y="60581"/>
                  </a:cubicBezTo>
                  <a:cubicBezTo>
                    <a:pt x="0" y="60637"/>
                    <a:pt x="48" y="60687"/>
                    <a:pt x="96" y="60687"/>
                  </a:cubicBezTo>
                  <a:cubicBezTo>
                    <a:pt x="118" y="60687"/>
                    <a:pt x="139" y="60677"/>
                    <a:pt x="153" y="60653"/>
                  </a:cubicBezTo>
                  <a:cubicBezTo>
                    <a:pt x="2579" y="56579"/>
                    <a:pt x="6060" y="53280"/>
                    <a:pt x="8918" y="49515"/>
                  </a:cubicBezTo>
                  <a:cubicBezTo>
                    <a:pt x="12749" y="44471"/>
                    <a:pt x="16644" y="39540"/>
                    <a:pt x="20726" y="34699"/>
                  </a:cubicBezTo>
                  <a:cubicBezTo>
                    <a:pt x="22187" y="32967"/>
                    <a:pt x="23625" y="31211"/>
                    <a:pt x="25063" y="29465"/>
                  </a:cubicBezTo>
                  <a:cubicBezTo>
                    <a:pt x="25790" y="28584"/>
                    <a:pt x="26515" y="27701"/>
                    <a:pt x="27239" y="26817"/>
                  </a:cubicBezTo>
                  <a:lnTo>
                    <a:pt x="27239" y="26817"/>
                  </a:lnTo>
                  <a:cubicBezTo>
                    <a:pt x="26281" y="27987"/>
                    <a:pt x="25438" y="29557"/>
                    <a:pt x="24344" y="30761"/>
                  </a:cubicBezTo>
                  <a:cubicBezTo>
                    <a:pt x="21185" y="34246"/>
                    <a:pt x="18547" y="37875"/>
                    <a:pt x="15818" y="41714"/>
                  </a:cubicBezTo>
                  <a:cubicBezTo>
                    <a:pt x="15001" y="42863"/>
                    <a:pt x="14167" y="43995"/>
                    <a:pt x="13312" y="45115"/>
                  </a:cubicBezTo>
                  <a:cubicBezTo>
                    <a:pt x="10717" y="48074"/>
                    <a:pt x="8127" y="51039"/>
                    <a:pt x="5584" y="54039"/>
                  </a:cubicBezTo>
                  <a:cubicBezTo>
                    <a:pt x="3999" y="55910"/>
                    <a:pt x="1764" y="58052"/>
                    <a:pt x="1132" y="60471"/>
                  </a:cubicBezTo>
                  <a:cubicBezTo>
                    <a:pt x="1107" y="60569"/>
                    <a:pt x="1198" y="60666"/>
                    <a:pt x="1289" y="60666"/>
                  </a:cubicBezTo>
                  <a:cubicBezTo>
                    <a:pt x="1324" y="60666"/>
                    <a:pt x="1358" y="60652"/>
                    <a:pt x="1386" y="60618"/>
                  </a:cubicBezTo>
                  <a:cubicBezTo>
                    <a:pt x="5376" y="55710"/>
                    <a:pt x="9392" y="50800"/>
                    <a:pt x="13209" y="45750"/>
                  </a:cubicBezTo>
                  <a:cubicBezTo>
                    <a:pt x="14970" y="43732"/>
                    <a:pt x="16719" y="41708"/>
                    <a:pt x="18457" y="39673"/>
                  </a:cubicBezTo>
                  <a:lnTo>
                    <a:pt x="18457" y="39673"/>
                  </a:lnTo>
                  <a:cubicBezTo>
                    <a:pt x="16762" y="41937"/>
                    <a:pt x="15079" y="44209"/>
                    <a:pt x="13385" y="46472"/>
                  </a:cubicBezTo>
                  <a:cubicBezTo>
                    <a:pt x="9383" y="51091"/>
                    <a:pt x="4891" y="55578"/>
                    <a:pt x="2114" y="60973"/>
                  </a:cubicBezTo>
                  <a:cubicBezTo>
                    <a:pt x="2050" y="61098"/>
                    <a:pt x="2145" y="61199"/>
                    <a:pt x="2249" y="61199"/>
                  </a:cubicBezTo>
                  <a:cubicBezTo>
                    <a:pt x="2296" y="61199"/>
                    <a:pt x="2345" y="61178"/>
                    <a:pt x="2382" y="61129"/>
                  </a:cubicBezTo>
                  <a:cubicBezTo>
                    <a:pt x="3332" y="59882"/>
                    <a:pt x="4299" y="58647"/>
                    <a:pt x="5269" y="57417"/>
                  </a:cubicBezTo>
                  <a:lnTo>
                    <a:pt x="5269" y="57417"/>
                  </a:lnTo>
                  <a:cubicBezTo>
                    <a:pt x="4276" y="58805"/>
                    <a:pt x="3300" y="60203"/>
                    <a:pt x="2368" y="61614"/>
                  </a:cubicBezTo>
                  <a:cubicBezTo>
                    <a:pt x="2249" y="61378"/>
                    <a:pt x="2076" y="61178"/>
                    <a:pt x="1860" y="61031"/>
                  </a:cubicBezTo>
                  <a:cubicBezTo>
                    <a:pt x="1850" y="61025"/>
                    <a:pt x="1839" y="61022"/>
                    <a:pt x="1830" y="61022"/>
                  </a:cubicBezTo>
                  <a:cubicBezTo>
                    <a:pt x="1783" y="61022"/>
                    <a:pt x="1747" y="61085"/>
                    <a:pt x="1788" y="61124"/>
                  </a:cubicBezTo>
                  <a:cubicBezTo>
                    <a:pt x="1993" y="61323"/>
                    <a:pt x="2120" y="61585"/>
                    <a:pt x="2209" y="61883"/>
                  </a:cubicBezTo>
                  <a:cubicBezTo>
                    <a:pt x="2197" y="61929"/>
                    <a:pt x="2212" y="61975"/>
                    <a:pt x="2241" y="62010"/>
                  </a:cubicBezTo>
                  <a:cubicBezTo>
                    <a:pt x="2553" y="63217"/>
                    <a:pt x="2316" y="64866"/>
                    <a:pt x="3836" y="64866"/>
                  </a:cubicBezTo>
                  <a:cubicBezTo>
                    <a:pt x="3890" y="64866"/>
                    <a:pt x="3946" y="64864"/>
                    <a:pt x="4005" y="64859"/>
                  </a:cubicBezTo>
                  <a:cubicBezTo>
                    <a:pt x="5312" y="64767"/>
                    <a:pt x="4321" y="61950"/>
                    <a:pt x="5736" y="61950"/>
                  </a:cubicBezTo>
                  <a:cubicBezTo>
                    <a:pt x="5827" y="61950"/>
                    <a:pt x="5928" y="61962"/>
                    <a:pt x="6040" y="61987"/>
                  </a:cubicBezTo>
                  <a:cubicBezTo>
                    <a:pt x="6649" y="62120"/>
                    <a:pt x="7036" y="62339"/>
                    <a:pt x="7290" y="62607"/>
                  </a:cubicBezTo>
                  <a:cubicBezTo>
                    <a:pt x="7235" y="62715"/>
                    <a:pt x="7323" y="62801"/>
                    <a:pt x="7421" y="62801"/>
                  </a:cubicBezTo>
                  <a:cubicBezTo>
                    <a:pt x="7431" y="62801"/>
                    <a:pt x="7442" y="62800"/>
                    <a:pt x="7452" y="62798"/>
                  </a:cubicBezTo>
                  <a:lnTo>
                    <a:pt x="7452" y="62798"/>
                  </a:lnTo>
                  <a:cubicBezTo>
                    <a:pt x="8390" y="64230"/>
                    <a:pt x="6167" y="66822"/>
                    <a:pt x="7879" y="67576"/>
                  </a:cubicBezTo>
                  <a:cubicBezTo>
                    <a:pt x="8108" y="67677"/>
                    <a:pt x="8309" y="67721"/>
                    <a:pt x="8488" y="67721"/>
                  </a:cubicBezTo>
                  <a:cubicBezTo>
                    <a:pt x="9668" y="67721"/>
                    <a:pt x="9904" y="65812"/>
                    <a:pt x="11065" y="65812"/>
                  </a:cubicBezTo>
                  <a:cubicBezTo>
                    <a:pt x="11282" y="65812"/>
                    <a:pt x="11532" y="65879"/>
                    <a:pt x="11826" y="66037"/>
                  </a:cubicBezTo>
                  <a:cubicBezTo>
                    <a:pt x="11850" y="66051"/>
                    <a:pt x="11877" y="66057"/>
                    <a:pt x="11902" y="66057"/>
                  </a:cubicBezTo>
                  <a:cubicBezTo>
                    <a:pt x="11970" y="66057"/>
                    <a:pt x="12034" y="66014"/>
                    <a:pt x="12057" y="65945"/>
                  </a:cubicBezTo>
                  <a:cubicBezTo>
                    <a:pt x="12657" y="64366"/>
                    <a:pt x="11572" y="63381"/>
                    <a:pt x="10659" y="62296"/>
                  </a:cubicBezTo>
                  <a:cubicBezTo>
                    <a:pt x="10698" y="62199"/>
                    <a:pt x="10632" y="62106"/>
                    <a:pt x="10544" y="62106"/>
                  </a:cubicBezTo>
                  <a:cubicBezTo>
                    <a:pt x="10533" y="62106"/>
                    <a:pt x="10521" y="62108"/>
                    <a:pt x="10509" y="62111"/>
                  </a:cubicBezTo>
                  <a:cubicBezTo>
                    <a:pt x="10371" y="61941"/>
                    <a:pt x="10238" y="61762"/>
                    <a:pt x="10117" y="61574"/>
                  </a:cubicBezTo>
                  <a:lnTo>
                    <a:pt x="10134" y="61548"/>
                  </a:lnTo>
                  <a:cubicBezTo>
                    <a:pt x="10310" y="61406"/>
                    <a:pt x="10460" y="61253"/>
                    <a:pt x="10625" y="61106"/>
                  </a:cubicBezTo>
                  <a:cubicBezTo>
                    <a:pt x="10827" y="61297"/>
                    <a:pt x="11014" y="61499"/>
                    <a:pt x="11182" y="61718"/>
                  </a:cubicBezTo>
                  <a:cubicBezTo>
                    <a:pt x="11110" y="61834"/>
                    <a:pt x="11032" y="61941"/>
                    <a:pt x="10962" y="62059"/>
                  </a:cubicBezTo>
                  <a:cubicBezTo>
                    <a:pt x="10898" y="62167"/>
                    <a:pt x="10990" y="62270"/>
                    <a:pt x="11089" y="62270"/>
                  </a:cubicBezTo>
                  <a:cubicBezTo>
                    <a:pt x="11122" y="62270"/>
                    <a:pt x="11156" y="62259"/>
                    <a:pt x="11185" y="62232"/>
                  </a:cubicBezTo>
                  <a:cubicBezTo>
                    <a:pt x="11231" y="62189"/>
                    <a:pt x="11274" y="62148"/>
                    <a:pt x="11318" y="62105"/>
                  </a:cubicBezTo>
                  <a:lnTo>
                    <a:pt x="11318" y="62105"/>
                  </a:lnTo>
                  <a:cubicBezTo>
                    <a:pt x="11283" y="62212"/>
                    <a:pt x="11242" y="62313"/>
                    <a:pt x="11214" y="62428"/>
                  </a:cubicBezTo>
                  <a:cubicBezTo>
                    <a:pt x="11196" y="62498"/>
                    <a:pt x="11252" y="62542"/>
                    <a:pt x="11305" y="62542"/>
                  </a:cubicBezTo>
                  <a:cubicBezTo>
                    <a:pt x="11341" y="62542"/>
                    <a:pt x="11375" y="62523"/>
                    <a:pt x="11387" y="62478"/>
                  </a:cubicBezTo>
                  <a:cubicBezTo>
                    <a:pt x="11416" y="62374"/>
                    <a:pt x="11471" y="62275"/>
                    <a:pt x="11508" y="62174"/>
                  </a:cubicBezTo>
                  <a:cubicBezTo>
                    <a:pt x="12360" y="63442"/>
                    <a:pt x="12978" y="65053"/>
                    <a:pt x="13708" y="66055"/>
                  </a:cubicBezTo>
                  <a:cubicBezTo>
                    <a:pt x="13961" y="66400"/>
                    <a:pt x="14296" y="66615"/>
                    <a:pt x="14622" y="66615"/>
                  </a:cubicBezTo>
                  <a:cubicBezTo>
                    <a:pt x="14899" y="66615"/>
                    <a:pt x="15168" y="66460"/>
                    <a:pt x="15374" y="66095"/>
                  </a:cubicBezTo>
                  <a:cubicBezTo>
                    <a:pt x="15446" y="65968"/>
                    <a:pt x="15524" y="65844"/>
                    <a:pt x="15611" y="65725"/>
                  </a:cubicBezTo>
                  <a:cubicBezTo>
                    <a:pt x="15614" y="65726"/>
                    <a:pt x="15617" y="65726"/>
                    <a:pt x="15621" y="65726"/>
                  </a:cubicBezTo>
                  <a:cubicBezTo>
                    <a:pt x="15657" y="65726"/>
                    <a:pt x="15691" y="65711"/>
                    <a:pt x="15714" y="65682"/>
                  </a:cubicBezTo>
                  <a:lnTo>
                    <a:pt x="15908" y="65428"/>
                  </a:lnTo>
                  <a:cubicBezTo>
                    <a:pt x="15981" y="65381"/>
                    <a:pt x="16050" y="65360"/>
                    <a:pt x="16115" y="65360"/>
                  </a:cubicBezTo>
                  <a:cubicBezTo>
                    <a:pt x="16759" y="65360"/>
                    <a:pt x="17034" y="67467"/>
                    <a:pt x="18012" y="67467"/>
                  </a:cubicBezTo>
                  <a:cubicBezTo>
                    <a:pt x="18155" y="67467"/>
                    <a:pt x="18313" y="67422"/>
                    <a:pt x="18489" y="67319"/>
                  </a:cubicBezTo>
                  <a:cubicBezTo>
                    <a:pt x="18849" y="67108"/>
                    <a:pt x="19112" y="67024"/>
                    <a:pt x="19330" y="67024"/>
                  </a:cubicBezTo>
                  <a:cubicBezTo>
                    <a:pt x="19846" y="67024"/>
                    <a:pt x="20115" y="67494"/>
                    <a:pt x="20839" y="67894"/>
                  </a:cubicBezTo>
                  <a:cubicBezTo>
                    <a:pt x="22098" y="68589"/>
                    <a:pt x="26073" y="68647"/>
                    <a:pt x="24500" y="71531"/>
                  </a:cubicBezTo>
                  <a:cubicBezTo>
                    <a:pt x="24444" y="71635"/>
                    <a:pt x="24527" y="71724"/>
                    <a:pt x="24615" y="71724"/>
                  </a:cubicBezTo>
                  <a:cubicBezTo>
                    <a:pt x="24654" y="71724"/>
                    <a:pt x="24693" y="71706"/>
                    <a:pt x="24722" y="71664"/>
                  </a:cubicBezTo>
                  <a:cubicBezTo>
                    <a:pt x="25660" y="70281"/>
                    <a:pt x="25091" y="69161"/>
                    <a:pt x="23931" y="68113"/>
                  </a:cubicBezTo>
                  <a:cubicBezTo>
                    <a:pt x="23807" y="68001"/>
                    <a:pt x="23607" y="67923"/>
                    <a:pt x="23429" y="67923"/>
                  </a:cubicBezTo>
                  <a:cubicBezTo>
                    <a:pt x="23391" y="67923"/>
                    <a:pt x="23354" y="67926"/>
                    <a:pt x="23319" y="67934"/>
                  </a:cubicBezTo>
                  <a:cubicBezTo>
                    <a:pt x="23073" y="67985"/>
                    <a:pt x="22844" y="68009"/>
                    <a:pt x="22631" y="68009"/>
                  </a:cubicBezTo>
                  <a:cubicBezTo>
                    <a:pt x="21191" y="68009"/>
                    <a:pt x="20434" y="66922"/>
                    <a:pt x="19470" y="65783"/>
                  </a:cubicBezTo>
                  <a:cubicBezTo>
                    <a:pt x="19447" y="65762"/>
                    <a:pt x="19417" y="65751"/>
                    <a:pt x="19384" y="65751"/>
                  </a:cubicBezTo>
                  <a:cubicBezTo>
                    <a:pt x="19380" y="65751"/>
                    <a:pt x="19376" y="65751"/>
                    <a:pt x="19372" y="65751"/>
                  </a:cubicBezTo>
                  <a:cubicBezTo>
                    <a:pt x="26948" y="56597"/>
                    <a:pt x="34382" y="47324"/>
                    <a:pt x="41960" y="38172"/>
                  </a:cubicBezTo>
                  <a:cubicBezTo>
                    <a:pt x="49308" y="29303"/>
                    <a:pt x="57117" y="20659"/>
                    <a:pt x="64130" y="11551"/>
                  </a:cubicBezTo>
                  <a:cubicBezTo>
                    <a:pt x="64205" y="11452"/>
                    <a:pt x="64101" y="11322"/>
                    <a:pt x="63996" y="11322"/>
                  </a:cubicBezTo>
                  <a:cubicBezTo>
                    <a:pt x="63973" y="11322"/>
                    <a:pt x="63949" y="11328"/>
                    <a:pt x="63927" y="11343"/>
                  </a:cubicBezTo>
                  <a:cubicBezTo>
                    <a:pt x="63696" y="11504"/>
                    <a:pt x="61783" y="13157"/>
                    <a:pt x="61682" y="13157"/>
                  </a:cubicBezTo>
                  <a:cubicBezTo>
                    <a:pt x="61647" y="13157"/>
                    <a:pt x="61830" y="12958"/>
                    <a:pt x="62377" y="12428"/>
                  </a:cubicBezTo>
                  <a:cubicBezTo>
                    <a:pt x="62474" y="12336"/>
                    <a:pt x="62380" y="12201"/>
                    <a:pt x="62275" y="12201"/>
                  </a:cubicBezTo>
                  <a:cubicBezTo>
                    <a:pt x="62245" y="12201"/>
                    <a:pt x="62214" y="12212"/>
                    <a:pt x="62187" y="12238"/>
                  </a:cubicBezTo>
                  <a:cubicBezTo>
                    <a:pt x="61664" y="12688"/>
                    <a:pt x="61191" y="13194"/>
                    <a:pt x="60781" y="13745"/>
                  </a:cubicBezTo>
                  <a:cubicBezTo>
                    <a:pt x="60703" y="13837"/>
                    <a:pt x="60773" y="13991"/>
                    <a:pt x="60876" y="13991"/>
                  </a:cubicBezTo>
                  <a:cubicBezTo>
                    <a:pt x="60900" y="13991"/>
                    <a:pt x="60925" y="13983"/>
                    <a:pt x="60951" y="13964"/>
                  </a:cubicBezTo>
                  <a:cubicBezTo>
                    <a:pt x="61309" y="13713"/>
                    <a:pt x="61661" y="13453"/>
                    <a:pt x="62005" y="13185"/>
                  </a:cubicBezTo>
                  <a:cubicBezTo>
                    <a:pt x="62545" y="12728"/>
                    <a:pt x="62796" y="12548"/>
                    <a:pt x="62858" y="12548"/>
                  </a:cubicBezTo>
                  <a:cubicBezTo>
                    <a:pt x="63082" y="12548"/>
                    <a:pt x="60778" y="14941"/>
                    <a:pt x="60714" y="15009"/>
                  </a:cubicBezTo>
                  <a:cubicBezTo>
                    <a:pt x="60630" y="15096"/>
                    <a:pt x="60561" y="15177"/>
                    <a:pt x="60483" y="15258"/>
                  </a:cubicBezTo>
                  <a:cubicBezTo>
                    <a:pt x="60483" y="15255"/>
                    <a:pt x="60486" y="15252"/>
                    <a:pt x="60483" y="15249"/>
                  </a:cubicBezTo>
                  <a:cubicBezTo>
                    <a:pt x="60096" y="14183"/>
                    <a:pt x="59382" y="13162"/>
                    <a:pt x="58298" y="13162"/>
                  </a:cubicBezTo>
                  <a:cubicBezTo>
                    <a:pt x="58032" y="13162"/>
                    <a:pt x="57743" y="13223"/>
                    <a:pt x="57432" y="13361"/>
                  </a:cubicBezTo>
                  <a:cubicBezTo>
                    <a:pt x="56987" y="13560"/>
                    <a:pt x="56566" y="13800"/>
                    <a:pt x="56167" y="14080"/>
                  </a:cubicBezTo>
                  <a:cubicBezTo>
                    <a:pt x="55841" y="14306"/>
                    <a:pt x="55550" y="14758"/>
                    <a:pt x="55340" y="14758"/>
                  </a:cubicBezTo>
                  <a:cubicBezTo>
                    <a:pt x="55210" y="14758"/>
                    <a:pt x="55110" y="14584"/>
                    <a:pt x="55053" y="14074"/>
                  </a:cubicBezTo>
                  <a:cubicBezTo>
                    <a:pt x="54943" y="13113"/>
                    <a:pt x="54929" y="12232"/>
                    <a:pt x="54735" y="11349"/>
                  </a:cubicBezTo>
                  <a:cubicBezTo>
                    <a:pt x="54810" y="11274"/>
                    <a:pt x="54767" y="11187"/>
                    <a:pt x="54692" y="11147"/>
                  </a:cubicBezTo>
                  <a:cubicBezTo>
                    <a:pt x="54608" y="10809"/>
                    <a:pt x="54493" y="10477"/>
                    <a:pt x="54348" y="10162"/>
                  </a:cubicBezTo>
                  <a:cubicBezTo>
                    <a:pt x="54322" y="10101"/>
                    <a:pt x="54255" y="10069"/>
                    <a:pt x="54190" y="10069"/>
                  </a:cubicBezTo>
                  <a:cubicBezTo>
                    <a:pt x="54156" y="10069"/>
                    <a:pt x="54122" y="10078"/>
                    <a:pt x="54094" y="10096"/>
                  </a:cubicBezTo>
                  <a:cubicBezTo>
                    <a:pt x="51762" y="11571"/>
                    <a:pt x="49007" y="15399"/>
                    <a:pt x="48791" y="18569"/>
                  </a:cubicBezTo>
                  <a:cubicBezTo>
                    <a:pt x="48623" y="18725"/>
                    <a:pt x="48450" y="18875"/>
                    <a:pt x="48286" y="19034"/>
                  </a:cubicBezTo>
                  <a:cubicBezTo>
                    <a:pt x="48191" y="19124"/>
                    <a:pt x="48277" y="19247"/>
                    <a:pt x="48378" y="19247"/>
                  </a:cubicBezTo>
                  <a:cubicBezTo>
                    <a:pt x="48407" y="19247"/>
                    <a:pt x="48437" y="19237"/>
                    <a:pt x="48465" y="19213"/>
                  </a:cubicBezTo>
                  <a:cubicBezTo>
                    <a:pt x="48574" y="19123"/>
                    <a:pt x="48675" y="19031"/>
                    <a:pt x="48782" y="18942"/>
                  </a:cubicBezTo>
                  <a:lnTo>
                    <a:pt x="48782" y="18942"/>
                  </a:lnTo>
                  <a:cubicBezTo>
                    <a:pt x="48776" y="19265"/>
                    <a:pt x="48802" y="19591"/>
                    <a:pt x="48863" y="19912"/>
                  </a:cubicBezTo>
                  <a:cubicBezTo>
                    <a:pt x="48870" y="19944"/>
                    <a:pt x="48897" y="19959"/>
                    <a:pt x="48925" y="19959"/>
                  </a:cubicBezTo>
                  <a:cubicBezTo>
                    <a:pt x="48954" y="19959"/>
                    <a:pt x="48984" y="19943"/>
                    <a:pt x="48993" y="19912"/>
                  </a:cubicBezTo>
                  <a:cubicBezTo>
                    <a:pt x="49137" y="19395"/>
                    <a:pt x="49273" y="18892"/>
                    <a:pt x="49409" y="18399"/>
                  </a:cubicBezTo>
                  <a:cubicBezTo>
                    <a:pt x="50786" y="17201"/>
                    <a:pt x="52125" y="15994"/>
                    <a:pt x="53679" y="14981"/>
                  </a:cubicBezTo>
                  <a:lnTo>
                    <a:pt x="53679" y="14981"/>
                  </a:lnTo>
                  <a:cubicBezTo>
                    <a:pt x="53243" y="15266"/>
                    <a:pt x="52512" y="16118"/>
                    <a:pt x="51747" y="17027"/>
                  </a:cubicBezTo>
                  <a:cubicBezTo>
                    <a:pt x="50924" y="17810"/>
                    <a:pt x="50171" y="18676"/>
                    <a:pt x="49440" y="19568"/>
                  </a:cubicBezTo>
                  <a:cubicBezTo>
                    <a:pt x="48479" y="20440"/>
                    <a:pt x="47532" y="21326"/>
                    <a:pt x="46600" y="22224"/>
                  </a:cubicBezTo>
                  <a:cubicBezTo>
                    <a:pt x="47105" y="21621"/>
                    <a:pt x="47601" y="21009"/>
                    <a:pt x="48060" y="20379"/>
                  </a:cubicBezTo>
                  <a:cubicBezTo>
                    <a:pt x="48133" y="20281"/>
                    <a:pt x="48034" y="20177"/>
                    <a:pt x="47935" y="20177"/>
                  </a:cubicBezTo>
                  <a:cubicBezTo>
                    <a:pt x="47904" y="20177"/>
                    <a:pt x="47873" y="20187"/>
                    <a:pt x="47847" y="20212"/>
                  </a:cubicBezTo>
                  <a:cubicBezTo>
                    <a:pt x="46906" y="21104"/>
                    <a:pt x="45979" y="22010"/>
                    <a:pt x="45064" y="22931"/>
                  </a:cubicBezTo>
                  <a:cubicBezTo>
                    <a:pt x="45881" y="21932"/>
                    <a:pt x="46620" y="20882"/>
                    <a:pt x="47194" y="19730"/>
                  </a:cubicBezTo>
                  <a:cubicBezTo>
                    <a:pt x="47200" y="19721"/>
                    <a:pt x="47194" y="19712"/>
                    <a:pt x="47197" y="19707"/>
                  </a:cubicBezTo>
                  <a:lnTo>
                    <a:pt x="47197" y="19707"/>
                  </a:lnTo>
                  <a:cubicBezTo>
                    <a:pt x="47544" y="19839"/>
                    <a:pt x="47887" y="19958"/>
                    <a:pt x="48225" y="20062"/>
                  </a:cubicBezTo>
                  <a:cubicBezTo>
                    <a:pt x="48245" y="20068"/>
                    <a:pt x="48264" y="20071"/>
                    <a:pt x="48281" y="20071"/>
                  </a:cubicBezTo>
                  <a:cubicBezTo>
                    <a:pt x="48456" y="20071"/>
                    <a:pt x="48514" y="19784"/>
                    <a:pt x="48317" y="19724"/>
                  </a:cubicBezTo>
                  <a:cubicBezTo>
                    <a:pt x="47342" y="19403"/>
                    <a:pt x="46398" y="19002"/>
                    <a:pt x="45491" y="18523"/>
                  </a:cubicBezTo>
                  <a:cubicBezTo>
                    <a:pt x="45516" y="18426"/>
                    <a:pt x="45449" y="18312"/>
                    <a:pt x="45357" y="18312"/>
                  </a:cubicBezTo>
                  <a:cubicBezTo>
                    <a:pt x="45332" y="18312"/>
                    <a:pt x="45305" y="18321"/>
                    <a:pt x="45277" y="18341"/>
                  </a:cubicBezTo>
                  <a:cubicBezTo>
                    <a:pt x="45263" y="18353"/>
                    <a:pt x="45243" y="18370"/>
                    <a:pt x="45225" y="18381"/>
                  </a:cubicBezTo>
                  <a:cubicBezTo>
                    <a:pt x="44616" y="18049"/>
                    <a:pt x="44030" y="17671"/>
                    <a:pt x="43473" y="17256"/>
                  </a:cubicBezTo>
                  <a:cubicBezTo>
                    <a:pt x="43450" y="17201"/>
                    <a:pt x="43401" y="17160"/>
                    <a:pt x="43340" y="17154"/>
                  </a:cubicBezTo>
                  <a:cubicBezTo>
                    <a:pt x="41920" y="16046"/>
                    <a:pt x="40852" y="14660"/>
                    <a:pt x="40869" y="13066"/>
                  </a:cubicBezTo>
                  <a:cubicBezTo>
                    <a:pt x="40895" y="13026"/>
                    <a:pt x="40927" y="12986"/>
                    <a:pt x="40953" y="12945"/>
                  </a:cubicBezTo>
                  <a:cubicBezTo>
                    <a:pt x="41008" y="12862"/>
                    <a:pt x="40958" y="12786"/>
                    <a:pt x="40886" y="12755"/>
                  </a:cubicBezTo>
                  <a:cubicBezTo>
                    <a:pt x="40892" y="12700"/>
                    <a:pt x="40886" y="12642"/>
                    <a:pt x="40895" y="12584"/>
                  </a:cubicBezTo>
                  <a:cubicBezTo>
                    <a:pt x="41010" y="11819"/>
                    <a:pt x="41348" y="11115"/>
                    <a:pt x="41816" y="10465"/>
                  </a:cubicBezTo>
                  <a:cubicBezTo>
                    <a:pt x="42275" y="9951"/>
                    <a:pt x="42734" y="9440"/>
                    <a:pt x="43205" y="8938"/>
                  </a:cubicBezTo>
                  <a:cubicBezTo>
                    <a:pt x="44180" y="8058"/>
                    <a:pt x="45283" y="7298"/>
                    <a:pt x="46172" y="6657"/>
                  </a:cubicBezTo>
                  <a:cubicBezTo>
                    <a:pt x="48505" y="4966"/>
                    <a:pt x="51216" y="3271"/>
                    <a:pt x="51730" y="225"/>
                  </a:cubicBezTo>
                  <a:cubicBezTo>
                    <a:pt x="51751" y="93"/>
                    <a:pt x="51666" y="0"/>
                    <a:pt x="5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65"/>
            <p:cNvSpPr/>
            <p:nvPr/>
          </p:nvSpPr>
          <p:spPr>
            <a:xfrm>
              <a:off x="5218275" y="1585725"/>
              <a:ext cx="162200" cy="137000"/>
            </a:xfrm>
            <a:custGeom>
              <a:avLst/>
              <a:gdLst/>
              <a:ahLst/>
              <a:cxnLst/>
              <a:rect l="l" t="t" r="r" b="b"/>
              <a:pathLst>
                <a:path w="6488" h="5480" extrusionOk="0">
                  <a:moveTo>
                    <a:pt x="6328" y="0"/>
                  </a:moveTo>
                  <a:cubicBezTo>
                    <a:pt x="6297" y="0"/>
                    <a:pt x="6266" y="11"/>
                    <a:pt x="6242" y="35"/>
                  </a:cubicBezTo>
                  <a:cubicBezTo>
                    <a:pt x="5003" y="1207"/>
                    <a:pt x="3508" y="1478"/>
                    <a:pt x="1987" y="2157"/>
                  </a:cubicBezTo>
                  <a:cubicBezTo>
                    <a:pt x="581" y="2783"/>
                    <a:pt x="0" y="3906"/>
                    <a:pt x="321" y="5407"/>
                  </a:cubicBezTo>
                  <a:cubicBezTo>
                    <a:pt x="331" y="5458"/>
                    <a:pt x="367" y="5480"/>
                    <a:pt x="404" y="5480"/>
                  </a:cubicBezTo>
                  <a:cubicBezTo>
                    <a:pt x="461" y="5480"/>
                    <a:pt x="523" y="5430"/>
                    <a:pt x="511" y="5355"/>
                  </a:cubicBezTo>
                  <a:cubicBezTo>
                    <a:pt x="147" y="3202"/>
                    <a:pt x="1784" y="2518"/>
                    <a:pt x="3514" y="1934"/>
                  </a:cubicBezTo>
                  <a:cubicBezTo>
                    <a:pt x="4481" y="1611"/>
                    <a:pt x="6049" y="1230"/>
                    <a:pt x="6453" y="159"/>
                  </a:cubicBezTo>
                  <a:cubicBezTo>
                    <a:pt x="6488" y="68"/>
                    <a:pt x="6407" y="0"/>
                    <a:pt x="63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65"/>
            <p:cNvSpPr/>
            <p:nvPr/>
          </p:nvSpPr>
          <p:spPr>
            <a:xfrm>
              <a:off x="4237700" y="3191475"/>
              <a:ext cx="64175" cy="89875"/>
            </a:xfrm>
            <a:custGeom>
              <a:avLst/>
              <a:gdLst/>
              <a:ahLst/>
              <a:cxnLst/>
              <a:rect l="l" t="t" r="r" b="b"/>
              <a:pathLst>
                <a:path w="2567" h="3595" extrusionOk="0">
                  <a:moveTo>
                    <a:pt x="2567" y="0"/>
                  </a:moveTo>
                  <a:lnTo>
                    <a:pt x="2567" y="0"/>
                  </a:lnTo>
                  <a:cubicBezTo>
                    <a:pt x="1698" y="1192"/>
                    <a:pt x="841" y="2391"/>
                    <a:pt x="0" y="3594"/>
                  </a:cubicBezTo>
                  <a:cubicBezTo>
                    <a:pt x="852" y="2393"/>
                    <a:pt x="1707" y="1195"/>
                    <a:pt x="2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65"/>
            <p:cNvSpPr/>
            <p:nvPr/>
          </p:nvSpPr>
          <p:spPr>
            <a:xfrm>
              <a:off x="4212000" y="3281400"/>
              <a:ext cx="25725" cy="37050"/>
            </a:xfrm>
            <a:custGeom>
              <a:avLst/>
              <a:gdLst/>
              <a:ahLst/>
              <a:cxnLst/>
              <a:rect l="l" t="t" r="r" b="b"/>
              <a:pathLst>
                <a:path w="1029" h="1482" extrusionOk="0">
                  <a:moveTo>
                    <a:pt x="1028" y="0"/>
                  </a:moveTo>
                  <a:lnTo>
                    <a:pt x="1028" y="0"/>
                  </a:lnTo>
                  <a:cubicBezTo>
                    <a:pt x="988" y="57"/>
                    <a:pt x="948" y="115"/>
                    <a:pt x="908" y="172"/>
                  </a:cubicBezTo>
                  <a:lnTo>
                    <a:pt x="908" y="172"/>
                  </a:lnTo>
                  <a:cubicBezTo>
                    <a:pt x="948" y="115"/>
                    <a:pt x="988" y="58"/>
                    <a:pt x="1028" y="0"/>
                  </a:cubicBezTo>
                  <a:close/>
                  <a:moveTo>
                    <a:pt x="908" y="172"/>
                  </a:moveTo>
                  <a:lnTo>
                    <a:pt x="908" y="172"/>
                  </a:lnTo>
                  <a:cubicBezTo>
                    <a:pt x="698" y="468"/>
                    <a:pt x="486" y="763"/>
                    <a:pt x="281" y="1063"/>
                  </a:cubicBezTo>
                  <a:cubicBezTo>
                    <a:pt x="185" y="1201"/>
                    <a:pt x="93" y="1343"/>
                    <a:pt x="1" y="1481"/>
                  </a:cubicBezTo>
                  <a:cubicBezTo>
                    <a:pt x="304" y="1045"/>
                    <a:pt x="603" y="607"/>
                    <a:pt x="908" y="172"/>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65"/>
            <p:cNvSpPr/>
            <p:nvPr/>
          </p:nvSpPr>
          <p:spPr>
            <a:xfrm>
              <a:off x="3872150" y="3337350"/>
              <a:ext cx="734525" cy="1216250"/>
            </a:xfrm>
            <a:custGeom>
              <a:avLst/>
              <a:gdLst/>
              <a:ahLst/>
              <a:cxnLst/>
              <a:rect l="l" t="t" r="r" b="b"/>
              <a:pathLst>
                <a:path w="29381" h="48650" extrusionOk="0">
                  <a:moveTo>
                    <a:pt x="21014" y="7933"/>
                  </a:moveTo>
                  <a:cubicBezTo>
                    <a:pt x="19328" y="10105"/>
                    <a:pt x="17651" y="12280"/>
                    <a:pt x="15985" y="14467"/>
                  </a:cubicBezTo>
                  <a:cubicBezTo>
                    <a:pt x="16242" y="14057"/>
                    <a:pt x="16499" y="13650"/>
                    <a:pt x="16750" y="13240"/>
                  </a:cubicBezTo>
                  <a:cubicBezTo>
                    <a:pt x="18199" y="11469"/>
                    <a:pt x="19639" y="9704"/>
                    <a:pt x="21014" y="7933"/>
                  </a:cubicBezTo>
                  <a:close/>
                  <a:moveTo>
                    <a:pt x="19403" y="3982"/>
                  </a:moveTo>
                  <a:cubicBezTo>
                    <a:pt x="19486" y="3982"/>
                    <a:pt x="19117" y="4641"/>
                    <a:pt x="17963" y="6446"/>
                  </a:cubicBezTo>
                  <a:cubicBezTo>
                    <a:pt x="17504" y="7168"/>
                    <a:pt x="17016" y="7873"/>
                    <a:pt x="16536" y="8583"/>
                  </a:cubicBezTo>
                  <a:cubicBezTo>
                    <a:pt x="13854" y="11802"/>
                    <a:pt x="11357" y="15194"/>
                    <a:pt x="8568" y="18318"/>
                  </a:cubicBezTo>
                  <a:cubicBezTo>
                    <a:pt x="8277" y="18641"/>
                    <a:pt x="7985" y="18970"/>
                    <a:pt x="7691" y="19302"/>
                  </a:cubicBezTo>
                  <a:cubicBezTo>
                    <a:pt x="8534" y="18116"/>
                    <a:pt x="9365" y="16923"/>
                    <a:pt x="10220" y="15748"/>
                  </a:cubicBezTo>
                  <a:cubicBezTo>
                    <a:pt x="12223" y="13003"/>
                    <a:pt x="14302" y="10315"/>
                    <a:pt x="16418" y="7659"/>
                  </a:cubicBezTo>
                  <a:cubicBezTo>
                    <a:pt x="17555" y="6230"/>
                    <a:pt x="19249" y="3982"/>
                    <a:pt x="19403" y="3982"/>
                  </a:cubicBezTo>
                  <a:close/>
                  <a:moveTo>
                    <a:pt x="20097" y="6907"/>
                  </a:moveTo>
                  <a:cubicBezTo>
                    <a:pt x="20241" y="6907"/>
                    <a:pt x="18773" y="9115"/>
                    <a:pt x="18485" y="9622"/>
                  </a:cubicBezTo>
                  <a:cubicBezTo>
                    <a:pt x="18197" y="10133"/>
                    <a:pt x="17890" y="10638"/>
                    <a:pt x="17582" y="11138"/>
                  </a:cubicBezTo>
                  <a:cubicBezTo>
                    <a:pt x="15927" y="13219"/>
                    <a:pt x="14438" y="15454"/>
                    <a:pt x="12821" y="17564"/>
                  </a:cubicBezTo>
                  <a:cubicBezTo>
                    <a:pt x="11279" y="19577"/>
                    <a:pt x="9726" y="21574"/>
                    <a:pt x="8196" y="23589"/>
                  </a:cubicBezTo>
                  <a:cubicBezTo>
                    <a:pt x="11813" y="18465"/>
                    <a:pt x="15139" y="13087"/>
                    <a:pt x="18993" y="8187"/>
                  </a:cubicBezTo>
                  <a:cubicBezTo>
                    <a:pt x="19729" y="7253"/>
                    <a:pt x="20039" y="6907"/>
                    <a:pt x="20097" y="6907"/>
                  </a:cubicBezTo>
                  <a:close/>
                  <a:moveTo>
                    <a:pt x="21779" y="8381"/>
                  </a:moveTo>
                  <a:cubicBezTo>
                    <a:pt x="20639" y="9657"/>
                    <a:pt x="19626" y="12509"/>
                    <a:pt x="18612" y="14123"/>
                  </a:cubicBezTo>
                  <a:cubicBezTo>
                    <a:pt x="17582" y="15760"/>
                    <a:pt x="16473" y="17351"/>
                    <a:pt x="15341" y="18927"/>
                  </a:cubicBezTo>
                  <a:cubicBezTo>
                    <a:pt x="14039" y="20518"/>
                    <a:pt x="12659" y="22048"/>
                    <a:pt x="11282" y="23604"/>
                  </a:cubicBezTo>
                  <a:cubicBezTo>
                    <a:pt x="11181" y="23719"/>
                    <a:pt x="11080" y="23838"/>
                    <a:pt x="10979" y="23953"/>
                  </a:cubicBezTo>
                  <a:cubicBezTo>
                    <a:pt x="14429" y="18632"/>
                    <a:pt x="17599" y="13046"/>
                    <a:pt x="21779" y="8381"/>
                  </a:cubicBezTo>
                  <a:close/>
                  <a:moveTo>
                    <a:pt x="26096" y="11711"/>
                  </a:moveTo>
                  <a:cubicBezTo>
                    <a:pt x="26434" y="11711"/>
                    <a:pt x="25243" y="13816"/>
                    <a:pt x="24984" y="14262"/>
                  </a:cubicBezTo>
                  <a:cubicBezTo>
                    <a:pt x="24900" y="14406"/>
                    <a:pt x="24805" y="14547"/>
                    <a:pt x="24721" y="14689"/>
                  </a:cubicBezTo>
                  <a:lnTo>
                    <a:pt x="24718" y="14689"/>
                  </a:lnTo>
                  <a:cubicBezTo>
                    <a:pt x="23229" y="16785"/>
                    <a:pt x="21701" y="18849"/>
                    <a:pt x="20134" y="20887"/>
                  </a:cubicBezTo>
                  <a:cubicBezTo>
                    <a:pt x="18572" y="22741"/>
                    <a:pt x="16952" y="24545"/>
                    <a:pt x="15454" y="26341"/>
                  </a:cubicBezTo>
                  <a:cubicBezTo>
                    <a:pt x="15105" y="26759"/>
                    <a:pt x="14747" y="27172"/>
                    <a:pt x="14397" y="27588"/>
                  </a:cubicBezTo>
                  <a:cubicBezTo>
                    <a:pt x="15463" y="25977"/>
                    <a:pt x="16525" y="24360"/>
                    <a:pt x="17587" y="22741"/>
                  </a:cubicBezTo>
                  <a:cubicBezTo>
                    <a:pt x="19773" y="19961"/>
                    <a:pt x="21898" y="17128"/>
                    <a:pt x="23768" y="14175"/>
                  </a:cubicBezTo>
                  <a:cubicBezTo>
                    <a:pt x="24178" y="13684"/>
                    <a:pt x="24583" y="13190"/>
                    <a:pt x="25013" y="12714"/>
                  </a:cubicBezTo>
                  <a:cubicBezTo>
                    <a:pt x="25651" y="11986"/>
                    <a:pt x="25974" y="11711"/>
                    <a:pt x="26096" y="11711"/>
                  </a:cubicBezTo>
                  <a:close/>
                  <a:moveTo>
                    <a:pt x="12717" y="13984"/>
                  </a:moveTo>
                  <a:lnTo>
                    <a:pt x="12717" y="13984"/>
                  </a:lnTo>
                  <a:cubicBezTo>
                    <a:pt x="11294" y="15919"/>
                    <a:pt x="9847" y="17839"/>
                    <a:pt x="8424" y="19764"/>
                  </a:cubicBezTo>
                  <a:cubicBezTo>
                    <a:pt x="6804" y="21950"/>
                    <a:pt x="5225" y="24164"/>
                    <a:pt x="3686" y="26404"/>
                  </a:cubicBezTo>
                  <a:cubicBezTo>
                    <a:pt x="2768" y="27741"/>
                    <a:pt x="1905" y="29115"/>
                    <a:pt x="1045" y="30489"/>
                  </a:cubicBezTo>
                  <a:cubicBezTo>
                    <a:pt x="857" y="30792"/>
                    <a:pt x="755" y="30919"/>
                    <a:pt x="719" y="30919"/>
                  </a:cubicBezTo>
                  <a:cubicBezTo>
                    <a:pt x="539" y="30919"/>
                    <a:pt x="1891" y="27883"/>
                    <a:pt x="2159" y="27221"/>
                  </a:cubicBezTo>
                  <a:cubicBezTo>
                    <a:pt x="3545" y="25198"/>
                    <a:pt x="4945" y="23182"/>
                    <a:pt x="6354" y="21176"/>
                  </a:cubicBezTo>
                  <a:cubicBezTo>
                    <a:pt x="7991" y="19265"/>
                    <a:pt x="9752" y="17446"/>
                    <a:pt x="11357" y="15613"/>
                  </a:cubicBezTo>
                  <a:cubicBezTo>
                    <a:pt x="11822" y="15081"/>
                    <a:pt x="12269" y="14533"/>
                    <a:pt x="12717" y="13984"/>
                  </a:cubicBezTo>
                  <a:close/>
                  <a:moveTo>
                    <a:pt x="17235" y="24629"/>
                  </a:moveTo>
                  <a:lnTo>
                    <a:pt x="17235" y="24629"/>
                  </a:lnTo>
                  <a:cubicBezTo>
                    <a:pt x="15393" y="26973"/>
                    <a:pt x="13546" y="29309"/>
                    <a:pt x="11686" y="31638"/>
                  </a:cubicBezTo>
                  <a:lnTo>
                    <a:pt x="11683" y="31638"/>
                  </a:lnTo>
                  <a:cubicBezTo>
                    <a:pt x="12174" y="30922"/>
                    <a:pt x="12659" y="30204"/>
                    <a:pt x="13138" y="29485"/>
                  </a:cubicBezTo>
                  <a:cubicBezTo>
                    <a:pt x="14513" y="27874"/>
                    <a:pt x="15878" y="26254"/>
                    <a:pt x="17235" y="24629"/>
                  </a:cubicBezTo>
                  <a:close/>
                  <a:moveTo>
                    <a:pt x="25482" y="10711"/>
                  </a:moveTo>
                  <a:cubicBezTo>
                    <a:pt x="25525" y="10711"/>
                    <a:pt x="25505" y="10800"/>
                    <a:pt x="25400" y="11008"/>
                  </a:cubicBezTo>
                  <a:cubicBezTo>
                    <a:pt x="24903" y="11992"/>
                    <a:pt x="24340" y="12939"/>
                    <a:pt x="23754" y="13872"/>
                  </a:cubicBezTo>
                  <a:cubicBezTo>
                    <a:pt x="21828" y="16167"/>
                    <a:pt x="20073" y="18592"/>
                    <a:pt x="18399" y="21081"/>
                  </a:cubicBezTo>
                  <a:cubicBezTo>
                    <a:pt x="16773" y="23050"/>
                    <a:pt x="15116" y="24993"/>
                    <a:pt x="13572" y="26970"/>
                  </a:cubicBezTo>
                  <a:cubicBezTo>
                    <a:pt x="12194" y="28740"/>
                    <a:pt x="10823" y="30527"/>
                    <a:pt x="9458" y="32334"/>
                  </a:cubicBezTo>
                  <a:cubicBezTo>
                    <a:pt x="10771" y="30383"/>
                    <a:pt x="12021" y="28379"/>
                    <a:pt x="13289" y="26381"/>
                  </a:cubicBezTo>
                  <a:cubicBezTo>
                    <a:pt x="13505" y="26041"/>
                    <a:pt x="13736" y="25709"/>
                    <a:pt x="13958" y="25371"/>
                  </a:cubicBezTo>
                  <a:cubicBezTo>
                    <a:pt x="14539" y="24689"/>
                    <a:pt x="15096" y="24011"/>
                    <a:pt x="15616" y="23341"/>
                  </a:cubicBezTo>
                  <a:cubicBezTo>
                    <a:pt x="17180" y="21320"/>
                    <a:pt x="18817" y="19372"/>
                    <a:pt x="20269" y="17270"/>
                  </a:cubicBezTo>
                  <a:cubicBezTo>
                    <a:pt x="21051" y="16141"/>
                    <a:pt x="21797" y="14987"/>
                    <a:pt x="22581" y="13854"/>
                  </a:cubicBezTo>
                  <a:lnTo>
                    <a:pt x="22581" y="13854"/>
                  </a:lnTo>
                  <a:cubicBezTo>
                    <a:pt x="22384" y="14140"/>
                    <a:pt x="22310" y="14260"/>
                    <a:pt x="22328" y="14260"/>
                  </a:cubicBezTo>
                  <a:cubicBezTo>
                    <a:pt x="22426" y="14260"/>
                    <a:pt x="25212" y="10711"/>
                    <a:pt x="25482" y="10711"/>
                  </a:cubicBezTo>
                  <a:close/>
                  <a:moveTo>
                    <a:pt x="20681" y="26993"/>
                  </a:moveTo>
                  <a:cubicBezTo>
                    <a:pt x="19190" y="28772"/>
                    <a:pt x="17651" y="30699"/>
                    <a:pt x="16118" y="32707"/>
                  </a:cubicBezTo>
                  <a:cubicBezTo>
                    <a:pt x="16516" y="32138"/>
                    <a:pt x="16912" y="31566"/>
                    <a:pt x="17299" y="30989"/>
                  </a:cubicBezTo>
                  <a:cubicBezTo>
                    <a:pt x="18426" y="29656"/>
                    <a:pt x="19553" y="28324"/>
                    <a:pt x="20681" y="26993"/>
                  </a:cubicBezTo>
                  <a:close/>
                  <a:moveTo>
                    <a:pt x="22917" y="12674"/>
                  </a:moveTo>
                  <a:lnTo>
                    <a:pt x="22917" y="12674"/>
                  </a:lnTo>
                  <a:cubicBezTo>
                    <a:pt x="22645" y="13061"/>
                    <a:pt x="22380" y="13450"/>
                    <a:pt x="22103" y="13831"/>
                  </a:cubicBezTo>
                  <a:cubicBezTo>
                    <a:pt x="21084" y="15093"/>
                    <a:pt x="20113" y="16415"/>
                    <a:pt x="19175" y="17761"/>
                  </a:cubicBezTo>
                  <a:cubicBezTo>
                    <a:pt x="17680" y="19732"/>
                    <a:pt x="16170" y="21696"/>
                    <a:pt x="14712" y="23691"/>
                  </a:cubicBezTo>
                  <a:cubicBezTo>
                    <a:pt x="14097" y="24534"/>
                    <a:pt x="13520" y="25411"/>
                    <a:pt x="12957" y="26295"/>
                  </a:cubicBezTo>
                  <a:cubicBezTo>
                    <a:pt x="11207" y="28408"/>
                    <a:pt x="9319" y="30515"/>
                    <a:pt x="7581" y="32712"/>
                  </a:cubicBezTo>
                  <a:cubicBezTo>
                    <a:pt x="9221" y="30463"/>
                    <a:pt x="10760" y="28139"/>
                    <a:pt x="12327" y="25821"/>
                  </a:cubicBezTo>
                  <a:lnTo>
                    <a:pt x="12327" y="25818"/>
                  </a:lnTo>
                  <a:cubicBezTo>
                    <a:pt x="15503" y="21118"/>
                    <a:pt x="19435" y="17102"/>
                    <a:pt x="22917" y="12674"/>
                  </a:cubicBezTo>
                  <a:close/>
                  <a:moveTo>
                    <a:pt x="13081" y="17749"/>
                  </a:moveTo>
                  <a:lnTo>
                    <a:pt x="13081" y="17749"/>
                  </a:lnTo>
                  <a:cubicBezTo>
                    <a:pt x="9775" y="22452"/>
                    <a:pt x="6449" y="27210"/>
                    <a:pt x="2861" y="31685"/>
                  </a:cubicBezTo>
                  <a:cubicBezTo>
                    <a:pt x="2266" y="32426"/>
                    <a:pt x="2009" y="32719"/>
                    <a:pt x="1973" y="32719"/>
                  </a:cubicBezTo>
                  <a:cubicBezTo>
                    <a:pt x="1846" y="32719"/>
                    <a:pt x="4538" y="28994"/>
                    <a:pt x="4838" y="28561"/>
                  </a:cubicBezTo>
                  <a:cubicBezTo>
                    <a:pt x="6778" y="25778"/>
                    <a:pt x="8883" y="23104"/>
                    <a:pt x="10962" y="20422"/>
                  </a:cubicBezTo>
                  <a:cubicBezTo>
                    <a:pt x="11655" y="19527"/>
                    <a:pt x="12368" y="18638"/>
                    <a:pt x="13081" y="17749"/>
                  </a:cubicBezTo>
                  <a:close/>
                  <a:moveTo>
                    <a:pt x="20621" y="24669"/>
                  </a:moveTo>
                  <a:cubicBezTo>
                    <a:pt x="20805" y="24669"/>
                    <a:pt x="18785" y="28194"/>
                    <a:pt x="18505" y="28647"/>
                  </a:cubicBezTo>
                  <a:cubicBezTo>
                    <a:pt x="18312" y="28962"/>
                    <a:pt x="18110" y="29274"/>
                    <a:pt x="17908" y="29583"/>
                  </a:cubicBezTo>
                  <a:cubicBezTo>
                    <a:pt x="15904" y="31771"/>
                    <a:pt x="13837" y="34009"/>
                    <a:pt x="11935" y="36333"/>
                  </a:cubicBezTo>
                  <a:cubicBezTo>
                    <a:pt x="14576" y="32816"/>
                    <a:pt x="17302" y="29352"/>
                    <a:pt x="19796" y="25737"/>
                  </a:cubicBezTo>
                  <a:cubicBezTo>
                    <a:pt x="20325" y="24970"/>
                    <a:pt x="20567" y="24669"/>
                    <a:pt x="20621" y="24669"/>
                  </a:cubicBezTo>
                  <a:close/>
                  <a:moveTo>
                    <a:pt x="13011" y="22126"/>
                  </a:moveTo>
                  <a:lnTo>
                    <a:pt x="13011" y="22126"/>
                  </a:lnTo>
                  <a:cubicBezTo>
                    <a:pt x="11071" y="24764"/>
                    <a:pt x="9094" y="27374"/>
                    <a:pt x="7171" y="30025"/>
                  </a:cubicBezTo>
                  <a:cubicBezTo>
                    <a:pt x="5678" y="32080"/>
                    <a:pt x="3340" y="34603"/>
                    <a:pt x="2511" y="37020"/>
                  </a:cubicBezTo>
                  <a:cubicBezTo>
                    <a:pt x="3074" y="35377"/>
                    <a:pt x="3863" y="33812"/>
                    <a:pt x="4783" y="32311"/>
                  </a:cubicBezTo>
                  <a:cubicBezTo>
                    <a:pt x="6634" y="30232"/>
                    <a:pt x="8294" y="27978"/>
                    <a:pt x="9865" y="25639"/>
                  </a:cubicBezTo>
                  <a:cubicBezTo>
                    <a:pt x="10918" y="24438"/>
                    <a:pt x="11984" y="23269"/>
                    <a:pt x="13011" y="22126"/>
                  </a:cubicBezTo>
                  <a:close/>
                  <a:moveTo>
                    <a:pt x="12411" y="27158"/>
                  </a:moveTo>
                  <a:lnTo>
                    <a:pt x="12411" y="27158"/>
                  </a:lnTo>
                  <a:cubicBezTo>
                    <a:pt x="11490" y="28630"/>
                    <a:pt x="10598" y="30126"/>
                    <a:pt x="9663" y="31575"/>
                  </a:cubicBezTo>
                  <a:cubicBezTo>
                    <a:pt x="8525" y="33339"/>
                    <a:pt x="7304" y="35031"/>
                    <a:pt x="6016" y="36691"/>
                  </a:cubicBezTo>
                  <a:cubicBezTo>
                    <a:pt x="5887" y="36859"/>
                    <a:pt x="3749" y="38965"/>
                    <a:pt x="3681" y="38965"/>
                  </a:cubicBezTo>
                  <a:cubicBezTo>
                    <a:pt x="3679" y="38965"/>
                    <a:pt x="3679" y="38964"/>
                    <a:pt x="3681" y="38960"/>
                  </a:cubicBezTo>
                  <a:cubicBezTo>
                    <a:pt x="5505" y="34808"/>
                    <a:pt x="9131" y="30882"/>
                    <a:pt x="12411" y="27158"/>
                  </a:cubicBezTo>
                  <a:close/>
                  <a:moveTo>
                    <a:pt x="15933" y="24825"/>
                  </a:moveTo>
                  <a:lnTo>
                    <a:pt x="15933" y="24825"/>
                  </a:lnTo>
                  <a:cubicBezTo>
                    <a:pt x="15058" y="26179"/>
                    <a:pt x="14181" y="27533"/>
                    <a:pt x="13303" y="28884"/>
                  </a:cubicBezTo>
                  <a:cubicBezTo>
                    <a:pt x="10993" y="31607"/>
                    <a:pt x="8669" y="34318"/>
                    <a:pt x="6389" y="37063"/>
                  </a:cubicBezTo>
                  <a:cubicBezTo>
                    <a:pt x="6066" y="37451"/>
                    <a:pt x="4223" y="39951"/>
                    <a:pt x="4214" y="39951"/>
                  </a:cubicBezTo>
                  <a:cubicBezTo>
                    <a:pt x="4211" y="39951"/>
                    <a:pt x="4467" y="39597"/>
                    <a:pt x="5162" y="38642"/>
                  </a:cubicBezTo>
                  <a:cubicBezTo>
                    <a:pt x="6776" y="36419"/>
                    <a:pt x="8545" y="34300"/>
                    <a:pt x="10200" y="32103"/>
                  </a:cubicBezTo>
                  <a:cubicBezTo>
                    <a:pt x="12033" y="29669"/>
                    <a:pt x="13990" y="27259"/>
                    <a:pt x="15933" y="24825"/>
                  </a:cubicBezTo>
                  <a:close/>
                  <a:moveTo>
                    <a:pt x="22758" y="18119"/>
                  </a:moveTo>
                  <a:lnTo>
                    <a:pt x="22758" y="18119"/>
                  </a:lnTo>
                  <a:cubicBezTo>
                    <a:pt x="21508" y="20111"/>
                    <a:pt x="20324" y="22155"/>
                    <a:pt x="18990" y="23999"/>
                  </a:cubicBezTo>
                  <a:cubicBezTo>
                    <a:pt x="14565" y="30105"/>
                    <a:pt x="9862" y="36006"/>
                    <a:pt x="5251" y="41971"/>
                  </a:cubicBezTo>
                  <a:cubicBezTo>
                    <a:pt x="8395" y="37903"/>
                    <a:pt x="11963" y="32588"/>
                    <a:pt x="15194" y="27949"/>
                  </a:cubicBezTo>
                  <a:cubicBezTo>
                    <a:pt x="17567" y="24539"/>
                    <a:pt x="20249" y="21395"/>
                    <a:pt x="22758" y="18119"/>
                  </a:cubicBezTo>
                  <a:close/>
                  <a:moveTo>
                    <a:pt x="21384" y="29247"/>
                  </a:moveTo>
                  <a:cubicBezTo>
                    <a:pt x="21655" y="29247"/>
                    <a:pt x="21385" y="30039"/>
                    <a:pt x="21008" y="30902"/>
                  </a:cubicBezTo>
                  <a:cubicBezTo>
                    <a:pt x="18664" y="33717"/>
                    <a:pt x="16649" y="36873"/>
                    <a:pt x="14542" y="39936"/>
                  </a:cubicBezTo>
                  <a:cubicBezTo>
                    <a:pt x="13600" y="40969"/>
                    <a:pt x="12639" y="41983"/>
                    <a:pt x="11681" y="42999"/>
                  </a:cubicBezTo>
                  <a:cubicBezTo>
                    <a:pt x="12356" y="41933"/>
                    <a:pt x="13023" y="40860"/>
                    <a:pt x="13678" y="39783"/>
                  </a:cubicBezTo>
                  <a:cubicBezTo>
                    <a:pt x="15800" y="36766"/>
                    <a:pt x="17876" y="33717"/>
                    <a:pt x="19903" y="30634"/>
                  </a:cubicBezTo>
                  <a:cubicBezTo>
                    <a:pt x="20128" y="30383"/>
                    <a:pt x="20342" y="30120"/>
                    <a:pt x="20575" y="29874"/>
                  </a:cubicBezTo>
                  <a:lnTo>
                    <a:pt x="20575" y="29872"/>
                  </a:lnTo>
                  <a:cubicBezTo>
                    <a:pt x="21001" y="29428"/>
                    <a:pt x="21255" y="29247"/>
                    <a:pt x="21384" y="29247"/>
                  </a:cubicBezTo>
                  <a:close/>
                  <a:moveTo>
                    <a:pt x="21439" y="21950"/>
                  </a:moveTo>
                  <a:lnTo>
                    <a:pt x="21439" y="21950"/>
                  </a:lnTo>
                  <a:cubicBezTo>
                    <a:pt x="20139" y="23734"/>
                    <a:pt x="18852" y="25532"/>
                    <a:pt x="17538" y="27311"/>
                  </a:cubicBezTo>
                  <a:cubicBezTo>
                    <a:pt x="15673" y="29837"/>
                    <a:pt x="13981" y="32481"/>
                    <a:pt x="12261" y="35106"/>
                  </a:cubicBezTo>
                  <a:cubicBezTo>
                    <a:pt x="10350" y="38013"/>
                    <a:pt x="7077" y="41243"/>
                    <a:pt x="5583" y="43669"/>
                  </a:cubicBezTo>
                  <a:lnTo>
                    <a:pt x="5583" y="43669"/>
                  </a:lnTo>
                  <a:cubicBezTo>
                    <a:pt x="9147" y="37872"/>
                    <a:pt x="13534" y="32460"/>
                    <a:pt x="17486" y="26921"/>
                  </a:cubicBezTo>
                  <a:cubicBezTo>
                    <a:pt x="18676" y="25249"/>
                    <a:pt x="20050" y="23610"/>
                    <a:pt x="21439" y="21950"/>
                  </a:cubicBezTo>
                  <a:close/>
                  <a:moveTo>
                    <a:pt x="15307" y="33339"/>
                  </a:moveTo>
                  <a:lnTo>
                    <a:pt x="15307" y="33339"/>
                  </a:lnTo>
                  <a:cubicBezTo>
                    <a:pt x="15171" y="33527"/>
                    <a:pt x="15035" y="33717"/>
                    <a:pt x="14900" y="33905"/>
                  </a:cubicBezTo>
                  <a:cubicBezTo>
                    <a:pt x="12541" y="37187"/>
                    <a:pt x="10174" y="40418"/>
                    <a:pt x="7968" y="43807"/>
                  </a:cubicBezTo>
                  <a:cubicBezTo>
                    <a:pt x="7404" y="44673"/>
                    <a:pt x="7126" y="44998"/>
                    <a:pt x="7031" y="44998"/>
                  </a:cubicBezTo>
                  <a:cubicBezTo>
                    <a:pt x="6792" y="44998"/>
                    <a:pt x="7718" y="42922"/>
                    <a:pt x="8138" y="42245"/>
                  </a:cubicBezTo>
                  <a:lnTo>
                    <a:pt x="8138" y="42242"/>
                  </a:lnTo>
                  <a:cubicBezTo>
                    <a:pt x="9486" y="40071"/>
                    <a:pt x="11224" y="38134"/>
                    <a:pt x="12884" y="36194"/>
                  </a:cubicBezTo>
                  <a:cubicBezTo>
                    <a:pt x="13696" y="35247"/>
                    <a:pt x="14498" y="34292"/>
                    <a:pt x="15307" y="33339"/>
                  </a:cubicBezTo>
                  <a:close/>
                  <a:moveTo>
                    <a:pt x="13421" y="41532"/>
                  </a:moveTo>
                  <a:cubicBezTo>
                    <a:pt x="12844" y="42338"/>
                    <a:pt x="12261" y="43134"/>
                    <a:pt x="11652" y="43902"/>
                  </a:cubicBezTo>
                  <a:cubicBezTo>
                    <a:pt x="10436" y="45439"/>
                    <a:pt x="9601" y="46523"/>
                    <a:pt x="9523" y="46523"/>
                  </a:cubicBezTo>
                  <a:cubicBezTo>
                    <a:pt x="9461" y="46523"/>
                    <a:pt x="9874" y="45844"/>
                    <a:pt x="10947" y="44174"/>
                  </a:cubicBezTo>
                  <a:lnTo>
                    <a:pt x="10944" y="44171"/>
                  </a:lnTo>
                  <a:cubicBezTo>
                    <a:pt x="10953" y="44159"/>
                    <a:pt x="10959" y="44148"/>
                    <a:pt x="10967" y="44136"/>
                  </a:cubicBezTo>
                  <a:cubicBezTo>
                    <a:pt x="11776" y="43259"/>
                    <a:pt x="12599" y="42395"/>
                    <a:pt x="13421" y="41532"/>
                  </a:cubicBezTo>
                  <a:close/>
                  <a:moveTo>
                    <a:pt x="18775" y="1"/>
                  </a:moveTo>
                  <a:cubicBezTo>
                    <a:pt x="18725" y="1"/>
                    <a:pt x="18675" y="20"/>
                    <a:pt x="18644" y="63"/>
                  </a:cubicBezTo>
                  <a:cubicBezTo>
                    <a:pt x="12835" y="8095"/>
                    <a:pt x="6836" y="15988"/>
                    <a:pt x="1215" y="24152"/>
                  </a:cubicBezTo>
                  <a:cubicBezTo>
                    <a:pt x="2673" y="22033"/>
                    <a:pt x="4195" y="19802"/>
                    <a:pt x="5748" y="17518"/>
                  </a:cubicBezTo>
                  <a:lnTo>
                    <a:pt x="5748" y="17518"/>
                  </a:lnTo>
                  <a:cubicBezTo>
                    <a:pt x="3808" y="20148"/>
                    <a:pt x="1847" y="22761"/>
                    <a:pt x="236" y="25593"/>
                  </a:cubicBezTo>
                  <a:cubicBezTo>
                    <a:pt x="181" y="25691"/>
                    <a:pt x="262" y="25776"/>
                    <a:pt x="348" y="25776"/>
                  </a:cubicBezTo>
                  <a:cubicBezTo>
                    <a:pt x="386" y="25776"/>
                    <a:pt x="425" y="25758"/>
                    <a:pt x="453" y="25717"/>
                  </a:cubicBezTo>
                  <a:cubicBezTo>
                    <a:pt x="3392" y="21378"/>
                    <a:pt x="6452" y="17128"/>
                    <a:pt x="9556" y="12908"/>
                  </a:cubicBezTo>
                  <a:cubicBezTo>
                    <a:pt x="10939" y="11025"/>
                    <a:pt x="12327" y="9146"/>
                    <a:pt x="13722" y="7272"/>
                  </a:cubicBezTo>
                  <a:cubicBezTo>
                    <a:pt x="14417" y="6334"/>
                    <a:pt x="15110" y="5396"/>
                    <a:pt x="15803" y="4454"/>
                  </a:cubicBezTo>
                  <a:cubicBezTo>
                    <a:pt x="15911" y="4308"/>
                    <a:pt x="17634" y="1641"/>
                    <a:pt x="17876" y="1641"/>
                  </a:cubicBezTo>
                  <a:cubicBezTo>
                    <a:pt x="17958" y="1641"/>
                    <a:pt x="17869" y="1950"/>
                    <a:pt x="17486" y="2771"/>
                  </a:cubicBezTo>
                  <a:cubicBezTo>
                    <a:pt x="15468" y="7102"/>
                    <a:pt x="12220" y="10901"/>
                    <a:pt x="9348" y="14672"/>
                  </a:cubicBezTo>
                  <a:cubicBezTo>
                    <a:pt x="8083" y="16332"/>
                    <a:pt x="6744" y="18283"/>
                    <a:pt x="5473" y="20200"/>
                  </a:cubicBezTo>
                  <a:cubicBezTo>
                    <a:pt x="3767" y="22527"/>
                    <a:pt x="2101" y="24886"/>
                    <a:pt x="531" y="27314"/>
                  </a:cubicBezTo>
                  <a:cubicBezTo>
                    <a:pt x="459" y="27426"/>
                    <a:pt x="560" y="27532"/>
                    <a:pt x="663" y="27532"/>
                  </a:cubicBezTo>
                  <a:cubicBezTo>
                    <a:pt x="708" y="27532"/>
                    <a:pt x="753" y="27512"/>
                    <a:pt x="785" y="27464"/>
                  </a:cubicBezTo>
                  <a:cubicBezTo>
                    <a:pt x="4622" y="21577"/>
                    <a:pt x="9561" y="15956"/>
                    <a:pt x="13609" y="9954"/>
                  </a:cubicBezTo>
                  <a:cubicBezTo>
                    <a:pt x="14282" y="9079"/>
                    <a:pt x="14957" y="8210"/>
                    <a:pt x="15624" y="7330"/>
                  </a:cubicBezTo>
                  <a:cubicBezTo>
                    <a:pt x="16008" y="6826"/>
                    <a:pt x="18297" y="3289"/>
                    <a:pt x="18366" y="3289"/>
                  </a:cubicBezTo>
                  <a:cubicBezTo>
                    <a:pt x="18388" y="3289"/>
                    <a:pt x="18176" y="3662"/>
                    <a:pt x="17590" y="4631"/>
                  </a:cubicBezTo>
                  <a:cubicBezTo>
                    <a:pt x="16210" y="6911"/>
                    <a:pt x="14726" y="9131"/>
                    <a:pt x="13199" y="11320"/>
                  </a:cubicBezTo>
                  <a:cubicBezTo>
                    <a:pt x="11008" y="14178"/>
                    <a:pt x="8880" y="17082"/>
                    <a:pt x="6796" y="20018"/>
                  </a:cubicBezTo>
                  <a:cubicBezTo>
                    <a:pt x="4374" y="23035"/>
                    <a:pt x="1827" y="26043"/>
                    <a:pt x="210" y="29516"/>
                  </a:cubicBezTo>
                  <a:cubicBezTo>
                    <a:pt x="148" y="29637"/>
                    <a:pt x="249" y="29743"/>
                    <a:pt x="352" y="29743"/>
                  </a:cubicBezTo>
                  <a:cubicBezTo>
                    <a:pt x="397" y="29743"/>
                    <a:pt x="443" y="29722"/>
                    <a:pt x="476" y="29672"/>
                  </a:cubicBezTo>
                  <a:cubicBezTo>
                    <a:pt x="693" y="29352"/>
                    <a:pt x="915" y="29037"/>
                    <a:pt x="1131" y="28717"/>
                  </a:cubicBezTo>
                  <a:lnTo>
                    <a:pt x="1131" y="28717"/>
                  </a:lnTo>
                  <a:cubicBezTo>
                    <a:pt x="707" y="29747"/>
                    <a:pt x="392" y="30819"/>
                    <a:pt x="199" y="31916"/>
                  </a:cubicBezTo>
                  <a:cubicBezTo>
                    <a:pt x="182" y="32022"/>
                    <a:pt x="266" y="32105"/>
                    <a:pt x="352" y="32105"/>
                  </a:cubicBezTo>
                  <a:cubicBezTo>
                    <a:pt x="396" y="32105"/>
                    <a:pt x="440" y="32083"/>
                    <a:pt x="470" y="32031"/>
                  </a:cubicBezTo>
                  <a:cubicBezTo>
                    <a:pt x="5115" y="24268"/>
                    <a:pt x="10843" y="17252"/>
                    <a:pt x="15994" y="9842"/>
                  </a:cubicBezTo>
                  <a:cubicBezTo>
                    <a:pt x="17285" y="8214"/>
                    <a:pt x="19280" y="5766"/>
                    <a:pt x="19573" y="5766"/>
                  </a:cubicBezTo>
                  <a:cubicBezTo>
                    <a:pt x="19668" y="5766"/>
                    <a:pt x="19585" y="6023"/>
                    <a:pt x="19242" y="6646"/>
                  </a:cubicBezTo>
                  <a:cubicBezTo>
                    <a:pt x="16817" y="11048"/>
                    <a:pt x="12708" y="15206"/>
                    <a:pt x="9732" y="19320"/>
                  </a:cubicBezTo>
                  <a:cubicBezTo>
                    <a:pt x="6461" y="23835"/>
                    <a:pt x="2578" y="28148"/>
                    <a:pt x="55" y="33140"/>
                  </a:cubicBezTo>
                  <a:cubicBezTo>
                    <a:pt x="1" y="33250"/>
                    <a:pt x="90" y="33366"/>
                    <a:pt x="190" y="33366"/>
                  </a:cubicBezTo>
                  <a:cubicBezTo>
                    <a:pt x="223" y="33366"/>
                    <a:pt x="258" y="33353"/>
                    <a:pt x="288" y="33322"/>
                  </a:cubicBezTo>
                  <a:cubicBezTo>
                    <a:pt x="1969" y="31615"/>
                    <a:pt x="3519" y="29797"/>
                    <a:pt x="4994" y="27911"/>
                  </a:cubicBezTo>
                  <a:lnTo>
                    <a:pt x="4994" y="27911"/>
                  </a:lnTo>
                  <a:cubicBezTo>
                    <a:pt x="3548" y="29924"/>
                    <a:pt x="2151" y="31970"/>
                    <a:pt x="840" y="34084"/>
                  </a:cubicBezTo>
                  <a:cubicBezTo>
                    <a:pt x="773" y="34192"/>
                    <a:pt x="877" y="34316"/>
                    <a:pt x="981" y="34316"/>
                  </a:cubicBezTo>
                  <a:cubicBezTo>
                    <a:pt x="1016" y="34316"/>
                    <a:pt x="1051" y="34302"/>
                    <a:pt x="1079" y="34268"/>
                  </a:cubicBezTo>
                  <a:cubicBezTo>
                    <a:pt x="1954" y="33246"/>
                    <a:pt x="2832" y="32201"/>
                    <a:pt x="3712" y="31142"/>
                  </a:cubicBezTo>
                  <a:lnTo>
                    <a:pt x="3712" y="31142"/>
                  </a:lnTo>
                  <a:cubicBezTo>
                    <a:pt x="2777" y="32571"/>
                    <a:pt x="1905" y="34020"/>
                    <a:pt x="1157" y="35501"/>
                  </a:cubicBezTo>
                  <a:cubicBezTo>
                    <a:pt x="1095" y="35616"/>
                    <a:pt x="1187" y="35729"/>
                    <a:pt x="1291" y="35729"/>
                  </a:cubicBezTo>
                  <a:cubicBezTo>
                    <a:pt x="1326" y="35729"/>
                    <a:pt x="1362" y="35716"/>
                    <a:pt x="1394" y="35686"/>
                  </a:cubicBezTo>
                  <a:cubicBezTo>
                    <a:pt x="2393" y="34811"/>
                    <a:pt x="3346" y="33885"/>
                    <a:pt x="4244" y="32909"/>
                  </a:cubicBezTo>
                  <a:lnTo>
                    <a:pt x="4244" y="32909"/>
                  </a:lnTo>
                  <a:cubicBezTo>
                    <a:pt x="3262" y="34589"/>
                    <a:pt x="2405" y="36344"/>
                    <a:pt x="1758" y="38212"/>
                  </a:cubicBezTo>
                  <a:cubicBezTo>
                    <a:pt x="1718" y="38330"/>
                    <a:pt x="1819" y="38414"/>
                    <a:pt x="1920" y="38414"/>
                  </a:cubicBezTo>
                  <a:cubicBezTo>
                    <a:pt x="1972" y="38414"/>
                    <a:pt x="2024" y="38391"/>
                    <a:pt x="2055" y="38339"/>
                  </a:cubicBezTo>
                  <a:cubicBezTo>
                    <a:pt x="5984" y="31817"/>
                    <a:pt x="10762" y="25862"/>
                    <a:pt x="15171" y="19669"/>
                  </a:cubicBezTo>
                  <a:cubicBezTo>
                    <a:pt x="16080" y="18604"/>
                    <a:pt x="16952" y="17515"/>
                    <a:pt x="17749" y="16323"/>
                  </a:cubicBezTo>
                  <a:cubicBezTo>
                    <a:pt x="18529" y="15154"/>
                    <a:pt x="19244" y="13941"/>
                    <a:pt x="19998" y="12757"/>
                  </a:cubicBezTo>
                  <a:cubicBezTo>
                    <a:pt x="20338" y="12224"/>
                    <a:pt x="22267" y="9564"/>
                    <a:pt x="22610" y="9564"/>
                  </a:cubicBezTo>
                  <a:cubicBezTo>
                    <a:pt x="22733" y="9564"/>
                    <a:pt x="22651" y="9907"/>
                    <a:pt x="22218" y="10814"/>
                  </a:cubicBezTo>
                  <a:cubicBezTo>
                    <a:pt x="20012" y="15434"/>
                    <a:pt x="15564" y="19903"/>
                    <a:pt x="12578" y="24103"/>
                  </a:cubicBezTo>
                  <a:cubicBezTo>
                    <a:pt x="8952" y="29208"/>
                    <a:pt x="5306" y="34318"/>
                    <a:pt x="1931" y="39592"/>
                  </a:cubicBezTo>
                  <a:cubicBezTo>
                    <a:pt x="1853" y="39715"/>
                    <a:pt x="1966" y="39832"/>
                    <a:pt x="2081" y="39832"/>
                  </a:cubicBezTo>
                  <a:cubicBezTo>
                    <a:pt x="2130" y="39832"/>
                    <a:pt x="2180" y="39810"/>
                    <a:pt x="2214" y="39757"/>
                  </a:cubicBezTo>
                  <a:cubicBezTo>
                    <a:pt x="2644" y="39087"/>
                    <a:pt x="3089" y="38426"/>
                    <a:pt x="3528" y="37759"/>
                  </a:cubicBezTo>
                  <a:cubicBezTo>
                    <a:pt x="4379" y="36812"/>
                    <a:pt x="5193" y="35839"/>
                    <a:pt x="5973" y="34840"/>
                  </a:cubicBezTo>
                  <a:lnTo>
                    <a:pt x="5973" y="34840"/>
                  </a:lnTo>
                  <a:cubicBezTo>
                    <a:pt x="4778" y="36512"/>
                    <a:pt x="3718" y="38247"/>
                    <a:pt x="2907" y="40083"/>
                  </a:cubicBezTo>
                  <a:cubicBezTo>
                    <a:pt x="2866" y="40177"/>
                    <a:pt x="2937" y="40276"/>
                    <a:pt x="3021" y="40276"/>
                  </a:cubicBezTo>
                  <a:cubicBezTo>
                    <a:pt x="3050" y="40276"/>
                    <a:pt x="3081" y="40264"/>
                    <a:pt x="3109" y="40236"/>
                  </a:cubicBezTo>
                  <a:cubicBezTo>
                    <a:pt x="4062" y="39292"/>
                    <a:pt x="4965" y="38299"/>
                    <a:pt x="5817" y="37262"/>
                  </a:cubicBezTo>
                  <a:lnTo>
                    <a:pt x="5817" y="37262"/>
                  </a:lnTo>
                  <a:cubicBezTo>
                    <a:pt x="4882" y="38561"/>
                    <a:pt x="3964" y="39872"/>
                    <a:pt x="3071" y="41189"/>
                  </a:cubicBezTo>
                  <a:cubicBezTo>
                    <a:pt x="3013" y="41273"/>
                    <a:pt x="3100" y="41375"/>
                    <a:pt x="3184" y="41375"/>
                  </a:cubicBezTo>
                  <a:cubicBezTo>
                    <a:pt x="3212" y="41375"/>
                    <a:pt x="3240" y="41363"/>
                    <a:pt x="3262" y="41336"/>
                  </a:cubicBezTo>
                  <a:cubicBezTo>
                    <a:pt x="6106" y="37730"/>
                    <a:pt x="9082" y="34237"/>
                    <a:pt x="12062" y="30746"/>
                  </a:cubicBezTo>
                  <a:lnTo>
                    <a:pt x="12062" y="30746"/>
                  </a:lnTo>
                  <a:cubicBezTo>
                    <a:pt x="11311" y="31861"/>
                    <a:pt x="10537" y="32975"/>
                    <a:pt x="9746" y="34087"/>
                  </a:cubicBezTo>
                  <a:cubicBezTo>
                    <a:pt x="7696" y="36691"/>
                    <a:pt x="5667" y="39309"/>
                    <a:pt x="3707" y="41977"/>
                  </a:cubicBezTo>
                  <a:cubicBezTo>
                    <a:pt x="3646" y="42059"/>
                    <a:pt x="3731" y="42155"/>
                    <a:pt x="3813" y="42155"/>
                  </a:cubicBezTo>
                  <a:cubicBezTo>
                    <a:pt x="3840" y="42155"/>
                    <a:pt x="3867" y="42144"/>
                    <a:pt x="3889" y="42118"/>
                  </a:cubicBezTo>
                  <a:cubicBezTo>
                    <a:pt x="5964" y="39624"/>
                    <a:pt x="7904" y="37037"/>
                    <a:pt x="9769" y="34398"/>
                  </a:cubicBezTo>
                  <a:cubicBezTo>
                    <a:pt x="11741" y="31910"/>
                    <a:pt x="13745" y="29444"/>
                    <a:pt x="15731" y="26967"/>
                  </a:cubicBezTo>
                  <a:cubicBezTo>
                    <a:pt x="15997" y="26638"/>
                    <a:pt x="16254" y="26300"/>
                    <a:pt x="16519" y="25971"/>
                  </a:cubicBezTo>
                  <a:lnTo>
                    <a:pt x="16519" y="25971"/>
                  </a:lnTo>
                  <a:cubicBezTo>
                    <a:pt x="12339" y="31731"/>
                    <a:pt x="8430" y="37666"/>
                    <a:pt x="4163" y="43386"/>
                  </a:cubicBezTo>
                  <a:cubicBezTo>
                    <a:pt x="4088" y="43485"/>
                    <a:pt x="4181" y="43579"/>
                    <a:pt x="4279" y="43579"/>
                  </a:cubicBezTo>
                  <a:cubicBezTo>
                    <a:pt x="4320" y="43579"/>
                    <a:pt x="4363" y="43562"/>
                    <a:pt x="4394" y="43521"/>
                  </a:cubicBezTo>
                  <a:cubicBezTo>
                    <a:pt x="8288" y="38449"/>
                    <a:pt x="12244" y="33420"/>
                    <a:pt x="16106" y="28324"/>
                  </a:cubicBezTo>
                  <a:cubicBezTo>
                    <a:pt x="19969" y="23226"/>
                    <a:pt x="23050" y="16912"/>
                    <a:pt x="27504" y="12350"/>
                  </a:cubicBezTo>
                  <a:lnTo>
                    <a:pt x="27504" y="12350"/>
                  </a:lnTo>
                  <a:lnTo>
                    <a:pt x="27048" y="13956"/>
                  </a:lnTo>
                  <a:cubicBezTo>
                    <a:pt x="26237" y="15223"/>
                    <a:pt x="25330" y="16424"/>
                    <a:pt x="24331" y="17553"/>
                  </a:cubicBezTo>
                  <a:cubicBezTo>
                    <a:pt x="23387" y="18699"/>
                    <a:pt x="22423" y="19822"/>
                    <a:pt x="21511" y="20997"/>
                  </a:cubicBezTo>
                  <a:cubicBezTo>
                    <a:pt x="19675" y="23359"/>
                    <a:pt x="17954" y="25821"/>
                    <a:pt x="16216" y="28258"/>
                  </a:cubicBezTo>
                  <a:cubicBezTo>
                    <a:pt x="12278" y="33786"/>
                    <a:pt x="8037" y="39179"/>
                    <a:pt x="4483" y="44965"/>
                  </a:cubicBezTo>
                  <a:cubicBezTo>
                    <a:pt x="4425" y="45060"/>
                    <a:pt x="4509" y="45158"/>
                    <a:pt x="4598" y="45158"/>
                  </a:cubicBezTo>
                  <a:cubicBezTo>
                    <a:pt x="4628" y="45158"/>
                    <a:pt x="4659" y="45147"/>
                    <a:pt x="4685" y="45121"/>
                  </a:cubicBezTo>
                  <a:cubicBezTo>
                    <a:pt x="5967" y="43853"/>
                    <a:pt x="7136" y="42505"/>
                    <a:pt x="8245" y="41111"/>
                  </a:cubicBezTo>
                  <a:lnTo>
                    <a:pt x="8245" y="41111"/>
                  </a:lnTo>
                  <a:cubicBezTo>
                    <a:pt x="7102" y="42779"/>
                    <a:pt x="6008" y="44483"/>
                    <a:pt x="5003" y="46252"/>
                  </a:cubicBezTo>
                  <a:cubicBezTo>
                    <a:pt x="4971" y="46310"/>
                    <a:pt x="5020" y="46364"/>
                    <a:pt x="5070" y="46364"/>
                  </a:cubicBezTo>
                  <a:cubicBezTo>
                    <a:pt x="5092" y="46364"/>
                    <a:pt x="5115" y="46353"/>
                    <a:pt x="5130" y="46328"/>
                  </a:cubicBezTo>
                  <a:cubicBezTo>
                    <a:pt x="5987" y="44852"/>
                    <a:pt x="6914" y="43417"/>
                    <a:pt x="7870" y="42006"/>
                  </a:cubicBezTo>
                  <a:lnTo>
                    <a:pt x="7870" y="42006"/>
                  </a:lnTo>
                  <a:cubicBezTo>
                    <a:pt x="6868" y="43677"/>
                    <a:pt x="6010" y="45401"/>
                    <a:pt x="5393" y="47197"/>
                  </a:cubicBezTo>
                  <a:cubicBezTo>
                    <a:pt x="5357" y="47297"/>
                    <a:pt x="5455" y="47388"/>
                    <a:pt x="5549" y="47388"/>
                  </a:cubicBezTo>
                  <a:cubicBezTo>
                    <a:pt x="5584" y="47388"/>
                    <a:pt x="5620" y="47375"/>
                    <a:pt x="5647" y="47344"/>
                  </a:cubicBezTo>
                  <a:cubicBezTo>
                    <a:pt x="6946" y="45831"/>
                    <a:pt x="8101" y="44206"/>
                    <a:pt x="9227" y="42554"/>
                  </a:cubicBezTo>
                  <a:lnTo>
                    <a:pt x="9227" y="42554"/>
                  </a:lnTo>
                  <a:cubicBezTo>
                    <a:pt x="8089" y="44350"/>
                    <a:pt x="7009" y="46154"/>
                    <a:pt x="6034" y="47944"/>
                  </a:cubicBezTo>
                  <a:cubicBezTo>
                    <a:pt x="5968" y="48066"/>
                    <a:pt x="6073" y="48178"/>
                    <a:pt x="6178" y="48178"/>
                  </a:cubicBezTo>
                  <a:cubicBezTo>
                    <a:pt x="6225" y="48178"/>
                    <a:pt x="6271" y="48156"/>
                    <a:pt x="6302" y="48103"/>
                  </a:cubicBezTo>
                  <a:cubicBezTo>
                    <a:pt x="9296" y="42947"/>
                    <a:pt x="13147" y="38466"/>
                    <a:pt x="16944" y="33913"/>
                  </a:cubicBezTo>
                  <a:lnTo>
                    <a:pt x="16944" y="33913"/>
                  </a:lnTo>
                  <a:cubicBezTo>
                    <a:pt x="16479" y="34603"/>
                    <a:pt x="16028" y="35308"/>
                    <a:pt x="15584" y="36021"/>
                  </a:cubicBezTo>
                  <a:cubicBezTo>
                    <a:pt x="14521" y="37716"/>
                    <a:pt x="13398" y="39428"/>
                    <a:pt x="12304" y="41163"/>
                  </a:cubicBezTo>
                  <a:cubicBezTo>
                    <a:pt x="11536" y="42237"/>
                    <a:pt x="10765" y="43305"/>
                    <a:pt x="9989" y="44373"/>
                  </a:cubicBezTo>
                  <a:cubicBezTo>
                    <a:pt x="9989" y="44373"/>
                    <a:pt x="9989" y="44373"/>
                    <a:pt x="9989" y="44373"/>
                  </a:cubicBezTo>
                  <a:cubicBezTo>
                    <a:pt x="9986" y="44373"/>
                    <a:pt x="9337" y="45341"/>
                    <a:pt x="8820" y="46157"/>
                  </a:cubicBezTo>
                  <a:cubicBezTo>
                    <a:pt x="8184" y="46890"/>
                    <a:pt x="7561" y="47635"/>
                    <a:pt x="6972" y="48412"/>
                  </a:cubicBezTo>
                  <a:cubicBezTo>
                    <a:pt x="6880" y="48532"/>
                    <a:pt x="6997" y="48649"/>
                    <a:pt x="7118" y="48649"/>
                  </a:cubicBezTo>
                  <a:cubicBezTo>
                    <a:pt x="7169" y="48649"/>
                    <a:pt x="7220" y="48629"/>
                    <a:pt x="7258" y="48579"/>
                  </a:cubicBezTo>
                  <a:cubicBezTo>
                    <a:pt x="7601" y="48126"/>
                    <a:pt x="7933" y="47664"/>
                    <a:pt x="8277" y="47208"/>
                  </a:cubicBezTo>
                  <a:cubicBezTo>
                    <a:pt x="8363" y="47130"/>
                    <a:pt x="8519" y="46957"/>
                    <a:pt x="8785" y="46628"/>
                  </a:cubicBezTo>
                  <a:cubicBezTo>
                    <a:pt x="9085" y="46258"/>
                    <a:pt x="9400" y="45897"/>
                    <a:pt x="9714" y="45536"/>
                  </a:cubicBezTo>
                  <a:lnTo>
                    <a:pt x="9714" y="45536"/>
                  </a:lnTo>
                  <a:cubicBezTo>
                    <a:pt x="9253" y="46388"/>
                    <a:pt x="8808" y="47243"/>
                    <a:pt x="8407" y="48109"/>
                  </a:cubicBezTo>
                  <a:cubicBezTo>
                    <a:pt x="8353" y="48225"/>
                    <a:pt x="8438" y="48320"/>
                    <a:pt x="8532" y="48320"/>
                  </a:cubicBezTo>
                  <a:cubicBezTo>
                    <a:pt x="8575" y="48320"/>
                    <a:pt x="8620" y="48300"/>
                    <a:pt x="8655" y="48253"/>
                  </a:cubicBezTo>
                  <a:cubicBezTo>
                    <a:pt x="12350" y="43351"/>
                    <a:pt x="17668" y="38126"/>
                    <a:pt x="20523" y="32545"/>
                  </a:cubicBezTo>
                  <a:cubicBezTo>
                    <a:pt x="20532" y="32528"/>
                    <a:pt x="20544" y="32513"/>
                    <a:pt x="20552" y="32496"/>
                  </a:cubicBezTo>
                  <a:lnTo>
                    <a:pt x="20552" y="32496"/>
                  </a:lnTo>
                  <a:cubicBezTo>
                    <a:pt x="17726" y="38134"/>
                    <a:pt x="13014" y="42797"/>
                    <a:pt x="9657" y="48103"/>
                  </a:cubicBezTo>
                  <a:cubicBezTo>
                    <a:pt x="9587" y="48214"/>
                    <a:pt x="9692" y="48336"/>
                    <a:pt x="9799" y="48336"/>
                  </a:cubicBezTo>
                  <a:cubicBezTo>
                    <a:pt x="9834" y="48336"/>
                    <a:pt x="9870" y="48322"/>
                    <a:pt x="9899" y="48291"/>
                  </a:cubicBezTo>
                  <a:cubicBezTo>
                    <a:pt x="10751" y="47396"/>
                    <a:pt x="11585" y="46489"/>
                    <a:pt x="12405" y="45571"/>
                  </a:cubicBezTo>
                  <a:lnTo>
                    <a:pt x="12405" y="45571"/>
                  </a:lnTo>
                  <a:cubicBezTo>
                    <a:pt x="11952" y="46198"/>
                    <a:pt x="11502" y="46824"/>
                    <a:pt x="11074" y="47471"/>
                  </a:cubicBezTo>
                  <a:cubicBezTo>
                    <a:pt x="10998" y="47586"/>
                    <a:pt x="11104" y="47702"/>
                    <a:pt x="11216" y="47702"/>
                  </a:cubicBezTo>
                  <a:cubicBezTo>
                    <a:pt x="11252" y="47702"/>
                    <a:pt x="11289" y="47690"/>
                    <a:pt x="11320" y="47661"/>
                  </a:cubicBezTo>
                  <a:cubicBezTo>
                    <a:pt x="12062" y="46980"/>
                    <a:pt x="12752" y="46267"/>
                    <a:pt x="13410" y="45531"/>
                  </a:cubicBezTo>
                  <a:cubicBezTo>
                    <a:pt x="13426" y="45601"/>
                    <a:pt x="13502" y="45656"/>
                    <a:pt x="13580" y="45656"/>
                  </a:cubicBezTo>
                  <a:cubicBezTo>
                    <a:pt x="13616" y="45656"/>
                    <a:pt x="13653" y="45643"/>
                    <a:pt x="13684" y="45614"/>
                  </a:cubicBezTo>
                  <a:cubicBezTo>
                    <a:pt x="16467" y="42973"/>
                    <a:pt x="18627" y="40019"/>
                    <a:pt x="20636" y="36760"/>
                  </a:cubicBezTo>
                  <a:cubicBezTo>
                    <a:pt x="20710" y="36642"/>
                    <a:pt x="20602" y="36529"/>
                    <a:pt x="20494" y="36529"/>
                  </a:cubicBezTo>
                  <a:cubicBezTo>
                    <a:pt x="20447" y="36529"/>
                    <a:pt x="20399" y="36551"/>
                    <a:pt x="20368" y="36604"/>
                  </a:cubicBezTo>
                  <a:cubicBezTo>
                    <a:pt x="19528" y="37966"/>
                    <a:pt x="18663" y="39290"/>
                    <a:pt x="17742" y="40600"/>
                  </a:cubicBezTo>
                  <a:lnTo>
                    <a:pt x="17742" y="40600"/>
                  </a:lnTo>
                  <a:cubicBezTo>
                    <a:pt x="17769" y="40562"/>
                    <a:pt x="17780" y="40544"/>
                    <a:pt x="17777" y="40544"/>
                  </a:cubicBezTo>
                  <a:lnTo>
                    <a:pt x="17777" y="40544"/>
                  </a:lnTo>
                  <a:cubicBezTo>
                    <a:pt x="17732" y="40544"/>
                    <a:pt x="14714" y="44341"/>
                    <a:pt x="14645" y="44341"/>
                  </a:cubicBezTo>
                  <a:cubicBezTo>
                    <a:pt x="14624" y="44341"/>
                    <a:pt x="14875" y="43990"/>
                    <a:pt x="15564" y="43077"/>
                  </a:cubicBezTo>
                  <a:cubicBezTo>
                    <a:pt x="17784" y="40126"/>
                    <a:pt x="19955" y="37257"/>
                    <a:pt x="21577" y="33922"/>
                  </a:cubicBezTo>
                  <a:cubicBezTo>
                    <a:pt x="21649" y="33801"/>
                    <a:pt x="21547" y="33691"/>
                    <a:pt x="21443" y="33691"/>
                  </a:cubicBezTo>
                  <a:cubicBezTo>
                    <a:pt x="21395" y="33691"/>
                    <a:pt x="21347" y="33714"/>
                    <a:pt x="21314" y="33769"/>
                  </a:cubicBezTo>
                  <a:cubicBezTo>
                    <a:pt x="19984" y="35747"/>
                    <a:pt x="18713" y="37765"/>
                    <a:pt x="17417" y="39765"/>
                  </a:cubicBezTo>
                  <a:cubicBezTo>
                    <a:pt x="15943" y="42041"/>
                    <a:pt x="13342" y="44649"/>
                    <a:pt x="12212" y="46332"/>
                  </a:cubicBezTo>
                  <a:lnTo>
                    <a:pt x="12212" y="46332"/>
                  </a:lnTo>
                  <a:cubicBezTo>
                    <a:pt x="12953" y="45228"/>
                    <a:pt x="13737" y="44167"/>
                    <a:pt x="14533" y="43114"/>
                  </a:cubicBezTo>
                  <a:cubicBezTo>
                    <a:pt x="16762" y="40450"/>
                    <a:pt x="18829" y="37664"/>
                    <a:pt x="20650" y="34676"/>
                  </a:cubicBezTo>
                  <a:cubicBezTo>
                    <a:pt x="21135" y="33881"/>
                    <a:pt x="21305" y="33568"/>
                    <a:pt x="21269" y="33568"/>
                  </a:cubicBezTo>
                  <a:cubicBezTo>
                    <a:pt x="21265" y="33568"/>
                    <a:pt x="21258" y="33573"/>
                    <a:pt x="21248" y="33581"/>
                  </a:cubicBezTo>
                  <a:cubicBezTo>
                    <a:pt x="21528" y="33073"/>
                    <a:pt x="21802" y="32562"/>
                    <a:pt x="22054" y="32034"/>
                  </a:cubicBezTo>
                  <a:cubicBezTo>
                    <a:pt x="22109" y="31913"/>
                    <a:pt x="22004" y="31801"/>
                    <a:pt x="21905" y="31801"/>
                  </a:cubicBezTo>
                  <a:cubicBezTo>
                    <a:pt x="21860" y="31801"/>
                    <a:pt x="21816" y="31823"/>
                    <a:pt x="21788" y="31878"/>
                  </a:cubicBezTo>
                  <a:cubicBezTo>
                    <a:pt x="20549" y="34346"/>
                    <a:pt x="19100" y="36633"/>
                    <a:pt x="17501" y="38847"/>
                  </a:cubicBezTo>
                  <a:cubicBezTo>
                    <a:pt x="16883" y="39690"/>
                    <a:pt x="16254" y="40522"/>
                    <a:pt x="15613" y="41345"/>
                  </a:cubicBezTo>
                  <a:cubicBezTo>
                    <a:pt x="14083" y="43233"/>
                    <a:pt x="11883" y="45155"/>
                    <a:pt x="10731" y="46980"/>
                  </a:cubicBezTo>
                  <a:cubicBezTo>
                    <a:pt x="14328" y="41278"/>
                    <a:pt x="19089" y="36509"/>
                    <a:pt x="21889" y="30296"/>
                  </a:cubicBezTo>
                  <a:cubicBezTo>
                    <a:pt x="21935" y="30193"/>
                    <a:pt x="21851" y="30074"/>
                    <a:pt x="21757" y="30074"/>
                  </a:cubicBezTo>
                  <a:cubicBezTo>
                    <a:pt x="21756" y="30074"/>
                    <a:pt x="21754" y="30074"/>
                    <a:pt x="21753" y="30074"/>
                  </a:cubicBezTo>
                  <a:cubicBezTo>
                    <a:pt x="21987" y="29519"/>
                    <a:pt x="22201" y="28954"/>
                    <a:pt x="22388" y="28376"/>
                  </a:cubicBezTo>
                  <a:cubicBezTo>
                    <a:pt x="22420" y="28276"/>
                    <a:pt x="22328" y="28170"/>
                    <a:pt x="22231" y="28170"/>
                  </a:cubicBezTo>
                  <a:cubicBezTo>
                    <a:pt x="22205" y="28170"/>
                    <a:pt x="22179" y="28177"/>
                    <a:pt x="22155" y="28194"/>
                  </a:cubicBezTo>
                  <a:cubicBezTo>
                    <a:pt x="21658" y="28561"/>
                    <a:pt x="21182" y="28956"/>
                    <a:pt x="20728" y="29375"/>
                  </a:cubicBezTo>
                  <a:cubicBezTo>
                    <a:pt x="21112" y="28789"/>
                    <a:pt x="21505" y="28206"/>
                    <a:pt x="21883" y="27617"/>
                  </a:cubicBezTo>
                  <a:cubicBezTo>
                    <a:pt x="21954" y="27508"/>
                    <a:pt x="21858" y="27411"/>
                    <a:pt x="21759" y="27411"/>
                  </a:cubicBezTo>
                  <a:cubicBezTo>
                    <a:pt x="21716" y="27411"/>
                    <a:pt x="21672" y="27429"/>
                    <a:pt x="21641" y="27472"/>
                  </a:cubicBezTo>
                  <a:cubicBezTo>
                    <a:pt x="17330" y="33431"/>
                    <a:pt x="11496" y="39301"/>
                    <a:pt x="7875" y="45291"/>
                  </a:cubicBezTo>
                  <a:cubicBezTo>
                    <a:pt x="12062" y="38016"/>
                    <a:pt x="17561" y="31520"/>
                    <a:pt x="22515" y="24779"/>
                  </a:cubicBezTo>
                  <a:cubicBezTo>
                    <a:pt x="22585" y="24681"/>
                    <a:pt x="22482" y="24565"/>
                    <a:pt x="22384" y="24565"/>
                  </a:cubicBezTo>
                  <a:cubicBezTo>
                    <a:pt x="22351" y="24565"/>
                    <a:pt x="22318" y="24578"/>
                    <a:pt x="22293" y="24609"/>
                  </a:cubicBezTo>
                  <a:cubicBezTo>
                    <a:pt x="21251" y="25876"/>
                    <a:pt x="20122" y="27149"/>
                    <a:pt x="18956" y="28434"/>
                  </a:cubicBezTo>
                  <a:cubicBezTo>
                    <a:pt x="19966" y="26800"/>
                    <a:pt x="20907" y="25120"/>
                    <a:pt x="21739" y="23367"/>
                  </a:cubicBezTo>
                  <a:cubicBezTo>
                    <a:pt x="21793" y="23255"/>
                    <a:pt x="21701" y="23129"/>
                    <a:pt x="21599" y="23129"/>
                  </a:cubicBezTo>
                  <a:cubicBezTo>
                    <a:pt x="21564" y="23129"/>
                    <a:pt x="21528" y="23144"/>
                    <a:pt x="21496" y="23180"/>
                  </a:cubicBezTo>
                  <a:cubicBezTo>
                    <a:pt x="18736" y="26260"/>
                    <a:pt x="16577" y="29860"/>
                    <a:pt x="14085" y="33160"/>
                  </a:cubicBezTo>
                  <a:cubicBezTo>
                    <a:pt x="13445" y="34009"/>
                    <a:pt x="12804" y="34857"/>
                    <a:pt x="12163" y="35706"/>
                  </a:cubicBezTo>
                  <a:cubicBezTo>
                    <a:pt x="13159" y="34234"/>
                    <a:pt x="14134" y="32747"/>
                    <a:pt x="15122" y="31260"/>
                  </a:cubicBezTo>
                  <a:cubicBezTo>
                    <a:pt x="19418" y="24811"/>
                    <a:pt x="24086" y="18286"/>
                    <a:pt x="29277" y="12532"/>
                  </a:cubicBezTo>
                  <a:cubicBezTo>
                    <a:pt x="29381" y="12419"/>
                    <a:pt x="29276" y="12264"/>
                    <a:pt x="29161" y="12264"/>
                  </a:cubicBezTo>
                  <a:cubicBezTo>
                    <a:pt x="29125" y="12264"/>
                    <a:pt x="29089" y="12278"/>
                    <a:pt x="29057" y="12313"/>
                  </a:cubicBezTo>
                  <a:cubicBezTo>
                    <a:pt x="28200" y="13263"/>
                    <a:pt x="27377" y="14238"/>
                    <a:pt x="26572" y="15229"/>
                  </a:cubicBezTo>
                  <a:cubicBezTo>
                    <a:pt x="27325" y="14031"/>
                    <a:pt x="27992" y="12801"/>
                    <a:pt x="28512" y="11513"/>
                  </a:cubicBezTo>
                  <a:cubicBezTo>
                    <a:pt x="28551" y="11414"/>
                    <a:pt x="28465" y="11352"/>
                    <a:pt x="28379" y="11352"/>
                  </a:cubicBezTo>
                  <a:cubicBezTo>
                    <a:pt x="28344" y="11352"/>
                    <a:pt x="28310" y="11362"/>
                    <a:pt x="28284" y="11383"/>
                  </a:cubicBezTo>
                  <a:cubicBezTo>
                    <a:pt x="27397" y="12093"/>
                    <a:pt x="26609" y="12910"/>
                    <a:pt x="25870" y="13774"/>
                  </a:cubicBezTo>
                  <a:cubicBezTo>
                    <a:pt x="26344" y="13046"/>
                    <a:pt x="26806" y="12307"/>
                    <a:pt x="27242" y="11551"/>
                  </a:cubicBezTo>
                  <a:cubicBezTo>
                    <a:pt x="27306" y="11440"/>
                    <a:pt x="27211" y="11341"/>
                    <a:pt x="27113" y="11341"/>
                  </a:cubicBezTo>
                  <a:cubicBezTo>
                    <a:pt x="27071" y="11341"/>
                    <a:pt x="27027" y="11360"/>
                    <a:pt x="26996" y="11406"/>
                  </a:cubicBezTo>
                  <a:cubicBezTo>
                    <a:pt x="26742" y="11790"/>
                    <a:pt x="26471" y="12160"/>
                    <a:pt x="26211" y="12541"/>
                  </a:cubicBezTo>
                  <a:cubicBezTo>
                    <a:pt x="26531" y="11900"/>
                    <a:pt x="26829" y="11245"/>
                    <a:pt x="27088" y="10569"/>
                  </a:cubicBezTo>
                  <a:cubicBezTo>
                    <a:pt x="27124" y="10475"/>
                    <a:pt x="27039" y="10404"/>
                    <a:pt x="26957" y="10404"/>
                  </a:cubicBezTo>
                  <a:cubicBezTo>
                    <a:pt x="26925" y="10404"/>
                    <a:pt x="26893" y="10415"/>
                    <a:pt x="26869" y="10439"/>
                  </a:cubicBezTo>
                  <a:cubicBezTo>
                    <a:pt x="26046" y="11259"/>
                    <a:pt x="25270" y="12108"/>
                    <a:pt x="24510" y="12974"/>
                  </a:cubicBezTo>
                  <a:cubicBezTo>
                    <a:pt x="25137" y="11935"/>
                    <a:pt x="25732" y="10881"/>
                    <a:pt x="26280" y="9807"/>
                  </a:cubicBezTo>
                  <a:cubicBezTo>
                    <a:pt x="26330" y="9716"/>
                    <a:pt x="26255" y="9625"/>
                    <a:pt x="26171" y="9625"/>
                  </a:cubicBezTo>
                  <a:cubicBezTo>
                    <a:pt x="26142" y="9625"/>
                    <a:pt x="26113" y="9636"/>
                    <a:pt x="26087" y="9660"/>
                  </a:cubicBezTo>
                  <a:cubicBezTo>
                    <a:pt x="25218" y="10390"/>
                    <a:pt x="24409" y="11210"/>
                    <a:pt x="23627" y="12065"/>
                  </a:cubicBezTo>
                  <a:cubicBezTo>
                    <a:pt x="24386" y="10970"/>
                    <a:pt x="25131" y="9862"/>
                    <a:pt x="25830" y="8719"/>
                  </a:cubicBezTo>
                  <a:cubicBezTo>
                    <a:pt x="25902" y="8603"/>
                    <a:pt x="25802" y="8499"/>
                    <a:pt x="25698" y="8499"/>
                  </a:cubicBezTo>
                  <a:cubicBezTo>
                    <a:pt x="25652" y="8499"/>
                    <a:pt x="25606" y="8520"/>
                    <a:pt x="25573" y="8568"/>
                  </a:cubicBezTo>
                  <a:cubicBezTo>
                    <a:pt x="22310" y="13240"/>
                    <a:pt x="18214" y="17201"/>
                    <a:pt x="14836" y="21771"/>
                  </a:cubicBezTo>
                  <a:cubicBezTo>
                    <a:pt x="11198" y="26699"/>
                    <a:pt x="8106" y="32025"/>
                    <a:pt x="4197" y="36743"/>
                  </a:cubicBezTo>
                  <a:cubicBezTo>
                    <a:pt x="7307" y="32060"/>
                    <a:pt x="10578" y="27481"/>
                    <a:pt x="13831" y="22899"/>
                  </a:cubicBezTo>
                  <a:cubicBezTo>
                    <a:pt x="17059" y="18358"/>
                    <a:pt x="21678" y="13895"/>
                    <a:pt x="23494" y="8528"/>
                  </a:cubicBezTo>
                  <a:cubicBezTo>
                    <a:pt x="23531" y="8414"/>
                    <a:pt x="23435" y="8330"/>
                    <a:pt x="23336" y="8330"/>
                  </a:cubicBezTo>
                  <a:cubicBezTo>
                    <a:pt x="23297" y="8330"/>
                    <a:pt x="23257" y="8343"/>
                    <a:pt x="23226" y="8372"/>
                  </a:cubicBezTo>
                  <a:cubicBezTo>
                    <a:pt x="22253" y="9293"/>
                    <a:pt x="21418" y="10286"/>
                    <a:pt x="20645" y="11331"/>
                  </a:cubicBezTo>
                  <a:cubicBezTo>
                    <a:pt x="21418" y="10015"/>
                    <a:pt x="22155" y="8675"/>
                    <a:pt x="22847" y="7307"/>
                  </a:cubicBezTo>
                  <a:cubicBezTo>
                    <a:pt x="22906" y="7191"/>
                    <a:pt x="22813" y="7068"/>
                    <a:pt x="22707" y="7068"/>
                  </a:cubicBezTo>
                  <a:cubicBezTo>
                    <a:pt x="22671" y="7068"/>
                    <a:pt x="22633" y="7082"/>
                    <a:pt x="22599" y="7116"/>
                  </a:cubicBezTo>
                  <a:cubicBezTo>
                    <a:pt x="16689" y="13052"/>
                    <a:pt x="12818" y="20532"/>
                    <a:pt x="8101" y="27371"/>
                  </a:cubicBezTo>
                  <a:cubicBezTo>
                    <a:pt x="7145" y="28570"/>
                    <a:pt x="6236" y="29802"/>
                    <a:pt x="5390" y="31075"/>
                  </a:cubicBezTo>
                  <a:cubicBezTo>
                    <a:pt x="5017" y="31549"/>
                    <a:pt x="4636" y="32022"/>
                    <a:pt x="4249" y="32484"/>
                  </a:cubicBezTo>
                  <a:cubicBezTo>
                    <a:pt x="3218" y="33712"/>
                    <a:pt x="2614" y="34275"/>
                    <a:pt x="2434" y="34275"/>
                  </a:cubicBezTo>
                  <a:cubicBezTo>
                    <a:pt x="2213" y="34275"/>
                    <a:pt x="2631" y="33425"/>
                    <a:pt x="3684" y="31913"/>
                  </a:cubicBezTo>
                  <a:cubicBezTo>
                    <a:pt x="5280" y="29620"/>
                    <a:pt x="6931" y="27363"/>
                    <a:pt x="8551" y="25082"/>
                  </a:cubicBezTo>
                  <a:cubicBezTo>
                    <a:pt x="10327" y="22767"/>
                    <a:pt x="12056" y="20391"/>
                    <a:pt x="13696" y="17974"/>
                  </a:cubicBezTo>
                  <a:cubicBezTo>
                    <a:pt x="16525" y="14175"/>
                    <a:pt x="19435" y="10436"/>
                    <a:pt x="22339" y="6698"/>
                  </a:cubicBezTo>
                  <a:cubicBezTo>
                    <a:pt x="22412" y="6604"/>
                    <a:pt x="22346" y="6444"/>
                    <a:pt x="22243" y="6444"/>
                  </a:cubicBezTo>
                  <a:cubicBezTo>
                    <a:pt x="22219" y="6444"/>
                    <a:pt x="22193" y="6452"/>
                    <a:pt x="22166" y="6472"/>
                  </a:cubicBezTo>
                  <a:cubicBezTo>
                    <a:pt x="20936" y="7414"/>
                    <a:pt x="19854" y="8493"/>
                    <a:pt x="18843" y="9637"/>
                  </a:cubicBezTo>
                  <a:cubicBezTo>
                    <a:pt x="19588" y="8288"/>
                    <a:pt x="20295" y="6931"/>
                    <a:pt x="20951" y="5569"/>
                  </a:cubicBezTo>
                  <a:cubicBezTo>
                    <a:pt x="21009" y="5453"/>
                    <a:pt x="20912" y="5351"/>
                    <a:pt x="20812" y="5351"/>
                  </a:cubicBezTo>
                  <a:cubicBezTo>
                    <a:pt x="20768" y="5351"/>
                    <a:pt x="20723" y="5371"/>
                    <a:pt x="20691" y="5419"/>
                  </a:cubicBezTo>
                  <a:cubicBezTo>
                    <a:pt x="17258" y="10136"/>
                    <a:pt x="13612" y="14596"/>
                    <a:pt x="10404" y="19484"/>
                  </a:cubicBezTo>
                  <a:cubicBezTo>
                    <a:pt x="8973" y="21667"/>
                    <a:pt x="7543" y="23846"/>
                    <a:pt x="6048" y="25989"/>
                  </a:cubicBezTo>
                  <a:cubicBezTo>
                    <a:pt x="4867" y="27680"/>
                    <a:pt x="3571" y="29283"/>
                    <a:pt x="2234" y="30853"/>
                  </a:cubicBezTo>
                  <a:cubicBezTo>
                    <a:pt x="1596" y="31599"/>
                    <a:pt x="1207" y="32007"/>
                    <a:pt x="1111" y="32007"/>
                  </a:cubicBezTo>
                  <a:cubicBezTo>
                    <a:pt x="1015" y="32007"/>
                    <a:pt x="1217" y="31593"/>
                    <a:pt x="1764" y="30694"/>
                  </a:cubicBezTo>
                  <a:cubicBezTo>
                    <a:pt x="4717" y="25844"/>
                    <a:pt x="8612" y="21488"/>
                    <a:pt x="11862" y="16831"/>
                  </a:cubicBezTo>
                  <a:cubicBezTo>
                    <a:pt x="14732" y="12723"/>
                    <a:pt x="18641" y="9123"/>
                    <a:pt x="20633" y="4466"/>
                  </a:cubicBezTo>
                  <a:cubicBezTo>
                    <a:pt x="20678" y="4359"/>
                    <a:pt x="20599" y="4243"/>
                    <a:pt x="20504" y="4243"/>
                  </a:cubicBezTo>
                  <a:cubicBezTo>
                    <a:pt x="20472" y="4243"/>
                    <a:pt x="20437" y="4257"/>
                    <a:pt x="20405" y="4290"/>
                  </a:cubicBezTo>
                  <a:cubicBezTo>
                    <a:pt x="19559" y="5136"/>
                    <a:pt x="18757" y="6019"/>
                    <a:pt x="17968" y="6914"/>
                  </a:cubicBezTo>
                  <a:cubicBezTo>
                    <a:pt x="18941" y="5439"/>
                    <a:pt x="19894" y="3946"/>
                    <a:pt x="20795" y="2419"/>
                  </a:cubicBezTo>
                  <a:cubicBezTo>
                    <a:pt x="20857" y="2311"/>
                    <a:pt x="20757" y="2189"/>
                    <a:pt x="20656" y="2189"/>
                  </a:cubicBezTo>
                  <a:cubicBezTo>
                    <a:pt x="20621" y="2189"/>
                    <a:pt x="20587" y="2203"/>
                    <a:pt x="20558" y="2237"/>
                  </a:cubicBezTo>
                  <a:cubicBezTo>
                    <a:pt x="18705" y="4388"/>
                    <a:pt x="16903" y="6579"/>
                    <a:pt x="15154" y="8808"/>
                  </a:cubicBezTo>
                  <a:cubicBezTo>
                    <a:pt x="16707" y="6542"/>
                    <a:pt x="18191" y="4249"/>
                    <a:pt x="19533" y="1946"/>
                  </a:cubicBezTo>
                  <a:cubicBezTo>
                    <a:pt x="19601" y="1830"/>
                    <a:pt x="19503" y="1729"/>
                    <a:pt x="19400" y="1729"/>
                  </a:cubicBezTo>
                  <a:cubicBezTo>
                    <a:pt x="19355" y="1729"/>
                    <a:pt x="19309" y="1749"/>
                    <a:pt x="19276" y="1795"/>
                  </a:cubicBezTo>
                  <a:cubicBezTo>
                    <a:pt x="18069" y="3519"/>
                    <a:pt x="16822" y="5214"/>
                    <a:pt x="15558" y="6897"/>
                  </a:cubicBezTo>
                  <a:cubicBezTo>
                    <a:pt x="16857" y="4729"/>
                    <a:pt x="18012" y="2500"/>
                    <a:pt x="18915" y="179"/>
                  </a:cubicBezTo>
                  <a:cubicBezTo>
                    <a:pt x="18959" y="69"/>
                    <a:pt x="18868" y="1"/>
                    <a:pt x="18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65"/>
            <p:cNvSpPr/>
            <p:nvPr/>
          </p:nvSpPr>
          <p:spPr>
            <a:xfrm>
              <a:off x="4007750" y="3526075"/>
              <a:ext cx="134350" cy="162425"/>
            </a:xfrm>
            <a:custGeom>
              <a:avLst/>
              <a:gdLst/>
              <a:ahLst/>
              <a:cxnLst/>
              <a:rect l="l" t="t" r="r" b="b"/>
              <a:pathLst>
                <a:path w="5374" h="6497" extrusionOk="0">
                  <a:moveTo>
                    <a:pt x="5373" y="0"/>
                  </a:moveTo>
                  <a:lnTo>
                    <a:pt x="5373" y="0"/>
                  </a:lnTo>
                  <a:cubicBezTo>
                    <a:pt x="3600" y="2174"/>
                    <a:pt x="1747" y="4296"/>
                    <a:pt x="0" y="6496"/>
                  </a:cubicBezTo>
                  <a:cubicBezTo>
                    <a:pt x="1724" y="4394"/>
                    <a:pt x="3523" y="2345"/>
                    <a:pt x="5223" y="231"/>
                  </a:cubicBezTo>
                  <a:cubicBezTo>
                    <a:pt x="5272" y="156"/>
                    <a:pt x="5321" y="78"/>
                    <a:pt x="5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65"/>
            <p:cNvSpPr/>
            <p:nvPr/>
          </p:nvSpPr>
          <p:spPr>
            <a:xfrm>
              <a:off x="4015750" y="3586775"/>
              <a:ext cx="128225" cy="188550"/>
            </a:xfrm>
            <a:custGeom>
              <a:avLst/>
              <a:gdLst/>
              <a:ahLst/>
              <a:cxnLst/>
              <a:rect l="l" t="t" r="r" b="b"/>
              <a:pathLst>
                <a:path w="5129" h="7542" extrusionOk="0">
                  <a:moveTo>
                    <a:pt x="5128" y="0"/>
                  </a:moveTo>
                  <a:lnTo>
                    <a:pt x="5128" y="0"/>
                  </a:lnTo>
                  <a:cubicBezTo>
                    <a:pt x="3402" y="2535"/>
                    <a:pt x="1684" y="5067"/>
                    <a:pt x="1" y="7541"/>
                  </a:cubicBezTo>
                  <a:cubicBezTo>
                    <a:pt x="1291" y="5794"/>
                    <a:pt x="2570" y="4042"/>
                    <a:pt x="3731" y="2212"/>
                  </a:cubicBezTo>
                  <a:cubicBezTo>
                    <a:pt x="4199" y="1476"/>
                    <a:pt x="4666" y="739"/>
                    <a:pt x="5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65"/>
            <p:cNvSpPr/>
            <p:nvPr/>
          </p:nvSpPr>
          <p:spPr>
            <a:xfrm>
              <a:off x="3786475" y="1293300"/>
              <a:ext cx="2115175" cy="2649500"/>
            </a:xfrm>
            <a:custGeom>
              <a:avLst/>
              <a:gdLst/>
              <a:ahLst/>
              <a:cxnLst/>
              <a:rect l="l" t="t" r="r" b="b"/>
              <a:pathLst>
                <a:path w="84607" h="105980" extrusionOk="0">
                  <a:moveTo>
                    <a:pt x="76277" y="1331"/>
                  </a:moveTo>
                  <a:cubicBezTo>
                    <a:pt x="76575" y="1331"/>
                    <a:pt x="76912" y="1381"/>
                    <a:pt x="77288" y="1480"/>
                  </a:cubicBezTo>
                  <a:cubicBezTo>
                    <a:pt x="77106" y="1627"/>
                    <a:pt x="76927" y="1777"/>
                    <a:pt x="76748" y="1925"/>
                  </a:cubicBezTo>
                  <a:cubicBezTo>
                    <a:pt x="76729" y="1910"/>
                    <a:pt x="76707" y="1903"/>
                    <a:pt x="76684" y="1903"/>
                  </a:cubicBezTo>
                  <a:cubicBezTo>
                    <a:pt x="76652" y="1903"/>
                    <a:pt x="76620" y="1918"/>
                    <a:pt x="76598" y="1945"/>
                  </a:cubicBezTo>
                  <a:cubicBezTo>
                    <a:pt x="76485" y="2072"/>
                    <a:pt x="76373" y="2199"/>
                    <a:pt x="76260" y="2326"/>
                  </a:cubicBezTo>
                  <a:cubicBezTo>
                    <a:pt x="75587" y="2900"/>
                    <a:pt x="74923" y="3481"/>
                    <a:pt x="74277" y="4084"/>
                  </a:cubicBezTo>
                  <a:cubicBezTo>
                    <a:pt x="74311" y="3986"/>
                    <a:pt x="74352" y="3853"/>
                    <a:pt x="74427" y="3634"/>
                  </a:cubicBezTo>
                  <a:cubicBezTo>
                    <a:pt x="74482" y="3403"/>
                    <a:pt x="74537" y="3172"/>
                    <a:pt x="74594" y="2944"/>
                  </a:cubicBezTo>
                  <a:cubicBezTo>
                    <a:pt x="74734" y="1866"/>
                    <a:pt x="75297" y="1331"/>
                    <a:pt x="76277" y="1331"/>
                  </a:cubicBezTo>
                  <a:close/>
                  <a:moveTo>
                    <a:pt x="80781" y="3937"/>
                  </a:moveTo>
                  <a:cubicBezTo>
                    <a:pt x="80931" y="4018"/>
                    <a:pt x="81203" y="4096"/>
                    <a:pt x="81494" y="4168"/>
                  </a:cubicBezTo>
                  <a:cubicBezTo>
                    <a:pt x="81001" y="4376"/>
                    <a:pt x="80527" y="4630"/>
                    <a:pt x="80080" y="4921"/>
                  </a:cubicBezTo>
                  <a:cubicBezTo>
                    <a:pt x="80313" y="4592"/>
                    <a:pt x="80553" y="4269"/>
                    <a:pt x="80781" y="3937"/>
                  </a:cubicBezTo>
                  <a:close/>
                  <a:moveTo>
                    <a:pt x="79973" y="3391"/>
                  </a:moveTo>
                  <a:cubicBezTo>
                    <a:pt x="80120" y="3509"/>
                    <a:pt x="80273" y="3619"/>
                    <a:pt x="80432" y="3720"/>
                  </a:cubicBezTo>
                  <a:cubicBezTo>
                    <a:pt x="79837" y="4272"/>
                    <a:pt x="79251" y="4826"/>
                    <a:pt x="78677" y="5395"/>
                  </a:cubicBezTo>
                  <a:cubicBezTo>
                    <a:pt x="79164" y="4765"/>
                    <a:pt x="79597" y="4096"/>
                    <a:pt x="79973" y="3391"/>
                  </a:cubicBezTo>
                  <a:close/>
                  <a:moveTo>
                    <a:pt x="82580" y="4419"/>
                  </a:moveTo>
                  <a:cubicBezTo>
                    <a:pt x="83062" y="4549"/>
                    <a:pt x="83394" y="4754"/>
                    <a:pt x="83613" y="5014"/>
                  </a:cubicBezTo>
                  <a:cubicBezTo>
                    <a:pt x="83570" y="5017"/>
                    <a:pt x="83530" y="5031"/>
                    <a:pt x="83495" y="5060"/>
                  </a:cubicBezTo>
                  <a:cubicBezTo>
                    <a:pt x="83056" y="5447"/>
                    <a:pt x="82640" y="5854"/>
                    <a:pt x="82216" y="6252"/>
                  </a:cubicBezTo>
                  <a:cubicBezTo>
                    <a:pt x="82404" y="5874"/>
                    <a:pt x="82565" y="5481"/>
                    <a:pt x="82701" y="5083"/>
                  </a:cubicBezTo>
                  <a:cubicBezTo>
                    <a:pt x="82742" y="4959"/>
                    <a:pt x="82633" y="4855"/>
                    <a:pt x="82519" y="4855"/>
                  </a:cubicBezTo>
                  <a:cubicBezTo>
                    <a:pt x="82490" y="4855"/>
                    <a:pt x="82460" y="4862"/>
                    <a:pt x="82433" y="4878"/>
                  </a:cubicBezTo>
                  <a:cubicBezTo>
                    <a:pt x="82401" y="4895"/>
                    <a:pt x="82372" y="4915"/>
                    <a:pt x="82337" y="4936"/>
                  </a:cubicBezTo>
                  <a:cubicBezTo>
                    <a:pt x="82424" y="4765"/>
                    <a:pt x="82499" y="4592"/>
                    <a:pt x="82580" y="4419"/>
                  </a:cubicBezTo>
                  <a:close/>
                  <a:moveTo>
                    <a:pt x="70694" y="3917"/>
                  </a:moveTo>
                  <a:lnTo>
                    <a:pt x="70694" y="3917"/>
                  </a:lnTo>
                  <a:cubicBezTo>
                    <a:pt x="70781" y="3986"/>
                    <a:pt x="70861" y="4061"/>
                    <a:pt x="70939" y="4139"/>
                  </a:cubicBezTo>
                  <a:cubicBezTo>
                    <a:pt x="70925" y="4150"/>
                    <a:pt x="70908" y="4150"/>
                    <a:pt x="70896" y="4171"/>
                  </a:cubicBezTo>
                  <a:cubicBezTo>
                    <a:pt x="70691" y="4477"/>
                    <a:pt x="70477" y="4777"/>
                    <a:pt x="70267" y="5080"/>
                  </a:cubicBezTo>
                  <a:cubicBezTo>
                    <a:pt x="70254" y="5075"/>
                    <a:pt x="70241" y="5073"/>
                    <a:pt x="70228" y="5073"/>
                  </a:cubicBezTo>
                  <a:cubicBezTo>
                    <a:pt x="70200" y="5073"/>
                    <a:pt x="70173" y="5083"/>
                    <a:pt x="70151" y="5103"/>
                  </a:cubicBezTo>
                  <a:cubicBezTo>
                    <a:pt x="69689" y="5490"/>
                    <a:pt x="69259" y="5900"/>
                    <a:pt x="68843" y="6324"/>
                  </a:cubicBezTo>
                  <a:cubicBezTo>
                    <a:pt x="69519" y="5605"/>
                    <a:pt x="70145" y="4849"/>
                    <a:pt x="70677" y="4003"/>
                  </a:cubicBezTo>
                  <a:cubicBezTo>
                    <a:pt x="70694" y="3977"/>
                    <a:pt x="70700" y="3948"/>
                    <a:pt x="70694" y="3917"/>
                  </a:cubicBezTo>
                  <a:close/>
                  <a:moveTo>
                    <a:pt x="71136" y="4364"/>
                  </a:moveTo>
                  <a:cubicBezTo>
                    <a:pt x="71231" y="4485"/>
                    <a:pt x="71329" y="4612"/>
                    <a:pt x="71427" y="4760"/>
                  </a:cubicBezTo>
                  <a:cubicBezTo>
                    <a:pt x="71419" y="4765"/>
                    <a:pt x="71404" y="4765"/>
                    <a:pt x="71395" y="4774"/>
                  </a:cubicBezTo>
                  <a:cubicBezTo>
                    <a:pt x="70656" y="5516"/>
                    <a:pt x="69946" y="6290"/>
                    <a:pt x="69224" y="7052"/>
                  </a:cubicBezTo>
                  <a:cubicBezTo>
                    <a:pt x="69883" y="6177"/>
                    <a:pt x="70526" y="5288"/>
                    <a:pt x="71133" y="4364"/>
                  </a:cubicBezTo>
                  <a:close/>
                  <a:moveTo>
                    <a:pt x="70202" y="4401"/>
                  </a:moveTo>
                  <a:lnTo>
                    <a:pt x="70202" y="4401"/>
                  </a:lnTo>
                  <a:cubicBezTo>
                    <a:pt x="70233" y="4401"/>
                    <a:pt x="69227" y="5551"/>
                    <a:pt x="69217" y="5551"/>
                  </a:cubicBezTo>
                  <a:cubicBezTo>
                    <a:pt x="69216" y="5551"/>
                    <a:pt x="69220" y="5546"/>
                    <a:pt x="69230" y="5533"/>
                  </a:cubicBezTo>
                  <a:lnTo>
                    <a:pt x="69230" y="5533"/>
                  </a:lnTo>
                  <a:cubicBezTo>
                    <a:pt x="68197" y="6789"/>
                    <a:pt x="66978" y="7863"/>
                    <a:pt x="65806" y="8972"/>
                  </a:cubicBezTo>
                  <a:cubicBezTo>
                    <a:pt x="66274" y="8464"/>
                    <a:pt x="66739" y="7947"/>
                    <a:pt x="67201" y="7430"/>
                  </a:cubicBezTo>
                  <a:cubicBezTo>
                    <a:pt x="67876" y="6668"/>
                    <a:pt x="68569" y="5929"/>
                    <a:pt x="69294" y="5216"/>
                  </a:cubicBezTo>
                  <a:cubicBezTo>
                    <a:pt x="69582" y="4936"/>
                    <a:pt x="69880" y="4667"/>
                    <a:pt x="70189" y="4410"/>
                  </a:cubicBezTo>
                  <a:cubicBezTo>
                    <a:pt x="70196" y="4404"/>
                    <a:pt x="70201" y="4401"/>
                    <a:pt x="70202" y="4401"/>
                  </a:cubicBezTo>
                  <a:close/>
                  <a:moveTo>
                    <a:pt x="69766" y="3526"/>
                  </a:moveTo>
                  <a:cubicBezTo>
                    <a:pt x="70017" y="3526"/>
                    <a:pt x="70278" y="3609"/>
                    <a:pt x="70550" y="3801"/>
                  </a:cubicBezTo>
                  <a:cubicBezTo>
                    <a:pt x="70515" y="3801"/>
                    <a:pt x="70480" y="3813"/>
                    <a:pt x="70454" y="3836"/>
                  </a:cubicBezTo>
                  <a:cubicBezTo>
                    <a:pt x="69767" y="4393"/>
                    <a:pt x="69132" y="5005"/>
                    <a:pt x="68517" y="5634"/>
                  </a:cubicBezTo>
                  <a:cubicBezTo>
                    <a:pt x="68907" y="5068"/>
                    <a:pt x="69268" y="4480"/>
                    <a:pt x="69556" y="3839"/>
                  </a:cubicBezTo>
                  <a:cubicBezTo>
                    <a:pt x="69604" y="3743"/>
                    <a:pt x="69525" y="3658"/>
                    <a:pt x="69444" y="3658"/>
                  </a:cubicBezTo>
                  <a:cubicBezTo>
                    <a:pt x="69408" y="3658"/>
                    <a:pt x="69371" y="3675"/>
                    <a:pt x="69346" y="3714"/>
                  </a:cubicBezTo>
                  <a:cubicBezTo>
                    <a:pt x="67536" y="6249"/>
                    <a:pt x="64995" y="8169"/>
                    <a:pt x="63257" y="10744"/>
                  </a:cubicBezTo>
                  <a:cubicBezTo>
                    <a:pt x="63032" y="8542"/>
                    <a:pt x="65480" y="8065"/>
                    <a:pt x="66594" y="6835"/>
                  </a:cubicBezTo>
                  <a:cubicBezTo>
                    <a:pt x="67341" y="6011"/>
                    <a:pt x="68397" y="3526"/>
                    <a:pt x="69766" y="3526"/>
                  </a:cubicBezTo>
                  <a:close/>
                  <a:moveTo>
                    <a:pt x="68789" y="4872"/>
                  </a:moveTo>
                  <a:cubicBezTo>
                    <a:pt x="68549" y="5285"/>
                    <a:pt x="68272" y="5681"/>
                    <a:pt x="68000" y="6064"/>
                  </a:cubicBezTo>
                  <a:cubicBezTo>
                    <a:pt x="67891" y="6223"/>
                    <a:pt x="67772" y="6376"/>
                    <a:pt x="67654" y="6529"/>
                  </a:cubicBezTo>
                  <a:cubicBezTo>
                    <a:pt x="66747" y="7514"/>
                    <a:pt x="65873" y="8530"/>
                    <a:pt x="64957" y="9512"/>
                  </a:cubicBezTo>
                  <a:cubicBezTo>
                    <a:pt x="64542" y="9953"/>
                    <a:pt x="64106" y="10372"/>
                    <a:pt x="63661" y="10785"/>
                  </a:cubicBezTo>
                  <a:cubicBezTo>
                    <a:pt x="63496" y="10942"/>
                    <a:pt x="63384" y="11051"/>
                    <a:pt x="63314" y="11120"/>
                  </a:cubicBezTo>
                  <a:lnTo>
                    <a:pt x="63314" y="11120"/>
                  </a:lnTo>
                  <a:cubicBezTo>
                    <a:pt x="63312" y="11107"/>
                    <a:pt x="63309" y="11096"/>
                    <a:pt x="63306" y="11082"/>
                  </a:cubicBezTo>
                  <a:cubicBezTo>
                    <a:pt x="63358" y="11007"/>
                    <a:pt x="63436" y="10894"/>
                    <a:pt x="63528" y="10750"/>
                  </a:cubicBezTo>
                  <a:cubicBezTo>
                    <a:pt x="64340" y="9477"/>
                    <a:pt x="65471" y="8397"/>
                    <a:pt x="66525" y="7329"/>
                  </a:cubicBezTo>
                  <a:cubicBezTo>
                    <a:pt x="67307" y="6535"/>
                    <a:pt x="68075" y="5730"/>
                    <a:pt x="68789" y="4872"/>
                  </a:cubicBezTo>
                  <a:close/>
                  <a:moveTo>
                    <a:pt x="68413" y="6766"/>
                  </a:moveTo>
                  <a:cubicBezTo>
                    <a:pt x="67905" y="7303"/>
                    <a:pt x="67417" y="7860"/>
                    <a:pt x="66935" y="8426"/>
                  </a:cubicBezTo>
                  <a:lnTo>
                    <a:pt x="66938" y="8423"/>
                  </a:lnTo>
                  <a:lnTo>
                    <a:pt x="66938" y="8423"/>
                  </a:lnTo>
                  <a:cubicBezTo>
                    <a:pt x="66427" y="9021"/>
                    <a:pt x="65916" y="9613"/>
                    <a:pt x="65388" y="10193"/>
                  </a:cubicBezTo>
                  <a:cubicBezTo>
                    <a:pt x="64923" y="10706"/>
                    <a:pt x="64025" y="11261"/>
                    <a:pt x="63683" y="11848"/>
                  </a:cubicBezTo>
                  <a:lnTo>
                    <a:pt x="63683" y="11848"/>
                  </a:lnTo>
                  <a:cubicBezTo>
                    <a:pt x="63939" y="11400"/>
                    <a:pt x="64224" y="10965"/>
                    <a:pt x="64533" y="10548"/>
                  </a:cubicBezTo>
                  <a:cubicBezTo>
                    <a:pt x="65760" y="9229"/>
                    <a:pt x="67146" y="8051"/>
                    <a:pt x="68413" y="6766"/>
                  </a:cubicBezTo>
                  <a:close/>
                  <a:moveTo>
                    <a:pt x="81024" y="7953"/>
                  </a:moveTo>
                  <a:cubicBezTo>
                    <a:pt x="80712" y="8510"/>
                    <a:pt x="80259" y="9009"/>
                    <a:pt x="79655" y="9445"/>
                  </a:cubicBezTo>
                  <a:cubicBezTo>
                    <a:pt x="78801" y="10479"/>
                    <a:pt x="77911" y="11478"/>
                    <a:pt x="77063" y="12514"/>
                  </a:cubicBezTo>
                  <a:cubicBezTo>
                    <a:pt x="77198" y="12344"/>
                    <a:pt x="77325" y="12165"/>
                    <a:pt x="77461" y="11994"/>
                  </a:cubicBezTo>
                  <a:cubicBezTo>
                    <a:pt x="78575" y="10574"/>
                    <a:pt x="79779" y="9243"/>
                    <a:pt x="81024" y="7953"/>
                  </a:cubicBezTo>
                  <a:close/>
                  <a:moveTo>
                    <a:pt x="74005" y="5412"/>
                  </a:moveTo>
                  <a:lnTo>
                    <a:pt x="74005" y="5415"/>
                  </a:lnTo>
                  <a:cubicBezTo>
                    <a:pt x="73113" y="6622"/>
                    <a:pt x="72253" y="7872"/>
                    <a:pt x="71390" y="8879"/>
                  </a:cubicBezTo>
                  <a:cubicBezTo>
                    <a:pt x="70197" y="10268"/>
                    <a:pt x="68988" y="11642"/>
                    <a:pt x="67778" y="13014"/>
                  </a:cubicBezTo>
                  <a:cubicBezTo>
                    <a:pt x="69822" y="10453"/>
                    <a:pt x="71898" y="7921"/>
                    <a:pt x="74005" y="5412"/>
                  </a:cubicBezTo>
                  <a:close/>
                  <a:moveTo>
                    <a:pt x="70494" y="6125"/>
                  </a:moveTo>
                  <a:cubicBezTo>
                    <a:pt x="70637" y="6125"/>
                    <a:pt x="68201" y="9121"/>
                    <a:pt x="67642" y="9783"/>
                  </a:cubicBezTo>
                  <a:cubicBezTo>
                    <a:pt x="66144" y="11564"/>
                    <a:pt x="64553" y="13256"/>
                    <a:pt x="62963" y="14939"/>
                  </a:cubicBezTo>
                  <a:cubicBezTo>
                    <a:pt x="63979" y="13637"/>
                    <a:pt x="65001" y="12338"/>
                    <a:pt x="66049" y="11059"/>
                  </a:cubicBezTo>
                  <a:lnTo>
                    <a:pt x="66052" y="11059"/>
                  </a:lnTo>
                  <a:cubicBezTo>
                    <a:pt x="67103" y="9780"/>
                    <a:pt x="68208" y="8550"/>
                    <a:pt x="69320" y="7329"/>
                  </a:cubicBezTo>
                  <a:cubicBezTo>
                    <a:pt x="70110" y="6460"/>
                    <a:pt x="70446" y="6125"/>
                    <a:pt x="70494" y="6125"/>
                  </a:cubicBezTo>
                  <a:close/>
                  <a:moveTo>
                    <a:pt x="74952" y="3807"/>
                  </a:moveTo>
                  <a:lnTo>
                    <a:pt x="74952" y="3810"/>
                  </a:lnTo>
                  <a:cubicBezTo>
                    <a:pt x="71078" y="8192"/>
                    <a:pt x="67169" y="12546"/>
                    <a:pt x="63370" y="16989"/>
                  </a:cubicBezTo>
                  <a:cubicBezTo>
                    <a:pt x="66860" y="12277"/>
                    <a:pt x="70602" y="7779"/>
                    <a:pt x="74952" y="3807"/>
                  </a:cubicBezTo>
                  <a:close/>
                  <a:moveTo>
                    <a:pt x="80921" y="5118"/>
                  </a:moveTo>
                  <a:cubicBezTo>
                    <a:pt x="80988" y="5118"/>
                    <a:pt x="81006" y="5170"/>
                    <a:pt x="80957" y="5288"/>
                  </a:cubicBezTo>
                  <a:cubicBezTo>
                    <a:pt x="79750" y="6512"/>
                    <a:pt x="78564" y="7753"/>
                    <a:pt x="77400" y="9018"/>
                  </a:cubicBezTo>
                  <a:cubicBezTo>
                    <a:pt x="77216" y="9217"/>
                    <a:pt x="77031" y="9422"/>
                    <a:pt x="76849" y="9627"/>
                  </a:cubicBezTo>
                  <a:cubicBezTo>
                    <a:pt x="74583" y="12119"/>
                    <a:pt x="72383" y="14674"/>
                    <a:pt x="70249" y="17289"/>
                  </a:cubicBezTo>
                  <a:cubicBezTo>
                    <a:pt x="70708" y="16671"/>
                    <a:pt x="71165" y="16048"/>
                    <a:pt x="71626" y="15433"/>
                  </a:cubicBezTo>
                  <a:cubicBezTo>
                    <a:pt x="74083" y="12575"/>
                    <a:pt x="76523" y="9702"/>
                    <a:pt x="78783" y="6700"/>
                  </a:cubicBezTo>
                  <a:cubicBezTo>
                    <a:pt x="79527" y="5991"/>
                    <a:pt x="80644" y="5118"/>
                    <a:pt x="80921" y="5118"/>
                  </a:cubicBezTo>
                  <a:close/>
                  <a:moveTo>
                    <a:pt x="73604" y="7774"/>
                  </a:moveTo>
                  <a:cubicBezTo>
                    <a:pt x="71855" y="9974"/>
                    <a:pt x="70125" y="12194"/>
                    <a:pt x="68419" y="14437"/>
                  </a:cubicBezTo>
                  <a:cubicBezTo>
                    <a:pt x="68318" y="14555"/>
                    <a:pt x="68211" y="14676"/>
                    <a:pt x="68110" y="14798"/>
                  </a:cubicBezTo>
                  <a:cubicBezTo>
                    <a:pt x="67342" y="15739"/>
                    <a:pt x="66563" y="16668"/>
                    <a:pt x="65789" y="17604"/>
                  </a:cubicBezTo>
                  <a:lnTo>
                    <a:pt x="65789" y="17601"/>
                  </a:lnTo>
                  <a:cubicBezTo>
                    <a:pt x="66909" y="16080"/>
                    <a:pt x="68026" y="14558"/>
                    <a:pt x="69147" y="13034"/>
                  </a:cubicBezTo>
                  <a:cubicBezTo>
                    <a:pt x="70509" y="11177"/>
                    <a:pt x="72062" y="9477"/>
                    <a:pt x="73604" y="7774"/>
                  </a:cubicBezTo>
                  <a:close/>
                  <a:moveTo>
                    <a:pt x="79265" y="4113"/>
                  </a:moveTo>
                  <a:cubicBezTo>
                    <a:pt x="78957" y="4751"/>
                    <a:pt x="78547" y="5380"/>
                    <a:pt x="78073" y="6004"/>
                  </a:cubicBezTo>
                  <a:cubicBezTo>
                    <a:pt x="76736" y="7346"/>
                    <a:pt x="75437" y="8729"/>
                    <a:pt x="74176" y="10152"/>
                  </a:cubicBezTo>
                  <a:cubicBezTo>
                    <a:pt x="73044" y="11241"/>
                    <a:pt x="71938" y="12295"/>
                    <a:pt x="71069" y="13308"/>
                  </a:cubicBezTo>
                  <a:cubicBezTo>
                    <a:pt x="69695" y="14916"/>
                    <a:pt x="68335" y="16539"/>
                    <a:pt x="66967" y="18152"/>
                  </a:cubicBezTo>
                  <a:cubicBezTo>
                    <a:pt x="69017" y="15343"/>
                    <a:pt x="71162" y="12612"/>
                    <a:pt x="73517" y="10046"/>
                  </a:cubicBezTo>
                  <a:cubicBezTo>
                    <a:pt x="75267" y="8137"/>
                    <a:pt x="78258" y="6180"/>
                    <a:pt x="79265" y="4113"/>
                  </a:cubicBezTo>
                  <a:close/>
                  <a:moveTo>
                    <a:pt x="69187" y="10837"/>
                  </a:moveTo>
                  <a:lnTo>
                    <a:pt x="69187" y="10837"/>
                  </a:lnTo>
                  <a:cubicBezTo>
                    <a:pt x="67723" y="12664"/>
                    <a:pt x="66271" y="14500"/>
                    <a:pt x="64833" y="16348"/>
                  </a:cubicBezTo>
                  <a:lnTo>
                    <a:pt x="63557" y="17792"/>
                  </a:lnTo>
                  <a:cubicBezTo>
                    <a:pt x="61969" y="19602"/>
                    <a:pt x="60419" y="21444"/>
                    <a:pt x="58877" y="23294"/>
                  </a:cubicBezTo>
                  <a:lnTo>
                    <a:pt x="59221" y="22798"/>
                  </a:lnTo>
                  <a:cubicBezTo>
                    <a:pt x="62469" y="18759"/>
                    <a:pt x="65789" y="14772"/>
                    <a:pt x="69187" y="10837"/>
                  </a:cubicBezTo>
                  <a:close/>
                  <a:moveTo>
                    <a:pt x="72978" y="5328"/>
                  </a:moveTo>
                  <a:lnTo>
                    <a:pt x="72978" y="5328"/>
                  </a:lnTo>
                  <a:cubicBezTo>
                    <a:pt x="68462" y="9740"/>
                    <a:pt x="64582" y="14731"/>
                    <a:pt x="60916" y="19890"/>
                  </a:cubicBezTo>
                  <a:cubicBezTo>
                    <a:pt x="59810" y="21215"/>
                    <a:pt x="58719" y="22555"/>
                    <a:pt x="57642" y="23903"/>
                  </a:cubicBezTo>
                  <a:cubicBezTo>
                    <a:pt x="57547" y="24001"/>
                    <a:pt x="57454" y="24103"/>
                    <a:pt x="57359" y="24201"/>
                  </a:cubicBezTo>
                  <a:cubicBezTo>
                    <a:pt x="60047" y="20583"/>
                    <a:pt x="62734" y="16969"/>
                    <a:pt x="65549" y="13447"/>
                  </a:cubicBezTo>
                  <a:cubicBezTo>
                    <a:pt x="67873" y="10773"/>
                    <a:pt x="70203" y="8106"/>
                    <a:pt x="72539" y="5447"/>
                  </a:cubicBezTo>
                  <a:cubicBezTo>
                    <a:pt x="72550" y="5435"/>
                    <a:pt x="72547" y="5424"/>
                    <a:pt x="72553" y="5412"/>
                  </a:cubicBezTo>
                  <a:lnTo>
                    <a:pt x="72550" y="5412"/>
                  </a:lnTo>
                  <a:cubicBezTo>
                    <a:pt x="72698" y="5403"/>
                    <a:pt x="72839" y="5375"/>
                    <a:pt x="72978" y="5328"/>
                  </a:cubicBezTo>
                  <a:close/>
                  <a:moveTo>
                    <a:pt x="61590" y="20516"/>
                  </a:moveTo>
                  <a:lnTo>
                    <a:pt x="61590" y="20516"/>
                  </a:lnTo>
                  <a:cubicBezTo>
                    <a:pt x="59406" y="23329"/>
                    <a:pt x="57213" y="26137"/>
                    <a:pt x="55015" y="28941"/>
                  </a:cubicBezTo>
                  <a:cubicBezTo>
                    <a:pt x="55731" y="27890"/>
                    <a:pt x="56449" y="26839"/>
                    <a:pt x="57165" y="25789"/>
                  </a:cubicBezTo>
                  <a:cubicBezTo>
                    <a:pt x="58618" y="24013"/>
                    <a:pt x="60094" y="22254"/>
                    <a:pt x="61590" y="20516"/>
                  </a:cubicBezTo>
                  <a:close/>
                  <a:moveTo>
                    <a:pt x="79766" y="4813"/>
                  </a:moveTo>
                  <a:lnTo>
                    <a:pt x="79766" y="4813"/>
                  </a:lnTo>
                  <a:cubicBezTo>
                    <a:pt x="79807" y="4813"/>
                    <a:pt x="79597" y="5090"/>
                    <a:pt x="79306" y="5473"/>
                  </a:cubicBezTo>
                  <a:cubicBezTo>
                    <a:pt x="76376" y="7736"/>
                    <a:pt x="73991" y="11584"/>
                    <a:pt x="71921" y="14440"/>
                  </a:cubicBezTo>
                  <a:cubicBezTo>
                    <a:pt x="69811" y="16899"/>
                    <a:pt x="67723" y="19371"/>
                    <a:pt x="65682" y="21894"/>
                  </a:cubicBezTo>
                  <a:cubicBezTo>
                    <a:pt x="63592" y="24481"/>
                    <a:pt x="61467" y="27039"/>
                    <a:pt x="59336" y="29594"/>
                  </a:cubicBezTo>
                  <a:cubicBezTo>
                    <a:pt x="65376" y="21305"/>
                    <a:pt x="71566" y="13086"/>
                    <a:pt x="78648" y="5888"/>
                  </a:cubicBezTo>
                  <a:cubicBezTo>
                    <a:pt x="79414" y="5109"/>
                    <a:pt x="79724" y="4813"/>
                    <a:pt x="79766" y="4813"/>
                  </a:cubicBezTo>
                  <a:close/>
                  <a:moveTo>
                    <a:pt x="70518" y="14454"/>
                  </a:moveTo>
                  <a:cubicBezTo>
                    <a:pt x="66063" y="19925"/>
                    <a:pt x="61949" y="25734"/>
                    <a:pt x="57812" y="31427"/>
                  </a:cubicBezTo>
                  <a:cubicBezTo>
                    <a:pt x="56574" y="32914"/>
                    <a:pt x="55338" y="34400"/>
                    <a:pt x="54111" y="35890"/>
                  </a:cubicBezTo>
                  <a:cubicBezTo>
                    <a:pt x="57619" y="31095"/>
                    <a:pt x="61129" y="26302"/>
                    <a:pt x="64576" y="21464"/>
                  </a:cubicBezTo>
                  <a:cubicBezTo>
                    <a:pt x="64825" y="21172"/>
                    <a:pt x="65067" y="20878"/>
                    <a:pt x="65313" y="20586"/>
                  </a:cubicBezTo>
                  <a:cubicBezTo>
                    <a:pt x="67039" y="18536"/>
                    <a:pt x="68774" y="16492"/>
                    <a:pt x="70518" y="14454"/>
                  </a:cubicBezTo>
                  <a:close/>
                  <a:moveTo>
                    <a:pt x="53207" y="29103"/>
                  </a:moveTo>
                  <a:lnTo>
                    <a:pt x="53207" y="29103"/>
                  </a:lnTo>
                  <a:cubicBezTo>
                    <a:pt x="51192" y="31765"/>
                    <a:pt x="49148" y="34409"/>
                    <a:pt x="47032" y="36984"/>
                  </a:cubicBezTo>
                  <a:cubicBezTo>
                    <a:pt x="46992" y="37033"/>
                    <a:pt x="46951" y="37080"/>
                    <a:pt x="46914" y="37129"/>
                  </a:cubicBezTo>
                  <a:cubicBezTo>
                    <a:pt x="48929" y="34386"/>
                    <a:pt x="51002" y="31687"/>
                    <a:pt x="53207" y="29103"/>
                  </a:cubicBezTo>
                  <a:close/>
                  <a:moveTo>
                    <a:pt x="71606" y="4985"/>
                  </a:moveTo>
                  <a:cubicBezTo>
                    <a:pt x="71777" y="5172"/>
                    <a:pt x="71996" y="5308"/>
                    <a:pt x="72241" y="5375"/>
                  </a:cubicBezTo>
                  <a:cubicBezTo>
                    <a:pt x="69655" y="8085"/>
                    <a:pt x="67224" y="10929"/>
                    <a:pt x="64880" y="13839"/>
                  </a:cubicBezTo>
                  <a:cubicBezTo>
                    <a:pt x="63849" y="15023"/>
                    <a:pt x="62815" y="16204"/>
                    <a:pt x="61790" y="17393"/>
                  </a:cubicBezTo>
                  <a:cubicBezTo>
                    <a:pt x="55573" y="24603"/>
                    <a:pt x="49671" y="32002"/>
                    <a:pt x="43884" y="39511"/>
                  </a:cubicBezTo>
                  <a:lnTo>
                    <a:pt x="43884" y="39511"/>
                  </a:lnTo>
                  <a:cubicBezTo>
                    <a:pt x="44252" y="39024"/>
                    <a:pt x="44619" y="38536"/>
                    <a:pt x="44985" y="38047"/>
                  </a:cubicBezTo>
                  <a:cubicBezTo>
                    <a:pt x="46559" y="35942"/>
                    <a:pt x="48112" y="33806"/>
                    <a:pt x="49671" y="31672"/>
                  </a:cubicBezTo>
                  <a:cubicBezTo>
                    <a:pt x="52815" y="27913"/>
                    <a:pt x="55918" y="24123"/>
                    <a:pt x="58892" y="20225"/>
                  </a:cubicBezTo>
                  <a:cubicBezTo>
                    <a:pt x="59949" y="18837"/>
                    <a:pt x="61011" y="17454"/>
                    <a:pt x="62073" y="16074"/>
                  </a:cubicBezTo>
                  <a:cubicBezTo>
                    <a:pt x="65414" y="12511"/>
                    <a:pt x="68901" y="9116"/>
                    <a:pt x="71606" y="4985"/>
                  </a:cubicBezTo>
                  <a:close/>
                  <a:moveTo>
                    <a:pt x="81546" y="5793"/>
                  </a:moveTo>
                  <a:cubicBezTo>
                    <a:pt x="81546" y="5813"/>
                    <a:pt x="81543" y="5831"/>
                    <a:pt x="81543" y="5848"/>
                  </a:cubicBezTo>
                  <a:cubicBezTo>
                    <a:pt x="80943" y="7020"/>
                    <a:pt x="80192" y="8123"/>
                    <a:pt x="79361" y="9185"/>
                  </a:cubicBezTo>
                  <a:lnTo>
                    <a:pt x="79361" y="9182"/>
                  </a:lnTo>
                  <a:cubicBezTo>
                    <a:pt x="78541" y="10098"/>
                    <a:pt x="77750" y="11039"/>
                    <a:pt x="76979" y="11997"/>
                  </a:cubicBezTo>
                  <a:cubicBezTo>
                    <a:pt x="76243" y="12829"/>
                    <a:pt x="75507" y="13649"/>
                    <a:pt x="74822" y="14466"/>
                  </a:cubicBezTo>
                  <a:cubicBezTo>
                    <a:pt x="70890" y="19174"/>
                    <a:pt x="67588" y="24475"/>
                    <a:pt x="63852" y="29348"/>
                  </a:cubicBezTo>
                  <a:cubicBezTo>
                    <a:pt x="61152" y="32870"/>
                    <a:pt x="58398" y="36355"/>
                    <a:pt x="55653" y="39842"/>
                  </a:cubicBezTo>
                  <a:cubicBezTo>
                    <a:pt x="59720" y="33638"/>
                    <a:pt x="63800" y="27449"/>
                    <a:pt x="68228" y="21550"/>
                  </a:cubicBezTo>
                  <a:cubicBezTo>
                    <a:pt x="71009" y="17849"/>
                    <a:pt x="73864" y="14177"/>
                    <a:pt x="76710" y="10525"/>
                  </a:cubicBezTo>
                  <a:lnTo>
                    <a:pt x="76719" y="10516"/>
                  </a:lnTo>
                  <a:cubicBezTo>
                    <a:pt x="77842" y="9327"/>
                    <a:pt x="79023" y="8207"/>
                    <a:pt x="80068" y="6974"/>
                  </a:cubicBezTo>
                  <a:cubicBezTo>
                    <a:pt x="80542" y="6564"/>
                    <a:pt x="81029" y="6168"/>
                    <a:pt x="81546" y="5793"/>
                  </a:cubicBezTo>
                  <a:close/>
                  <a:moveTo>
                    <a:pt x="55208" y="28167"/>
                  </a:moveTo>
                  <a:lnTo>
                    <a:pt x="55208" y="28167"/>
                  </a:lnTo>
                  <a:cubicBezTo>
                    <a:pt x="54813" y="28751"/>
                    <a:pt x="54417" y="29331"/>
                    <a:pt x="54019" y="29911"/>
                  </a:cubicBezTo>
                  <a:cubicBezTo>
                    <a:pt x="53430" y="30774"/>
                    <a:pt x="52818" y="31623"/>
                    <a:pt x="52214" y="32478"/>
                  </a:cubicBezTo>
                  <a:cubicBezTo>
                    <a:pt x="51311" y="33612"/>
                    <a:pt x="50401" y="34744"/>
                    <a:pt x="49489" y="35876"/>
                  </a:cubicBezTo>
                  <a:cubicBezTo>
                    <a:pt x="48386" y="37233"/>
                    <a:pt x="47280" y="38587"/>
                    <a:pt x="46172" y="39941"/>
                  </a:cubicBezTo>
                  <a:cubicBezTo>
                    <a:pt x="48014" y="37383"/>
                    <a:pt x="49876" y="34857"/>
                    <a:pt x="51761" y="32354"/>
                  </a:cubicBezTo>
                  <a:cubicBezTo>
                    <a:pt x="52919" y="30968"/>
                    <a:pt x="54068" y="29573"/>
                    <a:pt x="55208" y="28167"/>
                  </a:cubicBezTo>
                  <a:close/>
                  <a:moveTo>
                    <a:pt x="53109" y="29827"/>
                  </a:moveTo>
                  <a:lnTo>
                    <a:pt x="53109" y="29827"/>
                  </a:lnTo>
                  <a:cubicBezTo>
                    <a:pt x="52070" y="31236"/>
                    <a:pt x="51036" y="32651"/>
                    <a:pt x="50011" y="34071"/>
                  </a:cubicBezTo>
                  <a:cubicBezTo>
                    <a:pt x="49359" y="34857"/>
                    <a:pt x="48712" y="35648"/>
                    <a:pt x="48051" y="36430"/>
                  </a:cubicBezTo>
                  <a:cubicBezTo>
                    <a:pt x="46709" y="38021"/>
                    <a:pt x="45352" y="39603"/>
                    <a:pt x="43986" y="41176"/>
                  </a:cubicBezTo>
                  <a:cubicBezTo>
                    <a:pt x="44154" y="40937"/>
                    <a:pt x="44324" y="40703"/>
                    <a:pt x="44494" y="40463"/>
                  </a:cubicBezTo>
                  <a:cubicBezTo>
                    <a:pt x="47436" y="36979"/>
                    <a:pt x="50323" y="33445"/>
                    <a:pt x="53109" y="29827"/>
                  </a:cubicBezTo>
                  <a:close/>
                  <a:moveTo>
                    <a:pt x="60344" y="17318"/>
                  </a:moveTo>
                  <a:cubicBezTo>
                    <a:pt x="54911" y="24071"/>
                    <a:pt x="49757" y="31106"/>
                    <a:pt x="44235" y="37680"/>
                  </a:cubicBezTo>
                  <a:cubicBezTo>
                    <a:pt x="42404" y="39854"/>
                    <a:pt x="40626" y="42065"/>
                    <a:pt x="38862" y="44288"/>
                  </a:cubicBezTo>
                  <a:cubicBezTo>
                    <a:pt x="40880" y="41681"/>
                    <a:pt x="42904" y="39083"/>
                    <a:pt x="44968" y="36545"/>
                  </a:cubicBezTo>
                  <a:cubicBezTo>
                    <a:pt x="49599" y="30849"/>
                    <a:pt x="53817" y="24784"/>
                    <a:pt x="58632" y="19244"/>
                  </a:cubicBezTo>
                  <a:cubicBezTo>
                    <a:pt x="59198" y="18594"/>
                    <a:pt x="59767" y="17953"/>
                    <a:pt x="60344" y="17318"/>
                  </a:cubicBezTo>
                  <a:close/>
                  <a:moveTo>
                    <a:pt x="58288" y="27177"/>
                  </a:moveTo>
                  <a:lnTo>
                    <a:pt x="58288" y="27177"/>
                  </a:lnTo>
                  <a:cubicBezTo>
                    <a:pt x="53603" y="33376"/>
                    <a:pt x="48808" y="39484"/>
                    <a:pt x="43954" y="45550"/>
                  </a:cubicBezTo>
                  <a:cubicBezTo>
                    <a:pt x="45632" y="43177"/>
                    <a:pt x="47309" y="40801"/>
                    <a:pt x="49027" y="38460"/>
                  </a:cubicBezTo>
                  <a:cubicBezTo>
                    <a:pt x="51905" y="34533"/>
                    <a:pt x="55104" y="30861"/>
                    <a:pt x="58288" y="27177"/>
                  </a:cubicBezTo>
                  <a:close/>
                  <a:moveTo>
                    <a:pt x="42979" y="42259"/>
                  </a:moveTo>
                  <a:lnTo>
                    <a:pt x="42979" y="42259"/>
                  </a:lnTo>
                  <a:cubicBezTo>
                    <a:pt x="42878" y="42403"/>
                    <a:pt x="42774" y="42548"/>
                    <a:pt x="42673" y="42689"/>
                  </a:cubicBezTo>
                  <a:cubicBezTo>
                    <a:pt x="41448" y="44093"/>
                    <a:pt x="40223" y="45497"/>
                    <a:pt x="38997" y="46901"/>
                  </a:cubicBezTo>
                  <a:lnTo>
                    <a:pt x="38997" y="46901"/>
                  </a:lnTo>
                  <a:cubicBezTo>
                    <a:pt x="40329" y="45358"/>
                    <a:pt x="41655" y="43809"/>
                    <a:pt x="42979" y="42259"/>
                  </a:cubicBezTo>
                  <a:close/>
                  <a:moveTo>
                    <a:pt x="49425" y="36358"/>
                  </a:moveTo>
                  <a:lnTo>
                    <a:pt x="49425" y="36358"/>
                  </a:lnTo>
                  <a:cubicBezTo>
                    <a:pt x="46616" y="40189"/>
                    <a:pt x="43726" y="43954"/>
                    <a:pt x="40793" y="47684"/>
                  </a:cubicBezTo>
                  <a:cubicBezTo>
                    <a:pt x="41841" y="46122"/>
                    <a:pt x="42886" y="44580"/>
                    <a:pt x="43934" y="43076"/>
                  </a:cubicBezTo>
                  <a:cubicBezTo>
                    <a:pt x="45127" y="41627"/>
                    <a:pt x="46319" y="40177"/>
                    <a:pt x="47511" y="38728"/>
                  </a:cubicBezTo>
                  <a:lnTo>
                    <a:pt x="47511" y="38731"/>
                  </a:lnTo>
                  <a:cubicBezTo>
                    <a:pt x="48155" y="37943"/>
                    <a:pt x="48787" y="37149"/>
                    <a:pt x="49425" y="36358"/>
                  </a:cubicBezTo>
                  <a:close/>
                  <a:moveTo>
                    <a:pt x="61496" y="18132"/>
                  </a:moveTo>
                  <a:cubicBezTo>
                    <a:pt x="59388" y="20869"/>
                    <a:pt x="57316" y="23638"/>
                    <a:pt x="55240" y="26403"/>
                  </a:cubicBezTo>
                  <a:cubicBezTo>
                    <a:pt x="51492" y="30494"/>
                    <a:pt x="48198" y="34952"/>
                    <a:pt x="44971" y="39464"/>
                  </a:cubicBezTo>
                  <a:cubicBezTo>
                    <a:pt x="42499" y="42426"/>
                    <a:pt x="39999" y="45365"/>
                    <a:pt x="37476" y="48284"/>
                  </a:cubicBezTo>
                  <a:cubicBezTo>
                    <a:pt x="39223" y="45911"/>
                    <a:pt x="40969" y="43541"/>
                    <a:pt x="42736" y="41185"/>
                  </a:cubicBezTo>
                  <a:lnTo>
                    <a:pt x="42736" y="41188"/>
                  </a:lnTo>
                  <a:cubicBezTo>
                    <a:pt x="48689" y="33263"/>
                    <a:pt x="55029" y="25644"/>
                    <a:pt x="61496" y="18132"/>
                  </a:cubicBezTo>
                  <a:close/>
                  <a:moveTo>
                    <a:pt x="77392" y="14474"/>
                  </a:moveTo>
                  <a:lnTo>
                    <a:pt x="77392" y="14474"/>
                  </a:lnTo>
                  <a:cubicBezTo>
                    <a:pt x="68751" y="25878"/>
                    <a:pt x="60497" y="37625"/>
                    <a:pt x="52018" y="49121"/>
                  </a:cubicBezTo>
                  <a:lnTo>
                    <a:pt x="52015" y="49124"/>
                  </a:lnTo>
                  <a:cubicBezTo>
                    <a:pt x="51827" y="49378"/>
                    <a:pt x="51643" y="49635"/>
                    <a:pt x="51455" y="49892"/>
                  </a:cubicBezTo>
                  <a:cubicBezTo>
                    <a:pt x="52263" y="48680"/>
                    <a:pt x="53080" y="47473"/>
                    <a:pt x="53915" y="46278"/>
                  </a:cubicBezTo>
                  <a:cubicBezTo>
                    <a:pt x="59010" y="38988"/>
                    <a:pt x="64573" y="32030"/>
                    <a:pt x="69611" y="24706"/>
                  </a:cubicBezTo>
                  <a:cubicBezTo>
                    <a:pt x="72010" y="21218"/>
                    <a:pt x="74750" y="17872"/>
                    <a:pt x="77392" y="14474"/>
                  </a:cubicBezTo>
                  <a:close/>
                  <a:moveTo>
                    <a:pt x="46264" y="33283"/>
                  </a:moveTo>
                  <a:lnTo>
                    <a:pt x="46019" y="33647"/>
                  </a:lnTo>
                  <a:cubicBezTo>
                    <a:pt x="42777" y="38410"/>
                    <a:pt x="38847" y="42868"/>
                    <a:pt x="35135" y="47271"/>
                  </a:cubicBezTo>
                  <a:cubicBezTo>
                    <a:pt x="34266" y="48301"/>
                    <a:pt x="33400" y="49335"/>
                    <a:pt x="32536" y="50368"/>
                  </a:cubicBezTo>
                  <a:cubicBezTo>
                    <a:pt x="34742" y="47404"/>
                    <a:pt x="36959" y="44447"/>
                    <a:pt x="39275" y="41557"/>
                  </a:cubicBezTo>
                  <a:lnTo>
                    <a:pt x="39278" y="41557"/>
                  </a:lnTo>
                  <a:cubicBezTo>
                    <a:pt x="41527" y="38748"/>
                    <a:pt x="43882" y="36006"/>
                    <a:pt x="46264" y="33283"/>
                  </a:cubicBezTo>
                  <a:close/>
                  <a:moveTo>
                    <a:pt x="61115" y="25592"/>
                  </a:moveTo>
                  <a:lnTo>
                    <a:pt x="61115" y="25592"/>
                  </a:lnTo>
                  <a:cubicBezTo>
                    <a:pt x="58314" y="29455"/>
                    <a:pt x="55514" y="33315"/>
                    <a:pt x="52711" y="37175"/>
                  </a:cubicBezTo>
                  <a:cubicBezTo>
                    <a:pt x="49267" y="41915"/>
                    <a:pt x="45606" y="46491"/>
                    <a:pt x="41910" y="51044"/>
                  </a:cubicBezTo>
                  <a:cubicBezTo>
                    <a:pt x="44171" y="47721"/>
                    <a:pt x="46394" y="44366"/>
                    <a:pt x="48773" y="41144"/>
                  </a:cubicBezTo>
                  <a:cubicBezTo>
                    <a:pt x="52705" y="35821"/>
                    <a:pt x="56877" y="30676"/>
                    <a:pt x="61115" y="25592"/>
                  </a:cubicBezTo>
                  <a:close/>
                  <a:moveTo>
                    <a:pt x="77715" y="1613"/>
                  </a:moveTo>
                  <a:cubicBezTo>
                    <a:pt x="77857" y="1662"/>
                    <a:pt x="77998" y="1702"/>
                    <a:pt x="78154" y="1763"/>
                  </a:cubicBezTo>
                  <a:cubicBezTo>
                    <a:pt x="75761" y="5245"/>
                    <a:pt x="72559" y="8048"/>
                    <a:pt x="69972" y="11382"/>
                  </a:cubicBezTo>
                  <a:cubicBezTo>
                    <a:pt x="67368" y="14737"/>
                    <a:pt x="64937" y="18242"/>
                    <a:pt x="62414" y="21660"/>
                  </a:cubicBezTo>
                  <a:cubicBezTo>
                    <a:pt x="62414" y="21663"/>
                    <a:pt x="62414" y="21663"/>
                    <a:pt x="62411" y="21663"/>
                  </a:cubicBezTo>
                  <a:cubicBezTo>
                    <a:pt x="58563" y="26259"/>
                    <a:pt x="54691" y="30838"/>
                    <a:pt x="50935" y="35503"/>
                  </a:cubicBezTo>
                  <a:cubicBezTo>
                    <a:pt x="47191" y="40154"/>
                    <a:pt x="43813" y="45094"/>
                    <a:pt x="40366" y="49979"/>
                  </a:cubicBezTo>
                  <a:cubicBezTo>
                    <a:pt x="39125" y="51113"/>
                    <a:pt x="37952" y="52306"/>
                    <a:pt x="36832" y="53547"/>
                  </a:cubicBezTo>
                  <a:cubicBezTo>
                    <a:pt x="37436" y="52667"/>
                    <a:pt x="38036" y="51786"/>
                    <a:pt x="38631" y="50905"/>
                  </a:cubicBezTo>
                  <a:cubicBezTo>
                    <a:pt x="42771" y="45700"/>
                    <a:pt x="46873" y="40469"/>
                    <a:pt x="50753" y="35062"/>
                  </a:cubicBezTo>
                  <a:cubicBezTo>
                    <a:pt x="51481" y="34048"/>
                    <a:pt x="52200" y="33026"/>
                    <a:pt x="52910" y="31996"/>
                  </a:cubicBezTo>
                  <a:cubicBezTo>
                    <a:pt x="56764" y="27114"/>
                    <a:pt x="60561" y="22180"/>
                    <a:pt x="64400" y="17283"/>
                  </a:cubicBezTo>
                  <a:cubicBezTo>
                    <a:pt x="68910" y="12121"/>
                    <a:pt x="73471" y="7000"/>
                    <a:pt x="77715" y="1613"/>
                  </a:cubicBezTo>
                  <a:close/>
                  <a:moveTo>
                    <a:pt x="39950" y="44653"/>
                  </a:moveTo>
                  <a:cubicBezTo>
                    <a:pt x="38376" y="46723"/>
                    <a:pt x="36807" y="48800"/>
                    <a:pt x="35239" y="50882"/>
                  </a:cubicBezTo>
                  <a:cubicBezTo>
                    <a:pt x="34453" y="51791"/>
                    <a:pt x="33669" y="52699"/>
                    <a:pt x="32886" y="53608"/>
                  </a:cubicBezTo>
                  <a:lnTo>
                    <a:pt x="32886" y="53608"/>
                  </a:lnTo>
                  <a:cubicBezTo>
                    <a:pt x="35261" y="50641"/>
                    <a:pt x="37619" y="47661"/>
                    <a:pt x="39950" y="44653"/>
                  </a:cubicBezTo>
                  <a:close/>
                  <a:moveTo>
                    <a:pt x="52411" y="41124"/>
                  </a:moveTo>
                  <a:lnTo>
                    <a:pt x="52411" y="41124"/>
                  </a:lnTo>
                  <a:cubicBezTo>
                    <a:pt x="48406" y="46630"/>
                    <a:pt x="44359" y="52109"/>
                    <a:pt x="40268" y="57569"/>
                  </a:cubicBezTo>
                  <a:cubicBezTo>
                    <a:pt x="44113" y="51945"/>
                    <a:pt x="48204" y="46509"/>
                    <a:pt x="52411" y="41124"/>
                  </a:cubicBezTo>
                  <a:close/>
                  <a:moveTo>
                    <a:pt x="78437" y="1893"/>
                  </a:moveTo>
                  <a:cubicBezTo>
                    <a:pt x="78662" y="1988"/>
                    <a:pt x="78881" y="2080"/>
                    <a:pt x="79124" y="2202"/>
                  </a:cubicBezTo>
                  <a:cubicBezTo>
                    <a:pt x="79242" y="2545"/>
                    <a:pt x="79436" y="2863"/>
                    <a:pt x="79687" y="3128"/>
                  </a:cubicBezTo>
                  <a:cubicBezTo>
                    <a:pt x="77542" y="6073"/>
                    <a:pt x="74655" y="8273"/>
                    <a:pt x="72204" y="10944"/>
                  </a:cubicBezTo>
                  <a:cubicBezTo>
                    <a:pt x="70053" y="13288"/>
                    <a:pt x="68165" y="15883"/>
                    <a:pt x="66294" y="18450"/>
                  </a:cubicBezTo>
                  <a:cubicBezTo>
                    <a:pt x="65460" y="19599"/>
                    <a:pt x="64623" y="20751"/>
                    <a:pt x="63791" y="21903"/>
                  </a:cubicBezTo>
                  <a:cubicBezTo>
                    <a:pt x="63471" y="22284"/>
                    <a:pt x="63147" y="22659"/>
                    <a:pt x="62827" y="23040"/>
                  </a:cubicBezTo>
                  <a:cubicBezTo>
                    <a:pt x="57905" y="28904"/>
                    <a:pt x="53083" y="34854"/>
                    <a:pt x="48490" y="40980"/>
                  </a:cubicBezTo>
                  <a:cubicBezTo>
                    <a:pt x="44988" y="45654"/>
                    <a:pt x="41809" y="50576"/>
                    <a:pt x="38417" y="55334"/>
                  </a:cubicBezTo>
                  <a:cubicBezTo>
                    <a:pt x="37525" y="56431"/>
                    <a:pt x="36636" y="57528"/>
                    <a:pt x="35750" y="58625"/>
                  </a:cubicBezTo>
                  <a:cubicBezTo>
                    <a:pt x="40634" y="51826"/>
                    <a:pt x="45326" y="44898"/>
                    <a:pt x="50378" y="38220"/>
                  </a:cubicBezTo>
                  <a:cubicBezTo>
                    <a:pt x="56421" y="30237"/>
                    <a:pt x="62856" y="22567"/>
                    <a:pt x="68950" y="14627"/>
                  </a:cubicBezTo>
                  <a:cubicBezTo>
                    <a:pt x="69288" y="14189"/>
                    <a:pt x="69640" y="13747"/>
                    <a:pt x="70001" y="13302"/>
                  </a:cubicBezTo>
                  <a:cubicBezTo>
                    <a:pt x="73047" y="9898"/>
                    <a:pt x="76113" y="6451"/>
                    <a:pt x="78255" y="2597"/>
                  </a:cubicBezTo>
                  <a:cubicBezTo>
                    <a:pt x="78319" y="2482"/>
                    <a:pt x="78215" y="2352"/>
                    <a:pt x="78108" y="2352"/>
                  </a:cubicBezTo>
                  <a:cubicBezTo>
                    <a:pt x="78215" y="2196"/>
                    <a:pt x="78333" y="2049"/>
                    <a:pt x="78437" y="1893"/>
                  </a:cubicBezTo>
                  <a:close/>
                  <a:moveTo>
                    <a:pt x="50032" y="47655"/>
                  </a:moveTo>
                  <a:lnTo>
                    <a:pt x="50032" y="47655"/>
                  </a:lnTo>
                  <a:cubicBezTo>
                    <a:pt x="46224" y="53218"/>
                    <a:pt x="42309" y="58761"/>
                    <a:pt x="38166" y="64010"/>
                  </a:cubicBezTo>
                  <a:lnTo>
                    <a:pt x="38166" y="64007"/>
                  </a:lnTo>
                  <a:cubicBezTo>
                    <a:pt x="41983" y="58452"/>
                    <a:pt x="45938" y="53004"/>
                    <a:pt x="50032" y="47655"/>
                  </a:cubicBezTo>
                  <a:close/>
                  <a:moveTo>
                    <a:pt x="39073" y="51699"/>
                  </a:moveTo>
                  <a:lnTo>
                    <a:pt x="39073" y="51699"/>
                  </a:lnTo>
                  <a:cubicBezTo>
                    <a:pt x="35464" y="56249"/>
                    <a:pt x="31887" y="60825"/>
                    <a:pt x="28382" y="65453"/>
                  </a:cubicBezTo>
                  <a:cubicBezTo>
                    <a:pt x="29251" y="64099"/>
                    <a:pt x="30126" y="62754"/>
                    <a:pt x="31006" y="61411"/>
                  </a:cubicBezTo>
                  <a:lnTo>
                    <a:pt x="31006" y="61417"/>
                  </a:lnTo>
                  <a:cubicBezTo>
                    <a:pt x="32409" y="59691"/>
                    <a:pt x="33752" y="57898"/>
                    <a:pt x="35057" y="56073"/>
                  </a:cubicBezTo>
                  <a:cubicBezTo>
                    <a:pt x="36333" y="54563"/>
                    <a:pt x="37684" y="53114"/>
                    <a:pt x="39073" y="51699"/>
                  </a:cubicBezTo>
                  <a:close/>
                  <a:moveTo>
                    <a:pt x="47306" y="48682"/>
                  </a:moveTo>
                  <a:lnTo>
                    <a:pt x="47306" y="48682"/>
                  </a:lnTo>
                  <a:cubicBezTo>
                    <a:pt x="44520" y="52756"/>
                    <a:pt x="41749" y="56835"/>
                    <a:pt x="38899" y="60863"/>
                  </a:cubicBezTo>
                  <a:cubicBezTo>
                    <a:pt x="37534" y="62788"/>
                    <a:pt x="36056" y="64622"/>
                    <a:pt x="34546" y="66426"/>
                  </a:cubicBezTo>
                  <a:cubicBezTo>
                    <a:pt x="35204" y="65338"/>
                    <a:pt x="35854" y="64269"/>
                    <a:pt x="36512" y="63239"/>
                  </a:cubicBezTo>
                  <a:cubicBezTo>
                    <a:pt x="37343" y="61934"/>
                    <a:pt x="38212" y="60658"/>
                    <a:pt x="39070" y="59376"/>
                  </a:cubicBezTo>
                  <a:cubicBezTo>
                    <a:pt x="41322" y="56483"/>
                    <a:pt x="43576" y="53593"/>
                    <a:pt x="45799" y="50683"/>
                  </a:cubicBezTo>
                  <a:cubicBezTo>
                    <a:pt x="46307" y="50019"/>
                    <a:pt x="46804" y="49349"/>
                    <a:pt x="47306" y="48682"/>
                  </a:cubicBezTo>
                  <a:close/>
                  <a:moveTo>
                    <a:pt x="41148" y="46477"/>
                  </a:moveTo>
                  <a:lnTo>
                    <a:pt x="41148" y="46477"/>
                  </a:lnTo>
                  <a:cubicBezTo>
                    <a:pt x="40161" y="47874"/>
                    <a:pt x="39171" y="49266"/>
                    <a:pt x="38175" y="50657"/>
                  </a:cubicBezTo>
                  <a:cubicBezTo>
                    <a:pt x="36275" y="52929"/>
                    <a:pt x="34500" y="55302"/>
                    <a:pt x="32816" y="57745"/>
                  </a:cubicBezTo>
                  <a:cubicBezTo>
                    <a:pt x="30735" y="60366"/>
                    <a:pt x="28656" y="62996"/>
                    <a:pt x="26606" y="65652"/>
                  </a:cubicBezTo>
                  <a:lnTo>
                    <a:pt x="26606" y="65655"/>
                  </a:lnTo>
                  <a:cubicBezTo>
                    <a:pt x="26318" y="66030"/>
                    <a:pt x="26038" y="66414"/>
                    <a:pt x="25749" y="66793"/>
                  </a:cubicBezTo>
                  <a:cubicBezTo>
                    <a:pt x="25660" y="66885"/>
                    <a:pt x="25573" y="66977"/>
                    <a:pt x="25483" y="67067"/>
                  </a:cubicBezTo>
                  <a:cubicBezTo>
                    <a:pt x="27680" y="63790"/>
                    <a:pt x="30036" y="60617"/>
                    <a:pt x="32418" y="57473"/>
                  </a:cubicBezTo>
                  <a:cubicBezTo>
                    <a:pt x="35247" y="53743"/>
                    <a:pt x="38183" y="50100"/>
                    <a:pt x="41148" y="46477"/>
                  </a:cubicBezTo>
                  <a:close/>
                  <a:moveTo>
                    <a:pt x="25481" y="58934"/>
                  </a:moveTo>
                  <a:lnTo>
                    <a:pt x="25481" y="58934"/>
                  </a:lnTo>
                  <a:cubicBezTo>
                    <a:pt x="23200" y="61645"/>
                    <a:pt x="20850" y="64304"/>
                    <a:pt x="18713" y="67113"/>
                  </a:cubicBezTo>
                  <a:cubicBezTo>
                    <a:pt x="20593" y="64116"/>
                    <a:pt x="23076" y="61541"/>
                    <a:pt x="25481" y="58934"/>
                  </a:cubicBezTo>
                  <a:close/>
                  <a:moveTo>
                    <a:pt x="53011" y="25630"/>
                  </a:moveTo>
                  <a:lnTo>
                    <a:pt x="53011" y="25630"/>
                  </a:lnTo>
                  <a:cubicBezTo>
                    <a:pt x="50967" y="28300"/>
                    <a:pt x="48969" y="31008"/>
                    <a:pt x="46893" y="33638"/>
                  </a:cubicBezTo>
                  <a:cubicBezTo>
                    <a:pt x="39119" y="43471"/>
                    <a:pt x="31558" y="53703"/>
                    <a:pt x="23188" y="63028"/>
                  </a:cubicBezTo>
                  <a:cubicBezTo>
                    <a:pt x="22467" y="63822"/>
                    <a:pt x="21730" y="64604"/>
                    <a:pt x="20980" y="65378"/>
                  </a:cubicBezTo>
                  <a:cubicBezTo>
                    <a:pt x="20710" y="65658"/>
                    <a:pt x="18829" y="67682"/>
                    <a:pt x="18705" y="67682"/>
                  </a:cubicBezTo>
                  <a:cubicBezTo>
                    <a:pt x="18654" y="67682"/>
                    <a:pt x="18902" y="67337"/>
                    <a:pt x="19686" y="66383"/>
                  </a:cubicBezTo>
                  <a:cubicBezTo>
                    <a:pt x="21840" y="63767"/>
                    <a:pt x="24190" y="61365"/>
                    <a:pt x="26274" y="58677"/>
                  </a:cubicBezTo>
                  <a:cubicBezTo>
                    <a:pt x="27568" y="57009"/>
                    <a:pt x="28838" y="55323"/>
                    <a:pt x="30103" y="53631"/>
                  </a:cubicBezTo>
                  <a:cubicBezTo>
                    <a:pt x="32230" y="51119"/>
                    <a:pt x="34338" y="48590"/>
                    <a:pt x="36460" y="46073"/>
                  </a:cubicBezTo>
                  <a:cubicBezTo>
                    <a:pt x="39159" y="42871"/>
                    <a:pt x="41841" y="39603"/>
                    <a:pt x="44382" y="36277"/>
                  </a:cubicBezTo>
                  <a:cubicBezTo>
                    <a:pt x="45513" y="34793"/>
                    <a:pt x="46553" y="33246"/>
                    <a:pt x="47630" y="31733"/>
                  </a:cubicBezTo>
                  <a:cubicBezTo>
                    <a:pt x="49425" y="29698"/>
                    <a:pt x="51227" y="27668"/>
                    <a:pt x="53011" y="25630"/>
                  </a:cubicBezTo>
                  <a:close/>
                  <a:moveTo>
                    <a:pt x="31321" y="56174"/>
                  </a:moveTo>
                  <a:cubicBezTo>
                    <a:pt x="28431" y="60103"/>
                    <a:pt x="25521" y="64044"/>
                    <a:pt x="22337" y="67702"/>
                  </a:cubicBezTo>
                  <a:lnTo>
                    <a:pt x="22337" y="67705"/>
                  </a:lnTo>
                  <a:cubicBezTo>
                    <a:pt x="21742" y="68387"/>
                    <a:pt x="21462" y="68656"/>
                    <a:pt x="21392" y="68656"/>
                  </a:cubicBezTo>
                  <a:cubicBezTo>
                    <a:pt x="21150" y="68656"/>
                    <a:pt x="23384" y="65480"/>
                    <a:pt x="23867" y="64916"/>
                  </a:cubicBezTo>
                  <a:cubicBezTo>
                    <a:pt x="24848" y="63767"/>
                    <a:pt x="25853" y="62644"/>
                    <a:pt x="26829" y="61492"/>
                  </a:cubicBezTo>
                  <a:cubicBezTo>
                    <a:pt x="28330" y="59725"/>
                    <a:pt x="29828" y="57950"/>
                    <a:pt x="31321" y="56174"/>
                  </a:cubicBezTo>
                  <a:close/>
                  <a:moveTo>
                    <a:pt x="62989" y="31020"/>
                  </a:moveTo>
                  <a:lnTo>
                    <a:pt x="62989" y="31020"/>
                  </a:lnTo>
                  <a:cubicBezTo>
                    <a:pt x="61744" y="32700"/>
                    <a:pt x="60497" y="34374"/>
                    <a:pt x="59247" y="36046"/>
                  </a:cubicBezTo>
                  <a:cubicBezTo>
                    <a:pt x="53424" y="43772"/>
                    <a:pt x="48071" y="51806"/>
                    <a:pt x="42390" y="59624"/>
                  </a:cubicBezTo>
                  <a:cubicBezTo>
                    <a:pt x="39812" y="63172"/>
                    <a:pt x="37005" y="66530"/>
                    <a:pt x="34271" y="69937"/>
                  </a:cubicBezTo>
                  <a:cubicBezTo>
                    <a:pt x="34860" y="68964"/>
                    <a:pt x="35444" y="68017"/>
                    <a:pt x="36038" y="67116"/>
                  </a:cubicBezTo>
                  <a:lnTo>
                    <a:pt x="36038" y="67113"/>
                  </a:lnTo>
                  <a:cubicBezTo>
                    <a:pt x="42450" y="59679"/>
                    <a:pt x="47970" y="51526"/>
                    <a:pt x="53383" y="43298"/>
                  </a:cubicBezTo>
                  <a:cubicBezTo>
                    <a:pt x="53418" y="43252"/>
                    <a:pt x="53453" y="43209"/>
                    <a:pt x="53487" y="43163"/>
                  </a:cubicBezTo>
                  <a:cubicBezTo>
                    <a:pt x="56649" y="39109"/>
                    <a:pt x="59839" y="35079"/>
                    <a:pt x="62989" y="31020"/>
                  </a:cubicBezTo>
                  <a:close/>
                  <a:moveTo>
                    <a:pt x="48178" y="36597"/>
                  </a:moveTo>
                  <a:lnTo>
                    <a:pt x="48178" y="36597"/>
                  </a:lnTo>
                  <a:cubicBezTo>
                    <a:pt x="46521" y="38901"/>
                    <a:pt x="44875" y="41211"/>
                    <a:pt x="43239" y="43529"/>
                  </a:cubicBezTo>
                  <a:cubicBezTo>
                    <a:pt x="36760" y="51442"/>
                    <a:pt x="30354" y="59402"/>
                    <a:pt x="24640" y="67890"/>
                  </a:cubicBezTo>
                  <a:cubicBezTo>
                    <a:pt x="24236" y="68265"/>
                    <a:pt x="23829" y="68646"/>
                    <a:pt x="23416" y="69019"/>
                  </a:cubicBezTo>
                  <a:lnTo>
                    <a:pt x="23416" y="69021"/>
                  </a:lnTo>
                  <a:cubicBezTo>
                    <a:pt x="22674" y="69691"/>
                    <a:pt x="22299" y="69956"/>
                    <a:pt x="22169" y="69956"/>
                  </a:cubicBezTo>
                  <a:cubicBezTo>
                    <a:pt x="21681" y="69956"/>
                    <a:pt x="24629" y="66248"/>
                    <a:pt x="24617" y="66248"/>
                  </a:cubicBezTo>
                  <a:lnTo>
                    <a:pt x="24617" y="66248"/>
                  </a:lnTo>
                  <a:cubicBezTo>
                    <a:pt x="24616" y="66248"/>
                    <a:pt x="24602" y="66264"/>
                    <a:pt x="24574" y="66298"/>
                  </a:cubicBezTo>
                  <a:lnTo>
                    <a:pt x="24574" y="66298"/>
                  </a:lnTo>
                  <a:cubicBezTo>
                    <a:pt x="28341" y="61744"/>
                    <a:pt x="32084" y="57201"/>
                    <a:pt x="35706" y="52525"/>
                  </a:cubicBezTo>
                  <a:cubicBezTo>
                    <a:pt x="38140" y="49387"/>
                    <a:pt x="40450" y="46142"/>
                    <a:pt x="42762" y="42894"/>
                  </a:cubicBezTo>
                  <a:cubicBezTo>
                    <a:pt x="44575" y="40804"/>
                    <a:pt x="46382" y="38705"/>
                    <a:pt x="48178" y="36597"/>
                  </a:cubicBezTo>
                  <a:close/>
                  <a:moveTo>
                    <a:pt x="80657" y="8715"/>
                  </a:moveTo>
                  <a:cubicBezTo>
                    <a:pt x="79750" y="9968"/>
                    <a:pt x="78818" y="11359"/>
                    <a:pt x="78033" y="12381"/>
                  </a:cubicBezTo>
                  <a:cubicBezTo>
                    <a:pt x="70671" y="21946"/>
                    <a:pt x="63794" y="31946"/>
                    <a:pt x="56709" y="41722"/>
                  </a:cubicBezTo>
                  <a:cubicBezTo>
                    <a:pt x="53776" y="45769"/>
                    <a:pt x="51045" y="49921"/>
                    <a:pt x="48398" y="54116"/>
                  </a:cubicBezTo>
                  <a:cubicBezTo>
                    <a:pt x="43747" y="60620"/>
                    <a:pt x="39217" y="67203"/>
                    <a:pt x="34312" y="73531"/>
                  </a:cubicBezTo>
                  <a:cubicBezTo>
                    <a:pt x="34043" y="73877"/>
                    <a:pt x="33714" y="74250"/>
                    <a:pt x="33342" y="74642"/>
                  </a:cubicBezTo>
                  <a:cubicBezTo>
                    <a:pt x="37291" y="69688"/>
                    <a:pt x="40750" y="64241"/>
                    <a:pt x="44318" y="59206"/>
                  </a:cubicBezTo>
                  <a:lnTo>
                    <a:pt x="44318" y="59208"/>
                  </a:lnTo>
                  <a:cubicBezTo>
                    <a:pt x="51640" y="48870"/>
                    <a:pt x="58684" y="38335"/>
                    <a:pt x="65907" y="27928"/>
                  </a:cubicBezTo>
                  <a:cubicBezTo>
                    <a:pt x="66488" y="27091"/>
                    <a:pt x="67071" y="26253"/>
                    <a:pt x="67654" y="25419"/>
                  </a:cubicBezTo>
                  <a:cubicBezTo>
                    <a:pt x="68416" y="24409"/>
                    <a:pt x="69175" y="23398"/>
                    <a:pt x="69935" y="22391"/>
                  </a:cubicBezTo>
                  <a:cubicBezTo>
                    <a:pt x="72660" y="18764"/>
                    <a:pt x="75380" y="15141"/>
                    <a:pt x="78241" y="11619"/>
                  </a:cubicBezTo>
                  <a:cubicBezTo>
                    <a:pt x="79060" y="10612"/>
                    <a:pt x="79901" y="9688"/>
                    <a:pt x="80657" y="8715"/>
                  </a:cubicBezTo>
                  <a:close/>
                  <a:moveTo>
                    <a:pt x="68685" y="20396"/>
                  </a:moveTo>
                  <a:lnTo>
                    <a:pt x="68685" y="20396"/>
                  </a:lnTo>
                  <a:cubicBezTo>
                    <a:pt x="63580" y="27212"/>
                    <a:pt x="59062" y="34351"/>
                    <a:pt x="54284" y="41404"/>
                  </a:cubicBezTo>
                  <a:cubicBezTo>
                    <a:pt x="53990" y="41840"/>
                    <a:pt x="53692" y="42279"/>
                    <a:pt x="53395" y="42715"/>
                  </a:cubicBezTo>
                  <a:cubicBezTo>
                    <a:pt x="52269" y="44156"/>
                    <a:pt x="51146" y="45599"/>
                    <a:pt x="50029" y="47046"/>
                  </a:cubicBezTo>
                  <a:cubicBezTo>
                    <a:pt x="45008" y="53561"/>
                    <a:pt x="40253" y="60265"/>
                    <a:pt x="35651" y="67076"/>
                  </a:cubicBezTo>
                  <a:cubicBezTo>
                    <a:pt x="33428" y="69662"/>
                    <a:pt x="31116" y="72160"/>
                    <a:pt x="29072" y="74850"/>
                  </a:cubicBezTo>
                  <a:cubicBezTo>
                    <a:pt x="30666" y="72725"/>
                    <a:pt x="32106" y="70430"/>
                    <a:pt x="33492" y="68155"/>
                  </a:cubicBezTo>
                  <a:lnTo>
                    <a:pt x="33492" y="68158"/>
                  </a:lnTo>
                  <a:cubicBezTo>
                    <a:pt x="34797" y="66657"/>
                    <a:pt x="36090" y="65153"/>
                    <a:pt x="37303" y="63579"/>
                  </a:cubicBezTo>
                  <a:cubicBezTo>
                    <a:pt x="45288" y="53209"/>
                    <a:pt x="52359" y="42109"/>
                    <a:pt x="59995" y="31459"/>
                  </a:cubicBezTo>
                  <a:cubicBezTo>
                    <a:pt x="62752" y="27951"/>
                    <a:pt x="65509" y="24440"/>
                    <a:pt x="68263" y="20930"/>
                  </a:cubicBezTo>
                  <a:cubicBezTo>
                    <a:pt x="68402" y="20751"/>
                    <a:pt x="68543" y="20575"/>
                    <a:pt x="68685" y="20396"/>
                  </a:cubicBezTo>
                  <a:close/>
                  <a:moveTo>
                    <a:pt x="54498" y="35931"/>
                  </a:moveTo>
                  <a:lnTo>
                    <a:pt x="54498" y="35931"/>
                  </a:lnTo>
                  <a:cubicBezTo>
                    <a:pt x="53949" y="36664"/>
                    <a:pt x="53398" y="37394"/>
                    <a:pt x="52846" y="38119"/>
                  </a:cubicBezTo>
                  <a:cubicBezTo>
                    <a:pt x="47944" y="44528"/>
                    <a:pt x="42800" y="50778"/>
                    <a:pt x="38123" y="57355"/>
                  </a:cubicBezTo>
                  <a:cubicBezTo>
                    <a:pt x="33729" y="63530"/>
                    <a:pt x="29722" y="69957"/>
                    <a:pt x="24531" y="75509"/>
                  </a:cubicBezTo>
                  <a:cubicBezTo>
                    <a:pt x="25065" y="74717"/>
                    <a:pt x="25639" y="73955"/>
                    <a:pt x="26191" y="73199"/>
                  </a:cubicBezTo>
                  <a:cubicBezTo>
                    <a:pt x="28370" y="70217"/>
                    <a:pt x="30527" y="67223"/>
                    <a:pt x="32692" y="64226"/>
                  </a:cubicBezTo>
                  <a:cubicBezTo>
                    <a:pt x="37005" y="58262"/>
                    <a:pt x="41515" y="52381"/>
                    <a:pt x="46056" y="46558"/>
                  </a:cubicBezTo>
                  <a:cubicBezTo>
                    <a:pt x="46891" y="45504"/>
                    <a:pt x="47719" y="44447"/>
                    <a:pt x="48539" y="43382"/>
                  </a:cubicBezTo>
                  <a:cubicBezTo>
                    <a:pt x="49007" y="42784"/>
                    <a:pt x="49477" y="42181"/>
                    <a:pt x="49945" y="41583"/>
                  </a:cubicBezTo>
                  <a:cubicBezTo>
                    <a:pt x="51441" y="39681"/>
                    <a:pt x="52965" y="37801"/>
                    <a:pt x="54498" y="35931"/>
                  </a:cubicBezTo>
                  <a:close/>
                  <a:moveTo>
                    <a:pt x="35545" y="59815"/>
                  </a:moveTo>
                  <a:lnTo>
                    <a:pt x="35545" y="59815"/>
                  </a:lnTo>
                  <a:cubicBezTo>
                    <a:pt x="31512" y="65081"/>
                    <a:pt x="26647" y="70693"/>
                    <a:pt x="23431" y="76669"/>
                  </a:cubicBezTo>
                  <a:cubicBezTo>
                    <a:pt x="22990" y="77093"/>
                    <a:pt x="22738" y="77263"/>
                    <a:pt x="22616" y="77263"/>
                  </a:cubicBezTo>
                  <a:cubicBezTo>
                    <a:pt x="22453" y="77263"/>
                    <a:pt x="22528" y="76953"/>
                    <a:pt x="22700" y="76536"/>
                  </a:cubicBezTo>
                  <a:cubicBezTo>
                    <a:pt x="23133" y="75892"/>
                    <a:pt x="23572" y="75252"/>
                    <a:pt x="24014" y="74614"/>
                  </a:cubicBezTo>
                  <a:cubicBezTo>
                    <a:pt x="26110" y="71781"/>
                    <a:pt x="28200" y="68949"/>
                    <a:pt x="30290" y="66114"/>
                  </a:cubicBezTo>
                  <a:cubicBezTo>
                    <a:pt x="30351" y="66033"/>
                    <a:pt x="30412" y="65953"/>
                    <a:pt x="30475" y="65875"/>
                  </a:cubicBezTo>
                  <a:cubicBezTo>
                    <a:pt x="32184" y="63871"/>
                    <a:pt x="33899" y="61873"/>
                    <a:pt x="35545" y="59815"/>
                  </a:cubicBezTo>
                  <a:close/>
                  <a:moveTo>
                    <a:pt x="68096" y="19550"/>
                  </a:moveTo>
                  <a:lnTo>
                    <a:pt x="68096" y="19550"/>
                  </a:lnTo>
                  <a:cubicBezTo>
                    <a:pt x="64562" y="24310"/>
                    <a:pt x="61100" y="29132"/>
                    <a:pt x="57633" y="33933"/>
                  </a:cubicBezTo>
                  <a:cubicBezTo>
                    <a:pt x="50514" y="42958"/>
                    <a:pt x="43354" y="51945"/>
                    <a:pt x="37121" y="61628"/>
                  </a:cubicBezTo>
                  <a:cubicBezTo>
                    <a:pt x="37008" y="61804"/>
                    <a:pt x="36893" y="61989"/>
                    <a:pt x="36780" y="62168"/>
                  </a:cubicBezTo>
                  <a:cubicBezTo>
                    <a:pt x="33313" y="66720"/>
                    <a:pt x="29817" y="71250"/>
                    <a:pt x="26251" y="75702"/>
                  </a:cubicBezTo>
                  <a:lnTo>
                    <a:pt x="26251" y="75705"/>
                  </a:lnTo>
                  <a:cubicBezTo>
                    <a:pt x="25859" y="76196"/>
                    <a:pt x="23136" y="77910"/>
                    <a:pt x="23087" y="78020"/>
                  </a:cubicBezTo>
                  <a:cubicBezTo>
                    <a:pt x="23292" y="77570"/>
                    <a:pt x="23523" y="77128"/>
                    <a:pt x="23777" y="76701"/>
                  </a:cubicBezTo>
                  <a:cubicBezTo>
                    <a:pt x="27715" y="72783"/>
                    <a:pt x="30969" y="68297"/>
                    <a:pt x="34139" y="63721"/>
                  </a:cubicBezTo>
                  <a:cubicBezTo>
                    <a:pt x="38435" y="57525"/>
                    <a:pt x="42935" y="51558"/>
                    <a:pt x="47540" y="45590"/>
                  </a:cubicBezTo>
                  <a:cubicBezTo>
                    <a:pt x="50554" y="41687"/>
                    <a:pt x="53487" y="37651"/>
                    <a:pt x="56429" y="33598"/>
                  </a:cubicBezTo>
                  <a:cubicBezTo>
                    <a:pt x="59596" y="29781"/>
                    <a:pt x="62798" y="25991"/>
                    <a:pt x="65933" y="22148"/>
                  </a:cubicBezTo>
                  <a:cubicBezTo>
                    <a:pt x="66643" y="21273"/>
                    <a:pt x="67368" y="20410"/>
                    <a:pt x="68096" y="19550"/>
                  </a:cubicBezTo>
                  <a:close/>
                  <a:moveTo>
                    <a:pt x="31786" y="70133"/>
                  </a:moveTo>
                  <a:lnTo>
                    <a:pt x="31786" y="70133"/>
                  </a:lnTo>
                  <a:cubicBezTo>
                    <a:pt x="29794" y="73216"/>
                    <a:pt x="27672" y="76207"/>
                    <a:pt x="25201" y="78808"/>
                  </a:cubicBezTo>
                  <a:cubicBezTo>
                    <a:pt x="27337" y="76559"/>
                    <a:pt x="29011" y="73410"/>
                    <a:pt x="31076" y="70964"/>
                  </a:cubicBezTo>
                  <a:cubicBezTo>
                    <a:pt x="31309" y="70684"/>
                    <a:pt x="31549" y="70410"/>
                    <a:pt x="31786" y="70133"/>
                  </a:cubicBezTo>
                  <a:close/>
                  <a:moveTo>
                    <a:pt x="34220" y="69195"/>
                  </a:moveTo>
                  <a:lnTo>
                    <a:pt x="34220" y="69195"/>
                  </a:lnTo>
                  <a:cubicBezTo>
                    <a:pt x="33838" y="69763"/>
                    <a:pt x="33452" y="70326"/>
                    <a:pt x="33073" y="70895"/>
                  </a:cubicBezTo>
                  <a:cubicBezTo>
                    <a:pt x="32213" y="72194"/>
                    <a:pt x="31358" y="73499"/>
                    <a:pt x="30513" y="74810"/>
                  </a:cubicBezTo>
                  <a:cubicBezTo>
                    <a:pt x="29736" y="75864"/>
                    <a:pt x="28982" y="76935"/>
                    <a:pt x="28252" y="78026"/>
                  </a:cubicBezTo>
                  <a:cubicBezTo>
                    <a:pt x="27305" y="79247"/>
                    <a:pt x="26268" y="80487"/>
                    <a:pt x="26039" y="80487"/>
                  </a:cubicBezTo>
                  <a:cubicBezTo>
                    <a:pt x="25931" y="80487"/>
                    <a:pt x="26004" y="80209"/>
                    <a:pt x="26352" y="79521"/>
                  </a:cubicBezTo>
                  <a:cubicBezTo>
                    <a:pt x="28301" y="75682"/>
                    <a:pt x="31344" y="72405"/>
                    <a:pt x="34220" y="69195"/>
                  </a:cubicBezTo>
                  <a:close/>
                  <a:moveTo>
                    <a:pt x="48135" y="40766"/>
                  </a:moveTo>
                  <a:lnTo>
                    <a:pt x="48135" y="40766"/>
                  </a:lnTo>
                  <a:cubicBezTo>
                    <a:pt x="45277" y="44612"/>
                    <a:pt x="42479" y="48506"/>
                    <a:pt x="39742" y="52450"/>
                  </a:cubicBezTo>
                  <a:cubicBezTo>
                    <a:pt x="36821" y="56682"/>
                    <a:pt x="33792" y="60837"/>
                    <a:pt x="30732" y="64971"/>
                  </a:cubicBezTo>
                  <a:cubicBezTo>
                    <a:pt x="30547" y="65211"/>
                    <a:pt x="30365" y="65453"/>
                    <a:pt x="30181" y="65693"/>
                  </a:cubicBezTo>
                  <a:cubicBezTo>
                    <a:pt x="27475" y="68796"/>
                    <a:pt x="24779" y="71957"/>
                    <a:pt x="22871" y="75563"/>
                  </a:cubicBezTo>
                  <a:cubicBezTo>
                    <a:pt x="22311" y="76323"/>
                    <a:pt x="21745" y="77079"/>
                    <a:pt x="21188" y="77841"/>
                  </a:cubicBezTo>
                  <a:cubicBezTo>
                    <a:pt x="21158" y="77822"/>
                    <a:pt x="21125" y="77813"/>
                    <a:pt x="21091" y="77813"/>
                  </a:cubicBezTo>
                  <a:cubicBezTo>
                    <a:pt x="21054" y="77813"/>
                    <a:pt x="21016" y="77825"/>
                    <a:pt x="20985" y="77850"/>
                  </a:cubicBezTo>
                  <a:lnTo>
                    <a:pt x="20985" y="77853"/>
                  </a:lnTo>
                  <a:cubicBezTo>
                    <a:pt x="20053" y="78673"/>
                    <a:pt x="19239" y="79611"/>
                    <a:pt x="18485" y="80604"/>
                  </a:cubicBezTo>
                  <a:cubicBezTo>
                    <a:pt x="19083" y="79634"/>
                    <a:pt x="19678" y="78661"/>
                    <a:pt x="20272" y="77691"/>
                  </a:cubicBezTo>
                  <a:cubicBezTo>
                    <a:pt x="20431" y="77466"/>
                    <a:pt x="20593" y="77241"/>
                    <a:pt x="20752" y="77018"/>
                  </a:cubicBezTo>
                  <a:cubicBezTo>
                    <a:pt x="21430" y="76045"/>
                    <a:pt x="22080" y="75061"/>
                    <a:pt x="22738" y="74079"/>
                  </a:cubicBezTo>
                  <a:lnTo>
                    <a:pt x="22738" y="74079"/>
                  </a:lnTo>
                  <a:cubicBezTo>
                    <a:pt x="22441" y="74717"/>
                    <a:pt x="22158" y="75367"/>
                    <a:pt x="21909" y="76037"/>
                  </a:cubicBezTo>
                  <a:cubicBezTo>
                    <a:pt x="21873" y="76136"/>
                    <a:pt x="21954" y="76202"/>
                    <a:pt x="22038" y="76202"/>
                  </a:cubicBezTo>
                  <a:cubicBezTo>
                    <a:pt x="22093" y="76202"/>
                    <a:pt x="22148" y="76174"/>
                    <a:pt x="22172" y="76109"/>
                  </a:cubicBezTo>
                  <a:cubicBezTo>
                    <a:pt x="22654" y="74824"/>
                    <a:pt x="23226" y="73577"/>
                    <a:pt x="23890" y="72376"/>
                  </a:cubicBezTo>
                  <a:cubicBezTo>
                    <a:pt x="24964" y="70748"/>
                    <a:pt x="26026" y="69114"/>
                    <a:pt x="27077" y="67474"/>
                  </a:cubicBezTo>
                  <a:cubicBezTo>
                    <a:pt x="29733" y="63900"/>
                    <a:pt x="32816" y="60580"/>
                    <a:pt x="35501" y="57127"/>
                  </a:cubicBezTo>
                  <a:cubicBezTo>
                    <a:pt x="37219" y="54918"/>
                    <a:pt x="38870" y="52658"/>
                    <a:pt x="40502" y="50386"/>
                  </a:cubicBezTo>
                  <a:cubicBezTo>
                    <a:pt x="43034" y="47170"/>
                    <a:pt x="45577" y="43962"/>
                    <a:pt x="48135" y="40766"/>
                  </a:cubicBezTo>
                  <a:close/>
                  <a:moveTo>
                    <a:pt x="61779" y="33234"/>
                  </a:moveTo>
                  <a:lnTo>
                    <a:pt x="61779" y="33234"/>
                  </a:lnTo>
                  <a:cubicBezTo>
                    <a:pt x="59273" y="36886"/>
                    <a:pt x="56773" y="40541"/>
                    <a:pt x="54284" y="44199"/>
                  </a:cubicBezTo>
                  <a:cubicBezTo>
                    <a:pt x="49524" y="51151"/>
                    <a:pt x="44694" y="58054"/>
                    <a:pt x="39797" y="64907"/>
                  </a:cubicBezTo>
                  <a:cubicBezTo>
                    <a:pt x="37716" y="67806"/>
                    <a:pt x="35657" y="70722"/>
                    <a:pt x="33535" y="73594"/>
                  </a:cubicBezTo>
                  <a:cubicBezTo>
                    <a:pt x="32025" y="75630"/>
                    <a:pt x="30412" y="77584"/>
                    <a:pt x="28697" y="79452"/>
                  </a:cubicBezTo>
                  <a:cubicBezTo>
                    <a:pt x="28226" y="79967"/>
                    <a:pt x="26948" y="81430"/>
                    <a:pt x="26691" y="81430"/>
                  </a:cubicBezTo>
                  <a:cubicBezTo>
                    <a:pt x="26567" y="81430"/>
                    <a:pt x="26679" y="81093"/>
                    <a:pt x="27227" y="80154"/>
                  </a:cubicBezTo>
                  <a:lnTo>
                    <a:pt x="27227" y="80157"/>
                  </a:lnTo>
                  <a:cubicBezTo>
                    <a:pt x="29583" y="77708"/>
                    <a:pt x="31483" y="74608"/>
                    <a:pt x="33290" y="71579"/>
                  </a:cubicBezTo>
                  <a:cubicBezTo>
                    <a:pt x="35770" y="68470"/>
                    <a:pt x="38371" y="65444"/>
                    <a:pt x="40790" y="62309"/>
                  </a:cubicBezTo>
                  <a:cubicBezTo>
                    <a:pt x="45921" y="55666"/>
                    <a:pt x="50407" y="48535"/>
                    <a:pt x="55399" y="41780"/>
                  </a:cubicBezTo>
                  <a:cubicBezTo>
                    <a:pt x="57509" y="38921"/>
                    <a:pt x="59637" y="36072"/>
                    <a:pt x="61779" y="33234"/>
                  </a:cubicBezTo>
                  <a:close/>
                  <a:moveTo>
                    <a:pt x="20334" y="78956"/>
                  </a:moveTo>
                  <a:cubicBezTo>
                    <a:pt x="20346" y="78956"/>
                    <a:pt x="20356" y="78958"/>
                    <a:pt x="20365" y="78964"/>
                  </a:cubicBezTo>
                  <a:cubicBezTo>
                    <a:pt x="20180" y="79215"/>
                    <a:pt x="19992" y="79467"/>
                    <a:pt x="19808" y="79721"/>
                  </a:cubicBezTo>
                  <a:cubicBezTo>
                    <a:pt x="18996" y="80835"/>
                    <a:pt x="18162" y="81947"/>
                    <a:pt x="17319" y="83058"/>
                  </a:cubicBezTo>
                  <a:cubicBezTo>
                    <a:pt x="17527" y="82697"/>
                    <a:pt x="17732" y="82336"/>
                    <a:pt x="17945" y="81981"/>
                  </a:cubicBezTo>
                  <a:cubicBezTo>
                    <a:pt x="18308" y="81375"/>
                    <a:pt x="19986" y="78956"/>
                    <a:pt x="20334" y="78956"/>
                  </a:cubicBezTo>
                  <a:close/>
                  <a:moveTo>
                    <a:pt x="43790" y="61547"/>
                  </a:moveTo>
                  <a:lnTo>
                    <a:pt x="43790" y="61547"/>
                  </a:lnTo>
                  <a:cubicBezTo>
                    <a:pt x="41555" y="65205"/>
                    <a:pt x="39330" y="68877"/>
                    <a:pt x="37040" y="72532"/>
                  </a:cubicBezTo>
                  <a:cubicBezTo>
                    <a:pt x="35348" y="75231"/>
                    <a:pt x="33512" y="77879"/>
                    <a:pt x="31315" y="80191"/>
                  </a:cubicBezTo>
                  <a:cubicBezTo>
                    <a:pt x="30611" y="80875"/>
                    <a:pt x="29906" y="81563"/>
                    <a:pt x="29205" y="82250"/>
                  </a:cubicBezTo>
                  <a:cubicBezTo>
                    <a:pt x="28564" y="82875"/>
                    <a:pt x="28202" y="83124"/>
                    <a:pt x="28033" y="83124"/>
                  </a:cubicBezTo>
                  <a:cubicBezTo>
                    <a:pt x="27420" y="83124"/>
                    <a:pt x="29364" y="79833"/>
                    <a:pt x="29710" y="79420"/>
                  </a:cubicBezTo>
                  <a:cubicBezTo>
                    <a:pt x="32811" y="75725"/>
                    <a:pt x="35894" y="72087"/>
                    <a:pt x="38813" y="68230"/>
                  </a:cubicBezTo>
                  <a:cubicBezTo>
                    <a:pt x="40490" y="66016"/>
                    <a:pt x="42150" y="63787"/>
                    <a:pt x="43790" y="61547"/>
                  </a:cubicBezTo>
                  <a:close/>
                  <a:moveTo>
                    <a:pt x="19045" y="82752"/>
                  </a:moveTo>
                  <a:lnTo>
                    <a:pt x="19045" y="82752"/>
                  </a:lnTo>
                  <a:cubicBezTo>
                    <a:pt x="18061" y="84207"/>
                    <a:pt x="17059" y="85648"/>
                    <a:pt x="16060" y="87091"/>
                  </a:cubicBezTo>
                  <a:cubicBezTo>
                    <a:pt x="15821" y="87440"/>
                    <a:pt x="15584" y="87790"/>
                    <a:pt x="15341" y="88136"/>
                  </a:cubicBezTo>
                  <a:cubicBezTo>
                    <a:pt x="15760" y="87507"/>
                    <a:pt x="16182" y="86880"/>
                    <a:pt x="16606" y="86254"/>
                  </a:cubicBezTo>
                  <a:cubicBezTo>
                    <a:pt x="17131" y="85538"/>
                    <a:pt x="17634" y="84808"/>
                    <a:pt x="18116" y="84063"/>
                  </a:cubicBezTo>
                  <a:cubicBezTo>
                    <a:pt x="18422" y="83624"/>
                    <a:pt x="18728" y="83185"/>
                    <a:pt x="19045" y="82752"/>
                  </a:cubicBezTo>
                  <a:close/>
                  <a:moveTo>
                    <a:pt x="17440" y="75194"/>
                  </a:moveTo>
                  <a:lnTo>
                    <a:pt x="17440" y="75194"/>
                  </a:lnTo>
                  <a:cubicBezTo>
                    <a:pt x="16658" y="76940"/>
                    <a:pt x="15373" y="78514"/>
                    <a:pt x="14239" y="80038"/>
                  </a:cubicBezTo>
                  <a:cubicBezTo>
                    <a:pt x="10797" y="84652"/>
                    <a:pt x="7191" y="89158"/>
                    <a:pt x="3915" y="93896"/>
                  </a:cubicBezTo>
                  <a:cubicBezTo>
                    <a:pt x="5142" y="91962"/>
                    <a:pt x="6435" y="90065"/>
                    <a:pt x="7668" y="88165"/>
                  </a:cubicBezTo>
                  <a:cubicBezTo>
                    <a:pt x="9703" y="85030"/>
                    <a:pt x="11906" y="82016"/>
                    <a:pt x="13970" y="78901"/>
                  </a:cubicBezTo>
                  <a:lnTo>
                    <a:pt x="14741" y="77760"/>
                  </a:lnTo>
                  <a:cubicBezTo>
                    <a:pt x="15255" y="76406"/>
                    <a:pt x="16153" y="75552"/>
                    <a:pt x="17440" y="75194"/>
                  </a:cubicBezTo>
                  <a:close/>
                  <a:moveTo>
                    <a:pt x="19349" y="75603"/>
                  </a:moveTo>
                  <a:cubicBezTo>
                    <a:pt x="19836" y="75603"/>
                    <a:pt x="19547" y="76094"/>
                    <a:pt x="18482" y="77076"/>
                  </a:cubicBezTo>
                  <a:cubicBezTo>
                    <a:pt x="17550" y="78485"/>
                    <a:pt x="16485" y="79801"/>
                    <a:pt x="15538" y="81199"/>
                  </a:cubicBezTo>
                  <a:cubicBezTo>
                    <a:pt x="13159" y="84709"/>
                    <a:pt x="10976" y="88353"/>
                    <a:pt x="8638" y="91889"/>
                  </a:cubicBezTo>
                  <a:cubicBezTo>
                    <a:pt x="7460" y="93668"/>
                    <a:pt x="6192" y="95377"/>
                    <a:pt x="4885" y="97054"/>
                  </a:cubicBezTo>
                  <a:cubicBezTo>
                    <a:pt x="6120" y="94947"/>
                    <a:pt x="7376" y="92857"/>
                    <a:pt x="8655" y="90778"/>
                  </a:cubicBezTo>
                  <a:cubicBezTo>
                    <a:pt x="10725" y="87420"/>
                    <a:pt x="13170" y="84317"/>
                    <a:pt x="15183" y="80925"/>
                  </a:cubicBezTo>
                  <a:cubicBezTo>
                    <a:pt x="16280" y="79080"/>
                    <a:pt x="17371" y="77336"/>
                    <a:pt x="18794" y="75708"/>
                  </a:cubicBezTo>
                  <a:cubicBezTo>
                    <a:pt x="19034" y="75638"/>
                    <a:pt x="19219" y="75603"/>
                    <a:pt x="19349" y="75603"/>
                  </a:cubicBezTo>
                  <a:close/>
                  <a:moveTo>
                    <a:pt x="9452" y="87328"/>
                  </a:moveTo>
                  <a:cubicBezTo>
                    <a:pt x="8675" y="88439"/>
                    <a:pt x="7939" y="89571"/>
                    <a:pt x="7246" y="90726"/>
                  </a:cubicBezTo>
                  <a:cubicBezTo>
                    <a:pt x="6836" y="91335"/>
                    <a:pt x="6415" y="91938"/>
                    <a:pt x="6013" y="92550"/>
                  </a:cubicBezTo>
                  <a:cubicBezTo>
                    <a:pt x="5309" y="93619"/>
                    <a:pt x="4700" y="94759"/>
                    <a:pt x="4045" y="95859"/>
                  </a:cubicBezTo>
                  <a:cubicBezTo>
                    <a:pt x="3563" y="96669"/>
                    <a:pt x="1571" y="99119"/>
                    <a:pt x="1181" y="99119"/>
                  </a:cubicBezTo>
                  <a:cubicBezTo>
                    <a:pt x="1029" y="99119"/>
                    <a:pt x="1121" y="98745"/>
                    <a:pt x="1643" y="97756"/>
                  </a:cubicBezTo>
                  <a:lnTo>
                    <a:pt x="1643" y="97753"/>
                  </a:lnTo>
                  <a:cubicBezTo>
                    <a:pt x="1885" y="97288"/>
                    <a:pt x="2159" y="96835"/>
                    <a:pt x="2422" y="96376"/>
                  </a:cubicBezTo>
                  <a:cubicBezTo>
                    <a:pt x="4561" y="93292"/>
                    <a:pt x="7033" y="90327"/>
                    <a:pt x="9452" y="87328"/>
                  </a:cubicBezTo>
                  <a:close/>
                  <a:moveTo>
                    <a:pt x="14755" y="80789"/>
                  </a:moveTo>
                  <a:cubicBezTo>
                    <a:pt x="13817" y="82354"/>
                    <a:pt x="12925" y="83941"/>
                    <a:pt x="11938" y="85373"/>
                  </a:cubicBezTo>
                  <a:cubicBezTo>
                    <a:pt x="8973" y="89672"/>
                    <a:pt x="6239" y="94118"/>
                    <a:pt x="3637" y="98645"/>
                  </a:cubicBezTo>
                  <a:cubicBezTo>
                    <a:pt x="2736" y="99757"/>
                    <a:pt x="2284" y="100283"/>
                    <a:pt x="2194" y="100283"/>
                  </a:cubicBezTo>
                  <a:cubicBezTo>
                    <a:pt x="2077" y="100283"/>
                    <a:pt x="2571" y="99398"/>
                    <a:pt x="3487" y="97756"/>
                  </a:cubicBezTo>
                  <a:lnTo>
                    <a:pt x="3487" y="97753"/>
                  </a:lnTo>
                  <a:cubicBezTo>
                    <a:pt x="6296" y="92721"/>
                    <a:pt x="9524" y="88081"/>
                    <a:pt x="12807" y="83448"/>
                  </a:cubicBezTo>
                  <a:cubicBezTo>
                    <a:pt x="13465" y="82567"/>
                    <a:pt x="14114" y="81681"/>
                    <a:pt x="14755" y="80789"/>
                  </a:cubicBezTo>
                  <a:close/>
                  <a:moveTo>
                    <a:pt x="20192" y="79781"/>
                  </a:moveTo>
                  <a:cubicBezTo>
                    <a:pt x="20119" y="79966"/>
                    <a:pt x="20030" y="80183"/>
                    <a:pt x="19912" y="80448"/>
                  </a:cubicBezTo>
                  <a:lnTo>
                    <a:pt x="19912" y="80451"/>
                  </a:lnTo>
                  <a:cubicBezTo>
                    <a:pt x="19594" y="81176"/>
                    <a:pt x="19236" y="81874"/>
                    <a:pt x="18861" y="82564"/>
                  </a:cubicBezTo>
                  <a:cubicBezTo>
                    <a:pt x="17238" y="84758"/>
                    <a:pt x="15717" y="87022"/>
                    <a:pt x="14224" y="89314"/>
                  </a:cubicBezTo>
                  <a:cubicBezTo>
                    <a:pt x="14634" y="88809"/>
                    <a:pt x="15041" y="88304"/>
                    <a:pt x="15440" y="87793"/>
                  </a:cubicBezTo>
                  <a:lnTo>
                    <a:pt x="15440" y="87793"/>
                  </a:lnTo>
                  <a:cubicBezTo>
                    <a:pt x="14995" y="88382"/>
                    <a:pt x="14539" y="88965"/>
                    <a:pt x="14074" y="89545"/>
                  </a:cubicBezTo>
                  <a:cubicBezTo>
                    <a:pt x="13742" y="90053"/>
                    <a:pt x="13410" y="90561"/>
                    <a:pt x="13081" y="91069"/>
                  </a:cubicBezTo>
                  <a:cubicBezTo>
                    <a:pt x="11675" y="93255"/>
                    <a:pt x="10243" y="95423"/>
                    <a:pt x="8753" y="97554"/>
                  </a:cubicBezTo>
                  <a:cubicBezTo>
                    <a:pt x="7581" y="99234"/>
                    <a:pt x="6299" y="100830"/>
                    <a:pt x="4980" y="102395"/>
                  </a:cubicBezTo>
                  <a:cubicBezTo>
                    <a:pt x="4415" y="103065"/>
                    <a:pt x="3956" y="103590"/>
                    <a:pt x="3843" y="103590"/>
                  </a:cubicBezTo>
                  <a:cubicBezTo>
                    <a:pt x="3752" y="103590"/>
                    <a:pt x="3887" y="103246"/>
                    <a:pt x="4377" y="102358"/>
                  </a:cubicBezTo>
                  <a:cubicBezTo>
                    <a:pt x="5664" y="100022"/>
                    <a:pt x="7212" y="97880"/>
                    <a:pt x="8851" y="95813"/>
                  </a:cubicBezTo>
                  <a:lnTo>
                    <a:pt x="8851" y="95813"/>
                  </a:lnTo>
                  <a:cubicBezTo>
                    <a:pt x="8000" y="96852"/>
                    <a:pt x="7168" y="97906"/>
                    <a:pt x="6377" y="98989"/>
                  </a:cubicBezTo>
                  <a:cubicBezTo>
                    <a:pt x="8023" y="96537"/>
                    <a:pt x="9735" y="94133"/>
                    <a:pt x="11455" y="91731"/>
                  </a:cubicBezTo>
                  <a:cubicBezTo>
                    <a:pt x="12506" y="90264"/>
                    <a:pt x="13554" y="88797"/>
                    <a:pt x="14582" y="87316"/>
                  </a:cubicBezTo>
                  <a:cubicBezTo>
                    <a:pt x="15442" y="86196"/>
                    <a:pt x="16288" y="85076"/>
                    <a:pt x="17108" y="83956"/>
                  </a:cubicBezTo>
                  <a:cubicBezTo>
                    <a:pt x="18130" y="82559"/>
                    <a:pt x="19167" y="81173"/>
                    <a:pt x="20192" y="79781"/>
                  </a:cubicBezTo>
                  <a:close/>
                  <a:moveTo>
                    <a:pt x="76819" y="0"/>
                  </a:moveTo>
                  <a:cubicBezTo>
                    <a:pt x="76115" y="0"/>
                    <a:pt x="75406" y="391"/>
                    <a:pt x="74704" y="1414"/>
                  </a:cubicBezTo>
                  <a:cubicBezTo>
                    <a:pt x="74317" y="1977"/>
                    <a:pt x="74225" y="2886"/>
                    <a:pt x="74069" y="3535"/>
                  </a:cubicBezTo>
                  <a:cubicBezTo>
                    <a:pt x="73802" y="4642"/>
                    <a:pt x="73395" y="5028"/>
                    <a:pt x="72951" y="5028"/>
                  </a:cubicBezTo>
                  <a:cubicBezTo>
                    <a:pt x="72042" y="5028"/>
                    <a:pt x="70980" y="3406"/>
                    <a:pt x="70656" y="3022"/>
                  </a:cubicBezTo>
                  <a:cubicBezTo>
                    <a:pt x="70431" y="2753"/>
                    <a:pt x="70020" y="2615"/>
                    <a:pt x="69612" y="2615"/>
                  </a:cubicBezTo>
                  <a:cubicBezTo>
                    <a:pt x="69231" y="2615"/>
                    <a:pt x="68854" y="2735"/>
                    <a:pt x="68633" y="2978"/>
                  </a:cubicBezTo>
                  <a:cubicBezTo>
                    <a:pt x="68029" y="3639"/>
                    <a:pt x="67631" y="4312"/>
                    <a:pt x="67198" y="5106"/>
                  </a:cubicBezTo>
                  <a:cubicBezTo>
                    <a:pt x="66306" y="6746"/>
                    <a:pt x="64758" y="7447"/>
                    <a:pt x="63372" y="8495"/>
                  </a:cubicBezTo>
                  <a:cubicBezTo>
                    <a:pt x="62420" y="9217"/>
                    <a:pt x="62919" y="10274"/>
                    <a:pt x="62983" y="11177"/>
                  </a:cubicBezTo>
                  <a:cubicBezTo>
                    <a:pt x="62896" y="11313"/>
                    <a:pt x="62801" y="11443"/>
                    <a:pt x="62723" y="11584"/>
                  </a:cubicBezTo>
                  <a:cubicBezTo>
                    <a:pt x="62664" y="11687"/>
                    <a:pt x="62746" y="11774"/>
                    <a:pt x="62838" y="11774"/>
                  </a:cubicBezTo>
                  <a:cubicBezTo>
                    <a:pt x="62869" y="11774"/>
                    <a:pt x="62900" y="11765"/>
                    <a:pt x="62928" y="11743"/>
                  </a:cubicBezTo>
                  <a:cubicBezTo>
                    <a:pt x="62931" y="11737"/>
                    <a:pt x="62937" y="11732"/>
                    <a:pt x="62942" y="11729"/>
                  </a:cubicBezTo>
                  <a:lnTo>
                    <a:pt x="62942" y="11729"/>
                  </a:lnTo>
                  <a:cubicBezTo>
                    <a:pt x="62899" y="11911"/>
                    <a:pt x="62807" y="12075"/>
                    <a:pt x="62677" y="12211"/>
                  </a:cubicBezTo>
                  <a:cubicBezTo>
                    <a:pt x="62630" y="12258"/>
                    <a:pt x="62674" y="12322"/>
                    <a:pt x="62726" y="12322"/>
                  </a:cubicBezTo>
                  <a:cubicBezTo>
                    <a:pt x="62742" y="12322"/>
                    <a:pt x="62758" y="12316"/>
                    <a:pt x="62772" y="12303"/>
                  </a:cubicBezTo>
                  <a:cubicBezTo>
                    <a:pt x="62887" y="12199"/>
                    <a:pt x="62980" y="12124"/>
                    <a:pt x="63058" y="12058"/>
                  </a:cubicBezTo>
                  <a:lnTo>
                    <a:pt x="63058" y="12058"/>
                  </a:lnTo>
                  <a:cubicBezTo>
                    <a:pt x="62841" y="12373"/>
                    <a:pt x="62642" y="12699"/>
                    <a:pt x="62460" y="13034"/>
                  </a:cubicBezTo>
                  <a:cubicBezTo>
                    <a:pt x="62432" y="13088"/>
                    <a:pt x="62477" y="13136"/>
                    <a:pt x="62523" y="13136"/>
                  </a:cubicBezTo>
                  <a:cubicBezTo>
                    <a:pt x="62544" y="13136"/>
                    <a:pt x="62564" y="13126"/>
                    <a:pt x="62579" y="13103"/>
                  </a:cubicBezTo>
                  <a:cubicBezTo>
                    <a:pt x="62859" y="12632"/>
                    <a:pt x="63168" y="12179"/>
                    <a:pt x="63502" y="11749"/>
                  </a:cubicBezTo>
                  <a:lnTo>
                    <a:pt x="63502" y="11749"/>
                  </a:lnTo>
                  <a:cubicBezTo>
                    <a:pt x="63404" y="11908"/>
                    <a:pt x="63303" y="12061"/>
                    <a:pt x="63211" y="12222"/>
                  </a:cubicBezTo>
                  <a:cubicBezTo>
                    <a:pt x="63161" y="12312"/>
                    <a:pt x="63232" y="12388"/>
                    <a:pt x="63311" y="12388"/>
                  </a:cubicBezTo>
                  <a:cubicBezTo>
                    <a:pt x="63337" y="12388"/>
                    <a:pt x="63363" y="12380"/>
                    <a:pt x="63387" y="12361"/>
                  </a:cubicBezTo>
                  <a:cubicBezTo>
                    <a:pt x="65795" y="10438"/>
                    <a:pt x="67538" y="7878"/>
                    <a:pt x="69779" y="5787"/>
                  </a:cubicBezTo>
                  <a:lnTo>
                    <a:pt x="69779" y="5787"/>
                  </a:lnTo>
                  <a:cubicBezTo>
                    <a:pt x="68477" y="7609"/>
                    <a:pt x="67065" y="9338"/>
                    <a:pt x="65610" y="11027"/>
                  </a:cubicBezTo>
                  <a:cubicBezTo>
                    <a:pt x="65136" y="11567"/>
                    <a:pt x="64651" y="12098"/>
                    <a:pt x="64187" y="12647"/>
                  </a:cubicBezTo>
                  <a:cubicBezTo>
                    <a:pt x="62945" y="14041"/>
                    <a:pt x="61686" y="15418"/>
                    <a:pt x="60425" y="16798"/>
                  </a:cubicBezTo>
                  <a:cubicBezTo>
                    <a:pt x="61456" y="15493"/>
                    <a:pt x="62466" y="14174"/>
                    <a:pt x="63445" y="12832"/>
                  </a:cubicBezTo>
                  <a:cubicBezTo>
                    <a:pt x="63525" y="12720"/>
                    <a:pt x="63412" y="12598"/>
                    <a:pt x="63299" y="12598"/>
                  </a:cubicBezTo>
                  <a:cubicBezTo>
                    <a:pt x="63263" y="12598"/>
                    <a:pt x="63226" y="12611"/>
                    <a:pt x="63196" y="12641"/>
                  </a:cubicBezTo>
                  <a:cubicBezTo>
                    <a:pt x="54498" y="21530"/>
                    <a:pt x="46484" y="30953"/>
                    <a:pt x="38504" y="40478"/>
                  </a:cubicBezTo>
                  <a:cubicBezTo>
                    <a:pt x="30954" y="49488"/>
                    <a:pt x="23468" y="58579"/>
                    <a:pt x="17100" y="68479"/>
                  </a:cubicBezTo>
                  <a:cubicBezTo>
                    <a:pt x="17067" y="68529"/>
                    <a:pt x="17112" y="68575"/>
                    <a:pt x="17159" y="68575"/>
                  </a:cubicBezTo>
                  <a:cubicBezTo>
                    <a:pt x="17179" y="68575"/>
                    <a:pt x="17200" y="68566"/>
                    <a:pt x="17215" y="68545"/>
                  </a:cubicBezTo>
                  <a:cubicBezTo>
                    <a:pt x="24098" y="58302"/>
                    <a:pt x="31950" y="48809"/>
                    <a:pt x="39866" y="39357"/>
                  </a:cubicBezTo>
                  <a:cubicBezTo>
                    <a:pt x="43646" y="34848"/>
                    <a:pt x="47390" y="30312"/>
                    <a:pt x="51282" y="25898"/>
                  </a:cubicBezTo>
                  <a:cubicBezTo>
                    <a:pt x="54762" y="21945"/>
                    <a:pt x="59123" y="18257"/>
                    <a:pt x="62185" y="14032"/>
                  </a:cubicBezTo>
                  <a:lnTo>
                    <a:pt x="62185" y="14032"/>
                  </a:lnTo>
                  <a:cubicBezTo>
                    <a:pt x="58591" y="18993"/>
                    <a:pt x="54110" y="23305"/>
                    <a:pt x="50092" y="27913"/>
                  </a:cubicBezTo>
                  <a:cubicBezTo>
                    <a:pt x="46290" y="32276"/>
                    <a:pt x="42684" y="36828"/>
                    <a:pt x="39055" y="41338"/>
                  </a:cubicBezTo>
                  <a:cubicBezTo>
                    <a:pt x="35680" y="45533"/>
                    <a:pt x="32484" y="49829"/>
                    <a:pt x="29291" y="54159"/>
                  </a:cubicBezTo>
                  <a:cubicBezTo>
                    <a:pt x="29187" y="54298"/>
                    <a:pt x="29078" y="54433"/>
                    <a:pt x="28974" y="54572"/>
                  </a:cubicBezTo>
                  <a:cubicBezTo>
                    <a:pt x="27903" y="55836"/>
                    <a:pt x="26832" y="57104"/>
                    <a:pt x="25740" y="58351"/>
                  </a:cubicBezTo>
                  <a:cubicBezTo>
                    <a:pt x="23084" y="61382"/>
                    <a:pt x="20171" y="64139"/>
                    <a:pt x="18211" y="67693"/>
                  </a:cubicBezTo>
                  <a:cubicBezTo>
                    <a:pt x="18197" y="67719"/>
                    <a:pt x="18205" y="67751"/>
                    <a:pt x="18231" y="67766"/>
                  </a:cubicBezTo>
                  <a:cubicBezTo>
                    <a:pt x="17989" y="68095"/>
                    <a:pt x="17738" y="68418"/>
                    <a:pt x="17501" y="68750"/>
                  </a:cubicBezTo>
                  <a:cubicBezTo>
                    <a:pt x="17424" y="68859"/>
                    <a:pt x="17530" y="68969"/>
                    <a:pt x="17637" y="68969"/>
                  </a:cubicBezTo>
                  <a:cubicBezTo>
                    <a:pt x="17672" y="68969"/>
                    <a:pt x="17706" y="68958"/>
                    <a:pt x="17735" y="68932"/>
                  </a:cubicBezTo>
                  <a:cubicBezTo>
                    <a:pt x="18973" y="67780"/>
                    <a:pt x="20180" y="66596"/>
                    <a:pt x="21355" y="65381"/>
                  </a:cubicBezTo>
                  <a:lnTo>
                    <a:pt x="21355" y="65381"/>
                  </a:lnTo>
                  <a:cubicBezTo>
                    <a:pt x="20356" y="66677"/>
                    <a:pt x="19435" y="68014"/>
                    <a:pt x="18667" y="69420"/>
                  </a:cubicBezTo>
                  <a:cubicBezTo>
                    <a:pt x="18635" y="69478"/>
                    <a:pt x="18687" y="69533"/>
                    <a:pt x="18738" y="69533"/>
                  </a:cubicBezTo>
                  <a:cubicBezTo>
                    <a:pt x="18761" y="69533"/>
                    <a:pt x="18783" y="69522"/>
                    <a:pt x="18797" y="69495"/>
                  </a:cubicBezTo>
                  <a:cubicBezTo>
                    <a:pt x="19834" y="67639"/>
                    <a:pt x="21124" y="65863"/>
                    <a:pt x="22539" y="64139"/>
                  </a:cubicBezTo>
                  <a:cubicBezTo>
                    <a:pt x="24334" y="62237"/>
                    <a:pt x="26070" y="60274"/>
                    <a:pt x="27761" y="58270"/>
                  </a:cubicBezTo>
                  <a:cubicBezTo>
                    <a:pt x="29237" y="56665"/>
                    <a:pt x="30683" y="55071"/>
                    <a:pt x="31976" y="53458"/>
                  </a:cubicBezTo>
                  <a:cubicBezTo>
                    <a:pt x="36896" y="47323"/>
                    <a:pt x="41706" y="41127"/>
                    <a:pt x="46775" y="35114"/>
                  </a:cubicBezTo>
                  <a:cubicBezTo>
                    <a:pt x="47006" y="34839"/>
                    <a:pt x="47234" y="34568"/>
                    <a:pt x="47462" y="34294"/>
                  </a:cubicBezTo>
                  <a:lnTo>
                    <a:pt x="47462" y="34294"/>
                  </a:lnTo>
                  <a:cubicBezTo>
                    <a:pt x="45453" y="36973"/>
                    <a:pt x="43446" y="39655"/>
                    <a:pt x="41440" y="42337"/>
                  </a:cubicBezTo>
                  <a:cubicBezTo>
                    <a:pt x="38007" y="46942"/>
                    <a:pt x="34494" y="51474"/>
                    <a:pt x="30897" y="55929"/>
                  </a:cubicBezTo>
                  <a:cubicBezTo>
                    <a:pt x="29537" y="57517"/>
                    <a:pt x="28183" y="59110"/>
                    <a:pt x="26837" y="60710"/>
                  </a:cubicBezTo>
                  <a:cubicBezTo>
                    <a:pt x="25651" y="62058"/>
                    <a:pt x="24493" y="63432"/>
                    <a:pt x="23408" y="64841"/>
                  </a:cubicBezTo>
                  <a:cubicBezTo>
                    <a:pt x="22013" y="66544"/>
                    <a:pt x="20633" y="68262"/>
                    <a:pt x="19268" y="69991"/>
                  </a:cubicBezTo>
                  <a:cubicBezTo>
                    <a:pt x="19187" y="70092"/>
                    <a:pt x="19275" y="70228"/>
                    <a:pt x="19371" y="70228"/>
                  </a:cubicBezTo>
                  <a:cubicBezTo>
                    <a:pt x="19401" y="70228"/>
                    <a:pt x="19432" y="70215"/>
                    <a:pt x="19458" y="70182"/>
                  </a:cubicBezTo>
                  <a:lnTo>
                    <a:pt x="20945" y="68355"/>
                  </a:lnTo>
                  <a:lnTo>
                    <a:pt x="20945" y="68355"/>
                  </a:lnTo>
                  <a:cubicBezTo>
                    <a:pt x="20694" y="68753"/>
                    <a:pt x="20431" y="69146"/>
                    <a:pt x="20197" y="69550"/>
                  </a:cubicBezTo>
                  <a:cubicBezTo>
                    <a:pt x="20149" y="69633"/>
                    <a:pt x="20221" y="69746"/>
                    <a:pt x="20308" y="69746"/>
                  </a:cubicBezTo>
                  <a:cubicBezTo>
                    <a:pt x="20329" y="69746"/>
                    <a:pt x="20352" y="69739"/>
                    <a:pt x="20373" y="69723"/>
                  </a:cubicBezTo>
                  <a:cubicBezTo>
                    <a:pt x="24392" y="66712"/>
                    <a:pt x="27143" y="62041"/>
                    <a:pt x="30163" y="58083"/>
                  </a:cubicBezTo>
                  <a:cubicBezTo>
                    <a:pt x="31384" y="56483"/>
                    <a:pt x="32597" y="54872"/>
                    <a:pt x="33795" y="53255"/>
                  </a:cubicBezTo>
                  <a:cubicBezTo>
                    <a:pt x="33991" y="53025"/>
                    <a:pt x="34185" y="52791"/>
                    <a:pt x="34381" y="52563"/>
                  </a:cubicBezTo>
                  <a:cubicBezTo>
                    <a:pt x="36720" y="49843"/>
                    <a:pt x="39070" y="47132"/>
                    <a:pt x="41428" y="44430"/>
                  </a:cubicBezTo>
                  <a:lnTo>
                    <a:pt x="41428" y="44430"/>
                  </a:lnTo>
                  <a:cubicBezTo>
                    <a:pt x="40819" y="45282"/>
                    <a:pt x="40204" y="46133"/>
                    <a:pt x="39589" y="46982"/>
                  </a:cubicBezTo>
                  <a:cubicBezTo>
                    <a:pt x="36252" y="51564"/>
                    <a:pt x="32689" y="55989"/>
                    <a:pt x="29176" y="60438"/>
                  </a:cubicBezTo>
                  <a:cubicBezTo>
                    <a:pt x="26465" y="63874"/>
                    <a:pt x="23243" y="66937"/>
                    <a:pt x="21147" y="70811"/>
                  </a:cubicBezTo>
                  <a:cubicBezTo>
                    <a:pt x="21103" y="70893"/>
                    <a:pt x="21171" y="71004"/>
                    <a:pt x="21255" y="71004"/>
                  </a:cubicBezTo>
                  <a:cubicBezTo>
                    <a:pt x="21275" y="71004"/>
                    <a:pt x="21297" y="70997"/>
                    <a:pt x="21317" y="70982"/>
                  </a:cubicBezTo>
                  <a:cubicBezTo>
                    <a:pt x="22276" y="70271"/>
                    <a:pt x="23194" y="69504"/>
                    <a:pt x="24095" y="68712"/>
                  </a:cubicBezTo>
                  <a:lnTo>
                    <a:pt x="24095" y="68712"/>
                  </a:lnTo>
                  <a:cubicBezTo>
                    <a:pt x="23526" y="69567"/>
                    <a:pt x="22949" y="70410"/>
                    <a:pt x="22397" y="71276"/>
                  </a:cubicBezTo>
                  <a:cubicBezTo>
                    <a:pt x="22329" y="71382"/>
                    <a:pt x="22421" y="71476"/>
                    <a:pt x="22518" y="71476"/>
                  </a:cubicBezTo>
                  <a:cubicBezTo>
                    <a:pt x="22561" y="71476"/>
                    <a:pt x="22605" y="71458"/>
                    <a:pt x="22637" y="71415"/>
                  </a:cubicBezTo>
                  <a:cubicBezTo>
                    <a:pt x="23725" y="69934"/>
                    <a:pt x="24828" y="68461"/>
                    <a:pt x="25945" y="67000"/>
                  </a:cubicBezTo>
                  <a:cubicBezTo>
                    <a:pt x="26835" y="66132"/>
                    <a:pt x="27692" y="65219"/>
                    <a:pt x="28535" y="64287"/>
                  </a:cubicBezTo>
                  <a:lnTo>
                    <a:pt x="28535" y="64287"/>
                  </a:lnTo>
                  <a:cubicBezTo>
                    <a:pt x="27357" y="66152"/>
                    <a:pt x="26185" y="68017"/>
                    <a:pt x="25019" y="69885"/>
                  </a:cubicBezTo>
                  <a:cubicBezTo>
                    <a:pt x="24923" y="70029"/>
                    <a:pt x="24828" y="70173"/>
                    <a:pt x="24733" y="70318"/>
                  </a:cubicBezTo>
                  <a:cubicBezTo>
                    <a:pt x="23353" y="72180"/>
                    <a:pt x="21973" y="74045"/>
                    <a:pt x="20619" y="75924"/>
                  </a:cubicBezTo>
                  <a:cubicBezTo>
                    <a:pt x="21759" y="74362"/>
                    <a:pt x="22931" y="72815"/>
                    <a:pt x="24109" y="71273"/>
                  </a:cubicBezTo>
                  <a:lnTo>
                    <a:pt x="24109" y="71273"/>
                  </a:lnTo>
                  <a:cubicBezTo>
                    <a:pt x="23382" y="72382"/>
                    <a:pt x="22646" y="73479"/>
                    <a:pt x="21904" y="74570"/>
                  </a:cubicBezTo>
                  <a:cubicBezTo>
                    <a:pt x="20287" y="76932"/>
                    <a:pt x="18739" y="79328"/>
                    <a:pt x="17204" y="81730"/>
                  </a:cubicBezTo>
                  <a:cubicBezTo>
                    <a:pt x="16190" y="83217"/>
                    <a:pt x="15177" y="84698"/>
                    <a:pt x="14155" y="86179"/>
                  </a:cubicBezTo>
                  <a:cubicBezTo>
                    <a:pt x="14729" y="85396"/>
                    <a:pt x="15295" y="84611"/>
                    <a:pt x="15867" y="83829"/>
                  </a:cubicBezTo>
                  <a:lnTo>
                    <a:pt x="15867" y="83829"/>
                  </a:lnTo>
                  <a:cubicBezTo>
                    <a:pt x="14342" y="86225"/>
                    <a:pt x="12818" y="88616"/>
                    <a:pt x="11248" y="90974"/>
                  </a:cubicBezTo>
                  <a:cubicBezTo>
                    <a:pt x="9244" y="93607"/>
                    <a:pt x="7298" y="96280"/>
                    <a:pt x="5497" y="99014"/>
                  </a:cubicBezTo>
                  <a:cubicBezTo>
                    <a:pt x="4391" y="100435"/>
                    <a:pt x="3248" y="101832"/>
                    <a:pt x="2044" y="103192"/>
                  </a:cubicBezTo>
                  <a:cubicBezTo>
                    <a:pt x="3011" y="101743"/>
                    <a:pt x="3995" y="100302"/>
                    <a:pt x="4997" y="98873"/>
                  </a:cubicBezTo>
                  <a:cubicBezTo>
                    <a:pt x="6224" y="97277"/>
                    <a:pt x="7396" y="95642"/>
                    <a:pt x="8528" y="93980"/>
                  </a:cubicBezTo>
                  <a:cubicBezTo>
                    <a:pt x="9697" y="92461"/>
                    <a:pt x="10861" y="90937"/>
                    <a:pt x="11958" y="89366"/>
                  </a:cubicBezTo>
                  <a:cubicBezTo>
                    <a:pt x="12697" y="88309"/>
                    <a:pt x="13424" y="87241"/>
                    <a:pt x="14158" y="86179"/>
                  </a:cubicBezTo>
                  <a:lnTo>
                    <a:pt x="14158" y="86179"/>
                  </a:lnTo>
                  <a:cubicBezTo>
                    <a:pt x="12550" y="88376"/>
                    <a:pt x="10944" y="90573"/>
                    <a:pt x="9342" y="92773"/>
                  </a:cubicBezTo>
                  <a:cubicBezTo>
                    <a:pt x="11935" y="88878"/>
                    <a:pt x="14386" y="84880"/>
                    <a:pt x="17025" y="81005"/>
                  </a:cubicBezTo>
                  <a:lnTo>
                    <a:pt x="17025" y="81005"/>
                  </a:lnTo>
                  <a:cubicBezTo>
                    <a:pt x="14444" y="84683"/>
                    <a:pt x="11909" y="88393"/>
                    <a:pt x="9455" y="92158"/>
                  </a:cubicBezTo>
                  <a:cubicBezTo>
                    <a:pt x="7333" y="95414"/>
                    <a:pt x="3796" y="98856"/>
                    <a:pt x="2122" y="101873"/>
                  </a:cubicBezTo>
                  <a:cubicBezTo>
                    <a:pt x="2760" y="100721"/>
                    <a:pt x="3430" y="99586"/>
                    <a:pt x="4088" y="98446"/>
                  </a:cubicBezTo>
                  <a:cubicBezTo>
                    <a:pt x="6475" y="95570"/>
                    <a:pt x="8594" y="92499"/>
                    <a:pt x="10650" y="89343"/>
                  </a:cubicBezTo>
                  <a:cubicBezTo>
                    <a:pt x="13924" y="84323"/>
                    <a:pt x="17590" y="79429"/>
                    <a:pt x="20599" y="74258"/>
                  </a:cubicBezTo>
                  <a:cubicBezTo>
                    <a:pt x="20657" y="74156"/>
                    <a:pt x="20571" y="74026"/>
                    <a:pt x="20467" y="74026"/>
                  </a:cubicBezTo>
                  <a:cubicBezTo>
                    <a:pt x="20442" y="74026"/>
                    <a:pt x="20416" y="74033"/>
                    <a:pt x="20391" y="74051"/>
                  </a:cubicBezTo>
                  <a:cubicBezTo>
                    <a:pt x="19276" y="74810"/>
                    <a:pt x="18335" y="75765"/>
                    <a:pt x="17478" y="76811"/>
                  </a:cubicBezTo>
                  <a:cubicBezTo>
                    <a:pt x="17992" y="76066"/>
                    <a:pt x="18506" y="75321"/>
                    <a:pt x="19014" y="74567"/>
                  </a:cubicBezTo>
                  <a:cubicBezTo>
                    <a:pt x="19084" y="74462"/>
                    <a:pt x="18988" y="74366"/>
                    <a:pt x="18889" y="74366"/>
                  </a:cubicBezTo>
                  <a:cubicBezTo>
                    <a:pt x="18847" y="74366"/>
                    <a:pt x="18804" y="74383"/>
                    <a:pt x="18774" y="74426"/>
                  </a:cubicBezTo>
                  <a:cubicBezTo>
                    <a:pt x="17911" y="75621"/>
                    <a:pt x="17042" y="76822"/>
                    <a:pt x="16173" y="78026"/>
                  </a:cubicBezTo>
                  <a:cubicBezTo>
                    <a:pt x="16929" y="76747"/>
                    <a:pt x="17625" y="75439"/>
                    <a:pt x="18217" y="74088"/>
                  </a:cubicBezTo>
                  <a:cubicBezTo>
                    <a:pt x="18254" y="74005"/>
                    <a:pt x="18195" y="73887"/>
                    <a:pt x="18109" y="73887"/>
                  </a:cubicBezTo>
                  <a:cubicBezTo>
                    <a:pt x="18088" y="73887"/>
                    <a:pt x="18065" y="73895"/>
                    <a:pt x="18041" y="73912"/>
                  </a:cubicBezTo>
                  <a:cubicBezTo>
                    <a:pt x="14698" y="76317"/>
                    <a:pt x="12642" y="80411"/>
                    <a:pt x="10332" y="83728"/>
                  </a:cubicBezTo>
                  <a:cubicBezTo>
                    <a:pt x="7206" y="88229"/>
                    <a:pt x="3946" y="92871"/>
                    <a:pt x="1368" y="97762"/>
                  </a:cubicBezTo>
                  <a:cubicBezTo>
                    <a:pt x="1264" y="97926"/>
                    <a:pt x="1155" y="98088"/>
                    <a:pt x="1051" y="98255"/>
                  </a:cubicBezTo>
                  <a:cubicBezTo>
                    <a:pt x="1036" y="98278"/>
                    <a:pt x="1045" y="98307"/>
                    <a:pt x="1068" y="98322"/>
                  </a:cubicBezTo>
                  <a:cubicBezTo>
                    <a:pt x="710" y="99014"/>
                    <a:pt x="366" y="99716"/>
                    <a:pt x="37" y="100420"/>
                  </a:cubicBezTo>
                  <a:cubicBezTo>
                    <a:pt x="0" y="100504"/>
                    <a:pt x="62" y="100618"/>
                    <a:pt x="149" y="100618"/>
                  </a:cubicBezTo>
                  <a:cubicBezTo>
                    <a:pt x="169" y="100618"/>
                    <a:pt x="191" y="100612"/>
                    <a:pt x="213" y="100597"/>
                  </a:cubicBezTo>
                  <a:cubicBezTo>
                    <a:pt x="1622" y="99627"/>
                    <a:pt x="2693" y="98371"/>
                    <a:pt x="3629" y="97002"/>
                  </a:cubicBezTo>
                  <a:lnTo>
                    <a:pt x="3629" y="97002"/>
                  </a:lnTo>
                  <a:cubicBezTo>
                    <a:pt x="2731" y="98579"/>
                    <a:pt x="1816" y="100146"/>
                    <a:pt x="820" y="101676"/>
                  </a:cubicBezTo>
                  <a:cubicBezTo>
                    <a:pt x="757" y="101774"/>
                    <a:pt x="849" y="101878"/>
                    <a:pt x="943" y="101878"/>
                  </a:cubicBezTo>
                  <a:cubicBezTo>
                    <a:pt x="974" y="101878"/>
                    <a:pt x="1005" y="101867"/>
                    <a:pt x="1031" y="101841"/>
                  </a:cubicBezTo>
                  <a:cubicBezTo>
                    <a:pt x="1752" y="101110"/>
                    <a:pt x="2439" y="100354"/>
                    <a:pt x="3109" y="99589"/>
                  </a:cubicBezTo>
                  <a:lnTo>
                    <a:pt x="3109" y="99589"/>
                  </a:lnTo>
                  <a:cubicBezTo>
                    <a:pt x="2445" y="100755"/>
                    <a:pt x="1784" y="101919"/>
                    <a:pt x="1134" y="103094"/>
                  </a:cubicBezTo>
                  <a:cubicBezTo>
                    <a:pt x="1081" y="103193"/>
                    <a:pt x="1166" y="103301"/>
                    <a:pt x="1258" y="103301"/>
                  </a:cubicBezTo>
                  <a:cubicBezTo>
                    <a:pt x="1289" y="103301"/>
                    <a:pt x="1321" y="103289"/>
                    <a:pt x="1348" y="103258"/>
                  </a:cubicBezTo>
                  <a:cubicBezTo>
                    <a:pt x="2038" y="102508"/>
                    <a:pt x="2696" y="101734"/>
                    <a:pt x="3343" y="100955"/>
                  </a:cubicBezTo>
                  <a:lnTo>
                    <a:pt x="3343" y="100955"/>
                  </a:lnTo>
                  <a:cubicBezTo>
                    <a:pt x="2820" y="101720"/>
                    <a:pt x="2312" y="102496"/>
                    <a:pt x="1830" y="103290"/>
                  </a:cubicBezTo>
                  <a:cubicBezTo>
                    <a:pt x="1803" y="103334"/>
                    <a:pt x="1837" y="103362"/>
                    <a:pt x="1876" y="103362"/>
                  </a:cubicBezTo>
                  <a:cubicBezTo>
                    <a:pt x="1883" y="103362"/>
                    <a:pt x="1890" y="103361"/>
                    <a:pt x="1897" y="103359"/>
                  </a:cubicBezTo>
                  <a:lnTo>
                    <a:pt x="1897" y="103359"/>
                  </a:lnTo>
                  <a:cubicBezTo>
                    <a:pt x="1876" y="103383"/>
                    <a:pt x="1856" y="103406"/>
                    <a:pt x="1836" y="103432"/>
                  </a:cubicBezTo>
                  <a:cubicBezTo>
                    <a:pt x="1791" y="103481"/>
                    <a:pt x="1836" y="103547"/>
                    <a:pt x="1885" y="103547"/>
                  </a:cubicBezTo>
                  <a:cubicBezTo>
                    <a:pt x="1900" y="103547"/>
                    <a:pt x="1915" y="103541"/>
                    <a:pt x="1928" y="103527"/>
                  </a:cubicBezTo>
                  <a:cubicBezTo>
                    <a:pt x="2719" y="102693"/>
                    <a:pt x="3482" y="101835"/>
                    <a:pt x="4229" y="100972"/>
                  </a:cubicBezTo>
                  <a:lnTo>
                    <a:pt x="4229" y="100972"/>
                  </a:lnTo>
                  <a:cubicBezTo>
                    <a:pt x="3499" y="102150"/>
                    <a:pt x="2792" y="103339"/>
                    <a:pt x="2136" y="104546"/>
                  </a:cubicBezTo>
                  <a:cubicBezTo>
                    <a:pt x="2106" y="104602"/>
                    <a:pt x="2155" y="104652"/>
                    <a:pt x="2203" y="104652"/>
                  </a:cubicBezTo>
                  <a:cubicBezTo>
                    <a:pt x="2225" y="104652"/>
                    <a:pt x="2246" y="104642"/>
                    <a:pt x="2260" y="104618"/>
                  </a:cubicBezTo>
                  <a:cubicBezTo>
                    <a:pt x="3213" y="102915"/>
                    <a:pt x="4273" y="101249"/>
                    <a:pt x="5387" y="99601"/>
                  </a:cubicBezTo>
                  <a:cubicBezTo>
                    <a:pt x="5979" y="98890"/>
                    <a:pt x="6559" y="98171"/>
                    <a:pt x="7128" y="97444"/>
                  </a:cubicBezTo>
                  <a:lnTo>
                    <a:pt x="7128" y="97444"/>
                  </a:lnTo>
                  <a:cubicBezTo>
                    <a:pt x="5367" y="100060"/>
                    <a:pt x="3675" y="102721"/>
                    <a:pt x="2139" y="105490"/>
                  </a:cubicBezTo>
                  <a:cubicBezTo>
                    <a:pt x="2109" y="105544"/>
                    <a:pt x="2156" y="105594"/>
                    <a:pt x="2203" y="105594"/>
                  </a:cubicBezTo>
                  <a:cubicBezTo>
                    <a:pt x="2223" y="105594"/>
                    <a:pt x="2244" y="105583"/>
                    <a:pt x="2257" y="105559"/>
                  </a:cubicBezTo>
                  <a:cubicBezTo>
                    <a:pt x="2618" y="104930"/>
                    <a:pt x="3002" y="104321"/>
                    <a:pt x="3378" y="103700"/>
                  </a:cubicBezTo>
                  <a:lnTo>
                    <a:pt x="3378" y="103700"/>
                  </a:lnTo>
                  <a:cubicBezTo>
                    <a:pt x="3204" y="104023"/>
                    <a:pt x="3025" y="104341"/>
                    <a:pt x="2867" y="104670"/>
                  </a:cubicBezTo>
                  <a:cubicBezTo>
                    <a:pt x="2817" y="104769"/>
                    <a:pt x="2898" y="104876"/>
                    <a:pt x="2989" y="104876"/>
                  </a:cubicBezTo>
                  <a:cubicBezTo>
                    <a:pt x="3020" y="104876"/>
                    <a:pt x="3052" y="104864"/>
                    <a:pt x="3080" y="104835"/>
                  </a:cubicBezTo>
                  <a:cubicBezTo>
                    <a:pt x="4408" y="103455"/>
                    <a:pt x="5630" y="101997"/>
                    <a:pt x="6805" y="100504"/>
                  </a:cubicBezTo>
                  <a:lnTo>
                    <a:pt x="6805" y="100504"/>
                  </a:lnTo>
                  <a:cubicBezTo>
                    <a:pt x="5655" y="102182"/>
                    <a:pt x="4590" y="103914"/>
                    <a:pt x="3793" y="105802"/>
                  </a:cubicBezTo>
                  <a:cubicBezTo>
                    <a:pt x="3751" y="105901"/>
                    <a:pt x="3846" y="105979"/>
                    <a:pt x="3936" y="105979"/>
                  </a:cubicBezTo>
                  <a:cubicBezTo>
                    <a:pt x="3982" y="105979"/>
                    <a:pt x="4026" y="105959"/>
                    <a:pt x="4050" y="105912"/>
                  </a:cubicBezTo>
                  <a:cubicBezTo>
                    <a:pt x="6776" y="100530"/>
                    <a:pt x="10494" y="95879"/>
                    <a:pt x="14293" y="91222"/>
                  </a:cubicBezTo>
                  <a:cubicBezTo>
                    <a:pt x="14698" y="90732"/>
                    <a:pt x="15128" y="90232"/>
                    <a:pt x="15572" y="89733"/>
                  </a:cubicBezTo>
                  <a:lnTo>
                    <a:pt x="15572" y="89733"/>
                  </a:lnTo>
                  <a:cubicBezTo>
                    <a:pt x="15148" y="90400"/>
                    <a:pt x="14724" y="91067"/>
                    <a:pt x="14302" y="91736"/>
                  </a:cubicBezTo>
                  <a:cubicBezTo>
                    <a:pt x="14871" y="90902"/>
                    <a:pt x="15440" y="90071"/>
                    <a:pt x="16008" y="89239"/>
                  </a:cubicBezTo>
                  <a:cubicBezTo>
                    <a:pt x="18301" y="86670"/>
                    <a:pt x="20844" y="83950"/>
                    <a:pt x="21875" y="80835"/>
                  </a:cubicBezTo>
                  <a:cubicBezTo>
                    <a:pt x="21912" y="80722"/>
                    <a:pt x="21824" y="80652"/>
                    <a:pt x="21733" y="80652"/>
                  </a:cubicBezTo>
                  <a:cubicBezTo>
                    <a:pt x="21682" y="80652"/>
                    <a:pt x="21630" y="80673"/>
                    <a:pt x="21598" y="80720"/>
                  </a:cubicBezTo>
                  <a:cubicBezTo>
                    <a:pt x="20168" y="82674"/>
                    <a:pt x="18823" y="84683"/>
                    <a:pt x="17507" y="86710"/>
                  </a:cubicBezTo>
                  <a:cubicBezTo>
                    <a:pt x="15555" y="89199"/>
                    <a:pt x="13540" y="91650"/>
                    <a:pt x="11574" y="94141"/>
                  </a:cubicBezTo>
                  <a:cubicBezTo>
                    <a:pt x="11782" y="93838"/>
                    <a:pt x="11992" y="93538"/>
                    <a:pt x="12195" y="93235"/>
                  </a:cubicBezTo>
                  <a:cubicBezTo>
                    <a:pt x="15188" y="88699"/>
                    <a:pt x="18364" y="84288"/>
                    <a:pt x="21369" y="79758"/>
                  </a:cubicBezTo>
                  <a:cubicBezTo>
                    <a:pt x="21430" y="79666"/>
                    <a:pt x="21337" y="79557"/>
                    <a:pt x="21247" y="79557"/>
                  </a:cubicBezTo>
                  <a:cubicBezTo>
                    <a:pt x="21216" y="79557"/>
                    <a:pt x="21186" y="79569"/>
                    <a:pt x="21162" y="79599"/>
                  </a:cubicBezTo>
                  <a:cubicBezTo>
                    <a:pt x="20610" y="80272"/>
                    <a:pt x="20085" y="80962"/>
                    <a:pt x="19559" y="81652"/>
                  </a:cubicBezTo>
                  <a:cubicBezTo>
                    <a:pt x="20062" y="80722"/>
                    <a:pt x="20518" y="79767"/>
                    <a:pt x="20919" y="78791"/>
                  </a:cubicBezTo>
                  <a:cubicBezTo>
                    <a:pt x="21156" y="78471"/>
                    <a:pt x="21393" y="78150"/>
                    <a:pt x="21629" y="77830"/>
                  </a:cubicBezTo>
                  <a:cubicBezTo>
                    <a:pt x="21647" y="77872"/>
                    <a:pt x="21686" y="77895"/>
                    <a:pt x="21727" y="77895"/>
                  </a:cubicBezTo>
                  <a:cubicBezTo>
                    <a:pt x="21753" y="77895"/>
                    <a:pt x="21779" y="77885"/>
                    <a:pt x="21800" y="77864"/>
                  </a:cubicBezTo>
                  <a:lnTo>
                    <a:pt x="21800" y="77864"/>
                  </a:lnTo>
                  <a:cubicBezTo>
                    <a:pt x="21727" y="78040"/>
                    <a:pt x="21652" y="78214"/>
                    <a:pt x="21583" y="78393"/>
                  </a:cubicBezTo>
                  <a:cubicBezTo>
                    <a:pt x="21544" y="78500"/>
                    <a:pt x="21637" y="78574"/>
                    <a:pt x="21729" y="78574"/>
                  </a:cubicBezTo>
                  <a:cubicBezTo>
                    <a:pt x="21766" y="78574"/>
                    <a:pt x="21803" y="78562"/>
                    <a:pt x="21831" y="78537"/>
                  </a:cubicBezTo>
                  <a:cubicBezTo>
                    <a:pt x="22250" y="78165"/>
                    <a:pt x="22648" y="77775"/>
                    <a:pt x="23053" y="77391"/>
                  </a:cubicBezTo>
                  <a:lnTo>
                    <a:pt x="23053" y="77391"/>
                  </a:lnTo>
                  <a:cubicBezTo>
                    <a:pt x="22755" y="77968"/>
                    <a:pt x="22469" y="78546"/>
                    <a:pt x="22207" y="79132"/>
                  </a:cubicBezTo>
                  <a:cubicBezTo>
                    <a:pt x="22153" y="79250"/>
                    <a:pt x="22234" y="79393"/>
                    <a:pt x="22353" y="79393"/>
                  </a:cubicBezTo>
                  <a:cubicBezTo>
                    <a:pt x="22381" y="79393"/>
                    <a:pt x="22412" y="79385"/>
                    <a:pt x="22443" y="79366"/>
                  </a:cubicBezTo>
                  <a:cubicBezTo>
                    <a:pt x="26410" y="77004"/>
                    <a:pt x="28593" y="72956"/>
                    <a:pt x="31321" y="69379"/>
                  </a:cubicBezTo>
                  <a:cubicBezTo>
                    <a:pt x="32935" y="67266"/>
                    <a:pt x="34575" y="65167"/>
                    <a:pt x="36206" y="63068"/>
                  </a:cubicBezTo>
                  <a:lnTo>
                    <a:pt x="36206" y="63068"/>
                  </a:lnTo>
                  <a:cubicBezTo>
                    <a:pt x="35120" y="64801"/>
                    <a:pt x="34041" y="66567"/>
                    <a:pt x="32935" y="68329"/>
                  </a:cubicBezTo>
                  <a:cubicBezTo>
                    <a:pt x="29808" y="71998"/>
                    <a:pt x="26644" y="75630"/>
                    <a:pt x="24092" y="79758"/>
                  </a:cubicBezTo>
                  <a:cubicBezTo>
                    <a:pt x="24009" y="79895"/>
                    <a:pt x="24126" y="80019"/>
                    <a:pt x="24252" y="80019"/>
                  </a:cubicBezTo>
                  <a:cubicBezTo>
                    <a:pt x="24293" y="80019"/>
                    <a:pt x="24335" y="80005"/>
                    <a:pt x="24372" y="79975"/>
                  </a:cubicBezTo>
                  <a:cubicBezTo>
                    <a:pt x="26049" y="78546"/>
                    <a:pt x="27542" y="76863"/>
                    <a:pt x="28919" y="75047"/>
                  </a:cubicBezTo>
                  <a:lnTo>
                    <a:pt x="28919" y="75047"/>
                  </a:lnTo>
                  <a:cubicBezTo>
                    <a:pt x="27348" y="77134"/>
                    <a:pt x="25945" y="79342"/>
                    <a:pt x="24877" y="81805"/>
                  </a:cubicBezTo>
                  <a:cubicBezTo>
                    <a:pt x="24826" y="81920"/>
                    <a:pt x="24910" y="82089"/>
                    <a:pt x="25028" y="82089"/>
                  </a:cubicBezTo>
                  <a:cubicBezTo>
                    <a:pt x="25058" y="82089"/>
                    <a:pt x="25090" y="82078"/>
                    <a:pt x="25123" y="82053"/>
                  </a:cubicBezTo>
                  <a:cubicBezTo>
                    <a:pt x="25561" y="81718"/>
                    <a:pt x="25980" y="81352"/>
                    <a:pt x="26387" y="80974"/>
                  </a:cubicBezTo>
                  <a:lnTo>
                    <a:pt x="26387" y="80974"/>
                  </a:lnTo>
                  <a:cubicBezTo>
                    <a:pt x="26098" y="81464"/>
                    <a:pt x="25792" y="81941"/>
                    <a:pt x="25515" y="82440"/>
                  </a:cubicBezTo>
                  <a:cubicBezTo>
                    <a:pt x="25442" y="82572"/>
                    <a:pt x="25548" y="82693"/>
                    <a:pt x="25667" y="82693"/>
                  </a:cubicBezTo>
                  <a:cubicBezTo>
                    <a:pt x="25706" y="82693"/>
                    <a:pt x="25747" y="82679"/>
                    <a:pt x="25784" y="82648"/>
                  </a:cubicBezTo>
                  <a:cubicBezTo>
                    <a:pt x="26650" y="81903"/>
                    <a:pt x="27487" y="81121"/>
                    <a:pt x="28301" y="80310"/>
                  </a:cubicBezTo>
                  <a:lnTo>
                    <a:pt x="28301" y="80310"/>
                  </a:lnTo>
                  <a:cubicBezTo>
                    <a:pt x="27380" y="81736"/>
                    <a:pt x="26849" y="83202"/>
                    <a:pt x="27219" y="84623"/>
                  </a:cubicBezTo>
                  <a:cubicBezTo>
                    <a:pt x="27239" y="84703"/>
                    <a:pt x="27323" y="84758"/>
                    <a:pt x="27404" y="84758"/>
                  </a:cubicBezTo>
                  <a:cubicBezTo>
                    <a:pt x="27448" y="84758"/>
                    <a:pt x="27491" y="84741"/>
                    <a:pt x="27522" y="84704"/>
                  </a:cubicBezTo>
                  <a:cubicBezTo>
                    <a:pt x="29392" y="82411"/>
                    <a:pt x="31768" y="80581"/>
                    <a:pt x="33538" y="78211"/>
                  </a:cubicBezTo>
                  <a:cubicBezTo>
                    <a:pt x="35894" y="75061"/>
                    <a:pt x="37987" y="71764"/>
                    <a:pt x="39999" y="68386"/>
                  </a:cubicBezTo>
                  <a:cubicBezTo>
                    <a:pt x="41859" y="65260"/>
                    <a:pt x="43715" y="62150"/>
                    <a:pt x="45606" y="59067"/>
                  </a:cubicBezTo>
                  <a:cubicBezTo>
                    <a:pt x="58222" y="41791"/>
                    <a:pt x="70206" y="24007"/>
                    <a:pt x="83440" y="7211"/>
                  </a:cubicBezTo>
                  <a:cubicBezTo>
                    <a:pt x="83549" y="7071"/>
                    <a:pt x="83428" y="6887"/>
                    <a:pt x="83300" y="6887"/>
                  </a:cubicBezTo>
                  <a:cubicBezTo>
                    <a:pt x="83260" y="6887"/>
                    <a:pt x="83218" y="6906"/>
                    <a:pt x="83183" y="6951"/>
                  </a:cubicBezTo>
                  <a:cubicBezTo>
                    <a:pt x="81916" y="8556"/>
                    <a:pt x="80663" y="10173"/>
                    <a:pt x="79418" y="11798"/>
                  </a:cubicBezTo>
                  <a:cubicBezTo>
                    <a:pt x="80989" y="9682"/>
                    <a:pt x="82487" y="7528"/>
                    <a:pt x="83787" y="5285"/>
                  </a:cubicBezTo>
                  <a:cubicBezTo>
                    <a:pt x="83789" y="5279"/>
                    <a:pt x="83787" y="5273"/>
                    <a:pt x="83789" y="5268"/>
                  </a:cubicBezTo>
                  <a:lnTo>
                    <a:pt x="83789" y="5268"/>
                  </a:lnTo>
                  <a:cubicBezTo>
                    <a:pt x="84606" y="6867"/>
                    <a:pt x="82213" y="9913"/>
                    <a:pt x="81624" y="11068"/>
                  </a:cubicBezTo>
                  <a:cubicBezTo>
                    <a:pt x="81566" y="11180"/>
                    <a:pt x="81621" y="11293"/>
                    <a:pt x="81734" y="11336"/>
                  </a:cubicBezTo>
                  <a:lnTo>
                    <a:pt x="82828" y="11772"/>
                  </a:lnTo>
                  <a:cubicBezTo>
                    <a:pt x="82853" y="11782"/>
                    <a:pt x="82876" y="11787"/>
                    <a:pt x="82898" y="11787"/>
                  </a:cubicBezTo>
                  <a:cubicBezTo>
                    <a:pt x="83068" y="11787"/>
                    <a:pt x="83121" y="11503"/>
                    <a:pt x="82929" y="11426"/>
                  </a:cubicBezTo>
                  <a:cubicBezTo>
                    <a:pt x="81197" y="10730"/>
                    <a:pt x="84592" y="8527"/>
                    <a:pt x="84474" y="7196"/>
                  </a:cubicBezTo>
                  <a:cubicBezTo>
                    <a:pt x="84335" y="5629"/>
                    <a:pt x="84110" y="4728"/>
                    <a:pt x="82727" y="4101"/>
                  </a:cubicBezTo>
                  <a:cubicBezTo>
                    <a:pt x="82762" y="4023"/>
                    <a:pt x="82802" y="3945"/>
                    <a:pt x="82837" y="3865"/>
                  </a:cubicBezTo>
                  <a:cubicBezTo>
                    <a:pt x="82893" y="3733"/>
                    <a:pt x="82795" y="3593"/>
                    <a:pt x="82677" y="3593"/>
                  </a:cubicBezTo>
                  <a:cubicBezTo>
                    <a:pt x="82636" y="3593"/>
                    <a:pt x="82594" y="3609"/>
                    <a:pt x="82554" y="3648"/>
                  </a:cubicBezTo>
                  <a:cubicBezTo>
                    <a:pt x="82470" y="3732"/>
                    <a:pt x="82392" y="3818"/>
                    <a:pt x="82308" y="3899"/>
                  </a:cubicBezTo>
                  <a:cubicBezTo>
                    <a:pt x="80683" y="3002"/>
                    <a:pt x="78770" y="0"/>
                    <a:pt x="76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65"/>
            <p:cNvSpPr/>
            <p:nvPr/>
          </p:nvSpPr>
          <p:spPr>
            <a:xfrm>
              <a:off x="5490650" y="3675725"/>
              <a:ext cx="84675" cy="91500"/>
            </a:xfrm>
            <a:custGeom>
              <a:avLst/>
              <a:gdLst/>
              <a:ahLst/>
              <a:cxnLst/>
              <a:rect l="l" t="t" r="r" b="b"/>
              <a:pathLst>
                <a:path w="3387" h="3660" extrusionOk="0">
                  <a:moveTo>
                    <a:pt x="1251" y="0"/>
                  </a:moveTo>
                  <a:cubicBezTo>
                    <a:pt x="1029" y="0"/>
                    <a:pt x="828" y="94"/>
                    <a:pt x="673" y="328"/>
                  </a:cubicBezTo>
                  <a:cubicBezTo>
                    <a:pt x="1" y="1344"/>
                    <a:pt x="1260" y="2918"/>
                    <a:pt x="1892" y="3608"/>
                  </a:cubicBezTo>
                  <a:cubicBezTo>
                    <a:pt x="1926" y="3644"/>
                    <a:pt x="1964" y="3660"/>
                    <a:pt x="2001" y="3660"/>
                  </a:cubicBezTo>
                  <a:cubicBezTo>
                    <a:pt x="2122" y="3660"/>
                    <a:pt x="2229" y="3496"/>
                    <a:pt x="2123" y="3377"/>
                  </a:cubicBezTo>
                  <a:cubicBezTo>
                    <a:pt x="1545" y="2719"/>
                    <a:pt x="578" y="1578"/>
                    <a:pt x="876" y="602"/>
                  </a:cubicBezTo>
                  <a:cubicBezTo>
                    <a:pt x="944" y="377"/>
                    <a:pt x="1090" y="287"/>
                    <a:pt x="1277" y="287"/>
                  </a:cubicBezTo>
                  <a:cubicBezTo>
                    <a:pt x="1930" y="287"/>
                    <a:pt x="3091" y="1367"/>
                    <a:pt x="3286" y="1555"/>
                  </a:cubicBezTo>
                  <a:cubicBezTo>
                    <a:pt x="3297" y="1565"/>
                    <a:pt x="3308" y="1569"/>
                    <a:pt x="3319" y="1569"/>
                  </a:cubicBezTo>
                  <a:cubicBezTo>
                    <a:pt x="3356" y="1569"/>
                    <a:pt x="3387" y="1521"/>
                    <a:pt x="3356" y="1486"/>
                  </a:cubicBezTo>
                  <a:cubicBezTo>
                    <a:pt x="3049" y="1123"/>
                    <a:pt x="2020" y="0"/>
                    <a:pt x="12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65"/>
            <p:cNvSpPr/>
            <p:nvPr/>
          </p:nvSpPr>
          <p:spPr>
            <a:xfrm>
              <a:off x="5646325" y="3602300"/>
              <a:ext cx="178375" cy="319450"/>
            </a:xfrm>
            <a:custGeom>
              <a:avLst/>
              <a:gdLst/>
              <a:ahLst/>
              <a:cxnLst/>
              <a:rect l="l" t="t" r="r" b="b"/>
              <a:pathLst>
                <a:path w="7135" h="12778" extrusionOk="0">
                  <a:moveTo>
                    <a:pt x="1104" y="0"/>
                  </a:moveTo>
                  <a:cubicBezTo>
                    <a:pt x="568" y="0"/>
                    <a:pt x="0" y="114"/>
                    <a:pt x="7" y="953"/>
                  </a:cubicBezTo>
                  <a:cubicBezTo>
                    <a:pt x="24" y="2691"/>
                    <a:pt x="957" y="4423"/>
                    <a:pt x="1546" y="6031"/>
                  </a:cubicBezTo>
                  <a:cubicBezTo>
                    <a:pt x="2394" y="8355"/>
                    <a:pt x="5856" y="9432"/>
                    <a:pt x="5919" y="12125"/>
                  </a:cubicBezTo>
                  <a:cubicBezTo>
                    <a:pt x="5919" y="12180"/>
                    <a:pt x="5948" y="12232"/>
                    <a:pt x="5997" y="12261"/>
                  </a:cubicBezTo>
                  <a:cubicBezTo>
                    <a:pt x="6376" y="12449"/>
                    <a:pt x="6754" y="12610"/>
                    <a:pt x="7135" y="12778"/>
                  </a:cubicBezTo>
                  <a:cubicBezTo>
                    <a:pt x="6687" y="12431"/>
                    <a:pt x="6352" y="12024"/>
                    <a:pt x="6214" y="11519"/>
                  </a:cubicBezTo>
                  <a:cubicBezTo>
                    <a:pt x="5818" y="10076"/>
                    <a:pt x="4308" y="8837"/>
                    <a:pt x="3330" y="7812"/>
                  </a:cubicBezTo>
                  <a:cubicBezTo>
                    <a:pt x="2481" y="6917"/>
                    <a:pt x="1846" y="5936"/>
                    <a:pt x="1407" y="4778"/>
                  </a:cubicBezTo>
                  <a:cubicBezTo>
                    <a:pt x="1176" y="4177"/>
                    <a:pt x="960" y="3571"/>
                    <a:pt x="755" y="2965"/>
                  </a:cubicBezTo>
                  <a:cubicBezTo>
                    <a:pt x="340" y="2143"/>
                    <a:pt x="394" y="1733"/>
                    <a:pt x="917" y="1733"/>
                  </a:cubicBezTo>
                  <a:cubicBezTo>
                    <a:pt x="1336" y="1733"/>
                    <a:pt x="2058" y="1998"/>
                    <a:pt x="3082" y="2526"/>
                  </a:cubicBezTo>
                  <a:cubicBezTo>
                    <a:pt x="3106" y="2596"/>
                    <a:pt x="3167" y="2639"/>
                    <a:pt x="3232" y="2639"/>
                  </a:cubicBezTo>
                  <a:cubicBezTo>
                    <a:pt x="3269" y="2639"/>
                    <a:pt x="3306" y="2626"/>
                    <a:pt x="3338" y="2595"/>
                  </a:cubicBezTo>
                  <a:cubicBezTo>
                    <a:pt x="4268" y="1700"/>
                    <a:pt x="3942" y="2174"/>
                    <a:pt x="4459" y="1031"/>
                  </a:cubicBezTo>
                  <a:cubicBezTo>
                    <a:pt x="4516" y="908"/>
                    <a:pt x="4406" y="793"/>
                    <a:pt x="4305" y="793"/>
                  </a:cubicBezTo>
                  <a:cubicBezTo>
                    <a:pt x="4259" y="793"/>
                    <a:pt x="4215" y="817"/>
                    <a:pt x="4190" y="875"/>
                  </a:cubicBezTo>
                  <a:cubicBezTo>
                    <a:pt x="3921" y="1472"/>
                    <a:pt x="3675" y="1691"/>
                    <a:pt x="3441" y="1691"/>
                  </a:cubicBezTo>
                  <a:cubicBezTo>
                    <a:pt x="2799" y="1691"/>
                    <a:pt x="2249" y="36"/>
                    <a:pt x="1557" y="14"/>
                  </a:cubicBezTo>
                  <a:cubicBezTo>
                    <a:pt x="1419" y="10"/>
                    <a:pt x="1263" y="0"/>
                    <a:pt x="1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65"/>
            <p:cNvSpPr/>
            <p:nvPr/>
          </p:nvSpPr>
          <p:spPr>
            <a:xfrm>
              <a:off x="5824675" y="3921725"/>
              <a:ext cx="90675" cy="31725"/>
            </a:xfrm>
            <a:custGeom>
              <a:avLst/>
              <a:gdLst/>
              <a:ahLst/>
              <a:cxnLst/>
              <a:rect l="l" t="t" r="r" b="b"/>
              <a:pathLst>
                <a:path w="3627" h="1269" extrusionOk="0">
                  <a:moveTo>
                    <a:pt x="1" y="1"/>
                  </a:moveTo>
                  <a:cubicBezTo>
                    <a:pt x="853" y="653"/>
                    <a:pt x="2163" y="1049"/>
                    <a:pt x="3627" y="1268"/>
                  </a:cubicBezTo>
                  <a:cubicBezTo>
                    <a:pt x="2386" y="945"/>
                    <a:pt x="1173" y="52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65"/>
            <p:cNvSpPr/>
            <p:nvPr/>
          </p:nvSpPr>
          <p:spPr>
            <a:xfrm>
              <a:off x="5516775" y="3755850"/>
              <a:ext cx="747050" cy="258800"/>
            </a:xfrm>
            <a:custGeom>
              <a:avLst/>
              <a:gdLst/>
              <a:ahLst/>
              <a:cxnLst/>
              <a:rect l="l" t="t" r="r" b="b"/>
              <a:pathLst>
                <a:path w="29882" h="10352" extrusionOk="0">
                  <a:moveTo>
                    <a:pt x="86" y="1"/>
                  </a:moveTo>
                  <a:cubicBezTo>
                    <a:pt x="33" y="1"/>
                    <a:pt x="1" y="85"/>
                    <a:pt x="56" y="126"/>
                  </a:cubicBezTo>
                  <a:cubicBezTo>
                    <a:pt x="4539" y="3446"/>
                    <a:pt x="7842" y="7499"/>
                    <a:pt x="13411" y="8980"/>
                  </a:cubicBezTo>
                  <a:cubicBezTo>
                    <a:pt x="16414" y="9779"/>
                    <a:pt x="19137" y="10352"/>
                    <a:pt x="21849" y="10352"/>
                  </a:cubicBezTo>
                  <a:cubicBezTo>
                    <a:pt x="24413" y="10352"/>
                    <a:pt x="26966" y="9840"/>
                    <a:pt x="29737" y="8521"/>
                  </a:cubicBezTo>
                  <a:cubicBezTo>
                    <a:pt x="29882" y="8449"/>
                    <a:pt x="29791" y="8251"/>
                    <a:pt x="29654" y="8251"/>
                  </a:cubicBezTo>
                  <a:cubicBezTo>
                    <a:pt x="29633" y="8251"/>
                    <a:pt x="29610" y="8256"/>
                    <a:pt x="29587" y="8267"/>
                  </a:cubicBezTo>
                  <a:cubicBezTo>
                    <a:pt x="29269" y="8414"/>
                    <a:pt x="28958" y="8544"/>
                    <a:pt x="28649" y="8674"/>
                  </a:cubicBezTo>
                  <a:cubicBezTo>
                    <a:pt x="27571" y="7997"/>
                    <a:pt x="26612" y="7735"/>
                    <a:pt x="25494" y="7735"/>
                  </a:cubicBezTo>
                  <a:cubicBezTo>
                    <a:pt x="24990" y="7735"/>
                    <a:pt x="24455" y="7788"/>
                    <a:pt x="23862" y="7880"/>
                  </a:cubicBezTo>
                  <a:cubicBezTo>
                    <a:pt x="23082" y="8000"/>
                    <a:pt x="21466" y="8147"/>
                    <a:pt x="19645" y="8147"/>
                  </a:cubicBezTo>
                  <a:cubicBezTo>
                    <a:pt x="18440" y="8147"/>
                    <a:pt x="17145" y="8083"/>
                    <a:pt x="15943" y="7903"/>
                  </a:cubicBezTo>
                  <a:lnTo>
                    <a:pt x="15943" y="7903"/>
                  </a:lnTo>
                  <a:cubicBezTo>
                    <a:pt x="16659" y="8088"/>
                    <a:pt x="17386" y="8253"/>
                    <a:pt x="18149" y="8374"/>
                  </a:cubicBezTo>
                  <a:cubicBezTo>
                    <a:pt x="18631" y="8449"/>
                    <a:pt x="19122" y="8479"/>
                    <a:pt x="19617" y="8479"/>
                  </a:cubicBezTo>
                  <a:cubicBezTo>
                    <a:pt x="21451" y="8479"/>
                    <a:pt x="23355" y="8073"/>
                    <a:pt x="25177" y="8073"/>
                  </a:cubicBezTo>
                  <a:cubicBezTo>
                    <a:pt x="26320" y="8073"/>
                    <a:pt x="27431" y="8233"/>
                    <a:pt x="28473" y="8752"/>
                  </a:cubicBezTo>
                  <a:cubicBezTo>
                    <a:pt x="26183" y="9663"/>
                    <a:pt x="24022" y="10020"/>
                    <a:pt x="21877" y="10020"/>
                  </a:cubicBezTo>
                  <a:cubicBezTo>
                    <a:pt x="18680" y="10020"/>
                    <a:pt x="15520" y="9227"/>
                    <a:pt x="12028" y="8296"/>
                  </a:cubicBezTo>
                  <a:cubicBezTo>
                    <a:pt x="7337" y="7043"/>
                    <a:pt x="4020" y="2678"/>
                    <a:pt x="122" y="13"/>
                  </a:cubicBezTo>
                  <a:cubicBezTo>
                    <a:pt x="110" y="5"/>
                    <a:pt x="98" y="1"/>
                    <a:pt x="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65"/>
            <p:cNvSpPr/>
            <p:nvPr/>
          </p:nvSpPr>
          <p:spPr>
            <a:xfrm>
              <a:off x="5788675" y="3606475"/>
              <a:ext cx="8175" cy="6375"/>
            </a:xfrm>
            <a:custGeom>
              <a:avLst/>
              <a:gdLst/>
              <a:ahLst/>
              <a:cxnLst/>
              <a:rect l="l" t="t" r="r" b="b"/>
              <a:pathLst>
                <a:path w="327" h="255" extrusionOk="0">
                  <a:moveTo>
                    <a:pt x="165" y="0"/>
                  </a:moveTo>
                  <a:cubicBezTo>
                    <a:pt x="0" y="0"/>
                    <a:pt x="0" y="254"/>
                    <a:pt x="165" y="254"/>
                  </a:cubicBezTo>
                  <a:cubicBezTo>
                    <a:pt x="326" y="254"/>
                    <a:pt x="326" y="0"/>
                    <a:pt x="1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65"/>
            <p:cNvSpPr/>
            <p:nvPr/>
          </p:nvSpPr>
          <p:spPr>
            <a:xfrm>
              <a:off x="5590950" y="3167925"/>
              <a:ext cx="491425" cy="517425"/>
            </a:xfrm>
            <a:custGeom>
              <a:avLst/>
              <a:gdLst/>
              <a:ahLst/>
              <a:cxnLst/>
              <a:rect l="l" t="t" r="r" b="b"/>
              <a:pathLst>
                <a:path w="19657" h="20697" extrusionOk="0">
                  <a:moveTo>
                    <a:pt x="19231" y="1"/>
                  </a:moveTo>
                  <a:cubicBezTo>
                    <a:pt x="19186" y="1"/>
                    <a:pt x="19144" y="22"/>
                    <a:pt x="19122" y="73"/>
                  </a:cubicBezTo>
                  <a:cubicBezTo>
                    <a:pt x="18487" y="1557"/>
                    <a:pt x="17136" y="2518"/>
                    <a:pt x="16466" y="3999"/>
                  </a:cubicBezTo>
                  <a:cubicBezTo>
                    <a:pt x="16423" y="4089"/>
                    <a:pt x="16449" y="4239"/>
                    <a:pt x="16570" y="4256"/>
                  </a:cubicBezTo>
                  <a:cubicBezTo>
                    <a:pt x="17197" y="4346"/>
                    <a:pt x="19405" y="4441"/>
                    <a:pt x="18915" y="5584"/>
                  </a:cubicBezTo>
                  <a:cubicBezTo>
                    <a:pt x="18915" y="5583"/>
                    <a:pt x="18915" y="5583"/>
                    <a:pt x="18915" y="5583"/>
                  </a:cubicBezTo>
                  <a:lnTo>
                    <a:pt x="18915" y="5583"/>
                  </a:lnTo>
                  <a:cubicBezTo>
                    <a:pt x="18901" y="5583"/>
                    <a:pt x="17691" y="7559"/>
                    <a:pt x="17128" y="7559"/>
                  </a:cubicBezTo>
                  <a:cubicBezTo>
                    <a:pt x="17058" y="7559"/>
                    <a:pt x="16998" y="7528"/>
                    <a:pt x="16951" y="7458"/>
                  </a:cubicBezTo>
                  <a:cubicBezTo>
                    <a:pt x="16564" y="6881"/>
                    <a:pt x="15886" y="5888"/>
                    <a:pt x="15083" y="5888"/>
                  </a:cubicBezTo>
                  <a:cubicBezTo>
                    <a:pt x="14015" y="5888"/>
                    <a:pt x="13646" y="7640"/>
                    <a:pt x="12237" y="7640"/>
                  </a:cubicBezTo>
                  <a:cubicBezTo>
                    <a:pt x="12021" y="7640"/>
                    <a:pt x="11327" y="8376"/>
                    <a:pt x="11362" y="8376"/>
                  </a:cubicBezTo>
                  <a:cubicBezTo>
                    <a:pt x="11369" y="8376"/>
                    <a:pt x="11398" y="8353"/>
                    <a:pt x="11457" y="8298"/>
                  </a:cubicBezTo>
                  <a:lnTo>
                    <a:pt x="11457" y="8298"/>
                  </a:lnTo>
                  <a:cubicBezTo>
                    <a:pt x="10118" y="9540"/>
                    <a:pt x="9295" y="9947"/>
                    <a:pt x="7416" y="10074"/>
                  </a:cubicBezTo>
                  <a:cubicBezTo>
                    <a:pt x="7326" y="10079"/>
                    <a:pt x="7237" y="10166"/>
                    <a:pt x="7271" y="10261"/>
                  </a:cubicBezTo>
                  <a:cubicBezTo>
                    <a:pt x="7571" y="11096"/>
                    <a:pt x="7938" y="11598"/>
                    <a:pt x="8533" y="12251"/>
                  </a:cubicBezTo>
                  <a:cubicBezTo>
                    <a:pt x="9338" y="13128"/>
                    <a:pt x="9535" y="13841"/>
                    <a:pt x="9379" y="14534"/>
                  </a:cubicBezTo>
                  <a:cubicBezTo>
                    <a:pt x="9342" y="14477"/>
                    <a:pt x="9284" y="14434"/>
                    <a:pt x="9223" y="14434"/>
                  </a:cubicBezTo>
                  <a:cubicBezTo>
                    <a:pt x="9183" y="14434"/>
                    <a:pt x="9141" y="14453"/>
                    <a:pt x="9104" y="14499"/>
                  </a:cubicBezTo>
                  <a:cubicBezTo>
                    <a:pt x="8516" y="15233"/>
                    <a:pt x="7973" y="16001"/>
                    <a:pt x="7427" y="16763"/>
                  </a:cubicBezTo>
                  <a:cubicBezTo>
                    <a:pt x="8019" y="15738"/>
                    <a:pt x="8605" y="14710"/>
                    <a:pt x="9087" y="13625"/>
                  </a:cubicBezTo>
                  <a:cubicBezTo>
                    <a:pt x="9147" y="13489"/>
                    <a:pt x="9043" y="13340"/>
                    <a:pt x="8921" y="13340"/>
                  </a:cubicBezTo>
                  <a:cubicBezTo>
                    <a:pt x="8879" y="13340"/>
                    <a:pt x="8835" y="13357"/>
                    <a:pt x="8796" y="13400"/>
                  </a:cubicBezTo>
                  <a:cubicBezTo>
                    <a:pt x="8074" y="14144"/>
                    <a:pt x="7404" y="14921"/>
                    <a:pt x="6749" y="15724"/>
                  </a:cubicBezTo>
                  <a:cubicBezTo>
                    <a:pt x="6748" y="15724"/>
                    <a:pt x="6748" y="15724"/>
                    <a:pt x="6747" y="15724"/>
                  </a:cubicBezTo>
                  <a:lnTo>
                    <a:pt x="6747" y="15724"/>
                  </a:lnTo>
                  <a:cubicBezTo>
                    <a:pt x="7295" y="14850"/>
                    <a:pt x="7803" y="13953"/>
                    <a:pt x="8152" y="12946"/>
                  </a:cubicBezTo>
                  <a:cubicBezTo>
                    <a:pt x="8197" y="12818"/>
                    <a:pt x="8089" y="12732"/>
                    <a:pt x="7979" y="12732"/>
                  </a:cubicBezTo>
                  <a:cubicBezTo>
                    <a:pt x="7934" y="12732"/>
                    <a:pt x="7890" y="12745"/>
                    <a:pt x="7854" y="12776"/>
                  </a:cubicBezTo>
                  <a:cubicBezTo>
                    <a:pt x="7566" y="13027"/>
                    <a:pt x="7291" y="13296"/>
                    <a:pt x="7032" y="13579"/>
                  </a:cubicBezTo>
                  <a:cubicBezTo>
                    <a:pt x="7300" y="13076"/>
                    <a:pt x="7514" y="12545"/>
                    <a:pt x="7670" y="11999"/>
                  </a:cubicBezTo>
                  <a:cubicBezTo>
                    <a:pt x="7703" y="11881"/>
                    <a:pt x="7608" y="11793"/>
                    <a:pt x="7507" y="11793"/>
                  </a:cubicBezTo>
                  <a:cubicBezTo>
                    <a:pt x="7467" y="11793"/>
                    <a:pt x="7427" y="11807"/>
                    <a:pt x="7392" y="11838"/>
                  </a:cubicBezTo>
                  <a:cubicBezTo>
                    <a:pt x="6059" y="13079"/>
                    <a:pt x="4918" y="14474"/>
                    <a:pt x="3810" y="15917"/>
                  </a:cubicBezTo>
                  <a:cubicBezTo>
                    <a:pt x="3082" y="16864"/>
                    <a:pt x="2369" y="17820"/>
                    <a:pt x="1621" y="18752"/>
                  </a:cubicBezTo>
                  <a:cubicBezTo>
                    <a:pt x="1367" y="19061"/>
                    <a:pt x="1110" y="19367"/>
                    <a:pt x="848" y="19667"/>
                  </a:cubicBezTo>
                  <a:cubicBezTo>
                    <a:pt x="822" y="19699"/>
                    <a:pt x="403" y="20327"/>
                    <a:pt x="393" y="20327"/>
                  </a:cubicBezTo>
                  <a:cubicBezTo>
                    <a:pt x="389" y="20327"/>
                    <a:pt x="443" y="20239"/>
                    <a:pt x="596" y="19999"/>
                  </a:cubicBezTo>
                  <a:cubicBezTo>
                    <a:pt x="605" y="19984"/>
                    <a:pt x="591" y="19967"/>
                    <a:pt x="577" y="19967"/>
                  </a:cubicBezTo>
                  <a:cubicBezTo>
                    <a:pt x="573" y="19967"/>
                    <a:pt x="568" y="19969"/>
                    <a:pt x="565" y="19973"/>
                  </a:cubicBezTo>
                  <a:cubicBezTo>
                    <a:pt x="391" y="20170"/>
                    <a:pt x="221" y="20366"/>
                    <a:pt x="51" y="20565"/>
                  </a:cubicBezTo>
                  <a:cubicBezTo>
                    <a:pt x="0" y="20622"/>
                    <a:pt x="47" y="20696"/>
                    <a:pt x="104" y="20696"/>
                  </a:cubicBezTo>
                  <a:cubicBezTo>
                    <a:pt x="122" y="20696"/>
                    <a:pt x="140" y="20689"/>
                    <a:pt x="158" y="20672"/>
                  </a:cubicBezTo>
                  <a:cubicBezTo>
                    <a:pt x="2199" y="18743"/>
                    <a:pt x="3743" y="16359"/>
                    <a:pt x="5542" y="14217"/>
                  </a:cubicBezTo>
                  <a:cubicBezTo>
                    <a:pt x="5926" y="13758"/>
                    <a:pt x="6339" y="13324"/>
                    <a:pt x="6754" y="12891"/>
                  </a:cubicBezTo>
                  <a:cubicBezTo>
                    <a:pt x="7023" y="12614"/>
                    <a:pt x="7161" y="12504"/>
                    <a:pt x="7213" y="12504"/>
                  </a:cubicBezTo>
                  <a:cubicBezTo>
                    <a:pt x="7380" y="12504"/>
                    <a:pt x="6651" y="13639"/>
                    <a:pt x="6477" y="13945"/>
                  </a:cubicBezTo>
                  <a:cubicBezTo>
                    <a:pt x="6067" y="14664"/>
                    <a:pt x="5556" y="15322"/>
                    <a:pt x="5034" y="15975"/>
                  </a:cubicBezTo>
                  <a:cubicBezTo>
                    <a:pt x="4569" y="16431"/>
                    <a:pt x="4370" y="16685"/>
                    <a:pt x="4430" y="16734"/>
                  </a:cubicBezTo>
                  <a:cubicBezTo>
                    <a:pt x="4303" y="16896"/>
                    <a:pt x="4173" y="17060"/>
                    <a:pt x="4049" y="17222"/>
                  </a:cubicBezTo>
                  <a:cubicBezTo>
                    <a:pt x="3962" y="17339"/>
                    <a:pt x="4088" y="17481"/>
                    <a:pt x="4209" y="17481"/>
                  </a:cubicBezTo>
                  <a:cubicBezTo>
                    <a:pt x="4248" y="17481"/>
                    <a:pt x="4287" y="17466"/>
                    <a:pt x="4318" y="17430"/>
                  </a:cubicBezTo>
                  <a:cubicBezTo>
                    <a:pt x="5459" y="16095"/>
                    <a:pt x="6422" y="14616"/>
                    <a:pt x="7681" y="13382"/>
                  </a:cubicBezTo>
                  <a:lnTo>
                    <a:pt x="7681" y="13382"/>
                  </a:lnTo>
                  <a:cubicBezTo>
                    <a:pt x="7096" y="13959"/>
                    <a:pt x="6721" y="15160"/>
                    <a:pt x="6267" y="15865"/>
                  </a:cubicBezTo>
                  <a:cubicBezTo>
                    <a:pt x="5735" y="16685"/>
                    <a:pt x="5175" y="17485"/>
                    <a:pt x="4670" y="18319"/>
                  </a:cubicBezTo>
                  <a:cubicBezTo>
                    <a:pt x="4590" y="18449"/>
                    <a:pt x="4715" y="18599"/>
                    <a:pt x="4840" y="18599"/>
                  </a:cubicBezTo>
                  <a:cubicBezTo>
                    <a:pt x="4882" y="18599"/>
                    <a:pt x="4925" y="18582"/>
                    <a:pt x="4959" y="18541"/>
                  </a:cubicBezTo>
                  <a:cubicBezTo>
                    <a:pt x="6027" y="17222"/>
                    <a:pt x="7060" y="15877"/>
                    <a:pt x="8186" y="14606"/>
                  </a:cubicBezTo>
                  <a:lnTo>
                    <a:pt x="8186" y="14606"/>
                  </a:lnTo>
                  <a:cubicBezTo>
                    <a:pt x="7424" y="16076"/>
                    <a:pt x="6532" y="17473"/>
                    <a:pt x="5767" y="18945"/>
                  </a:cubicBezTo>
                  <a:cubicBezTo>
                    <a:pt x="5696" y="19081"/>
                    <a:pt x="5815" y="19237"/>
                    <a:pt x="5940" y="19237"/>
                  </a:cubicBezTo>
                  <a:cubicBezTo>
                    <a:pt x="5984" y="19237"/>
                    <a:pt x="6027" y="19218"/>
                    <a:pt x="6064" y="19174"/>
                  </a:cubicBezTo>
                  <a:cubicBezTo>
                    <a:pt x="7208" y="17820"/>
                    <a:pt x="8158" y="16324"/>
                    <a:pt x="9249" y="14930"/>
                  </a:cubicBezTo>
                  <a:lnTo>
                    <a:pt x="9249" y="14930"/>
                  </a:lnTo>
                  <a:cubicBezTo>
                    <a:pt x="9012" y="15513"/>
                    <a:pt x="8567" y="16102"/>
                    <a:pt x="8056" y="16783"/>
                  </a:cubicBezTo>
                  <a:cubicBezTo>
                    <a:pt x="8050" y="16793"/>
                    <a:pt x="8060" y="16804"/>
                    <a:pt x="8069" y="16804"/>
                  </a:cubicBezTo>
                  <a:cubicBezTo>
                    <a:pt x="8073" y="16804"/>
                    <a:pt x="8077" y="16802"/>
                    <a:pt x="8080" y="16798"/>
                  </a:cubicBezTo>
                  <a:cubicBezTo>
                    <a:pt x="8449" y="16313"/>
                    <a:pt x="10158" y="14702"/>
                    <a:pt x="9893" y="13925"/>
                  </a:cubicBezTo>
                  <a:cubicBezTo>
                    <a:pt x="9474" y="12698"/>
                    <a:pt x="6985" y="10608"/>
                    <a:pt x="8960" y="10244"/>
                  </a:cubicBezTo>
                  <a:cubicBezTo>
                    <a:pt x="10864" y="9889"/>
                    <a:pt x="11629" y="7984"/>
                    <a:pt x="13540" y="7984"/>
                  </a:cubicBezTo>
                  <a:cubicBezTo>
                    <a:pt x="13542" y="7984"/>
                    <a:pt x="13543" y="7984"/>
                    <a:pt x="13545" y="7984"/>
                  </a:cubicBezTo>
                  <a:cubicBezTo>
                    <a:pt x="13712" y="7984"/>
                    <a:pt x="14112" y="7559"/>
                    <a:pt x="14099" y="7559"/>
                  </a:cubicBezTo>
                  <a:lnTo>
                    <a:pt x="14099" y="7559"/>
                  </a:lnTo>
                  <a:cubicBezTo>
                    <a:pt x="14098" y="7559"/>
                    <a:pt x="14095" y="7561"/>
                    <a:pt x="14090" y="7565"/>
                  </a:cubicBezTo>
                  <a:cubicBezTo>
                    <a:pt x="14490" y="7222"/>
                    <a:pt x="15202" y="6670"/>
                    <a:pt x="15781" y="6670"/>
                  </a:cubicBezTo>
                  <a:cubicBezTo>
                    <a:pt x="16197" y="6670"/>
                    <a:pt x="16545" y="6955"/>
                    <a:pt x="16657" y="7810"/>
                  </a:cubicBezTo>
                  <a:cubicBezTo>
                    <a:pt x="16670" y="7907"/>
                    <a:pt x="16742" y="7985"/>
                    <a:pt x="16830" y="7985"/>
                  </a:cubicBezTo>
                  <a:cubicBezTo>
                    <a:pt x="16858" y="7985"/>
                    <a:pt x="16887" y="7978"/>
                    <a:pt x="16917" y="7960"/>
                  </a:cubicBezTo>
                  <a:cubicBezTo>
                    <a:pt x="18320" y="7169"/>
                    <a:pt x="18972" y="6315"/>
                    <a:pt x="19610" y="4831"/>
                  </a:cubicBezTo>
                  <a:cubicBezTo>
                    <a:pt x="19656" y="4741"/>
                    <a:pt x="19633" y="4597"/>
                    <a:pt x="19512" y="4577"/>
                  </a:cubicBezTo>
                  <a:cubicBezTo>
                    <a:pt x="17610" y="4251"/>
                    <a:pt x="16429" y="4089"/>
                    <a:pt x="18138" y="2158"/>
                  </a:cubicBezTo>
                  <a:cubicBezTo>
                    <a:pt x="18715" y="1508"/>
                    <a:pt x="19117" y="1011"/>
                    <a:pt x="19382" y="183"/>
                  </a:cubicBezTo>
                  <a:cubicBezTo>
                    <a:pt x="19415" y="82"/>
                    <a:pt x="19319" y="1"/>
                    <a:pt x="192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65"/>
            <p:cNvSpPr/>
            <p:nvPr/>
          </p:nvSpPr>
          <p:spPr>
            <a:xfrm>
              <a:off x="5996400" y="2979625"/>
              <a:ext cx="227725" cy="171275"/>
            </a:xfrm>
            <a:custGeom>
              <a:avLst/>
              <a:gdLst/>
              <a:ahLst/>
              <a:cxnLst/>
              <a:rect l="l" t="t" r="r" b="b"/>
              <a:pathLst>
                <a:path w="9109" h="6851" extrusionOk="0">
                  <a:moveTo>
                    <a:pt x="4161" y="1"/>
                  </a:moveTo>
                  <a:cubicBezTo>
                    <a:pt x="3709" y="1"/>
                    <a:pt x="3360" y="207"/>
                    <a:pt x="3020" y="624"/>
                  </a:cubicBezTo>
                  <a:cubicBezTo>
                    <a:pt x="2122" y="1730"/>
                    <a:pt x="1934" y="3159"/>
                    <a:pt x="358" y="3581"/>
                  </a:cubicBezTo>
                  <a:cubicBezTo>
                    <a:pt x="254" y="3610"/>
                    <a:pt x="222" y="3722"/>
                    <a:pt x="266" y="3812"/>
                  </a:cubicBezTo>
                  <a:cubicBezTo>
                    <a:pt x="797" y="4972"/>
                    <a:pt x="1588" y="6274"/>
                    <a:pt x="2783" y="6846"/>
                  </a:cubicBezTo>
                  <a:cubicBezTo>
                    <a:pt x="2790" y="6849"/>
                    <a:pt x="2797" y="6851"/>
                    <a:pt x="2805" y="6851"/>
                  </a:cubicBezTo>
                  <a:cubicBezTo>
                    <a:pt x="2848" y="6851"/>
                    <a:pt x="2889" y="6797"/>
                    <a:pt x="2847" y="6762"/>
                  </a:cubicBezTo>
                  <a:cubicBezTo>
                    <a:pt x="2298" y="6338"/>
                    <a:pt x="0" y="4115"/>
                    <a:pt x="1065" y="3682"/>
                  </a:cubicBezTo>
                  <a:cubicBezTo>
                    <a:pt x="1761" y="3399"/>
                    <a:pt x="2212" y="2665"/>
                    <a:pt x="2575" y="2048"/>
                  </a:cubicBezTo>
                  <a:cubicBezTo>
                    <a:pt x="2755" y="1740"/>
                    <a:pt x="3571" y="215"/>
                    <a:pt x="4146" y="215"/>
                  </a:cubicBezTo>
                  <a:cubicBezTo>
                    <a:pt x="4272" y="215"/>
                    <a:pt x="4387" y="288"/>
                    <a:pt x="4481" y="466"/>
                  </a:cubicBezTo>
                  <a:cubicBezTo>
                    <a:pt x="4767" y="997"/>
                    <a:pt x="5133" y="1496"/>
                    <a:pt x="5485" y="1984"/>
                  </a:cubicBezTo>
                  <a:cubicBezTo>
                    <a:pt x="6066" y="2792"/>
                    <a:pt x="6972" y="4276"/>
                    <a:pt x="8061" y="4424"/>
                  </a:cubicBezTo>
                  <a:cubicBezTo>
                    <a:pt x="8096" y="4429"/>
                    <a:pt x="8131" y="4431"/>
                    <a:pt x="8163" y="4431"/>
                  </a:cubicBezTo>
                  <a:cubicBezTo>
                    <a:pt x="9108" y="4431"/>
                    <a:pt x="8736" y="2396"/>
                    <a:pt x="8641" y="1944"/>
                  </a:cubicBezTo>
                  <a:cubicBezTo>
                    <a:pt x="8627" y="1875"/>
                    <a:pt x="8568" y="1843"/>
                    <a:pt x="8509" y="1843"/>
                  </a:cubicBezTo>
                  <a:cubicBezTo>
                    <a:pt x="8434" y="1843"/>
                    <a:pt x="8357" y="1893"/>
                    <a:pt x="8364" y="1981"/>
                  </a:cubicBezTo>
                  <a:cubicBezTo>
                    <a:pt x="8385" y="2350"/>
                    <a:pt x="8673" y="4050"/>
                    <a:pt x="8055" y="4050"/>
                  </a:cubicBezTo>
                  <a:cubicBezTo>
                    <a:pt x="7990" y="4050"/>
                    <a:pt x="7916" y="4031"/>
                    <a:pt x="7830" y="3991"/>
                  </a:cubicBezTo>
                  <a:cubicBezTo>
                    <a:pt x="7307" y="3742"/>
                    <a:pt x="6880" y="3179"/>
                    <a:pt x="6513" y="2749"/>
                  </a:cubicBezTo>
                  <a:cubicBezTo>
                    <a:pt x="5942" y="2079"/>
                    <a:pt x="4983" y="1060"/>
                    <a:pt x="4729" y="183"/>
                  </a:cubicBezTo>
                  <a:cubicBezTo>
                    <a:pt x="4712" y="122"/>
                    <a:pt x="4665" y="76"/>
                    <a:pt x="4608" y="58"/>
                  </a:cubicBezTo>
                  <a:cubicBezTo>
                    <a:pt x="4447" y="20"/>
                    <a:pt x="4299" y="1"/>
                    <a:pt x="41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65"/>
            <p:cNvSpPr/>
            <p:nvPr/>
          </p:nvSpPr>
          <p:spPr>
            <a:xfrm>
              <a:off x="6186125" y="2701725"/>
              <a:ext cx="225450" cy="340000"/>
            </a:xfrm>
            <a:custGeom>
              <a:avLst/>
              <a:gdLst/>
              <a:ahLst/>
              <a:cxnLst/>
              <a:rect l="l" t="t" r="r" b="b"/>
              <a:pathLst>
                <a:path w="9018" h="13600" extrusionOk="0">
                  <a:moveTo>
                    <a:pt x="8802" y="1"/>
                  </a:moveTo>
                  <a:cubicBezTo>
                    <a:pt x="8731" y="1"/>
                    <a:pt x="8659" y="39"/>
                    <a:pt x="8630" y="126"/>
                  </a:cubicBezTo>
                  <a:cubicBezTo>
                    <a:pt x="7501" y="3530"/>
                    <a:pt x="4773" y="6177"/>
                    <a:pt x="1791" y="8088"/>
                  </a:cubicBezTo>
                  <a:cubicBezTo>
                    <a:pt x="1" y="9234"/>
                    <a:pt x="1369" y="12104"/>
                    <a:pt x="215" y="13490"/>
                  </a:cubicBezTo>
                  <a:cubicBezTo>
                    <a:pt x="175" y="13538"/>
                    <a:pt x="214" y="13600"/>
                    <a:pt x="261" y="13600"/>
                  </a:cubicBezTo>
                  <a:cubicBezTo>
                    <a:pt x="275" y="13600"/>
                    <a:pt x="290" y="13594"/>
                    <a:pt x="304" y="13579"/>
                  </a:cubicBezTo>
                  <a:cubicBezTo>
                    <a:pt x="1006" y="12840"/>
                    <a:pt x="1087" y="12430"/>
                    <a:pt x="977" y="11379"/>
                  </a:cubicBezTo>
                  <a:cubicBezTo>
                    <a:pt x="755" y="9191"/>
                    <a:pt x="1912" y="8692"/>
                    <a:pt x="3229" y="7525"/>
                  </a:cubicBezTo>
                  <a:cubicBezTo>
                    <a:pt x="5723" y="5311"/>
                    <a:pt x="7894" y="3469"/>
                    <a:pt x="8974" y="221"/>
                  </a:cubicBezTo>
                  <a:cubicBezTo>
                    <a:pt x="9017" y="87"/>
                    <a:pt x="8910" y="1"/>
                    <a:pt x="88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65"/>
            <p:cNvSpPr/>
            <p:nvPr/>
          </p:nvSpPr>
          <p:spPr>
            <a:xfrm>
              <a:off x="6187425" y="2719500"/>
              <a:ext cx="405000" cy="468050"/>
            </a:xfrm>
            <a:custGeom>
              <a:avLst/>
              <a:gdLst/>
              <a:ahLst/>
              <a:cxnLst/>
              <a:rect l="l" t="t" r="r" b="b"/>
              <a:pathLst>
                <a:path w="16200" h="18722" extrusionOk="0">
                  <a:moveTo>
                    <a:pt x="9192" y="0"/>
                  </a:moveTo>
                  <a:cubicBezTo>
                    <a:pt x="9126" y="0"/>
                    <a:pt x="9058" y="44"/>
                    <a:pt x="9066" y="119"/>
                  </a:cubicBezTo>
                  <a:cubicBezTo>
                    <a:pt x="9355" y="2894"/>
                    <a:pt x="7559" y="5362"/>
                    <a:pt x="6820" y="7955"/>
                  </a:cubicBezTo>
                  <a:cubicBezTo>
                    <a:pt x="6739" y="8232"/>
                    <a:pt x="6797" y="8552"/>
                    <a:pt x="6875" y="8827"/>
                  </a:cubicBezTo>
                  <a:cubicBezTo>
                    <a:pt x="7516" y="11055"/>
                    <a:pt x="5657" y="12161"/>
                    <a:pt x="4190" y="13007"/>
                  </a:cubicBezTo>
                  <a:cubicBezTo>
                    <a:pt x="1725" y="14427"/>
                    <a:pt x="310" y="15553"/>
                    <a:pt x="13" y="18521"/>
                  </a:cubicBezTo>
                  <a:cubicBezTo>
                    <a:pt x="1" y="18628"/>
                    <a:pt x="111" y="18709"/>
                    <a:pt x="206" y="18715"/>
                  </a:cubicBezTo>
                  <a:cubicBezTo>
                    <a:pt x="277" y="18719"/>
                    <a:pt x="349" y="18721"/>
                    <a:pt x="420" y="18721"/>
                  </a:cubicBezTo>
                  <a:cubicBezTo>
                    <a:pt x="3416" y="18721"/>
                    <a:pt x="6998" y="15027"/>
                    <a:pt x="9020" y="13183"/>
                  </a:cubicBezTo>
                  <a:cubicBezTo>
                    <a:pt x="10544" y="11789"/>
                    <a:pt x="10908" y="10504"/>
                    <a:pt x="11379" y="8454"/>
                  </a:cubicBezTo>
                  <a:cubicBezTo>
                    <a:pt x="12046" y="5558"/>
                    <a:pt x="15256" y="5195"/>
                    <a:pt x="16154" y="2576"/>
                  </a:cubicBezTo>
                  <a:cubicBezTo>
                    <a:pt x="16199" y="2444"/>
                    <a:pt x="16090" y="2356"/>
                    <a:pt x="15979" y="2356"/>
                  </a:cubicBezTo>
                  <a:cubicBezTo>
                    <a:pt x="15907" y="2356"/>
                    <a:pt x="15834" y="2394"/>
                    <a:pt x="15804" y="2481"/>
                  </a:cubicBezTo>
                  <a:cubicBezTo>
                    <a:pt x="14930" y="4970"/>
                    <a:pt x="12871" y="4565"/>
                    <a:pt x="11875" y="6378"/>
                  </a:cubicBezTo>
                  <a:cubicBezTo>
                    <a:pt x="10784" y="8359"/>
                    <a:pt x="10842" y="10770"/>
                    <a:pt x="9216" y="12461"/>
                  </a:cubicBezTo>
                  <a:cubicBezTo>
                    <a:pt x="7972" y="13758"/>
                    <a:pt x="6494" y="14863"/>
                    <a:pt x="5053" y="15920"/>
                  </a:cubicBezTo>
                  <a:cubicBezTo>
                    <a:pt x="4445" y="16366"/>
                    <a:pt x="2233" y="18074"/>
                    <a:pt x="1173" y="18074"/>
                  </a:cubicBezTo>
                  <a:cubicBezTo>
                    <a:pt x="703" y="18074"/>
                    <a:pt x="460" y="17737"/>
                    <a:pt x="685" y="16803"/>
                  </a:cubicBezTo>
                  <a:cubicBezTo>
                    <a:pt x="1418" y="13769"/>
                    <a:pt x="5873" y="13186"/>
                    <a:pt x="7380" y="10513"/>
                  </a:cubicBezTo>
                  <a:cubicBezTo>
                    <a:pt x="8393" y="8714"/>
                    <a:pt x="7906" y="5836"/>
                    <a:pt x="8847" y="3734"/>
                  </a:cubicBezTo>
                  <a:cubicBezTo>
                    <a:pt x="9424" y="2446"/>
                    <a:pt x="9528" y="1479"/>
                    <a:pt x="9303" y="88"/>
                  </a:cubicBezTo>
                  <a:cubicBezTo>
                    <a:pt x="9294" y="28"/>
                    <a:pt x="9244" y="0"/>
                    <a:pt x="91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65"/>
            <p:cNvSpPr/>
            <p:nvPr/>
          </p:nvSpPr>
          <p:spPr>
            <a:xfrm>
              <a:off x="6328025" y="2219625"/>
              <a:ext cx="575775" cy="590850"/>
            </a:xfrm>
            <a:custGeom>
              <a:avLst/>
              <a:gdLst/>
              <a:ahLst/>
              <a:cxnLst/>
              <a:rect l="l" t="t" r="r" b="b"/>
              <a:pathLst>
                <a:path w="23031" h="23634" extrusionOk="0">
                  <a:moveTo>
                    <a:pt x="22854" y="0"/>
                  </a:moveTo>
                  <a:cubicBezTo>
                    <a:pt x="22850" y="0"/>
                    <a:pt x="22847" y="0"/>
                    <a:pt x="22843" y="1"/>
                  </a:cubicBezTo>
                  <a:cubicBezTo>
                    <a:pt x="21490" y="130"/>
                    <a:pt x="20759" y="1531"/>
                    <a:pt x="19663" y="1531"/>
                  </a:cubicBezTo>
                  <a:cubicBezTo>
                    <a:pt x="19287" y="1531"/>
                    <a:pt x="18869" y="1366"/>
                    <a:pt x="18368" y="930"/>
                  </a:cubicBezTo>
                  <a:cubicBezTo>
                    <a:pt x="18331" y="899"/>
                    <a:pt x="18282" y="877"/>
                    <a:pt x="18234" y="877"/>
                  </a:cubicBezTo>
                  <a:cubicBezTo>
                    <a:pt x="18206" y="877"/>
                    <a:pt x="18179" y="884"/>
                    <a:pt x="18154" y="901"/>
                  </a:cubicBezTo>
                  <a:cubicBezTo>
                    <a:pt x="16208" y="2299"/>
                    <a:pt x="15426" y="5639"/>
                    <a:pt x="12864" y="5639"/>
                  </a:cubicBezTo>
                  <a:cubicBezTo>
                    <a:pt x="12326" y="5639"/>
                    <a:pt x="11709" y="5492"/>
                    <a:pt x="10986" y="5148"/>
                  </a:cubicBezTo>
                  <a:cubicBezTo>
                    <a:pt x="10473" y="4904"/>
                    <a:pt x="9883" y="4794"/>
                    <a:pt x="9287" y="4794"/>
                  </a:cubicBezTo>
                  <a:cubicBezTo>
                    <a:pt x="8579" y="4794"/>
                    <a:pt x="7861" y="4949"/>
                    <a:pt x="7253" y="5217"/>
                  </a:cubicBezTo>
                  <a:cubicBezTo>
                    <a:pt x="6032" y="5754"/>
                    <a:pt x="1" y="9268"/>
                    <a:pt x="2048" y="11603"/>
                  </a:cubicBezTo>
                  <a:cubicBezTo>
                    <a:pt x="3500" y="13264"/>
                    <a:pt x="6950" y="12536"/>
                    <a:pt x="7322" y="15423"/>
                  </a:cubicBezTo>
                  <a:cubicBezTo>
                    <a:pt x="7579" y="17427"/>
                    <a:pt x="6525" y="19909"/>
                    <a:pt x="6603" y="22008"/>
                  </a:cubicBezTo>
                  <a:cubicBezTo>
                    <a:pt x="6649" y="23211"/>
                    <a:pt x="7077" y="23633"/>
                    <a:pt x="7646" y="23633"/>
                  </a:cubicBezTo>
                  <a:cubicBezTo>
                    <a:pt x="8439" y="23633"/>
                    <a:pt x="9507" y="22812"/>
                    <a:pt x="10195" y="22144"/>
                  </a:cubicBezTo>
                  <a:cubicBezTo>
                    <a:pt x="10256" y="22085"/>
                    <a:pt x="10201" y="22008"/>
                    <a:pt x="10135" y="22008"/>
                  </a:cubicBezTo>
                  <a:cubicBezTo>
                    <a:pt x="10117" y="22008"/>
                    <a:pt x="10097" y="22014"/>
                    <a:pt x="10079" y="22028"/>
                  </a:cubicBezTo>
                  <a:cubicBezTo>
                    <a:pt x="9209" y="22752"/>
                    <a:pt x="8568" y="23055"/>
                    <a:pt x="8103" y="23055"/>
                  </a:cubicBezTo>
                  <a:cubicBezTo>
                    <a:pt x="5994" y="23055"/>
                    <a:pt x="7520" y="16814"/>
                    <a:pt x="7669" y="15423"/>
                  </a:cubicBezTo>
                  <a:cubicBezTo>
                    <a:pt x="7813" y="14057"/>
                    <a:pt x="6147" y="13113"/>
                    <a:pt x="5154" y="12594"/>
                  </a:cubicBezTo>
                  <a:cubicBezTo>
                    <a:pt x="4138" y="12065"/>
                    <a:pt x="1961" y="12319"/>
                    <a:pt x="2377" y="10125"/>
                  </a:cubicBezTo>
                  <a:cubicBezTo>
                    <a:pt x="2917" y="7273"/>
                    <a:pt x="6416" y="5350"/>
                    <a:pt x="9345" y="5350"/>
                  </a:cubicBezTo>
                  <a:cubicBezTo>
                    <a:pt x="10143" y="5350"/>
                    <a:pt x="10898" y="5492"/>
                    <a:pt x="11540" y="5798"/>
                  </a:cubicBezTo>
                  <a:cubicBezTo>
                    <a:pt x="12185" y="6105"/>
                    <a:pt x="12733" y="6258"/>
                    <a:pt x="13243" y="6258"/>
                  </a:cubicBezTo>
                  <a:cubicBezTo>
                    <a:pt x="14041" y="6258"/>
                    <a:pt x="14745" y="5882"/>
                    <a:pt x="15576" y="5134"/>
                  </a:cubicBezTo>
                  <a:cubicBezTo>
                    <a:pt x="17094" y="3768"/>
                    <a:pt x="16916" y="1685"/>
                    <a:pt x="18517" y="1685"/>
                  </a:cubicBezTo>
                  <a:cubicBezTo>
                    <a:pt x="18836" y="1685"/>
                    <a:pt x="19227" y="1768"/>
                    <a:pt x="19716" y="1956"/>
                  </a:cubicBezTo>
                  <a:lnTo>
                    <a:pt x="19716" y="1956"/>
                  </a:lnTo>
                  <a:cubicBezTo>
                    <a:pt x="19716" y="1956"/>
                    <a:pt x="19716" y="1956"/>
                    <a:pt x="19716" y="1956"/>
                  </a:cubicBezTo>
                  <a:lnTo>
                    <a:pt x="19716" y="1956"/>
                  </a:lnTo>
                  <a:cubicBezTo>
                    <a:pt x="19716" y="1956"/>
                    <a:pt x="19722" y="1958"/>
                    <a:pt x="19736" y="1964"/>
                  </a:cubicBezTo>
                  <a:cubicBezTo>
                    <a:pt x="19730" y="1961"/>
                    <a:pt x="19723" y="1959"/>
                    <a:pt x="19716" y="1956"/>
                  </a:cubicBezTo>
                  <a:lnTo>
                    <a:pt x="19716" y="1956"/>
                  </a:lnTo>
                  <a:cubicBezTo>
                    <a:pt x="19723" y="1957"/>
                    <a:pt x="20154" y="2108"/>
                    <a:pt x="20398" y="2108"/>
                  </a:cubicBezTo>
                  <a:cubicBezTo>
                    <a:pt x="20449" y="2108"/>
                    <a:pt x="20493" y="2101"/>
                    <a:pt x="20522" y="2085"/>
                  </a:cubicBezTo>
                  <a:cubicBezTo>
                    <a:pt x="20715" y="2004"/>
                    <a:pt x="20897" y="1897"/>
                    <a:pt x="21062" y="1767"/>
                  </a:cubicBezTo>
                  <a:cubicBezTo>
                    <a:pt x="21070" y="1756"/>
                    <a:pt x="21079" y="1744"/>
                    <a:pt x="21088" y="1733"/>
                  </a:cubicBezTo>
                  <a:cubicBezTo>
                    <a:pt x="21282" y="1374"/>
                    <a:pt x="21414" y="1194"/>
                    <a:pt x="21484" y="1194"/>
                  </a:cubicBezTo>
                  <a:cubicBezTo>
                    <a:pt x="21615" y="1194"/>
                    <a:pt x="21534" y="1811"/>
                    <a:pt x="21243" y="3044"/>
                  </a:cubicBezTo>
                  <a:cubicBezTo>
                    <a:pt x="19465" y="5064"/>
                    <a:pt x="16985" y="6208"/>
                    <a:pt x="15412" y="8465"/>
                  </a:cubicBezTo>
                  <a:cubicBezTo>
                    <a:pt x="13371" y="11396"/>
                    <a:pt x="15432" y="16101"/>
                    <a:pt x="14127" y="19410"/>
                  </a:cubicBezTo>
                  <a:cubicBezTo>
                    <a:pt x="14076" y="19539"/>
                    <a:pt x="14182" y="19623"/>
                    <a:pt x="14292" y="19623"/>
                  </a:cubicBezTo>
                  <a:cubicBezTo>
                    <a:pt x="14364" y="19623"/>
                    <a:pt x="14437" y="19587"/>
                    <a:pt x="14471" y="19505"/>
                  </a:cubicBezTo>
                  <a:cubicBezTo>
                    <a:pt x="15210" y="17646"/>
                    <a:pt x="15391" y="16309"/>
                    <a:pt x="15241" y="14335"/>
                  </a:cubicBezTo>
                  <a:cubicBezTo>
                    <a:pt x="14964" y="10671"/>
                    <a:pt x="15533" y="8226"/>
                    <a:pt x="18406" y="5858"/>
                  </a:cubicBezTo>
                  <a:cubicBezTo>
                    <a:pt x="20403" y="4213"/>
                    <a:pt x="22664" y="2916"/>
                    <a:pt x="23022" y="180"/>
                  </a:cubicBezTo>
                  <a:cubicBezTo>
                    <a:pt x="23030" y="91"/>
                    <a:pt x="22938" y="0"/>
                    <a:pt x="228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65"/>
            <p:cNvSpPr/>
            <p:nvPr/>
          </p:nvSpPr>
          <p:spPr>
            <a:xfrm>
              <a:off x="6705250" y="2055250"/>
              <a:ext cx="527450" cy="644225"/>
            </a:xfrm>
            <a:custGeom>
              <a:avLst/>
              <a:gdLst/>
              <a:ahLst/>
              <a:cxnLst/>
              <a:rect l="l" t="t" r="r" b="b"/>
              <a:pathLst>
                <a:path w="21098" h="25769" extrusionOk="0">
                  <a:moveTo>
                    <a:pt x="20872" y="0"/>
                  </a:moveTo>
                  <a:cubicBezTo>
                    <a:pt x="20801" y="0"/>
                    <a:pt x="20735" y="40"/>
                    <a:pt x="20719" y="132"/>
                  </a:cubicBezTo>
                  <a:cubicBezTo>
                    <a:pt x="20151" y="1200"/>
                    <a:pt x="19582" y="2268"/>
                    <a:pt x="19013" y="3336"/>
                  </a:cubicBezTo>
                  <a:cubicBezTo>
                    <a:pt x="18953" y="3397"/>
                    <a:pt x="18941" y="3487"/>
                    <a:pt x="18984" y="3562"/>
                  </a:cubicBezTo>
                  <a:cubicBezTo>
                    <a:pt x="20887" y="7471"/>
                    <a:pt x="15352" y="6304"/>
                    <a:pt x="13889" y="8161"/>
                  </a:cubicBezTo>
                  <a:cubicBezTo>
                    <a:pt x="12961" y="9337"/>
                    <a:pt x="12262" y="11520"/>
                    <a:pt x="10665" y="11520"/>
                  </a:cubicBezTo>
                  <a:cubicBezTo>
                    <a:pt x="10424" y="11520"/>
                    <a:pt x="10162" y="11470"/>
                    <a:pt x="9876" y="11359"/>
                  </a:cubicBezTo>
                  <a:cubicBezTo>
                    <a:pt x="9715" y="11297"/>
                    <a:pt x="9576" y="11270"/>
                    <a:pt x="9453" y="11270"/>
                  </a:cubicBezTo>
                  <a:cubicBezTo>
                    <a:pt x="9162" y="11270"/>
                    <a:pt x="8953" y="11421"/>
                    <a:pt x="8724" y="11628"/>
                  </a:cubicBezTo>
                  <a:cubicBezTo>
                    <a:pt x="6284" y="13819"/>
                    <a:pt x="5144" y="25480"/>
                    <a:pt x="983" y="25480"/>
                  </a:cubicBezTo>
                  <a:cubicBezTo>
                    <a:pt x="703" y="25480"/>
                    <a:pt x="409" y="25427"/>
                    <a:pt x="100" y="25315"/>
                  </a:cubicBezTo>
                  <a:cubicBezTo>
                    <a:pt x="93" y="25312"/>
                    <a:pt x="85" y="25311"/>
                    <a:pt x="78" y="25311"/>
                  </a:cubicBezTo>
                  <a:cubicBezTo>
                    <a:pt x="24" y="25311"/>
                    <a:pt x="0" y="25394"/>
                    <a:pt x="51" y="25428"/>
                  </a:cubicBezTo>
                  <a:cubicBezTo>
                    <a:pt x="417" y="25666"/>
                    <a:pt x="766" y="25769"/>
                    <a:pt x="1098" y="25769"/>
                  </a:cubicBezTo>
                  <a:cubicBezTo>
                    <a:pt x="2632" y="25769"/>
                    <a:pt x="3788" y="23564"/>
                    <a:pt x="4445" y="22356"/>
                  </a:cubicBezTo>
                  <a:cubicBezTo>
                    <a:pt x="5444" y="20514"/>
                    <a:pt x="6160" y="18496"/>
                    <a:pt x="6911" y="16542"/>
                  </a:cubicBezTo>
                  <a:cubicBezTo>
                    <a:pt x="7782" y="14270"/>
                    <a:pt x="7979" y="12054"/>
                    <a:pt x="10347" y="12054"/>
                  </a:cubicBezTo>
                  <a:cubicBezTo>
                    <a:pt x="10630" y="12054"/>
                    <a:pt x="10945" y="12086"/>
                    <a:pt x="11296" y="12153"/>
                  </a:cubicBezTo>
                  <a:cubicBezTo>
                    <a:pt x="11372" y="12168"/>
                    <a:pt x="11447" y="12175"/>
                    <a:pt x="11519" y="12175"/>
                  </a:cubicBezTo>
                  <a:cubicBezTo>
                    <a:pt x="12526" y="12175"/>
                    <a:pt x="13213" y="10847"/>
                    <a:pt x="13534" y="10153"/>
                  </a:cubicBezTo>
                  <a:cubicBezTo>
                    <a:pt x="14937" y="7136"/>
                    <a:pt x="16649" y="7626"/>
                    <a:pt x="19178" y="6772"/>
                  </a:cubicBezTo>
                  <a:cubicBezTo>
                    <a:pt x="19888" y="6529"/>
                    <a:pt x="19995" y="5920"/>
                    <a:pt x="20038" y="5282"/>
                  </a:cubicBezTo>
                  <a:cubicBezTo>
                    <a:pt x="20162" y="3492"/>
                    <a:pt x="20751" y="2040"/>
                    <a:pt x="21072" y="230"/>
                  </a:cubicBezTo>
                  <a:cubicBezTo>
                    <a:pt x="21098" y="91"/>
                    <a:pt x="20979" y="0"/>
                    <a:pt x="208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65"/>
            <p:cNvSpPr/>
            <p:nvPr/>
          </p:nvSpPr>
          <p:spPr>
            <a:xfrm>
              <a:off x="5768900" y="1995950"/>
              <a:ext cx="164800" cy="211150"/>
            </a:xfrm>
            <a:custGeom>
              <a:avLst/>
              <a:gdLst/>
              <a:ahLst/>
              <a:cxnLst/>
              <a:rect l="l" t="t" r="r" b="b"/>
              <a:pathLst>
                <a:path w="6592" h="8446" extrusionOk="0">
                  <a:moveTo>
                    <a:pt x="6591" y="1"/>
                  </a:moveTo>
                  <a:lnTo>
                    <a:pt x="6591" y="1"/>
                  </a:lnTo>
                  <a:cubicBezTo>
                    <a:pt x="6233" y="442"/>
                    <a:pt x="5875" y="887"/>
                    <a:pt x="5517" y="1329"/>
                  </a:cubicBezTo>
                  <a:cubicBezTo>
                    <a:pt x="3797" y="3477"/>
                    <a:pt x="2102" y="5648"/>
                    <a:pt x="413" y="7825"/>
                  </a:cubicBezTo>
                  <a:cubicBezTo>
                    <a:pt x="277" y="8032"/>
                    <a:pt x="139" y="8240"/>
                    <a:pt x="0" y="8445"/>
                  </a:cubicBezTo>
                  <a:cubicBezTo>
                    <a:pt x="2223" y="5651"/>
                    <a:pt x="4429" y="2842"/>
                    <a:pt x="65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65"/>
            <p:cNvSpPr/>
            <p:nvPr/>
          </p:nvSpPr>
          <p:spPr>
            <a:xfrm>
              <a:off x="5705950" y="2238400"/>
              <a:ext cx="36900" cy="47575"/>
            </a:xfrm>
            <a:custGeom>
              <a:avLst/>
              <a:gdLst/>
              <a:ahLst/>
              <a:cxnLst/>
              <a:rect l="l" t="t" r="r" b="b"/>
              <a:pathLst>
                <a:path w="1476" h="1903" extrusionOk="0">
                  <a:moveTo>
                    <a:pt x="1476" y="0"/>
                  </a:moveTo>
                  <a:lnTo>
                    <a:pt x="1476" y="0"/>
                  </a:lnTo>
                  <a:cubicBezTo>
                    <a:pt x="985" y="635"/>
                    <a:pt x="494" y="1271"/>
                    <a:pt x="1" y="1903"/>
                  </a:cubicBezTo>
                  <a:cubicBezTo>
                    <a:pt x="425" y="1377"/>
                    <a:pt x="847" y="846"/>
                    <a:pt x="1268" y="318"/>
                  </a:cubicBezTo>
                  <a:lnTo>
                    <a:pt x="14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65"/>
            <p:cNvSpPr/>
            <p:nvPr/>
          </p:nvSpPr>
          <p:spPr>
            <a:xfrm>
              <a:off x="5166150" y="3442125"/>
              <a:ext cx="4425" cy="5725"/>
            </a:xfrm>
            <a:custGeom>
              <a:avLst/>
              <a:gdLst/>
              <a:ahLst/>
              <a:cxnLst/>
              <a:rect l="l" t="t" r="r" b="b"/>
              <a:pathLst>
                <a:path w="177" h="229" extrusionOk="0">
                  <a:moveTo>
                    <a:pt x="177" y="1"/>
                  </a:moveTo>
                  <a:cubicBezTo>
                    <a:pt x="108" y="76"/>
                    <a:pt x="59" y="151"/>
                    <a:pt x="1" y="229"/>
                  </a:cubicBezTo>
                  <a:cubicBezTo>
                    <a:pt x="59" y="154"/>
                    <a:pt x="119" y="76"/>
                    <a:pt x="1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65"/>
            <p:cNvSpPr/>
            <p:nvPr/>
          </p:nvSpPr>
          <p:spPr>
            <a:xfrm>
              <a:off x="5451900" y="3109550"/>
              <a:ext cx="52075" cy="70600"/>
            </a:xfrm>
            <a:custGeom>
              <a:avLst/>
              <a:gdLst/>
              <a:ahLst/>
              <a:cxnLst/>
              <a:rect l="l" t="t" r="r" b="b"/>
              <a:pathLst>
                <a:path w="2083" h="2824" extrusionOk="0">
                  <a:moveTo>
                    <a:pt x="2082" y="0"/>
                  </a:moveTo>
                  <a:cubicBezTo>
                    <a:pt x="1386" y="942"/>
                    <a:pt x="693" y="1883"/>
                    <a:pt x="0" y="2824"/>
                  </a:cubicBezTo>
                  <a:cubicBezTo>
                    <a:pt x="249" y="2492"/>
                    <a:pt x="500" y="2163"/>
                    <a:pt x="745" y="1831"/>
                  </a:cubicBezTo>
                  <a:cubicBezTo>
                    <a:pt x="1199" y="1224"/>
                    <a:pt x="1637" y="612"/>
                    <a:pt x="20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65"/>
            <p:cNvSpPr/>
            <p:nvPr/>
          </p:nvSpPr>
          <p:spPr>
            <a:xfrm>
              <a:off x="6131925" y="2028500"/>
              <a:ext cx="71475" cy="94575"/>
            </a:xfrm>
            <a:custGeom>
              <a:avLst/>
              <a:gdLst/>
              <a:ahLst/>
              <a:cxnLst/>
              <a:rect l="l" t="t" r="r" b="b"/>
              <a:pathLst>
                <a:path w="2859" h="3783" extrusionOk="0">
                  <a:moveTo>
                    <a:pt x="2859" y="1"/>
                  </a:moveTo>
                  <a:lnTo>
                    <a:pt x="2859" y="1"/>
                  </a:lnTo>
                  <a:cubicBezTo>
                    <a:pt x="1898" y="1251"/>
                    <a:pt x="945" y="2513"/>
                    <a:pt x="1" y="3783"/>
                  </a:cubicBezTo>
                  <a:cubicBezTo>
                    <a:pt x="399" y="3260"/>
                    <a:pt x="795" y="2732"/>
                    <a:pt x="1196" y="2212"/>
                  </a:cubicBezTo>
                  <a:cubicBezTo>
                    <a:pt x="1753" y="1488"/>
                    <a:pt x="2308" y="749"/>
                    <a:pt x="2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65"/>
            <p:cNvSpPr/>
            <p:nvPr/>
          </p:nvSpPr>
          <p:spPr>
            <a:xfrm>
              <a:off x="6257025" y="2090000"/>
              <a:ext cx="175750" cy="248300"/>
            </a:xfrm>
            <a:custGeom>
              <a:avLst/>
              <a:gdLst/>
              <a:ahLst/>
              <a:cxnLst/>
              <a:rect l="l" t="t" r="r" b="b"/>
              <a:pathLst>
                <a:path w="7030" h="9932" extrusionOk="0">
                  <a:moveTo>
                    <a:pt x="7030" y="1"/>
                  </a:moveTo>
                  <a:cubicBezTo>
                    <a:pt x="4631" y="3257"/>
                    <a:pt x="2295" y="6580"/>
                    <a:pt x="0" y="9932"/>
                  </a:cubicBezTo>
                  <a:cubicBezTo>
                    <a:pt x="2295" y="6791"/>
                    <a:pt x="4585" y="3650"/>
                    <a:pt x="6747" y="422"/>
                  </a:cubicBezTo>
                  <a:cubicBezTo>
                    <a:pt x="6842" y="281"/>
                    <a:pt x="6935" y="142"/>
                    <a:pt x="7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65"/>
            <p:cNvSpPr/>
            <p:nvPr/>
          </p:nvSpPr>
          <p:spPr>
            <a:xfrm>
              <a:off x="6294325" y="2124500"/>
              <a:ext cx="299850" cy="401100"/>
            </a:xfrm>
            <a:custGeom>
              <a:avLst/>
              <a:gdLst/>
              <a:ahLst/>
              <a:cxnLst/>
              <a:rect l="l" t="t" r="r" b="b"/>
              <a:pathLst>
                <a:path w="11994" h="16044" extrusionOk="0">
                  <a:moveTo>
                    <a:pt x="11993" y="1"/>
                  </a:moveTo>
                  <a:lnTo>
                    <a:pt x="11993" y="1"/>
                  </a:lnTo>
                  <a:cubicBezTo>
                    <a:pt x="10339" y="1926"/>
                    <a:pt x="8690" y="3849"/>
                    <a:pt x="7253" y="5858"/>
                  </a:cubicBezTo>
                  <a:cubicBezTo>
                    <a:pt x="4807" y="9274"/>
                    <a:pt x="2382" y="12648"/>
                    <a:pt x="1" y="16044"/>
                  </a:cubicBezTo>
                  <a:cubicBezTo>
                    <a:pt x="2128" y="13122"/>
                    <a:pt x="4328" y="10252"/>
                    <a:pt x="6496" y="7362"/>
                  </a:cubicBezTo>
                  <a:cubicBezTo>
                    <a:pt x="8341" y="4900"/>
                    <a:pt x="10099" y="2405"/>
                    <a:pt x="11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65"/>
            <p:cNvSpPr/>
            <p:nvPr/>
          </p:nvSpPr>
          <p:spPr>
            <a:xfrm>
              <a:off x="6594150" y="2032400"/>
              <a:ext cx="76950" cy="92050"/>
            </a:xfrm>
            <a:custGeom>
              <a:avLst/>
              <a:gdLst/>
              <a:ahLst/>
              <a:cxnLst/>
              <a:rect l="l" t="t" r="r" b="b"/>
              <a:pathLst>
                <a:path w="3078" h="3682" extrusionOk="0">
                  <a:moveTo>
                    <a:pt x="3078" y="1"/>
                  </a:moveTo>
                  <a:lnTo>
                    <a:pt x="3078" y="1"/>
                  </a:lnTo>
                  <a:cubicBezTo>
                    <a:pt x="2858" y="255"/>
                    <a:pt x="2648" y="503"/>
                    <a:pt x="2425" y="754"/>
                  </a:cubicBezTo>
                  <a:cubicBezTo>
                    <a:pt x="1579" y="1707"/>
                    <a:pt x="780" y="2689"/>
                    <a:pt x="0" y="3682"/>
                  </a:cubicBezTo>
                  <a:cubicBezTo>
                    <a:pt x="1045" y="2463"/>
                    <a:pt x="2082" y="1242"/>
                    <a:pt x="30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65"/>
            <p:cNvSpPr/>
            <p:nvPr/>
          </p:nvSpPr>
          <p:spPr>
            <a:xfrm>
              <a:off x="6161675" y="2525575"/>
              <a:ext cx="132675" cy="194325"/>
            </a:xfrm>
            <a:custGeom>
              <a:avLst/>
              <a:gdLst/>
              <a:ahLst/>
              <a:cxnLst/>
              <a:rect l="l" t="t" r="r" b="b"/>
              <a:pathLst>
                <a:path w="5307" h="7773" extrusionOk="0">
                  <a:moveTo>
                    <a:pt x="5307" y="1"/>
                  </a:moveTo>
                  <a:lnTo>
                    <a:pt x="5307" y="1"/>
                  </a:lnTo>
                  <a:cubicBezTo>
                    <a:pt x="3459" y="2535"/>
                    <a:pt x="1672" y="5116"/>
                    <a:pt x="0" y="7772"/>
                  </a:cubicBezTo>
                  <a:cubicBezTo>
                    <a:pt x="1733" y="5154"/>
                    <a:pt x="3499" y="2564"/>
                    <a:pt x="5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65"/>
            <p:cNvSpPr/>
            <p:nvPr/>
          </p:nvSpPr>
          <p:spPr>
            <a:xfrm>
              <a:off x="6379550" y="3041325"/>
              <a:ext cx="23100" cy="28100"/>
            </a:xfrm>
            <a:custGeom>
              <a:avLst/>
              <a:gdLst/>
              <a:ahLst/>
              <a:cxnLst/>
              <a:rect l="l" t="t" r="r" b="b"/>
              <a:pathLst>
                <a:path w="924" h="1124" extrusionOk="0">
                  <a:moveTo>
                    <a:pt x="691" y="1"/>
                  </a:moveTo>
                  <a:cubicBezTo>
                    <a:pt x="643" y="1"/>
                    <a:pt x="594" y="21"/>
                    <a:pt x="558" y="70"/>
                  </a:cubicBezTo>
                  <a:cubicBezTo>
                    <a:pt x="350" y="408"/>
                    <a:pt x="166" y="706"/>
                    <a:pt x="76" y="867"/>
                  </a:cubicBezTo>
                  <a:cubicBezTo>
                    <a:pt x="0" y="1001"/>
                    <a:pt x="116" y="1124"/>
                    <a:pt x="232" y="1124"/>
                  </a:cubicBezTo>
                  <a:cubicBezTo>
                    <a:pt x="284" y="1124"/>
                    <a:pt x="336" y="1099"/>
                    <a:pt x="371" y="1040"/>
                  </a:cubicBezTo>
                  <a:cubicBezTo>
                    <a:pt x="529" y="778"/>
                    <a:pt x="688" y="515"/>
                    <a:pt x="844" y="252"/>
                  </a:cubicBezTo>
                  <a:cubicBezTo>
                    <a:pt x="924" y="122"/>
                    <a:pt x="808" y="1"/>
                    <a:pt x="6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65"/>
            <p:cNvSpPr/>
            <p:nvPr/>
          </p:nvSpPr>
          <p:spPr>
            <a:xfrm>
              <a:off x="6393200" y="3039675"/>
              <a:ext cx="2425" cy="3650"/>
            </a:xfrm>
            <a:custGeom>
              <a:avLst/>
              <a:gdLst/>
              <a:ahLst/>
              <a:cxnLst/>
              <a:rect l="l" t="t" r="r" b="b"/>
              <a:pathLst>
                <a:path w="97" h="146" extrusionOk="0">
                  <a:moveTo>
                    <a:pt x="96" y="1"/>
                  </a:moveTo>
                  <a:cubicBezTo>
                    <a:pt x="91" y="9"/>
                    <a:pt x="85" y="18"/>
                    <a:pt x="80" y="26"/>
                  </a:cubicBezTo>
                  <a:lnTo>
                    <a:pt x="80" y="26"/>
                  </a:lnTo>
                  <a:cubicBezTo>
                    <a:pt x="86" y="18"/>
                    <a:pt x="91" y="9"/>
                    <a:pt x="96" y="1"/>
                  </a:cubicBezTo>
                  <a:close/>
                  <a:moveTo>
                    <a:pt x="80" y="26"/>
                  </a:moveTo>
                  <a:lnTo>
                    <a:pt x="80" y="26"/>
                  </a:lnTo>
                  <a:cubicBezTo>
                    <a:pt x="55" y="66"/>
                    <a:pt x="25" y="104"/>
                    <a:pt x="2" y="144"/>
                  </a:cubicBezTo>
                  <a:lnTo>
                    <a:pt x="2" y="144"/>
                  </a:lnTo>
                  <a:cubicBezTo>
                    <a:pt x="5" y="139"/>
                    <a:pt x="10" y="139"/>
                    <a:pt x="12" y="136"/>
                  </a:cubicBezTo>
                  <a:cubicBezTo>
                    <a:pt x="36" y="99"/>
                    <a:pt x="57" y="63"/>
                    <a:pt x="80" y="26"/>
                  </a:cubicBezTo>
                  <a:close/>
                  <a:moveTo>
                    <a:pt x="2" y="144"/>
                  </a:moveTo>
                  <a:cubicBezTo>
                    <a:pt x="1" y="144"/>
                    <a:pt x="1" y="145"/>
                    <a:pt x="1" y="145"/>
                  </a:cubicBezTo>
                  <a:cubicBezTo>
                    <a:pt x="1" y="145"/>
                    <a:pt x="1" y="144"/>
                    <a:pt x="2" y="14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65"/>
            <p:cNvSpPr/>
            <p:nvPr/>
          </p:nvSpPr>
          <p:spPr>
            <a:xfrm>
              <a:off x="6013550" y="3351625"/>
              <a:ext cx="475" cy="600"/>
            </a:xfrm>
            <a:custGeom>
              <a:avLst/>
              <a:gdLst/>
              <a:ahLst/>
              <a:cxnLst/>
              <a:rect l="l" t="t" r="r" b="b"/>
              <a:pathLst>
                <a:path w="19" h="24" extrusionOk="0">
                  <a:moveTo>
                    <a:pt x="18" y="0"/>
                  </a:moveTo>
                  <a:cubicBezTo>
                    <a:pt x="8" y="14"/>
                    <a:pt x="1" y="23"/>
                    <a:pt x="1" y="23"/>
                  </a:cubicBezTo>
                  <a:cubicBezTo>
                    <a:pt x="1" y="23"/>
                    <a:pt x="6" y="16"/>
                    <a:pt x="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65"/>
            <p:cNvSpPr/>
            <p:nvPr/>
          </p:nvSpPr>
          <p:spPr>
            <a:xfrm>
              <a:off x="6661050" y="2225050"/>
              <a:ext cx="3275" cy="4200"/>
            </a:xfrm>
            <a:custGeom>
              <a:avLst/>
              <a:gdLst/>
              <a:ahLst/>
              <a:cxnLst/>
              <a:rect l="l" t="t" r="r" b="b"/>
              <a:pathLst>
                <a:path w="131" h="168" extrusionOk="0">
                  <a:moveTo>
                    <a:pt x="129" y="0"/>
                  </a:moveTo>
                  <a:cubicBezTo>
                    <a:pt x="128" y="0"/>
                    <a:pt x="118" y="11"/>
                    <a:pt x="102" y="32"/>
                  </a:cubicBezTo>
                  <a:cubicBezTo>
                    <a:pt x="72" y="71"/>
                    <a:pt x="45" y="110"/>
                    <a:pt x="17" y="147"/>
                  </a:cubicBezTo>
                  <a:lnTo>
                    <a:pt x="17" y="147"/>
                  </a:lnTo>
                  <a:cubicBezTo>
                    <a:pt x="97" y="44"/>
                    <a:pt x="130" y="0"/>
                    <a:pt x="129" y="0"/>
                  </a:cubicBezTo>
                  <a:close/>
                  <a:moveTo>
                    <a:pt x="17" y="147"/>
                  </a:moveTo>
                  <a:lnTo>
                    <a:pt x="17" y="147"/>
                  </a:lnTo>
                  <a:cubicBezTo>
                    <a:pt x="12" y="153"/>
                    <a:pt x="6" y="160"/>
                    <a:pt x="0" y="168"/>
                  </a:cubicBezTo>
                  <a:cubicBezTo>
                    <a:pt x="6" y="161"/>
                    <a:pt x="11" y="154"/>
                    <a:pt x="17" y="147"/>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65"/>
            <p:cNvSpPr/>
            <p:nvPr/>
          </p:nvSpPr>
          <p:spPr>
            <a:xfrm>
              <a:off x="4492925" y="1558725"/>
              <a:ext cx="2898050" cy="2460325"/>
            </a:xfrm>
            <a:custGeom>
              <a:avLst/>
              <a:gdLst/>
              <a:ahLst/>
              <a:cxnLst/>
              <a:rect l="l" t="t" r="r" b="b"/>
              <a:pathLst>
                <a:path w="115922" h="98413" extrusionOk="0">
                  <a:moveTo>
                    <a:pt x="61043" y="3433"/>
                  </a:moveTo>
                  <a:cubicBezTo>
                    <a:pt x="61363" y="3488"/>
                    <a:pt x="61675" y="3546"/>
                    <a:pt x="61969" y="3618"/>
                  </a:cubicBezTo>
                  <a:cubicBezTo>
                    <a:pt x="61253" y="4259"/>
                    <a:pt x="60549" y="4917"/>
                    <a:pt x="59853" y="5592"/>
                  </a:cubicBezTo>
                  <a:cubicBezTo>
                    <a:pt x="60275" y="4891"/>
                    <a:pt x="60673" y="4172"/>
                    <a:pt x="61043" y="3433"/>
                  </a:cubicBezTo>
                  <a:close/>
                  <a:moveTo>
                    <a:pt x="59591" y="3190"/>
                  </a:moveTo>
                  <a:cubicBezTo>
                    <a:pt x="59881" y="3251"/>
                    <a:pt x="60186" y="3300"/>
                    <a:pt x="60491" y="3349"/>
                  </a:cubicBezTo>
                  <a:lnTo>
                    <a:pt x="60491" y="3349"/>
                  </a:lnTo>
                  <a:cubicBezTo>
                    <a:pt x="59606" y="4142"/>
                    <a:pt x="58747" y="4961"/>
                    <a:pt x="57919" y="5800"/>
                  </a:cubicBezTo>
                  <a:cubicBezTo>
                    <a:pt x="58493" y="4943"/>
                    <a:pt x="59054" y="4077"/>
                    <a:pt x="59591" y="3190"/>
                  </a:cubicBezTo>
                  <a:close/>
                  <a:moveTo>
                    <a:pt x="65678" y="2890"/>
                  </a:moveTo>
                  <a:cubicBezTo>
                    <a:pt x="65824" y="2890"/>
                    <a:pt x="65972" y="2906"/>
                    <a:pt x="66121" y="2939"/>
                  </a:cubicBezTo>
                  <a:cubicBezTo>
                    <a:pt x="64747" y="4140"/>
                    <a:pt x="63471" y="5523"/>
                    <a:pt x="62261" y="7001"/>
                  </a:cubicBezTo>
                  <a:cubicBezTo>
                    <a:pt x="62833" y="6049"/>
                    <a:pt x="63378" y="5087"/>
                    <a:pt x="63860" y="4114"/>
                  </a:cubicBezTo>
                  <a:cubicBezTo>
                    <a:pt x="63909" y="4028"/>
                    <a:pt x="63870" y="3917"/>
                    <a:pt x="63776" y="3881"/>
                  </a:cubicBezTo>
                  <a:lnTo>
                    <a:pt x="63776" y="3881"/>
                  </a:lnTo>
                  <a:cubicBezTo>
                    <a:pt x="64389" y="3222"/>
                    <a:pt x="65021" y="2890"/>
                    <a:pt x="65678" y="2890"/>
                  </a:cubicBezTo>
                  <a:close/>
                  <a:moveTo>
                    <a:pt x="58505" y="4354"/>
                  </a:moveTo>
                  <a:lnTo>
                    <a:pt x="58505" y="4354"/>
                  </a:lnTo>
                  <a:cubicBezTo>
                    <a:pt x="57985" y="5220"/>
                    <a:pt x="57431" y="6063"/>
                    <a:pt x="56865" y="6897"/>
                  </a:cubicBezTo>
                  <a:cubicBezTo>
                    <a:pt x="56380" y="7411"/>
                    <a:pt x="55904" y="7934"/>
                    <a:pt x="55436" y="8462"/>
                  </a:cubicBezTo>
                  <a:cubicBezTo>
                    <a:pt x="56724" y="6788"/>
                    <a:pt x="58095" y="5035"/>
                    <a:pt x="58505" y="4354"/>
                  </a:cubicBezTo>
                  <a:close/>
                  <a:moveTo>
                    <a:pt x="69051" y="7732"/>
                  </a:moveTo>
                  <a:cubicBezTo>
                    <a:pt x="69092" y="8159"/>
                    <a:pt x="69201" y="8578"/>
                    <a:pt x="69377" y="8970"/>
                  </a:cubicBezTo>
                  <a:cubicBezTo>
                    <a:pt x="68638" y="9626"/>
                    <a:pt x="67920" y="10304"/>
                    <a:pt x="67221" y="11006"/>
                  </a:cubicBezTo>
                  <a:cubicBezTo>
                    <a:pt x="67870" y="9946"/>
                    <a:pt x="68488" y="8861"/>
                    <a:pt x="69051" y="7732"/>
                  </a:cubicBezTo>
                  <a:close/>
                  <a:moveTo>
                    <a:pt x="84084" y="7608"/>
                  </a:moveTo>
                  <a:cubicBezTo>
                    <a:pt x="84373" y="7711"/>
                    <a:pt x="84656" y="7833"/>
                    <a:pt x="84927" y="7977"/>
                  </a:cubicBezTo>
                  <a:cubicBezTo>
                    <a:pt x="84904" y="7980"/>
                    <a:pt x="84884" y="7992"/>
                    <a:pt x="84866" y="8006"/>
                  </a:cubicBezTo>
                  <a:cubicBezTo>
                    <a:pt x="83931" y="9060"/>
                    <a:pt x="83019" y="10125"/>
                    <a:pt x="82109" y="11190"/>
                  </a:cubicBezTo>
                  <a:cubicBezTo>
                    <a:pt x="82857" y="10047"/>
                    <a:pt x="83518" y="8849"/>
                    <a:pt x="84084" y="7608"/>
                  </a:cubicBezTo>
                  <a:close/>
                  <a:moveTo>
                    <a:pt x="87444" y="9709"/>
                  </a:moveTo>
                  <a:cubicBezTo>
                    <a:pt x="87779" y="9955"/>
                    <a:pt x="88143" y="10163"/>
                    <a:pt x="88524" y="10333"/>
                  </a:cubicBezTo>
                  <a:cubicBezTo>
                    <a:pt x="88019" y="10867"/>
                    <a:pt x="87537" y="11427"/>
                    <a:pt x="87043" y="11973"/>
                  </a:cubicBezTo>
                  <a:cubicBezTo>
                    <a:pt x="87358" y="11407"/>
                    <a:pt x="87672" y="10838"/>
                    <a:pt x="87961" y="10255"/>
                  </a:cubicBezTo>
                  <a:cubicBezTo>
                    <a:pt x="88024" y="10128"/>
                    <a:pt x="87927" y="10002"/>
                    <a:pt x="87813" y="10002"/>
                  </a:cubicBezTo>
                  <a:cubicBezTo>
                    <a:pt x="87775" y="10002"/>
                    <a:pt x="87735" y="10016"/>
                    <a:pt x="87698" y="10050"/>
                  </a:cubicBezTo>
                  <a:cubicBezTo>
                    <a:pt x="86997" y="10697"/>
                    <a:pt x="86350" y="11413"/>
                    <a:pt x="85721" y="12152"/>
                  </a:cubicBezTo>
                  <a:cubicBezTo>
                    <a:pt x="86292" y="11338"/>
                    <a:pt x="86876" y="10529"/>
                    <a:pt x="87444" y="9709"/>
                  </a:cubicBezTo>
                  <a:close/>
                  <a:moveTo>
                    <a:pt x="72219" y="7833"/>
                  </a:moveTo>
                  <a:cubicBezTo>
                    <a:pt x="72233" y="7833"/>
                    <a:pt x="72247" y="7833"/>
                    <a:pt x="72262" y="7833"/>
                  </a:cubicBezTo>
                  <a:cubicBezTo>
                    <a:pt x="70729" y="9279"/>
                    <a:pt x="69250" y="10772"/>
                    <a:pt x="67830" y="12310"/>
                  </a:cubicBezTo>
                  <a:cubicBezTo>
                    <a:pt x="68442" y="11366"/>
                    <a:pt x="69040" y="10414"/>
                    <a:pt x="69626" y="9452"/>
                  </a:cubicBezTo>
                  <a:cubicBezTo>
                    <a:pt x="69654" y="9474"/>
                    <a:pt x="69686" y="9484"/>
                    <a:pt x="69718" y="9484"/>
                  </a:cubicBezTo>
                  <a:cubicBezTo>
                    <a:pt x="69767" y="9484"/>
                    <a:pt x="69816" y="9463"/>
                    <a:pt x="69854" y="9426"/>
                  </a:cubicBezTo>
                  <a:lnTo>
                    <a:pt x="69854" y="9429"/>
                  </a:lnTo>
                  <a:cubicBezTo>
                    <a:pt x="69888" y="9453"/>
                    <a:pt x="69931" y="9467"/>
                    <a:pt x="69973" y="9467"/>
                  </a:cubicBezTo>
                  <a:cubicBezTo>
                    <a:pt x="70036" y="9467"/>
                    <a:pt x="70096" y="9435"/>
                    <a:pt x="70122" y="9357"/>
                  </a:cubicBezTo>
                  <a:cubicBezTo>
                    <a:pt x="70540" y="8021"/>
                    <a:pt x="71319" y="7833"/>
                    <a:pt x="72219" y="7833"/>
                  </a:cubicBezTo>
                  <a:close/>
                  <a:moveTo>
                    <a:pt x="88876" y="10483"/>
                  </a:moveTo>
                  <a:cubicBezTo>
                    <a:pt x="89237" y="10630"/>
                    <a:pt x="89610" y="10766"/>
                    <a:pt x="89982" y="10905"/>
                  </a:cubicBezTo>
                  <a:cubicBezTo>
                    <a:pt x="89102" y="11704"/>
                    <a:pt x="88256" y="12544"/>
                    <a:pt x="87430" y="13402"/>
                  </a:cubicBezTo>
                  <a:cubicBezTo>
                    <a:pt x="87970" y="12458"/>
                    <a:pt x="88452" y="11482"/>
                    <a:pt x="88876" y="10483"/>
                  </a:cubicBezTo>
                  <a:close/>
                  <a:moveTo>
                    <a:pt x="104289" y="11818"/>
                  </a:moveTo>
                  <a:cubicBezTo>
                    <a:pt x="104309" y="11818"/>
                    <a:pt x="104330" y="11819"/>
                    <a:pt x="104351" y="11820"/>
                  </a:cubicBezTo>
                  <a:cubicBezTo>
                    <a:pt x="103669" y="12539"/>
                    <a:pt x="103026" y="13286"/>
                    <a:pt x="102393" y="14046"/>
                  </a:cubicBezTo>
                  <a:cubicBezTo>
                    <a:pt x="102720" y="13523"/>
                    <a:pt x="103002" y="12998"/>
                    <a:pt x="103282" y="12443"/>
                  </a:cubicBezTo>
                  <a:cubicBezTo>
                    <a:pt x="103511" y="11992"/>
                    <a:pt x="103868" y="11818"/>
                    <a:pt x="104289" y="11818"/>
                  </a:cubicBezTo>
                  <a:close/>
                  <a:moveTo>
                    <a:pt x="55404" y="8959"/>
                  </a:moveTo>
                  <a:cubicBezTo>
                    <a:pt x="54042" y="10812"/>
                    <a:pt x="52592" y="12608"/>
                    <a:pt x="51109" y="14375"/>
                  </a:cubicBezTo>
                  <a:cubicBezTo>
                    <a:pt x="52047" y="13119"/>
                    <a:pt x="52997" y="11872"/>
                    <a:pt x="53981" y="10648"/>
                  </a:cubicBezTo>
                  <a:cubicBezTo>
                    <a:pt x="54440" y="10073"/>
                    <a:pt x="54919" y="9513"/>
                    <a:pt x="55404" y="8959"/>
                  </a:cubicBezTo>
                  <a:close/>
                  <a:moveTo>
                    <a:pt x="102055" y="14949"/>
                  </a:moveTo>
                  <a:lnTo>
                    <a:pt x="102055" y="14949"/>
                  </a:lnTo>
                  <a:cubicBezTo>
                    <a:pt x="102054" y="14951"/>
                    <a:pt x="102053" y="14953"/>
                    <a:pt x="102051" y="14955"/>
                  </a:cubicBezTo>
                  <a:lnTo>
                    <a:pt x="102051" y="14955"/>
                  </a:lnTo>
                  <a:cubicBezTo>
                    <a:pt x="102053" y="14953"/>
                    <a:pt x="102054" y="14951"/>
                    <a:pt x="102055" y="14949"/>
                  </a:cubicBezTo>
                  <a:close/>
                  <a:moveTo>
                    <a:pt x="50733" y="10997"/>
                  </a:moveTo>
                  <a:cubicBezTo>
                    <a:pt x="49674" y="12443"/>
                    <a:pt x="48568" y="13858"/>
                    <a:pt x="47445" y="15249"/>
                  </a:cubicBezTo>
                  <a:lnTo>
                    <a:pt x="47442" y="15249"/>
                  </a:lnTo>
                  <a:cubicBezTo>
                    <a:pt x="48528" y="13823"/>
                    <a:pt x="49625" y="12406"/>
                    <a:pt x="50733" y="10997"/>
                  </a:cubicBezTo>
                  <a:close/>
                  <a:moveTo>
                    <a:pt x="86929" y="11333"/>
                  </a:moveTo>
                  <a:cubicBezTo>
                    <a:pt x="87008" y="11333"/>
                    <a:pt x="86834" y="11743"/>
                    <a:pt x="86220" y="12839"/>
                  </a:cubicBezTo>
                  <a:lnTo>
                    <a:pt x="86217" y="12839"/>
                  </a:lnTo>
                  <a:cubicBezTo>
                    <a:pt x="86191" y="12888"/>
                    <a:pt x="86160" y="12934"/>
                    <a:pt x="86134" y="12983"/>
                  </a:cubicBezTo>
                  <a:cubicBezTo>
                    <a:pt x="85366" y="13849"/>
                    <a:pt x="84615" y="14733"/>
                    <a:pt x="83876" y="15628"/>
                  </a:cubicBezTo>
                  <a:cubicBezTo>
                    <a:pt x="84061" y="15327"/>
                    <a:pt x="84254" y="15030"/>
                    <a:pt x="84436" y="14724"/>
                  </a:cubicBezTo>
                  <a:cubicBezTo>
                    <a:pt x="84900" y="13954"/>
                    <a:pt x="86727" y="11333"/>
                    <a:pt x="86929" y="11333"/>
                  </a:cubicBezTo>
                  <a:close/>
                  <a:moveTo>
                    <a:pt x="85135" y="8078"/>
                  </a:moveTo>
                  <a:cubicBezTo>
                    <a:pt x="85810" y="8459"/>
                    <a:pt x="86471" y="8953"/>
                    <a:pt x="87141" y="9478"/>
                  </a:cubicBezTo>
                  <a:cubicBezTo>
                    <a:pt x="84756" y="11429"/>
                    <a:pt x="82818" y="13748"/>
                    <a:pt x="81039" y="16204"/>
                  </a:cubicBezTo>
                  <a:lnTo>
                    <a:pt x="81039" y="16204"/>
                  </a:lnTo>
                  <a:cubicBezTo>
                    <a:pt x="82739" y="13791"/>
                    <a:pt x="84376" y="11342"/>
                    <a:pt x="85914" y="8837"/>
                  </a:cubicBezTo>
                  <a:cubicBezTo>
                    <a:pt x="85990" y="8714"/>
                    <a:pt x="85878" y="8583"/>
                    <a:pt x="85762" y="8583"/>
                  </a:cubicBezTo>
                  <a:cubicBezTo>
                    <a:pt x="85723" y="8583"/>
                    <a:pt x="85684" y="8598"/>
                    <a:pt x="85652" y="8632"/>
                  </a:cubicBezTo>
                  <a:cubicBezTo>
                    <a:pt x="84615" y="9721"/>
                    <a:pt x="83610" y="10835"/>
                    <a:pt x="82635" y="11978"/>
                  </a:cubicBezTo>
                  <a:cubicBezTo>
                    <a:pt x="83509" y="10760"/>
                    <a:pt x="84347" y="9510"/>
                    <a:pt x="85123" y="8205"/>
                  </a:cubicBezTo>
                  <a:lnTo>
                    <a:pt x="85123" y="8202"/>
                  </a:lnTo>
                  <a:cubicBezTo>
                    <a:pt x="85146" y="8165"/>
                    <a:pt x="85149" y="8119"/>
                    <a:pt x="85135" y="8078"/>
                  </a:cubicBezTo>
                  <a:close/>
                  <a:moveTo>
                    <a:pt x="103692" y="12878"/>
                  </a:moveTo>
                  <a:lnTo>
                    <a:pt x="103692" y="12878"/>
                  </a:lnTo>
                  <a:cubicBezTo>
                    <a:pt x="103709" y="12878"/>
                    <a:pt x="103679" y="12942"/>
                    <a:pt x="103588" y="13093"/>
                  </a:cubicBezTo>
                  <a:cubicBezTo>
                    <a:pt x="102616" y="14710"/>
                    <a:pt x="101351" y="16156"/>
                    <a:pt x="100066" y="17556"/>
                  </a:cubicBezTo>
                  <a:cubicBezTo>
                    <a:pt x="100723" y="16680"/>
                    <a:pt x="101380" y="15807"/>
                    <a:pt x="102051" y="14955"/>
                  </a:cubicBezTo>
                  <a:lnTo>
                    <a:pt x="102051" y="14955"/>
                  </a:lnTo>
                  <a:cubicBezTo>
                    <a:pt x="102040" y="14969"/>
                    <a:pt x="102035" y="14975"/>
                    <a:pt x="102034" y="14975"/>
                  </a:cubicBezTo>
                  <a:cubicBezTo>
                    <a:pt x="102025" y="14975"/>
                    <a:pt x="103600" y="12878"/>
                    <a:pt x="103692" y="12878"/>
                  </a:cubicBezTo>
                  <a:close/>
                  <a:moveTo>
                    <a:pt x="111392" y="17729"/>
                  </a:moveTo>
                  <a:cubicBezTo>
                    <a:pt x="111513" y="17854"/>
                    <a:pt x="111643" y="17975"/>
                    <a:pt x="111767" y="18099"/>
                  </a:cubicBezTo>
                  <a:cubicBezTo>
                    <a:pt x="110771" y="19136"/>
                    <a:pt x="110258" y="19642"/>
                    <a:pt x="110167" y="19642"/>
                  </a:cubicBezTo>
                  <a:cubicBezTo>
                    <a:pt x="110064" y="19642"/>
                    <a:pt x="110501" y="18993"/>
                    <a:pt x="111389" y="17729"/>
                  </a:cubicBezTo>
                  <a:close/>
                  <a:moveTo>
                    <a:pt x="107154" y="13298"/>
                  </a:moveTo>
                  <a:cubicBezTo>
                    <a:pt x="108193" y="14150"/>
                    <a:pt x="109085" y="15108"/>
                    <a:pt x="109328" y="15397"/>
                  </a:cubicBezTo>
                  <a:cubicBezTo>
                    <a:pt x="109946" y="16133"/>
                    <a:pt x="110535" y="16814"/>
                    <a:pt x="111144" y="17464"/>
                  </a:cubicBezTo>
                  <a:cubicBezTo>
                    <a:pt x="110730" y="17777"/>
                    <a:pt x="110330" y="18111"/>
                    <a:pt x="109930" y="18448"/>
                  </a:cubicBezTo>
                  <a:lnTo>
                    <a:pt x="109930" y="18448"/>
                  </a:lnTo>
                  <a:cubicBezTo>
                    <a:pt x="110079" y="18071"/>
                    <a:pt x="110229" y="17696"/>
                    <a:pt x="110350" y="17302"/>
                  </a:cubicBezTo>
                  <a:cubicBezTo>
                    <a:pt x="110385" y="17185"/>
                    <a:pt x="110281" y="17087"/>
                    <a:pt x="110176" y="17087"/>
                  </a:cubicBezTo>
                  <a:cubicBezTo>
                    <a:pt x="110136" y="17087"/>
                    <a:pt x="110096" y="17101"/>
                    <a:pt x="110064" y="17135"/>
                  </a:cubicBezTo>
                  <a:cubicBezTo>
                    <a:pt x="109334" y="17903"/>
                    <a:pt x="108638" y="18699"/>
                    <a:pt x="107936" y="19490"/>
                  </a:cubicBezTo>
                  <a:cubicBezTo>
                    <a:pt x="108606" y="18483"/>
                    <a:pt x="109247" y="17455"/>
                    <a:pt x="109853" y="16396"/>
                  </a:cubicBezTo>
                  <a:cubicBezTo>
                    <a:pt x="109923" y="16270"/>
                    <a:pt x="109820" y="16154"/>
                    <a:pt x="109707" y="16154"/>
                  </a:cubicBezTo>
                  <a:cubicBezTo>
                    <a:pt x="109669" y="16154"/>
                    <a:pt x="109630" y="16167"/>
                    <a:pt x="109596" y="16196"/>
                  </a:cubicBezTo>
                  <a:cubicBezTo>
                    <a:pt x="108603" y="17063"/>
                    <a:pt x="107676" y="18001"/>
                    <a:pt x="106782" y="18977"/>
                  </a:cubicBezTo>
                  <a:cubicBezTo>
                    <a:pt x="107570" y="17750"/>
                    <a:pt x="108291" y="16479"/>
                    <a:pt x="108903" y="15134"/>
                  </a:cubicBezTo>
                  <a:cubicBezTo>
                    <a:pt x="108968" y="15013"/>
                    <a:pt x="108870" y="14896"/>
                    <a:pt x="108762" y="14896"/>
                  </a:cubicBezTo>
                  <a:cubicBezTo>
                    <a:pt x="108726" y="14896"/>
                    <a:pt x="108688" y="14909"/>
                    <a:pt x="108655" y="14941"/>
                  </a:cubicBezTo>
                  <a:cubicBezTo>
                    <a:pt x="108011" y="15463"/>
                    <a:pt x="107405" y="16023"/>
                    <a:pt x="106813" y="16598"/>
                  </a:cubicBezTo>
                  <a:cubicBezTo>
                    <a:pt x="107220" y="15919"/>
                    <a:pt x="107616" y="15229"/>
                    <a:pt x="107977" y="14513"/>
                  </a:cubicBezTo>
                  <a:cubicBezTo>
                    <a:pt x="108041" y="14384"/>
                    <a:pt x="107931" y="14239"/>
                    <a:pt x="107814" y="14239"/>
                  </a:cubicBezTo>
                  <a:cubicBezTo>
                    <a:pt x="107773" y="14239"/>
                    <a:pt x="107732" y="14256"/>
                    <a:pt x="107697" y="14297"/>
                  </a:cubicBezTo>
                  <a:cubicBezTo>
                    <a:pt x="106042" y="16162"/>
                    <a:pt x="104229" y="18050"/>
                    <a:pt x="102454" y="19973"/>
                  </a:cubicBezTo>
                  <a:cubicBezTo>
                    <a:pt x="104227" y="17923"/>
                    <a:pt x="105910" y="15801"/>
                    <a:pt x="107154" y="13298"/>
                  </a:cubicBezTo>
                  <a:close/>
                  <a:moveTo>
                    <a:pt x="112036" y="18362"/>
                  </a:moveTo>
                  <a:cubicBezTo>
                    <a:pt x="112247" y="18567"/>
                    <a:pt x="112469" y="18774"/>
                    <a:pt x="112691" y="18977"/>
                  </a:cubicBezTo>
                  <a:cubicBezTo>
                    <a:pt x="112687" y="18976"/>
                    <a:pt x="112683" y="18976"/>
                    <a:pt x="112678" y="18976"/>
                  </a:cubicBezTo>
                  <a:cubicBezTo>
                    <a:pt x="112657" y="18976"/>
                    <a:pt x="112635" y="18982"/>
                    <a:pt x="112616" y="18994"/>
                  </a:cubicBezTo>
                  <a:cubicBezTo>
                    <a:pt x="111554" y="19788"/>
                    <a:pt x="111816" y="19577"/>
                    <a:pt x="110806" y="20446"/>
                  </a:cubicBezTo>
                  <a:cubicBezTo>
                    <a:pt x="111178" y="20123"/>
                    <a:pt x="111770" y="18887"/>
                    <a:pt x="112033" y="18365"/>
                  </a:cubicBezTo>
                  <a:lnTo>
                    <a:pt x="112036" y="18362"/>
                  </a:lnTo>
                  <a:close/>
                  <a:moveTo>
                    <a:pt x="58309" y="7680"/>
                  </a:moveTo>
                  <a:cubicBezTo>
                    <a:pt x="55220" y="12345"/>
                    <a:pt x="50950" y="16439"/>
                    <a:pt x="47459" y="20712"/>
                  </a:cubicBezTo>
                  <a:cubicBezTo>
                    <a:pt x="50846" y="16147"/>
                    <a:pt x="54437" y="11756"/>
                    <a:pt x="58309" y="7680"/>
                  </a:cubicBezTo>
                  <a:close/>
                  <a:moveTo>
                    <a:pt x="64978" y="14060"/>
                  </a:moveTo>
                  <a:lnTo>
                    <a:pt x="64978" y="14060"/>
                  </a:lnTo>
                  <a:cubicBezTo>
                    <a:pt x="63321" y="16430"/>
                    <a:pt x="61482" y="18685"/>
                    <a:pt x="59671" y="20948"/>
                  </a:cubicBezTo>
                  <a:cubicBezTo>
                    <a:pt x="60959" y="19104"/>
                    <a:pt x="62275" y="17279"/>
                    <a:pt x="63658" y="15501"/>
                  </a:cubicBezTo>
                  <a:cubicBezTo>
                    <a:pt x="63999" y="15062"/>
                    <a:pt x="64464" y="14568"/>
                    <a:pt x="64978" y="14060"/>
                  </a:cubicBezTo>
                  <a:close/>
                  <a:moveTo>
                    <a:pt x="112876" y="19132"/>
                  </a:moveTo>
                  <a:cubicBezTo>
                    <a:pt x="113118" y="19346"/>
                    <a:pt x="113352" y="19557"/>
                    <a:pt x="113618" y="19765"/>
                  </a:cubicBezTo>
                  <a:cubicBezTo>
                    <a:pt x="113962" y="20039"/>
                    <a:pt x="114132" y="20339"/>
                    <a:pt x="114187" y="20639"/>
                  </a:cubicBezTo>
                  <a:cubicBezTo>
                    <a:pt x="113634" y="21001"/>
                    <a:pt x="113032" y="21425"/>
                    <a:pt x="112783" y="21425"/>
                  </a:cubicBezTo>
                  <a:cubicBezTo>
                    <a:pt x="112568" y="21425"/>
                    <a:pt x="112613" y="21113"/>
                    <a:pt x="113170" y="20180"/>
                  </a:cubicBezTo>
                  <a:cubicBezTo>
                    <a:pt x="113251" y="20044"/>
                    <a:pt x="113137" y="19922"/>
                    <a:pt x="113014" y="19922"/>
                  </a:cubicBezTo>
                  <a:cubicBezTo>
                    <a:pt x="112973" y="19922"/>
                    <a:pt x="112930" y="19936"/>
                    <a:pt x="112893" y="19967"/>
                  </a:cubicBezTo>
                  <a:cubicBezTo>
                    <a:pt x="112069" y="20670"/>
                    <a:pt x="111717" y="20928"/>
                    <a:pt x="111637" y="20928"/>
                  </a:cubicBezTo>
                  <a:cubicBezTo>
                    <a:pt x="111470" y="20928"/>
                    <a:pt x="112479" y="19808"/>
                    <a:pt x="112856" y="19236"/>
                  </a:cubicBezTo>
                  <a:cubicBezTo>
                    <a:pt x="112876" y="19205"/>
                    <a:pt x="112882" y="19167"/>
                    <a:pt x="112876" y="19132"/>
                  </a:cubicBezTo>
                  <a:close/>
                  <a:moveTo>
                    <a:pt x="112032" y="19730"/>
                  </a:moveTo>
                  <a:cubicBezTo>
                    <a:pt x="112106" y="19730"/>
                    <a:pt x="111824" y="20149"/>
                    <a:pt x="110846" y="21384"/>
                  </a:cubicBezTo>
                  <a:cubicBezTo>
                    <a:pt x="110835" y="21402"/>
                    <a:pt x="110829" y="21425"/>
                    <a:pt x="110826" y="21448"/>
                  </a:cubicBezTo>
                  <a:cubicBezTo>
                    <a:pt x="110688" y="21370"/>
                    <a:pt x="110546" y="21304"/>
                    <a:pt x="110402" y="21249"/>
                  </a:cubicBezTo>
                  <a:cubicBezTo>
                    <a:pt x="110972" y="20708"/>
                    <a:pt x="111918" y="19730"/>
                    <a:pt x="112032" y="19730"/>
                  </a:cubicBezTo>
                  <a:close/>
                  <a:moveTo>
                    <a:pt x="112314" y="20826"/>
                  </a:moveTo>
                  <a:cubicBezTo>
                    <a:pt x="112392" y="20826"/>
                    <a:pt x="112197" y="21153"/>
                    <a:pt x="111767" y="22051"/>
                  </a:cubicBezTo>
                  <a:cubicBezTo>
                    <a:pt x="111701" y="22019"/>
                    <a:pt x="111637" y="21982"/>
                    <a:pt x="111574" y="21942"/>
                  </a:cubicBezTo>
                  <a:cubicBezTo>
                    <a:pt x="111375" y="21806"/>
                    <a:pt x="111233" y="21711"/>
                    <a:pt x="111112" y="21630"/>
                  </a:cubicBezTo>
                  <a:lnTo>
                    <a:pt x="111115" y="21630"/>
                  </a:lnTo>
                  <a:cubicBezTo>
                    <a:pt x="111847" y="21190"/>
                    <a:pt x="112232" y="20826"/>
                    <a:pt x="112314" y="20826"/>
                  </a:cubicBezTo>
                  <a:close/>
                  <a:moveTo>
                    <a:pt x="113767" y="21222"/>
                  </a:moveTo>
                  <a:cubicBezTo>
                    <a:pt x="113905" y="21222"/>
                    <a:pt x="113920" y="21384"/>
                    <a:pt x="113742" y="21817"/>
                  </a:cubicBezTo>
                  <a:cubicBezTo>
                    <a:pt x="113422" y="22108"/>
                    <a:pt x="113009" y="22264"/>
                    <a:pt x="112587" y="22264"/>
                  </a:cubicBezTo>
                  <a:cubicBezTo>
                    <a:pt x="112438" y="22264"/>
                    <a:pt x="112288" y="22244"/>
                    <a:pt x="112140" y="22204"/>
                  </a:cubicBezTo>
                  <a:lnTo>
                    <a:pt x="112143" y="22204"/>
                  </a:lnTo>
                  <a:cubicBezTo>
                    <a:pt x="112813" y="21792"/>
                    <a:pt x="113507" y="21222"/>
                    <a:pt x="113767" y="21222"/>
                  </a:cubicBezTo>
                  <a:close/>
                  <a:moveTo>
                    <a:pt x="109609" y="18024"/>
                  </a:moveTo>
                  <a:cubicBezTo>
                    <a:pt x="109711" y="18024"/>
                    <a:pt x="109671" y="18268"/>
                    <a:pt x="109397" y="18907"/>
                  </a:cubicBezTo>
                  <a:cubicBezTo>
                    <a:pt x="108107" y="20048"/>
                    <a:pt x="106888" y="21298"/>
                    <a:pt x="105725" y="22608"/>
                  </a:cubicBezTo>
                  <a:cubicBezTo>
                    <a:pt x="105910" y="22363"/>
                    <a:pt x="106094" y="22123"/>
                    <a:pt x="106273" y="21875"/>
                  </a:cubicBezTo>
                  <a:cubicBezTo>
                    <a:pt x="106689" y="21393"/>
                    <a:pt x="107093" y="20899"/>
                    <a:pt x="107512" y="20420"/>
                  </a:cubicBezTo>
                  <a:cubicBezTo>
                    <a:pt x="107964" y="19902"/>
                    <a:pt x="109329" y="18024"/>
                    <a:pt x="109609" y="18024"/>
                  </a:cubicBezTo>
                  <a:close/>
                  <a:moveTo>
                    <a:pt x="63918" y="17279"/>
                  </a:moveTo>
                  <a:lnTo>
                    <a:pt x="63918" y="17279"/>
                  </a:lnTo>
                  <a:cubicBezTo>
                    <a:pt x="62431" y="19234"/>
                    <a:pt x="60890" y="21153"/>
                    <a:pt x="59354" y="23067"/>
                  </a:cubicBezTo>
                  <a:cubicBezTo>
                    <a:pt x="60823" y="21096"/>
                    <a:pt x="62353" y="19173"/>
                    <a:pt x="63918" y="17279"/>
                  </a:cubicBezTo>
                  <a:close/>
                  <a:moveTo>
                    <a:pt x="71488" y="9475"/>
                  </a:moveTo>
                  <a:lnTo>
                    <a:pt x="71488" y="9475"/>
                  </a:lnTo>
                  <a:cubicBezTo>
                    <a:pt x="70731" y="10740"/>
                    <a:pt x="69943" y="11990"/>
                    <a:pt x="69123" y="13220"/>
                  </a:cubicBezTo>
                  <a:cubicBezTo>
                    <a:pt x="67169" y="15864"/>
                    <a:pt x="65238" y="18529"/>
                    <a:pt x="63329" y="21211"/>
                  </a:cubicBezTo>
                  <a:cubicBezTo>
                    <a:pt x="62784" y="21916"/>
                    <a:pt x="62232" y="22620"/>
                    <a:pt x="61678" y="23319"/>
                  </a:cubicBezTo>
                  <a:cubicBezTo>
                    <a:pt x="63768" y="20362"/>
                    <a:pt x="65838" y="17395"/>
                    <a:pt x="67798" y="14349"/>
                  </a:cubicBezTo>
                  <a:cubicBezTo>
                    <a:pt x="68142" y="13815"/>
                    <a:pt x="68832" y="12492"/>
                    <a:pt x="69574" y="11364"/>
                  </a:cubicBezTo>
                  <a:cubicBezTo>
                    <a:pt x="70264" y="10731"/>
                    <a:pt x="70899" y="10108"/>
                    <a:pt x="71384" y="9519"/>
                  </a:cubicBezTo>
                  <a:cubicBezTo>
                    <a:pt x="71401" y="9513"/>
                    <a:pt x="71419" y="9504"/>
                    <a:pt x="71436" y="9504"/>
                  </a:cubicBezTo>
                  <a:cubicBezTo>
                    <a:pt x="71456" y="9499"/>
                    <a:pt x="71473" y="9490"/>
                    <a:pt x="71488" y="9475"/>
                  </a:cubicBezTo>
                  <a:close/>
                  <a:moveTo>
                    <a:pt x="101022" y="19684"/>
                  </a:moveTo>
                  <a:lnTo>
                    <a:pt x="101022" y="19684"/>
                  </a:lnTo>
                  <a:cubicBezTo>
                    <a:pt x="100522" y="20411"/>
                    <a:pt x="100029" y="21148"/>
                    <a:pt x="99526" y="21884"/>
                  </a:cubicBezTo>
                  <a:lnTo>
                    <a:pt x="99526" y="21881"/>
                  </a:lnTo>
                  <a:cubicBezTo>
                    <a:pt x="99483" y="21944"/>
                    <a:pt x="99425" y="22025"/>
                    <a:pt x="99359" y="22118"/>
                  </a:cubicBezTo>
                  <a:cubicBezTo>
                    <a:pt x="98836" y="22721"/>
                    <a:pt x="98305" y="23310"/>
                    <a:pt x="97754" y="23887"/>
                  </a:cubicBezTo>
                  <a:cubicBezTo>
                    <a:pt x="98779" y="22444"/>
                    <a:pt x="99882" y="21049"/>
                    <a:pt x="101022" y="19684"/>
                  </a:cubicBezTo>
                  <a:close/>
                  <a:moveTo>
                    <a:pt x="55740" y="2785"/>
                  </a:moveTo>
                  <a:lnTo>
                    <a:pt x="55740" y="2785"/>
                  </a:lnTo>
                  <a:cubicBezTo>
                    <a:pt x="55134" y="4169"/>
                    <a:pt x="54344" y="5473"/>
                    <a:pt x="53577" y="6770"/>
                  </a:cubicBezTo>
                  <a:cubicBezTo>
                    <a:pt x="53412" y="7050"/>
                    <a:pt x="53225" y="7319"/>
                    <a:pt x="53051" y="7593"/>
                  </a:cubicBezTo>
                  <a:lnTo>
                    <a:pt x="53049" y="7593"/>
                  </a:lnTo>
                  <a:cubicBezTo>
                    <a:pt x="48776" y="12752"/>
                    <a:pt x="44725" y="18108"/>
                    <a:pt x="40796" y="23552"/>
                  </a:cubicBezTo>
                  <a:cubicBezTo>
                    <a:pt x="40701" y="23674"/>
                    <a:pt x="40603" y="23795"/>
                    <a:pt x="40507" y="23916"/>
                  </a:cubicBezTo>
                  <a:cubicBezTo>
                    <a:pt x="40513" y="23908"/>
                    <a:pt x="40519" y="23899"/>
                    <a:pt x="40528" y="23890"/>
                  </a:cubicBezTo>
                  <a:cubicBezTo>
                    <a:pt x="44497" y="18209"/>
                    <a:pt x="48730" y="12715"/>
                    <a:pt x="52656" y="7001"/>
                  </a:cubicBezTo>
                  <a:cubicBezTo>
                    <a:pt x="53495" y="5784"/>
                    <a:pt x="55169" y="4087"/>
                    <a:pt x="55740" y="2785"/>
                  </a:cubicBezTo>
                  <a:close/>
                  <a:moveTo>
                    <a:pt x="79755" y="8431"/>
                  </a:moveTo>
                  <a:cubicBezTo>
                    <a:pt x="79287" y="9074"/>
                    <a:pt x="78316" y="10792"/>
                    <a:pt x="77328" y="12412"/>
                  </a:cubicBezTo>
                  <a:cubicBezTo>
                    <a:pt x="76861" y="13110"/>
                    <a:pt x="76407" y="13823"/>
                    <a:pt x="75966" y="14531"/>
                  </a:cubicBezTo>
                  <a:cubicBezTo>
                    <a:pt x="75908" y="14614"/>
                    <a:pt x="75850" y="14698"/>
                    <a:pt x="75795" y="14773"/>
                  </a:cubicBezTo>
                  <a:cubicBezTo>
                    <a:pt x="73292" y="18209"/>
                    <a:pt x="70388" y="21361"/>
                    <a:pt x="67634" y="24595"/>
                  </a:cubicBezTo>
                  <a:cubicBezTo>
                    <a:pt x="67605" y="24632"/>
                    <a:pt x="67573" y="24670"/>
                    <a:pt x="67541" y="24707"/>
                  </a:cubicBezTo>
                  <a:cubicBezTo>
                    <a:pt x="71636" y="19295"/>
                    <a:pt x="75750" y="13900"/>
                    <a:pt x="79755" y="8431"/>
                  </a:cubicBezTo>
                  <a:close/>
                  <a:moveTo>
                    <a:pt x="101781" y="14776"/>
                  </a:moveTo>
                  <a:lnTo>
                    <a:pt x="101781" y="14776"/>
                  </a:lnTo>
                  <a:cubicBezTo>
                    <a:pt x="100150" y="16794"/>
                    <a:pt x="98623" y="18896"/>
                    <a:pt x="97000" y="20922"/>
                  </a:cubicBezTo>
                  <a:cubicBezTo>
                    <a:pt x="96368" y="21636"/>
                    <a:pt x="95759" y="22360"/>
                    <a:pt x="95167" y="23099"/>
                  </a:cubicBezTo>
                  <a:cubicBezTo>
                    <a:pt x="94815" y="23495"/>
                    <a:pt x="94463" y="23893"/>
                    <a:pt x="94096" y="24274"/>
                  </a:cubicBezTo>
                  <a:cubicBezTo>
                    <a:pt x="93851" y="24537"/>
                    <a:pt x="93224" y="24996"/>
                    <a:pt x="92583" y="25443"/>
                  </a:cubicBezTo>
                  <a:lnTo>
                    <a:pt x="92583" y="25441"/>
                  </a:lnTo>
                  <a:cubicBezTo>
                    <a:pt x="93123" y="24785"/>
                    <a:pt x="93663" y="24124"/>
                    <a:pt x="94197" y="23457"/>
                  </a:cubicBezTo>
                  <a:cubicBezTo>
                    <a:pt x="96351" y="20769"/>
                    <a:pt x="99039" y="18310"/>
                    <a:pt x="100716" y="15290"/>
                  </a:cubicBezTo>
                  <a:cubicBezTo>
                    <a:pt x="100725" y="15273"/>
                    <a:pt x="100727" y="15252"/>
                    <a:pt x="100727" y="15232"/>
                  </a:cubicBezTo>
                  <a:cubicBezTo>
                    <a:pt x="101120" y="15143"/>
                    <a:pt x="101472" y="15010"/>
                    <a:pt x="101781" y="14776"/>
                  </a:cubicBezTo>
                  <a:close/>
                  <a:moveTo>
                    <a:pt x="104677" y="11854"/>
                  </a:moveTo>
                  <a:lnTo>
                    <a:pt x="104677" y="11854"/>
                  </a:lnTo>
                  <a:cubicBezTo>
                    <a:pt x="104948" y="11918"/>
                    <a:pt x="105208" y="12016"/>
                    <a:pt x="105453" y="12143"/>
                  </a:cubicBezTo>
                  <a:cubicBezTo>
                    <a:pt x="103349" y="15059"/>
                    <a:pt x="101215" y="17943"/>
                    <a:pt x="98917" y="20715"/>
                  </a:cubicBezTo>
                  <a:cubicBezTo>
                    <a:pt x="97575" y="22334"/>
                    <a:pt x="94177" y="24690"/>
                    <a:pt x="93429" y="25989"/>
                  </a:cubicBezTo>
                  <a:lnTo>
                    <a:pt x="93429" y="25986"/>
                  </a:lnTo>
                  <a:cubicBezTo>
                    <a:pt x="93802" y="25340"/>
                    <a:pt x="94206" y="24716"/>
                    <a:pt x="94639" y="24113"/>
                  </a:cubicBezTo>
                  <a:cubicBezTo>
                    <a:pt x="96195" y="22548"/>
                    <a:pt x="97592" y="20816"/>
                    <a:pt x="98940" y="19043"/>
                  </a:cubicBezTo>
                  <a:cubicBezTo>
                    <a:pt x="101005" y="16814"/>
                    <a:pt x="103089" y="14594"/>
                    <a:pt x="104665" y="11987"/>
                  </a:cubicBezTo>
                  <a:cubicBezTo>
                    <a:pt x="104688" y="11947"/>
                    <a:pt x="104694" y="11898"/>
                    <a:pt x="104677" y="11854"/>
                  </a:cubicBezTo>
                  <a:close/>
                  <a:moveTo>
                    <a:pt x="99397" y="16199"/>
                  </a:moveTo>
                  <a:lnTo>
                    <a:pt x="99397" y="16199"/>
                  </a:lnTo>
                  <a:cubicBezTo>
                    <a:pt x="97635" y="17767"/>
                    <a:pt x="95438" y="21361"/>
                    <a:pt x="93960" y="23220"/>
                  </a:cubicBezTo>
                  <a:cubicBezTo>
                    <a:pt x="93187" y="24193"/>
                    <a:pt x="92401" y="25155"/>
                    <a:pt x="91605" y="26105"/>
                  </a:cubicBezTo>
                  <a:cubicBezTo>
                    <a:pt x="91426" y="26229"/>
                    <a:pt x="91264" y="26336"/>
                    <a:pt x="91134" y="26419"/>
                  </a:cubicBezTo>
                  <a:lnTo>
                    <a:pt x="91134" y="26416"/>
                  </a:lnTo>
                  <a:cubicBezTo>
                    <a:pt x="92866" y="24159"/>
                    <a:pt x="94627" y="21615"/>
                    <a:pt x="96102" y="19202"/>
                  </a:cubicBezTo>
                  <a:cubicBezTo>
                    <a:pt x="97119" y="18113"/>
                    <a:pt x="98219" y="17109"/>
                    <a:pt x="99397" y="16199"/>
                  </a:cubicBezTo>
                  <a:close/>
                  <a:moveTo>
                    <a:pt x="105760" y="12310"/>
                  </a:moveTo>
                  <a:cubicBezTo>
                    <a:pt x="106149" y="12539"/>
                    <a:pt x="106525" y="12793"/>
                    <a:pt x="106877" y="13073"/>
                  </a:cubicBezTo>
                  <a:cubicBezTo>
                    <a:pt x="106591" y="13286"/>
                    <a:pt x="106322" y="13511"/>
                    <a:pt x="106060" y="13740"/>
                  </a:cubicBezTo>
                  <a:cubicBezTo>
                    <a:pt x="106172" y="13575"/>
                    <a:pt x="106285" y="13413"/>
                    <a:pt x="106398" y="13252"/>
                  </a:cubicBezTo>
                  <a:cubicBezTo>
                    <a:pt x="106482" y="13128"/>
                    <a:pt x="106356" y="12982"/>
                    <a:pt x="106235" y="12982"/>
                  </a:cubicBezTo>
                  <a:cubicBezTo>
                    <a:pt x="106194" y="12982"/>
                    <a:pt x="106154" y="12999"/>
                    <a:pt x="106123" y="13038"/>
                  </a:cubicBezTo>
                  <a:cubicBezTo>
                    <a:pt x="102887" y="17057"/>
                    <a:pt x="99431" y="20879"/>
                    <a:pt x="96495" y="25120"/>
                  </a:cubicBezTo>
                  <a:cubicBezTo>
                    <a:pt x="96273" y="25331"/>
                    <a:pt x="96065" y="25553"/>
                    <a:pt x="95840" y="25758"/>
                  </a:cubicBezTo>
                  <a:cubicBezTo>
                    <a:pt x="95327" y="26227"/>
                    <a:pt x="95067" y="26419"/>
                    <a:pt x="94986" y="26419"/>
                  </a:cubicBezTo>
                  <a:cubicBezTo>
                    <a:pt x="94643" y="26419"/>
                    <a:pt x="97473" y="23000"/>
                    <a:pt x="97858" y="22530"/>
                  </a:cubicBezTo>
                  <a:cubicBezTo>
                    <a:pt x="98888" y="21272"/>
                    <a:pt x="99942" y="20030"/>
                    <a:pt x="100982" y="18777"/>
                  </a:cubicBezTo>
                  <a:cubicBezTo>
                    <a:pt x="102696" y="16705"/>
                    <a:pt x="104293" y="14568"/>
                    <a:pt x="105760" y="12310"/>
                  </a:cubicBezTo>
                  <a:close/>
                  <a:moveTo>
                    <a:pt x="94734" y="16888"/>
                  </a:moveTo>
                  <a:cubicBezTo>
                    <a:pt x="94764" y="16888"/>
                    <a:pt x="94757" y="16933"/>
                    <a:pt x="94699" y="17037"/>
                  </a:cubicBezTo>
                  <a:lnTo>
                    <a:pt x="94699" y="17034"/>
                  </a:lnTo>
                  <a:cubicBezTo>
                    <a:pt x="92933" y="20238"/>
                    <a:pt x="90404" y="23021"/>
                    <a:pt x="87961" y="25718"/>
                  </a:cubicBezTo>
                  <a:cubicBezTo>
                    <a:pt x="87288" y="26457"/>
                    <a:pt x="86596" y="27176"/>
                    <a:pt x="85900" y="27892"/>
                  </a:cubicBezTo>
                  <a:cubicBezTo>
                    <a:pt x="86344" y="27303"/>
                    <a:pt x="86725" y="26809"/>
                    <a:pt x="86827" y="26682"/>
                  </a:cubicBezTo>
                  <a:cubicBezTo>
                    <a:pt x="87620" y="25648"/>
                    <a:pt x="88394" y="24603"/>
                    <a:pt x="89148" y="23544"/>
                  </a:cubicBezTo>
                  <a:cubicBezTo>
                    <a:pt x="90274" y="21965"/>
                    <a:pt x="91388" y="20414"/>
                    <a:pt x="92612" y="18904"/>
                  </a:cubicBezTo>
                  <a:lnTo>
                    <a:pt x="92612" y="18904"/>
                  </a:lnTo>
                  <a:cubicBezTo>
                    <a:pt x="92602" y="18917"/>
                    <a:pt x="92598" y="18923"/>
                    <a:pt x="92600" y="18923"/>
                  </a:cubicBezTo>
                  <a:cubicBezTo>
                    <a:pt x="92627" y="18923"/>
                    <a:pt x="94532" y="16888"/>
                    <a:pt x="94734" y="16888"/>
                  </a:cubicBezTo>
                  <a:close/>
                  <a:moveTo>
                    <a:pt x="85172" y="14597"/>
                  </a:moveTo>
                  <a:cubicBezTo>
                    <a:pt x="82300" y="19234"/>
                    <a:pt x="78653" y="23495"/>
                    <a:pt x="75434" y="27897"/>
                  </a:cubicBezTo>
                  <a:lnTo>
                    <a:pt x="75434" y="27897"/>
                  </a:lnTo>
                  <a:cubicBezTo>
                    <a:pt x="77464" y="24953"/>
                    <a:pt x="79499" y="22014"/>
                    <a:pt x="81613" y="19127"/>
                  </a:cubicBezTo>
                  <a:cubicBezTo>
                    <a:pt x="82747" y="17574"/>
                    <a:pt x="83948" y="16081"/>
                    <a:pt x="85172" y="14597"/>
                  </a:cubicBezTo>
                  <a:close/>
                  <a:moveTo>
                    <a:pt x="92666" y="14951"/>
                  </a:moveTo>
                  <a:cubicBezTo>
                    <a:pt x="92900" y="14951"/>
                    <a:pt x="91331" y="17215"/>
                    <a:pt x="90998" y="17654"/>
                  </a:cubicBezTo>
                  <a:cubicBezTo>
                    <a:pt x="88914" y="20383"/>
                    <a:pt x="86956" y="23203"/>
                    <a:pt x="84783" y="25862"/>
                  </a:cubicBezTo>
                  <a:cubicBezTo>
                    <a:pt x="84185" y="26595"/>
                    <a:pt x="83532" y="27271"/>
                    <a:pt x="82866" y="27929"/>
                  </a:cubicBezTo>
                  <a:cubicBezTo>
                    <a:pt x="83657" y="26180"/>
                    <a:pt x="84705" y="24520"/>
                    <a:pt x="85859" y="22938"/>
                  </a:cubicBezTo>
                  <a:cubicBezTo>
                    <a:pt x="86879" y="21713"/>
                    <a:pt x="87877" y="20478"/>
                    <a:pt x="88795" y="19196"/>
                  </a:cubicBezTo>
                  <a:lnTo>
                    <a:pt x="89041" y="18896"/>
                  </a:lnTo>
                  <a:cubicBezTo>
                    <a:pt x="89913" y="17842"/>
                    <a:pt x="90837" y="16829"/>
                    <a:pt x="91755" y="15815"/>
                  </a:cubicBezTo>
                  <a:cubicBezTo>
                    <a:pt x="92321" y="15192"/>
                    <a:pt x="92589" y="14951"/>
                    <a:pt x="92666" y="14951"/>
                  </a:cubicBezTo>
                  <a:close/>
                  <a:moveTo>
                    <a:pt x="90544" y="20084"/>
                  </a:moveTo>
                  <a:cubicBezTo>
                    <a:pt x="90414" y="20267"/>
                    <a:pt x="90282" y="20448"/>
                    <a:pt x="90152" y="20631"/>
                  </a:cubicBezTo>
                  <a:cubicBezTo>
                    <a:pt x="89012" y="22259"/>
                    <a:pt x="87849" y="23856"/>
                    <a:pt x="86622" y="25426"/>
                  </a:cubicBezTo>
                  <a:cubicBezTo>
                    <a:pt x="86012" y="26185"/>
                    <a:pt x="85374" y="26916"/>
                    <a:pt x="84707" y="27623"/>
                  </a:cubicBezTo>
                  <a:cubicBezTo>
                    <a:pt x="84563" y="27949"/>
                    <a:pt x="84399" y="28186"/>
                    <a:pt x="84222" y="28354"/>
                  </a:cubicBezTo>
                  <a:cubicBezTo>
                    <a:pt x="84344" y="28134"/>
                    <a:pt x="84456" y="27938"/>
                    <a:pt x="84531" y="27802"/>
                  </a:cubicBezTo>
                  <a:cubicBezTo>
                    <a:pt x="86111" y="24957"/>
                    <a:pt x="88344" y="22532"/>
                    <a:pt x="90544" y="20084"/>
                  </a:cubicBezTo>
                  <a:close/>
                  <a:moveTo>
                    <a:pt x="92396" y="12207"/>
                  </a:moveTo>
                  <a:cubicBezTo>
                    <a:pt x="92814" y="12582"/>
                    <a:pt x="93146" y="13044"/>
                    <a:pt x="93371" y="13558"/>
                  </a:cubicBezTo>
                  <a:cubicBezTo>
                    <a:pt x="93594" y="14080"/>
                    <a:pt x="93955" y="14531"/>
                    <a:pt x="94414" y="14865"/>
                  </a:cubicBezTo>
                  <a:cubicBezTo>
                    <a:pt x="93337" y="16202"/>
                    <a:pt x="92326" y="17585"/>
                    <a:pt x="91330" y="18979"/>
                  </a:cubicBezTo>
                  <a:cubicBezTo>
                    <a:pt x="88689" y="22118"/>
                    <a:pt x="85776" y="24993"/>
                    <a:pt x="83821" y="28596"/>
                  </a:cubicBezTo>
                  <a:cubicBezTo>
                    <a:pt x="83751" y="28617"/>
                    <a:pt x="83679" y="28627"/>
                    <a:pt x="83605" y="28627"/>
                  </a:cubicBezTo>
                  <a:cubicBezTo>
                    <a:pt x="83375" y="28627"/>
                    <a:pt x="83124" y="28530"/>
                    <a:pt x="82854" y="28345"/>
                  </a:cubicBezTo>
                  <a:lnTo>
                    <a:pt x="82854" y="28342"/>
                  </a:lnTo>
                  <a:cubicBezTo>
                    <a:pt x="84335" y="26919"/>
                    <a:pt x="85663" y="25340"/>
                    <a:pt x="86913" y="23671"/>
                  </a:cubicBezTo>
                  <a:cubicBezTo>
                    <a:pt x="89061" y="20795"/>
                    <a:pt x="92722" y="17559"/>
                    <a:pt x="93464" y="13985"/>
                  </a:cubicBezTo>
                  <a:cubicBezTo>
                    <a:pt x="93482" y="13891"/>
                    <a:pt x="93405" y="13807"/>
                    <a:pt x="93323" y="13807"/>
                  </a:cubicBezTo>
                  <a:cubicBezTo>
                    <a:pt x="93291" y="13807"/>
                    <a:pt x="93258" y="13819"/>
                    <a:pt x="93230" y="13849"/>
                  </a:cubicBezTo>
                  <a:cubicBezTo>
                    <a:pt x="92193" y="14941"/>
                    <a:pt x="91148" y="16055"/>
                    <a:pt x="90123" y="17195"/>
                  </a:cubicBezTo>
                  <a:cubicBezTo>
                    <a:pt x="91068" y="15642"/>
                    <a:pt x="91856" y="14002"/>
                    <a:pt x="92396" y="12207"/>
                  </a:cubicBezTo>
                  <a:close/>
                  <a:moveTo>
                    <a:pt x="65801" y="3548"/>
                  </a:moveTo>
                  <a:cubicBezTo>
                    <a:pt x="65939" y="3548"/>
                    <a:pt x="64792" y="5298"/>
                    <a:pt x="64793" y="5298"/>
                  </a:cubicBezTo>
                  <a:cubicBezTo>
                    <a:pt x="64793" y="5298"/>
                    <a:pt x="64793" y="5298"/>
                    <a:pt x="64793" y="5298"/>
                  </a:cubicBezTo>
                  <a:lnTo>
                    <a:pt x="64793" y="5298"/>
                  </a:lnTo>
                  <a:cubicBezTo>
                    <a:pt x="63390" y="7469"/>
                    <a:pt x="61715" y="9464"/>
                    <a:pt x="60090" y="11465"/>
                  </a:cubicBezTo>
                  <a:cubicBezTo>
                    <a:pt x="55351" y="17297"/>
                    <a:pt x="50759" y="23326"/>
                    <a:pt x="46357" y="29484"/>
                  </a:cubicBezTo>
                  <a:lnTo>
                    <a:pt x="46357" y="29484"/>
                  </a:lnTo>
                  <a:cubicBezTo>
                    <a:pt x="46424" y="29388"/>
                    <a:pt x="46491" y="29292"/>
                    <a:pt x="46559" y="29197"/>
                  </a:cubicBezTo>
                  <a:cubicBezTo>
                    <a:pt x="50866" y="23067"/>
                    <a:pt x="55136" y="16904"/>
                    <a:pt x="59891" y="11112"/>
                  </a:cubicBezTo>
                  <a:cubicBezTo>
                    <a:pt x="61637" y="8988"/>
                    <a:pt x="63170" y="6739"/>
                    <a:pt x="64882" y="4588"/>
                  </a:cubicBezTo>
                  <a:cubicBezTo>
                    <a:pt x="65491" y="3822"/>
                    <a:pt x="65747" y="3548"/>
                    <a:pt x="65801" y="3548"/>
                  </a:cubicBezTo>
                  <a:close/>
                  <a:moveTo>
                    <a:pt x="84145" y="24987"/>
                  </a:moveTo>
                  <a:lnTo>
                    <a:pt x="84145" y="24987"/>
                  </a:lnTo>
                  <a:cubicBezTo>
                    <a:pt x="83460" y="26107"/>
                    <a:pt x="82848" y="27271"/>
                    <a:pt x="82314" y="28469"/>
                  </a:cubicBezTo>
                  <a:cubicBezTo>
                    <a:pt x="82118" y="28657"/>
                    <a:pt x="81927" y="28850"/>
                    <a:pt x="81728" y="29038"/>
                  </a:cubicBezTo>
                  <a:lnTo>
                    <a:pt x="81725" y="29035"/>
                  </a:lnTo>
                  <a:cubicBezTo>
                    <a:pt x="81197" y="29531"/>
                    <a:pt x="80921" y="29734"/>
                    <a:pt x="80825" y="29734"/>
                  </a:cubicBezTo>
                  <a:cubicBezTo>
                    <a:pt x="80424" y="29734"/>
                    <a:pt x="83152" y="26191"/>
                    <a:pt x="83697" y="25527"/>
                  </a:cubicBezTo>
                  <a:cubicBezTo>
                    <a:pt x="83844" y="25348"/>
                    <a:pt x="83994" y="25166"/>
                    <a:pt x="84145" y="24987"/>
                  </a:cubicBezTo>
                  <a:close/>
                  <a:moveTo>
                    <a:pt x="94676" y="15039"/>
                  </a:moveTo>
                  <a:cubicBezTo>
                    <a:pt x="95427" y="15480"/>
                    <a:pt x="96349" y="15622"/>
                    <a:pt x="97293" y="15622"/>
                  </a:cubicBezTo>
                  <a:cubicBezTo>
                    <a:pt x="98252" y="15622"/>
                    <a:pt x="99234" y="15476"/>
                    <a:pt x="100084" y="15348"/>
                  </a:cubicBezTo>
                  <a:lnTo>
                    <a:pt x="100084" y="15348"/>
                  </a:lnTo>
                  <a:cubicBezTo>
                    <a:pt x="98932" y="16104"/>
                    <a:pt x="97855" y="16964"/>
                    <a:pt x="96865" y="17923"/>
                  </a:cubicBezTo>
                  <a:cubicBezTo>
                    <a:pt x="97168" y="17400"/>
                    <a:pt x="97456" y="16886"/>
                    <a:pt x="97722" y="16390"/>
                  </a:cubicBezTo>
                  <a:cubicBezTo>
                    <a:pt x="97784" y="16274"/>
                    <a:pt x="97684" y="16144"/>
                    <a:pt x="97577" y="16144"/>
                  </a:cubicBezTo>
                  <a:cubicBezTo>
                    <a:pt x="97540" y="16144"/>
                    <a:pt x="97503" y="16159"/>
                    <a:pt x="97471" y="16196"/>
                  </a:cubicBezTo>
                  <a:cubicBezTo>
                    <a:pt x="96746" y="17016"/>
                    <a:pt x="96053" y="17865"/>
                    <a:pt x="95355" y="18705"/>
                  </a:cubicBezTo>
                  <a:cubicBezTo>
                    <a:pt x="95909" y="17856"/>
                    <a:pt x="96446" y="16987"/>
                    <a:pt x="96934" y="16078"/>
                  </a:cubicBezTo>
                  <a:lnTo>
                    <a:pt x="96934" y="16075"/>
                  </a:lnTo>
                  <a:cubicBezTo>
                    <a:pt x="96996" y="15957"/>
                    <a:pt x="96897" y="15831"/>
                    <a:pt x="96789" y="15831"/>
                  </a:cubicBezTo>
                  <a:cubicBezTo>
                    <a:pt x="96752" y="15831"/>
                    <a:pt x="96713" y="15846"/>
                    <a:pt x="96680" y="15882"/>
                  </a:cubicBezTo>
                  <a:cubicBezTo>
                    <a:pt x="92471" y="20307"/>
                    <a:pt x="89364" y="25637"/>
                    <a:pt x="84933" y="29863"/>
                  </a:cubicBezTo>
                  <a:cubicBezTo>
                    <a:pt x="84551" y="30227"/>
                    <a:pt x="84351" y="30378"/>
                    <a:pt x="84283" y="30378"/>
                  </a:cubicBezTo>
                  <a:cubicBezTo>
                    <a:pt x="84181" y="30378"/>
                    <a:pt x="84371" y="30043"/>
                    <a:pt x="84687" y="29575"/>
                  </a:cubicBezTo>
                  <a:cubicBezTo>
                    <a:pt x="88813" y="25403"/>
                    <a:pt x="92817" y="21084"/>
                    <a:pt x="95669" y="15916"/>
                  </a:cubicBezTo>
                  <a:cubicBezTo>
                    <a:pt x="95734" y="15795"/>
                    <a:pt x="95639" y="15689"/>
                    <a:pt x="95533" y="15689"/>
                  </a:cubicBezTo>
                  <a:cubicBezTo>
                    <a:pt x="95497" y="15689"/>
                    <a:pt x="95460" y="15701"/>
                    <a:pt x="95427" y="15729"/>
                  </a:cubicBezTo>
                  <a:cubicBezTo>
                    <a:pt x="92791" y="17934"/>
                    <a:pt x="90851" y="20599"/>
                    <a:pt x="88879" y="23385"/>
                  </a:cubicBezTo>
                  <a:cubicBezTo>
                    <a:pt x="87456" y="25394"/>
                    <a:pt x="85631" y="27219"/>
                    <a:pt x="84439" y="29378"/>
                  </a:cubicBezTo>
                  <a:cubicBezTo>
                    <a:pt x="83961" y="29844"/>
                    <a:pt x="83702" y="30026"/>
                    <a:pt x="83587" y="30026"/>
                  </a:cubicBezTo>
                  <a:cubicBezTo>
                    <a:pt x="83353" y="30026"/>
                    <a:pt x="83728" y="29261"/>
                    <a:pt x="84093" y="28590"/>
                  </a:cubicBezTo>
                  <a:cubicBezTo>
                    <a:pt x="87196" y="25611"/>
                    <a:pt x="89621" y="22002"/>
                    <a:pt x="92014" y="18414"/>
                  </a:cubicBezTo>
                  <a:cubicBezTo>
                    <a:pt x="92959" y="17325"/>
                    <a:pt x="93865" y="16214"/>
                    <a:pt x="94676" y="15039"/>
                  </a:cubicBezTo>
                  <a:close/>
                  <a:moveTo>
                    <a:pt x="60272" y="4276"/>
                  </a:moveTo>
                  <a:cubicBezTo>
                    <a:pt x="59954" y="4931"/>
                    <a:pt x="59599" y="5569"/>
                    <a:pt x="59230" y="6199"/>
                  </a:cubicBezTo>
                  <a:cubicBezTo>
                    <a:pt x="53086" y="12261"/>
                    <a:pt x="47716" y="19418"/>
                    <a:pt x="42785" y="26616"/>
                  </a:cubicBezTo>
                  <a:cubicBezTo>
                    <a:pt x="41775" y="27912"/>
                    <a:pt x="40767" y="29214"/>
                    <a:pt x="39765" y="30519"/>
                  </a:cubicBezTo>
                  <a:cubicBezTo>
                    <a:pt x="42442" y="26743"/>
                    <a:pt x="45089" y="22946"/>
                    <a:pt x="47708" y="19124"/>
                  </a:cubicBezTo>
                  <a:cubicBezTo>
                    <a:pt x="48196" y="18411"/>
                    <a:pt x="48709" y="17715"/>
                    <a:pt x="49209" y="17013"/>
                  </a:cubicBezTo>
                  <a:cubicBezTo>
                    <a:pt x="51839" y="13869"/>
                    <a:pt x="54449" y="10726"/>
                    <a:pt x="56816" y="7388"/>
                  </a:cubicBezTo>
                  <a:cubicBezTo>
                    <a:pt x="56851" y="7354"/>
                    <a:pt x="56885" y="7313"/>
                    <a:pt x="56917" y="7276"/>
                  </a:cubicBezTo>
                  <a:cubicBezTo>
                    <a:pt x="57552" y="6580"/>
                    <a:pt x="60032" y="4767"/>
                    <a:pt x="60272" y="4276"/>
                  </a:cubicBezTo>
                  <a:close/>
                  <a:moveTo>
                    <a:pt x="108320" y="18370"/>
                  </a:moveTo>
                  <a:lnTo>
                    <a:pt x="108320" y="18370"/>
                  </a:lnTo>
                  <a:cubicBezTo>
                    <a:pt x="107775" y="19271"/>
                    <a:pt x="107203" y="20154"/>
                    <a:pt x="106594" y="21015"/>
                  </a:cubicBezTo>
                  <a:cubicBezTo>
                    <a:pt x="104870" y="23039"/>
                    <a:pt x="103225" y="25129"/>
                    <a:pt x="101622" y="27251"/>
                  </a:cubicBezTo>
                  <a:cubicBezTo>
                    <a:pt x="100863" y="28137"/>
                    <a:pt x="100098" y="29018"/>
                    <a:pt x="99345" y="29898"/>
                  </a:cubicBezTo>
                  <a:cubicBezTo>
                    <a:pt x="99143" y="30132"/>
                    <a:pt x="98946" y="30372"/>
                    <a:pt x="98747" y="30608"/>
                  </a:cubicBezTo>
                  <a:cubicBezTo>
                    <a:pt x="97760" y="30527"/>
                    <a:pt x="97682" y="30123"/>
                    <a:pt x="98533" y="29396"/>
                  </a:cubicBezTo>
                  <a:cubicBezTo>
                    <a:pt x="99740" y="27606"/>
                    <a:pt x="101409" y="26061"/>
                    <a:pt x="102884" y="24494"/>
                  </a:cubicBezTo>
                  <a:cubicBezTo>
                    <a:pt x="104743" y="22513"/>
                    <a:pt x="106169" y="20065"/>
                    <a:pt x="108320" y="18370"/>
                  </a:cubicBezTo>
                  <a:close/>
                  <a:moveTo>
                    <a:pt x="84049" y="9366"/>
                  </a:moveTo>
                  <a:cubicBezTo>
                    <a:pt x="80899" y="14664"/>
                    <a:pt x="76419" y="19124"/>
                    <a:pt x="72579" y="23913"/>
                  </a:cubicBezTo>
                  <a:cubicBezTo>
                    <a:pt x="70561" y="26428"/>
                    <a:pt x="68589" y="28983"/>
                    <a:pt x="66635" y="31552"/>
                  </a:cubicBezTo>
                  <a:cubicBezTo>
                    <a:pt x="68139" y="29454"/>
                    <a:pt x="69643" y="27355"/>
                    <a:pt x="71147" y="25253"/>
                  </a:cubicBezTo>
                  <a:cubicBezTo>
                    <a:pt x="72998" y="22672"/>
                    <a:pt x="74970" y="20175"/>
                    <a:pt x="76979" y="17715"/>
                  </a:cubicBezTo>
                  <a:cubicBezTo>
                    <a:pt x="77865" y="16705"/>
                    <a:pt x="78737" y="15685"/>
                    <a:pt x="79577" y="14649"/>
                  </a:cubicBezTo>
                  <a:cubicBezTo>
                    <a:pt x="81145" y="12954"/>
                    <a:pt x="82932" y="11245"/>
                    <a:pt x="84049" y="9366"/>
                  </a:cubicBezTo>
                  <a:close/>
                  <a:moveTo>
                    <a:pt x="87815" y="11646"/>
                  </a:moveTo>
                  <a:cubicBezTo>
                    <a:pt x="87936" y="11646"/>
                    <a:pt x="87864" y="11955"/>
                    <a:pt x="87444" y="12793"/>
                  </a:cubicBezTo>
                  <a:cubicBezTo>
                    <a:pt x="87213" y="13255"/>
                    <a:pt x="86968" y="13705"/>
                    <a:pt x="86708" y="14150"/>
                  </a:cubicBezTo>
                  <a:cubicBezTo>
                    <a:pt x="83582" y="17519"/>
                    <a:pt x="80819" y="21272"/>
                    <a:pt x="78217" y="25155"/>
                  </a:cubicBezTo>
                  <a:cubicBezTo>
                    <a:pt x="76456" y="27352"/>
                    <a:pt x="74727" y="29572"/>
                    <a:pt x="73032" y="31818"/>
                  </a:cubicBezTo>
                  <a:cubicBezTo>
                    <a:pt x="74002" y="30461"/>
                    <a:pt x="74972" y="29098"/>
                    <a:pt x="75940" y="27736"/>
                  </a:cubicBezTo>
                  <a:cubicBezTo>
                    <a:pt x="79416" y="22828"/>
                    <a:pt x="83414" y="18194"/>
                    <a:pt x="86466" y="12998"/>
                  </a:cubicBezTo>
                  <a:cubicBezTo>
                    <a:pt x="87004" y="12351"/>
                    <a:pt x="87631" y="11646"/>
                    <a:pt x="87815" y="11646"/>
                  </a:cubicBezTo>
                  <a:close/>
                  <a:moveTo>
                    <a:pt x="66554" y="3078"/>
                  </a:moveTo>
                  <a:cubicBezTo>
                    <a:pt x="66687" y="3136"/>
                    <a:pt x="66817" y="3199"/>
                    <a:pt x="66941" y="3274"/>
                  </a:cubicBezTo>
                  <a:cubicBezTo>
                    <a:pt x="67051" y="3323"/>
                    <a:pt x="67146" y="3384"/>
                    <a:pt x="67244" y="3436"/>
                  </a:cubicBezTo>
                  <a:cubicBezTo>
                    <a:pt x="67227" y="3447"/>
                    <a:pt x="67209" y="3450"/>
                    <a:pt x="67195" y="3470"/>
                  </a:cubicBezTo>
                  <a:cubicBezTo>
                    <a:pt x="65601" y="5543"/>
                    <a:pt x="64002" y="7613"/>
                    <a:pt x="62391" y="9678"/>
                  </a:cubicBezTo>
                  <a:cubicBezTo>
                    <a:pt x="61282" y="11032"/>
                    <a:pt x="60205" y="12417"/>
                    <a:pt x="59157" y="13832"/>
                  </a:cubicBezTo>
                  <a:cubicBezTo>
                    <a:pt x="54446" y="19866"/>
                    <a:pt x="49731" y="25900"/>
                    <a:pt x="45127" y="32014"/>
                  </a:cubicBezTo>
                  <a:cubicBezTo>
                    <a:pt x="48204" y="27750"/>
                    <a:pt x="51357" y="23538"/>
                    <a:pt x="54449" y="19288"/>
                  </a:cubicBezTo>
                  <a:cubicBezTo>
                    <a:pt x="58413" y="13838"/>
                    <a:pt x="63090" y="8878"/>
                    <a:pt x="66554" y="3078"/>
                  </a:cubicBezTo>
                  <a:close/>
                  <a:moveTo>
                    <a:pt x="84725" y="10134"/>
                  </a:moveTo>
                  <a:lnTo>
                    <a:pt x="84725" y="10134"/>
                  </a:lnTo>
                  <a:cubicBezTo>
                    <a:pt x="83232" y="12567"/>
                    <a:pt x="81509" y="14857"/>
                    <a:pt x="79794" y="17135"/>
                  </a:cubicBezTo>
                  <a:cubicBezTo>
                    <a:pt x="75530" y="22785"/>
                    <a:pt x="71251" y="28388"/>
                    <a:pt x="67053" y="34067"/>
                  </a:cubicBezTo>
                  <a:cubicBezTo>
                    <a:pt x="68979" y="31336"/>
                    <a:pt x="70910" y="28605"/>
                    <a:pt x="72807" y="25856"/>
                  </a:cubicBezTo>
                  <a:cubicBezTo>
                    <a:pt x="75631" y="21765"/>
                    <a:pt x="78451" y="17686"/>
                    <a:pt x="81540" y="13792"/>
                  </a:cubicBezTo>
                  <a:lnTo>
                    <a:pt x="81540" y="13794"/>
                  </a:lnTo>
                  <a:cubicBezTo>
                    <a:pt x="82458" y="12640"/>
                    <a:pt x="84104" y="11144"/>
                    <a:pt x="84725" y="10134"/>
                  </a:cubicBezTo>
                  <a:close/>
                  <a:moveTo>
                    <a:pt x="107735" y="16116"/>
                  </a:moveTo>
                  <a:cubicBezTo>
                    <a:pt x="107787" y="16116"/>
                    <a:pt x="106195" y="19367"/>
                    <a:pt x="105783" y="19973"/>
                  </a:cubicBezTo>
                  <a:cubicBezTo>
                    <a:pt x="105575" y="20276"/>
                    <a:pt x="105347" y="20564"/>
                    <a:pt x="105127" y="20862"/>
                  </a:cubicBezTo>
                  <a:cubicBezTo>
                    <a:pt x="103716" y="22528"/>
                    <a:pt x="102350" y="24245"/>
                    <a:pt x="100909" y="25879"/>
                  </a:cubicBezTo>
                  <a:cubicBezTo>
                    <a:pt x="100520" y="26304"/>
                    <a:pt x="100130" y="26728"/>
                    <a:pt x="99743" y="27150"/>
                  </a:cubicBezTo>
                  <a:cubicBezTo>
                    <a:pt x="99604" y="27303"/>
                    <a:pt x="99463" y="27453"/>
                    <a:pt x="99324" y="27603"/>
                  </a:cubicBezTo>
                  <a:cubicBezTo>
                    <a:pt x="96469" y="30591"/>
                    <a:pt x="93545" y="33475"/>
                    <a:pt x="90915" y="36642"/>
                  </a:cubicBezTo>
                  <a:cubicBezTo>
                    <a:pt x="91492" y="35747"/>
                    <a:pt x="92058" y="34800"/>
                    <a:pt x="92520" y="34079"/>
                  </a:cubicBezTo>
                  <a:lnTo>
                    <a:pt x="92523" y="34079"/>
                  </a:lnTo>
                  <a:cubicBezTo>
                    <a:pt x="94688" y="31483"/>
                    <a:pt x="96859" y="28893"/>
                    <a:pt x="99099" y="26373"/>
                  </a:cubicBezTo>
                  <a:cubicBezTo>
                    <a:pt x="101527" y="23639"/>
                    <a:pt x="103958" y="20943"/>
                    <a:pt x="105970" y="17931"/>
                  </a:cubicBezTo>
                  <a:cubicBezTo>
                    <a:pt x="106542" y="17311"/>
                    <a:pt x="107125" y="16705"/>
                    <a:pt x="107731" y="16118"/>
                  </a:cubicBezTo>
                  <a:cubicBezTo>
                    <a:pt x="107733" y="16117"/>
                    <a:pt x="107734" y="16116"/>
                    <a:pt x="107735" y="16116"/>
                  </a:cubicBezTo>
                  <a:close/>
                  <a:moveTo>
                    <a:pt x="95285" y="33458"/>
                  </a:moveTo>
                  <a:cubicBezTo>
                    <a:pt x="93796" y="35150"/>
                    <a:pt x="92231" y="37277"/>
                    <a:pt x="90811" y="39474"/>
                  </a:cubicBezTo>
                  <a:cubicBezTo>
                    <a:pt x="90490" y="39855"/>
                    <a:pt x="90208" y="40238"/>
                    <a:pt x="90009" y="40629"/>
                  </a:cubicBezTo>
                  <a:lnTo>
                    <a:pt x="90009" y="40629"/>
                  </a:lnTo>
                  <a:cubicBezTo>
                    <a:pt x="90044" y="40529"/>
                    <a:pt x="89965" y="40400"/>
                    <a:pt x="89866" y="40400"/>
                  </a:cubicBezTo>
                  <a:cubicBezTo>
                    <a:pt x="89840" y="40400"/>
                    <a:pt x="89813" y="40409"/>
                    <a:pt x="89786" y="40430"/>
                  </a:cubicBezTo>
                  <a:cubicBezTo>
                    <a:pt x="89372" y="40741"/>
                    <a:pt x="89221" y="40864"/>
                    <a:pt x="89216" y="40864"/>
                  </a:cubicBezTo>
                  <a:cubicBezTo>
                    <a:pt x="89208" y="40864"/>
                    <a:pt x="89615" y="40513"/>
                    <a:pt x="89869" y="40133"/>
                  </a:cubicBezTo>
                  <a:cubicBezTo>
                    <a:pt x="91454" y="37754"/>
                    <a:pt x="93400" y="35597"/>
                    <a:pt x="95285" y="33458"/>
                  </a:cubicBezTo>
                  <a:close/>
                  <a:moveTo>
                    <a:pt x="89291" y="12009"/>
                  </a:moveTo>
                  <a:cubicBezTo>
                    <a:pt x="89483" y="12009"/>
                    <a:pt x="86058" y="16573"/>
                    <a:pt x="86101" y="16573"/>
                  </a:cubicBezTo>
                  <a:cubicBezTo>
                    <a:pt x="86109" y="16573"/>
                    <a:pt x="86249" y="16400"/>
                    <a:pt x="86573" y="15986"/>
                  </a:cubicBezTo>
                  <a:lnTo>
                    <a:pt x="86573" y="15986"/>
                  </a:lnTo>
                  <a:cubicBezTo>
                    <a:pt x="80264" y="24045"/>
                    <a:pt x="74310" y="32497"/>
                    <a:pt x="68490" y="40969"/>
                  </a:cubicBezTo>
                  <a:lnTo>
                    <a:pt x="68490" y="40969"/>
                  </a:lnTo>
                  <a:cubicBezTo>
                    <a:pt x="68664" y="40714"/>
                    <a:pt x="68838" y="40458"/>
                    <a:pt x="69011" y="40202"/>
                  </a:cubicBezTo>
                  <a:cubicBezTo>
                    <a:pt x="72536" y="34985"/>
                    <a:pt x="75954" y="29699"/>
                    <a:pt x="79427" y="24447"/>
                  </a:cubicBezTo>
                  <a:cubicBezTo>
                    <a:pt x="79797" y="23887"/>
                    <a:pt x="80175" y="23333"/>
                    <a:pt x="80550" y="22779"/>
                  </a:cubicBezTo>
                  <a:cubicBezTo>
                    <a:pt x="82672" y="20183"/>
                    <a:pt x="84811" y="17617"/>
                    <a:pt x="86587" y="14808"/>
                  </a:cubicBezTo>
                  <a:cubicBezTo>
                    <a:pt x="87410" y="13878"/>
                    <a:pt x="88273" y="12989"/>
                    <a:pt x="89156" y="12117"/>
                  </a:cubicBezTo>
                  <a:cubicBezTo>
                    <a:pt x="89231" y="12043"/>
                    <a:pt x="89275" y="12009"/>
                    <a:pt x="89291" y="12009"/>
                  </a:cubicBezTo>
                  <a:close/>
                  <a:moveTo>
                    <a:pt x="61220" y="4814"/>
                  </a:moveTo>
                  <a:cubicBezTo>
                    <a:pt x="61609" y="4814"/>
                    <a:pt x="58071" y="9421"/>
                    <a:pt x="57653" y="10004"/>
                  </a:cubicBezTo>
                  <a:cubicBezTo>
                    <a:pt x="55745" y="12668"/>
                    <a:pt x="53767" y="15281"/>
                    <a:pt x="51784" y="17888"/>
                  </a:cubicBezTo>
                  <a:cubicBezTo>
                    <a:pt x="47133" y="23991"/>
                    <a:pt x="42329" y="29973"/>
                    <a:pt x="37615" y="36024"/>
                  </a:cubicBezTo>
                  <a:cubicBezTo>
                    <a:pt x="36243" y="37785"/>
                    <a:pt x="34886" y="39558"/>
                    <a:pt x="33544" y="41339"/>
                  </a:cubicBezTo>
                  <a:cubicBezTo>
                    <a:pt x="33859" y="40831"/>
                    <a:pt x="34176" y="40320"/>
                    <a:pt x="34497" y="39824"/>
                  </a:cubicBezTo>
                  <a:cubicBezTo>
                    <a:pt x="37514" y="35118"/>
                    <a:pt x="40611" y="30357"/>
                    <a:pt x="43868" y="25695"/>
                  </a:cubicBezTo>
                  <a:cubicBezTo>
                    <a:pt x="45961" y="23030"/>
                    <a:pt x="48083" y="20388"/>
                    <a:pt x="50254" y="17796"/>
                  </a:cubicBezTo>
                  <a:cubicBezTo>
                    <a:pt x="53254" y="14216"/>
                    <a:pt x="56447" y="10827"/>
                    <a:pt x="59002" y="6955"/>
                  </a:cubicBezTo>
                  <a:cubicBezTo>
                    <a:pt x="59438" y="6505"/>
                    <a:pt x="59856" y="6037"/>
                    <a:pt x="60298" y="5595"/>
                  </a:cubicBezTo>
                  <a:cubicBezTo>
                    <a:pt x="60852" y="5042"/>
                    <a:pt x="61134" y="4814"/>
                    <a:pt x="61220" y="4814"/>
                  </a:cubicBezTo>
                  <a:close/>
                  <a:moveTo>
                    <a:pt x="68873" y="10082"/>
                  </a:moveTo>
                  <a:cubicBezTo>
                    <a:pt x="68097" y="11383"/>
                    <a:pt x="67261" y="12649"/>
                    <a:pt x="66395" y="13893"/>
                  </a:cubicBezTo>
                  <a:cubicBezTo>
                    <a:pt x="61912" y="18933"/>
                    <a:pt x="57902" y="24372"/>
                    <a:pt x="54019" y="29907"/>
                  </a:cubicBezTo>
                  <a:cubicBezTo>
                    <a:pt x="51085" y="33770"/>
                    <a:pt x="48213" y="37681"/>
                    <a:pt x="45309" y="41565"/>
                  </a:cubicBezTo>
                  <a:cubicBezTo>
                    <a:pt x="45164" y="41758"/>
                    <a:pt x="45020" y="41951"/>
                    <a:pt x="44875" y="42145"/>
                  </a:cubicBezTo>
                  <a:cubicBezTo>
                    <a:pt x="45358" y="41452"/>
                    <a:pt x="45837" y="40750"/>
                    <a:pt x="46322" y="40063"/>
                  </a:cubicBezTo>
                  <a:cubicBezTo>
                    <a:pt x="49010" y="36261"/>
                    <a:pt x="51689" y="32447"/>
                    <a:pt x="54356" y="28628"/>
                  </a:cubicBezTo>
                  <a:cubicBezTo>
                    <a:pt x="55355" y="27233"/>
                    <a:pt x="56357" y="25839"/>
                    <a:pt x="57356" y="24442"/>
                  </a:cubicBezTo>
                  <a:cubicBezTo>
                    <a:pt x="60076" y="20665"/>
                    <a:pt x="63069" y="17164"/>
                    <a:pt x="65679" y="13376"/>
                  </a:cubicBezTo>
                  <a:cubicBezTo>
                    <a:pt x="67000" y="12113"/>
                    <a:pt x="68421" y="10838"/>
                    <a:pt x="68873" y="10082"/>
                  </a:cubicBezTo>
                  <a:close/>
                  <a:moveTo>
                    <a:pt x="75076" y="19886"/>
                  </a:moveTo>
                  <a:lnTo>
                    <a:pt x="75076" y="19886"/>
                  </a:lnTo>
                  <a:cubicBezTo>
                    <a:pt x="70166" y="26232"/>
                    <a:pt x="65497" y="32742"/>
                    <a:pt x="60693" y="39243"/>
                  </a:cubicBezTo>
                  <a:lnTo>
                    <a:pt x="60690" y="39240"/>
                  </a:lnTo>
                  <a:cubicBezTo>
                    <a:pt x="59605" y="40713"/>
                    <a:pt x="58508" y="42191"/>
                    <a:pt x="57408" y="43672"/>
                  </a:cubicBezTo>
                  <a:cubicBezTo>
                    <a:pt x="58595" y="41928"/>
                    <a:pt x="59793" y="40193"/>
                    <a:pt x="61005" y="38473"/>
                  </a:cubicBezTo>
                  <a:cubicBezTo>
                    <a:pt x="65356" y="32315"/>
                    <a:pt x="69733" y="26087"/>
                    <a:pt x="74655" y="20368"/>
                  </a:cubicBezTo>
                  <a:cubicBezTo>
                    <a:pt x="74793" y="20206"/>
                    <a:pt x="74935" y="20048"/>
                    <a:pt x="75076" y="19886"/>
                  </a:cubicBezTo>
                  <a:close/>
                  <a:moveTo>
                    <a:pt x="55344" y="31778"/>
                  </a:moveTo>
                  <a:lnTo>
                    <a:pt x="55344" y="31778"/>
                  </a:lnTo>
                  <a:cubicBezTo>
                    <a:pt x="54515" y="32918"/>
                    <a:pt x="53689" y="34058"/>
                    <a:pt x="52864" y="35196"/>
                  </a:cubicBezTo>
                  <a:cubicBezTo>
                    <a:pt x="50797" y="38037"/>
                    <a:pt x="48640" y="40860"/>
                    <a:pt x="46458" y="43681"/>
                  </a:cubicBezTo>
                  <a:cubicBezTo>
                    <a:pt x="46983" y="42936"/>
                    <a:pt x="47508" y="42194"/>
                    <a:pt x="48034" y="41449"/>
                  </a:cubicBezTo>
                  <a:cubicBezTo>
                    <a:pt x="50358" y="38164"/>
                    <a:pt x="52832" y="34962"/>
                    <a:pt x="55344" y="31778"/>
                  </a:cubicBezTo>
                  <a:close/>
                  <a:moveTo>
                    <a:pt x="55774" y="396"/>
                  </a:moveTo>
                  <a:cubicBezTo>
                    <a:pt x="56683" y="462"/>
                    <a:pt x="56995" y="1372"/>
                    <a:pt x="57668" y="2200"/>
                  </a:cubicBezTo>
                  <a:cubicBezTo>
                    <a:pt x="56542" y="3468"/>
                    <a:pt x="55430" y="4747"/>
                    <a:pt x="54333" y="6040"/>
                  </a:cubicBezTo>
                  <a:lnTo>
                    <a:pt x="54330" y="6037"/>
                  </a:lnTo>
                  <a:cubicBezTo>
                    <a:pt x="55176" y="4599"/>
                    <a:pt x="55936" y="3112"/>
                    <a:pt x="56608" y="1585"/>
                  </a:cubicBezTo>
                  <a:cubicBezTo>
                    <a:pt x="56656" y="1471"/>
                    <a:pt x="56564" y="1338"/>
                    <a:pt x="56463" y="1338"/>
                  </a:cubicBezTo>
                  <a:cubicBezTo>
                    <a:pt x="56428" y="1338"/>
                    <a:pt x="56392" y="1354"/>
                    <a:pt x="56360" y="1392"/>
                  </a:cubicBezTo>
                  <a:cubicBezTo>
                    <a:pt x="51966" y="6586"/>
                    <a:pt x="48302" y="12550"/>
                    <a:pt x="44304" y="18061"/>
                  </a:cubicBezTo>
                  <a:cubicBezTo>
                    <a:pt x="41772" y="21546"/>
                    <a:pt x="39301" y="25074"/>
                    <a:pt x="36829" y="28602"/>
                  </a:cubicBezTo>
                  <a:cubicBezTo>
                    <a:pt x="32811" y="33735"/>
                    <a:pt x="28853" y="38914"/>
                    <a:pt x="24955" y="44134"/>
                  </a:cubicBezTo>
                  <a:cubicBezTo>
                    <a:pt x="25198" y="43787"/>
                    <a:pt x="25452" y="43450"/>
                    <a:pt x="25688" y="43098"/>
                  </a:cubicBezTo>
                  <a:cubicBezTo>
                    <a:pt x="33639" y="31396"/>
                    <a:pt x="41639" y="19950"/>
                    <a:pt x="50098" y="8604"/>
                  </a:cubicBezTo>
                  <a:cubicBezTo>
                    <a:pt x="51129" y="7224"/>
                    <a:pt x="52116" y="5725"/>
                    <a:pt x="53043" y="4256"/>
                  </a:cubicBezTo>
                  <a:cubicBezTo>
                    <a:pt x="54019" y="3029"/>
                    <a:pt x="54945" y="1764"/>
                    <a:pt x="55774" y="396"/>
                  </a:cubicBezTo>
                  <a:close/>
                  <a:moveTo>
                    <a:pt x="58043" y="2552"/>
                  </a:moveTo>
                  <a:cubicBezTo>
                    <a:pt x="58364" y="2804"/>
                    <a:pt x="58765" y="2977"/>
                    <a:pt x="59218" y="3095"/>
                  </a:cubicBezTo>
                  <a:cubicBezTo>
                    <a:pt x="54423" y="7749"/>
                    <a:pt x="50768" y="13953"/>
                    <a:pt x="46697" y="19239"/>
                  </a:cubicBezTo>
                  <a:cubicBezTo>
                    <a:pt x="45909" y="20264"/>
                    <a:pt x="45150" y="21306"/>
                    <a:pt x="44379" y="22340"/>
                  </a:cubicBezTo>
                  <a:cubicBezTo>
                    <a:pt x="40525" y="27069"/>
                    <a:pt x="36997" y="32081"/>
                    <a:pt x="33587" y="37188"/>
                  </a:cubicBezTo>
                  <a:cubicBezTo>
                    <a:pt x="32753" y="38322"/>
                    <a:pt x="31921" y="39463"/>
                    <a:pt x="31067" y="40586"/>
                  </a:cubicBezTo>
                  <a:cubicBezTo>
                    <a:pt x="29892" y="42127"/>
                    <a:pt x="28702" y="43658"/>
                    <a:pt x="27499" y="45179"/>
                  </a:cubicBezTo>
                  <a:cubicBezTo>
                    <a:pt x="28229" y="44073"/>
                    <a:pt x="28965" y="42970"/>
                    <a:pt x="29698" y="41871"/>
                  </a:cubicBezTo>
                  <a:cubicBezTo>
                    <a:pt x="34246" y="35098"/>
                    <a:pt x="38836" y="28356"/>
                    <a:pt x="43689" y="21797"/>
                  </a:cubicBezTo>
                  <a:cubicBezTo>
                    <a:pt x="48406" y="15417"/>
                    <a:pt x="54189" y="9533"/>
                    <a:pt x="58043" y="2552"/>
                  </a:cubicBezTo>
                  <a:close/>
                  <a:moveTo>
                    <a:pt x="74839" y="40649"/>
                  </a:moveTo>
                  <a:cubicBezTo>
                    <a:pt x="74854" y="40649"/>
                    <a:pt x="72536" y="44019"/>
                    <a:pt x="72161" y="44541"/>
                  </a:cubicBezTo>
                  <a:cubicBezTo>
                    <a:pt x="71817" y="45023"/>
                    <a:pt x="71476" y="45502"/>
                    <a:pt x="71136" y="45979"/>
                  </a:cubicBezTo>
                  <a:cubicBezTo>
                    <a:pt x="72042" y="44668"/>
                    <a:pt x="72946" y="43360"/>
                    <a:pt x="73855" y="42050"/>
                  </a:cubicBezTo>
                  <a:cubicBezTo>
                    <a:pt x="74561" y="41035"/>
                    <a:pt x="74834" y="40649"/>
                    <a:pt x="74839" y="40649"/>
                  </a:cubicBezTo>
                  <a:close/>
                  <a:moveTo>
                    <a:pt x="56409" y="34416"/>
                  </a:moveTo>
                  <a:lnTo>
                    <a:pt x="56409" y="34419"/>
                  </a:lnTo>
                  <a:cubicBezTo>
                    <a:pt x="54763" y="36864"/>
                    <a:pt x="53109" y="39310"/>
                    <a:pt x="51412" y="41720"/>
                  </a:cubicBezTo>
                  <a:cubicBezTo>
                    <a:pt x="50026" y="43692"/>
                    <a:pt x="48626" y="45655"/>
                    <a:pt x="47214" y="47607"/>
                  </a:cubicBezTo>
                  <a:cubicBezTo>
                    <a:pt x="47399" y="47333"/>
                    <a:pt x="47578" y="47053"/>
                    <a:pt x="47762" y="46778"/>
                  </a:cubicBezTo>
                  <a:cubicBezTo>
                    <a:pt x="50586" y="42615"/>
                    <a:pt x="53490" y="38510"/>
                    <a:pt x="56409" y="34416"/>
                  </a:cubicBezTo>
                  <a:close/>
                  <a:moveTo>
                    <a:pt x="51454" y="21673"/>
                  </a:moveTo>
                  <a:lnTo>
                    <a:pt x="51454" y="21673"/>
                  </a:lnTo>
                  <a:cubicBezTo>
                    <a:pt x="48295" y="26079"/>
                    <a:pt x="45229" y="30553"/>
                    <a:pt x="42075" y="34965"/>
                  </a:cubicBezTo>
                  <a:cubicBezTo>
                    <a:pt x="38374" y="40138"/>
                    <a:pt x="34399" y="45090"/>
                    <a:pt x="30484" y="50098"/>
                  </a:cubicBezTo>
                  <a:cubicBezTo>
                    <a:pt x="33111" y="46057"/>
                    <a:pt x="35781" y="42044"/>
                    <a:pt x="38694" y="38213"/>
                  </a:cubicBezTo>
                  <a:cubicBezTo>
                    <a:pt x="42907" y="32669"/>
                    <a:pt x="47260" y="27232"/>
                    <a:pt x="51454" y="21673"/>
                  </a:cubicBezTo>
                  <a:close/>
                  <a:moveTo>
                    <a:pt x="62414" y="3751"/>
                  </a:moveTo>
                  <a:cubicBezTo>
                    <a:pt x="62729" y="3860"/>
                    <a:pt x="63017" y="3999"/>
                    <a:pt x="63248" y="4186"/>
                  </a:cubicBezTo>
                  <a:cubicBezTo>
                    <a:pt x="63283" y="4211"/>
                    <a:pt x="63324" y="4225"/>
                    <a:pt x="63365" y="4225"/>
                  </a:cubicBezTo>
                  <a:cubicBezTo>
                    <a:pt x="63373" y="4225"/>
                    <a:pt x="63380" y="4225"/>
                    <a:pt x="63387" y="4224"/>
                  </a:cubicBezTo>
                  <a:lnTo>
                    <a:pt x="63387" y="4224"/>
                  </a:lnTo>
                  <a:cubicBezTo>
                    <a:pt x="59498" y="10215"/>
                    <a:pt x="54763" y="15553"/>
                    <a:pt x="50320" y="21127"/>
                  </a:cubicBezTo>
                  <a:cubicBezTo>
                    <a:pt x="46296" y="26180"/>
                    <a:pt x="42511" y="31434"/>
                    <a:pt x="38599" y="36573"/>
                  </a:cubicBezTo>
                  <a:cubicBezTo>
                    <a:pt x="34681" y="41720"/>
                    <a:pt x="30738" y="46836"/>
                    <a:pt x="27068" y="52163"/>
                  </a:cubicBezTo>
                  <a:cubicBezTo>
                    <a:pt x="28861" y="49175"/>
                    <a:pt x="30599" y="46169"/>
                    <a:pt x="32360" y="43262"/>
                  </a:cubicBezTo>
                  <a:cubicBezTo>
                    <a:pt x="42263" y="30008"/>
                    <a:pt x="53132" y="17395"/>
                    <a:pt x="62414" y="3751"/>
                  </a:cubicBezTo>
                  <a:close/>
                  <a:moveTo>
                    <a:pt x="51706" y="5878"/>
                  </a:moveTo>
                  <a:lnTo>
                    <a:pt x="51706" y="5878"/>
                  </a:lnTo>
                  <a:cubicBezTo>
                    <a:pt x="44362" y="16468"/>
                    <a:pt x="36174" y="26465"/>
                    <a:pt x="29130" y="37295"/>
                  </a:cubicBezTo>
                  <a:cubicBezTo>
                    <a:pt x="25593" y="42731"/>
                    <a:pt x="21860" y="47962"/>
                    <a:pt x="17951" y="53101"/>
                  </a:cubicBezTo>
                  <a:cubicBezTo>
                    <a:pt x="20015" y="49426"/>
                    <a:pt x="22123" y="45808"/>
                    <a:pt x="24545" y="42514"/>
                  </a:cubicBezTo>
                  <a:cubicBezTo>
                    <a:pt x="29866" y="35274"/>
                    <a:pt x="35091" y="27949"/>
                    <a:pt x="40334" y="20651"/>
                  </a:cubicBezTo>
                  <a:cubicBezTo>
                    <a:pt x="43285" y="16543"/>
                    <a:pt x="46114" y="12331"/>
                    <a:pt x="49440" y="8511"/>
                  </a:cubicBezTo>
                  <a:lnTo>
                    <a:pt x="49440" y="8508"/>
                  </a:lnTo>
                  <a:cubicBezTo>
                    <a:pt x="50205" y="7628"/>
                    <a:pt x="50961" y="6756"/>
                    <a:pt x="51706" y="5878"/>
                  </a:cubicBezTo>
                  <a:close/>
                  <a:moveTo>
                    <a:pt x="82556" y="7316"/>
                  </a:moveTo>
                  <a:cubicBezTo>
                    <a:pt x="82900" y="7316"/>
                    <a:pt x="83235" y="7359"/>
                    <a:pt x="83564" y="7437"/>
                  </a:cubicBezTo>
                  <a:cubicBezTo>
                    <a:pt x="74360" y="16650"/>
                    <a:pt x="67631" y="28010"/>
                    <a:pt x="60076" y="38539"/>
                  </a:cubicBezTo>
                  <a:cubicBezTo>
                    <a:pt x="56522" y="43493"/>
                    <a:pt x="52867" y="48369"/>
                    <a:pt x="49194" y="53237"/>
                  </a:cubicBezTo>
                  <a:cubicBezTo>
                    <a:pt x="51163" y="50410"/>
                    <a:pt x="53121" y="47578"/>
                    <a:pt x="55069" y="44737"/>
                  </a:cubicBezTo>
                  <a:cubicBezTo>
                    <a:pt x="59478" y="38314"/>
                    <a:pt x="63852" y="31881"/>
                    <a:pt x="68485" y="25617"/>
                  </a:cubicBezTo>
                  <a:cubicBezTo>
                    <a:pt x="70882" y="22377"/>
                    <a:pt x="73298" y="19153"/>
                    <a:pt x="75677" y="15899"/>
                  </a:cubicBezTo>
                  <a:cubicBezTo>
                    <a:pt x="77481" y="13434"/>
                    <a:pt x="79343" y="9487"/>
                    <a:pt x="81907" y="7781"/>
                  </a:cubicBezTo>
                  <a:cubicBezTo>
                    <a:pt x="82044" y="7689"/>
                    <a:pt x="81961" y="7492"/>
                    <a:pt x="81834" y="7492"/>
                  </a:cubicBezTo>
                  <a:cubicBezTo>
                    <a:pt x="81809" y="7492"/>
                    <a:pt x="81782" y="7500"/>
                    <a:pt x="81754" y="7518"/>
                  </a:cubicBezTo>
                  <a:cubicBezTo>
                    <a:pt x="80923" y="8069"/>
                    <a:pt x="80152" y="8800"/>
                    <a:pt x="79421" y="9631"/>
                  </a:cubicBezTo>
                  <a:cubicBezTo>
                    <a:pt x="79811" y="8950"/>
                    <a:pt x="80184" y="8254"/>
                    <a:pt x="80536" y="7544"/>
                  </a:cubicBezTo>
                  <a:cubicBezTo>
                    <a:pt x="80540" y="7629"/>
                    <a:pt x="80612" y="7711"/>
                    <a:pt x="80705" y="7711"/>
                  </a:cubicBezTo>
                  <a:cubicBezTo>
                    <a:pt x="80727" y="7711"/>
                    <a:pt x="80749" y="7707"/>
                    <a:pt x="80772" y="7697"/>
                  </a:cubicBezTo>
                  <a:cubicBezTo>
                    <a:pt x="80845" y="7668"/>
                    <a:pt x="80911" y="7645"/>
                    <a:pt x="80980" y="7619"/>
                  </a:cubicBezTo>
                  <a:cubicBezTo>
                    <a:pt x="81021" y="7680"/>
                    <a:pt x="81053" y="7749"/>
                    <a:pt x="81099" y="7807"/>
                  </a:cubicBezTo>
                  <a:cubicBezTo>
                    <a:pt x="81108" y="7817"/>
                    <a:pt x="81118" y="7821"/>
                    <a:pt x="81127" y="7821"/>
                  </a:cubicBezTo>
                  <a:cubicBezTo>
                    <a:pt x="81156" y="7821"/>
                    <a:pt x="81183" y="7784"/>
                    <a:pt x="81168" y="7752"/>
                  </a:cubicBezTo>
                  <a:cubicBezTo>
                    <a:pt x="81139" y="7697"/>
                    <a:pt x="81116" y="7636"/>
                    <a:pt x="81090" y="7579"/>
                  </a:cubicBezTo>
                  <a:cubicBezTo>
                    <a:pt x="81599" y="7397"/>
                    <a:pt x="82086" y="7316"/>
                    <a:pt x="82556" y="7316"/>
                  </a:cubicBezTo>
                  <a:close/>
                  <a:moveTo>
                    <a:pt x="54007" y="23772"/>
                  </a:moveTo>
                  <a:cubicBezTo>
                    <a:pt x="50823" y="28270"/>
                    <a:pt x="47693" y="32808"/>
                    <a:pt x="44529" y="37283"/>
                  </a:cubicBezTo>
                  <a:cubicBezTo>
                    <a:pt x="40753" y="42624"/>
                    <a:pt x="36971" y="47962"/>
                    <a:pt x="33186" y="53297"/>
                  </a:cubicBezTo>
                  <a:cubicBezTo>
                    <a:pt x="36162" y="48724"/>
                    <a:pt x="39012" y="44091"/>
                    <a:pt x="41962" y="39728"/>
                  </a:cubicBezTo>
                  <a:cubicBezTo>
                    <a:pt x="43363" y="37653"/>
                    <a:pt x="44754" y="35539"/>
                    <a:pt x="46146" y="33409"/>
                  </a:cubicBezTo>
                  <a:cubicBezTo>
                    <a:pt x="48718" y="30201"/>
                    <a:pt x="51380" y="27005"/>
                    <a:pt x="54007" y="23772"/>
                  </a:cubicBezTo>
                  <a:close/>
                  <a:moveTo>
                    <a:pt x="81428" y="18162"/>
                  </a:moveTo>
                  <a:lnTo>
                    <a:pt x="81428" y="18162"/>
                  </a:lnTo>
                  <a:cubicBezTo>
                    <a:pt x="80677" y="19332"/>
                    <a:pt x="79935" y="20495"/>
                    <a:pt x="79179" y="21624"/>
                  </a:cubicBezTo>
                  <a:lnTo>
                    <a:pt x="79179" y="21627"/>
                  </a:lnTo>
                  <a:cubicBezTo>
                    <a:pt x="78235" y="22900"/>
                    <a:pt x="77305" y="24188"/>
                    <a:pt x="76390" y="25490"/>
                  </a:cubicBezTo>
                  <a:cubicBezTo>
                    <a:pt x="72213" y="31062"/>
                    <a:pt x="68038" y="36619"/>
                    <a:pt x="63999" y="42298"/>
                  </a:cubicBezTo>
                  <a:cubicBezTo>
                    <a:pt x="61242" y="46172"/>
                    <a:pt x="58459" y="50029"/>
                    <a:pt x="55647" y="53866"/>
                  </a:cubicBezTo>
                  <a:cubicBezTo>
                    <a:pt x="57053" y="51574"/>
                    <a:pt x="58479" y="49296"/>
                    <a:pt x="59960" y="47056"/>
                  </a:cubicBezTo>
                  <a:cubicBezTo>
                    <a:pt x="60878" y="45667"/>
                    <a:pt x="61799" y="44273"/>
                    <a:pt x="62723" y="42872"/>
                  </a:cubicBezTo>
                  <a:cubicBezTo>
                    <a:pt x="69025" y="34682"/>
                    <a:pt x="75354" y="26509"/>
                    <a:pt x="81428" y="18162"/>
                  </a:cubicBezTo>
                  <a:close/>
                  <a:moveTo>
                    <a:pt x="73341" y="42226"/>
                  </a:moveTo>
                  <a:lnTo>
                    <a:pt x="73341" y="42226"/>
                  </a:lnTo>
                  <a:cubicBezTo>
                    <a:pt x="70174" y="46776"/>
                    <a:pt x="67042" y="51349"/>
                    <a:pt x="63884" y="55907"/>
                  </a:cubicBezTo>
                  <a:cubicBezTo>
                    <a:pt x="64129" y="55081"/>
                    <a:pt x="64923" y="53341"/>
                    <a:pt x="65281" y="52674"/>
                  </a:cubicBezTo>
                  <a:cubicBezTo>
                    <a:pt x="66667" y="50078"/>
                    <a:pt x="68673" y="47812"/>
                    <a:pt x="70538" y="45557"/>
                  </a:cubicBezTo>
                  <a:cubicBezTo>
                    <a:pt x="71465" y="44437"/>
                    <a:pt x="72386" y="43317"/>
                    <a:pt x="73341" y="42226"/>
                  </a:cubicBezTo>
                  <a:close/>
                  <a:moveTo>
                    <a:pt x="86412" y="10525"/>
                  </a:moveTo>
                  <a:cubicBezTo>
                    <a:pt x="85555" y="11323"/>
                    <a:pt x="84770" y="12897"/>
                    <a:pt x="84081" y="13858"/>
                  </a:cubicBezTo>
                  <a:cubicBezTo>
                    <a:pt x="81962" y="16797"/>
                    <a:pt x="79745" y="19664"/>
                    <a:pt x="77539" y="22536"/>
                  </a:cubicBezTo>
                  <a:cubicBezTo>
                    <a:pt x="73867" y="27320"/>
                    <a:pt x="70264" y="32153"/>
                    <a:pt x="66646" y="36974"/>
                  </a:cubicBezTo>
                  <a:cubicBezTo>
                    <a:pt x="67940" y="35040"/>
                    <a:pt x="69245" y="33108"/>
                    <a:pt x="70564" y="31183"/>
                  </a:cubicBezTo>
                  <a:lnTo>
                    <a:pt x="70564" y="31183"/>
                  </a:lnTo>
                  <a:cubicBezTo>
                    <a:pt x="68549" y="33940"/>
                    <a:pt x="66534" y="36697"/>
                    <a:pt x="64608" y="39515"/>
                  </a:cubicBezTo>
                  <a:cubicBezTo>
                    <a:pt x="64276" y="40003"/>
                    <a:pt x="63956" y="40502"/>
                    <a:pt x="63627" y="40993"/>
                  </a:cubicBezTo>
                  <a:cubicBezTo>
                    <a:pt x="59810" y="46048"/>
                    <a:pt x="55985" y="51097"/>
                    <a:pt x="52208" y="56179"/>
                  </a:cubicBezTo>
                  <a:cubicBezTo>
                    <a:pt x="55468" y="51198"/>
                    <a:pt x="58719" y="46210"/>
                    <a:pt x="62163" y="41351"/>
                  </a:cubicBezTo>
                  <a:cubicBezTo>
                    <a:pt x="67932" y="33211"/>
                    <a:pt x="74429" y="25449"/>
                    <a:pt x="80260" y="17301"/>
                  </a:cubicBezTo>
                  <a:lnTo>
                    <a:pt x="80260" y="17301"/>
                  </a:lnTo>
                  <a:cubicBezTo>
                    <a:pt x="79353" y="18600"/>
                    <a:pt x="78478" y="19928"/>
                    <a:pt x="77594" y="21252"/>
                  </a:cubicBezTo>
                  <a:lnTo>
                    <a:pt x="77594" y="21252"/>
                  </a:lnTo>
                  <a:cubicBezTo>
                    <a:pt x="79517" y="18639"/>
                    <a:pt x="81477" y="16064"/>
                    <a:pt x="83492" y="13555"/>
                  </a:cubicBezTo>
                  <a:cubicBezTo>
                    <a:pt x="84375" y="12456"/>
                    <a:pt x="85382" y="11483"/>
                    <a:pt x="86412" y="10525"/>
                  </a:cubicBezTo>
                  <a:close/>
                  <a:moveTo>
                    <a:pt x="65570" y="6487"/>
                  </a:moveTo>
                  <a:lnTo>
                    <a:pt x="65570" y="6487"/>
                  </a:lnTo>
                  <a:cubicBezTo>
                    <a:pt x="64718" y="7766"/>
                    <a:pt x="63476" y="9553"/>
                    <a:pt x="63153" y="10010"/>
                  </a:cubicBezTo>
                  <a:cubicBezTo>
                    <a:pt x="61357" y="12536"/>
                    <a:pt x="59518" y="15030"/>
                    <a:pt x="57630" y="17493"/>
                  </a:cubicBezTo>
                  <a:cubicBezTo>
                    <a:pt x="59974" y="14600"/>
                    <a:pt x="62327" y="11742"/>
                    <a:pt x="64420" y="8690"/>
                  </a:cubicBezTo>
                  <a:lnTo>
                    <a:pt x="64420" y="8690"/>
                  </a:lnTo>
                  <a:cubicBezTo>
                    <a:pt x="63742" y="9888"/>
                    <a:pt x="63075" y="11104"/>
                    <a:pt x="62368" y="12082"/>
                  </a:cubicBezTo>
                  <a:cubicBezTo>
                    <a:pt x="60151" y="15154"/>
                    <a:pt x="57734" y="18087"/>
                    <a:pt x="55410" y="21078"/>
                  </a:cubicBezTo>
                  <a:cubicBezTo>
                    <a:pt x="53046" y="24118"/>
                    <a:pt x="50655" y="27138"/>
                    <a:pt x="48268" y="30158"/>
                  </a:cubicBezTo>
                  <a:cubicBezTo>
                    <a:pt x="49186" y="28749"/>
                    <a:pt x="50110" y="27343"/>
                    <a:pt x="51039" y="25934"/>
                  </a:cubicBezTo>
                  <a:lnTo>
                    <a:pt x="51039" y="25934"/>
                  </a:lnTo>
                  <a:cubicBezTo>
                    <a:pt x="50623" y="26460"/>
                    <a:pt x="50208" y="26982"/>
                    <a:pt x="49789" y="27505"/>
                  </a:cubicBezTo>
                  <a:cubicBezTo>
                    <a:pt x="48779" y="29044"/>
                    <a:pt x="47765" y="30577"/>
                    <a:pt x="46749" y="32095"/>
                  </a:cubicBezTo>
                  <a:cubicBezTo>
                    <a:pt x="45057" y="34240"/>
                    <a:pt x="43363" y="36379"/>
                    <a:pt x="41697" y="38542"/>
                  </a:cubicBezTo>
                  <a:cubicBezTo>
                    <a:pt x="37363" y="44157"/>
                    <a:pt x="33252" y="49830"/>
                    <a:pt x="29519" y="55864"/>
                  </a:cubicBezTo>
                  <a:cubicBezTo>
                    <a:pt x="29095" y="56551"/>
                    <a:pt x="28642" y="57232"/>
                    <a:pt x="28174" y="57908"/>
                  </a:cubicBezTo>
                  <a:cubicBezTo>
                    <a:pt x="30925" y="53684"/>
                    <a:pt x="33544" y="49362"/>
                    <a:pt x="36240" y="45098"/>
                  </a:cubicBezTo>
                  <a:cubicBezTo>
                    <a:pt x="38507" y="41998"/>
                    <a:pt x="40819" y="38932"/>
                    <a:pt x="43207" y="35918"/>
                  </a:cubicBezTo>
                  <a:cubicBezTo>
                    <a:pt x="44994" y="33654"/>
                    <a:pt x="46761" y="31373"/>
                    <a:pt x="48525" y="29093"/>
                  </a:cubicBezTo>
                  <a:lnTo>
                    <a:pt x="48525" y="29093"/>
                  </a:lnTo>
                  <a:cubicBezTo>
                    <a:pt x="45002" y="33495"/>
                    <a:pt x="41466" y="37886"/>
                    <a:pt x="38007" y="42335"/>
                  </a:cubicBezTo>
                  <a:cubicBezTo>
                    <a:pt x="38287" y="41902"/>
                    <a:pt x="38570" y="41469"/>
                    <a:pt x="38856" y="41039"/>
                  </a:cubicBezTo>
                  <a:cubicBezTo>
                    <a:pt x="41307" y="37676"/>
                    <a:pt x="43770" y="34324"/>
                    <a:pt x="46281" y="31004"/>
                  </a:cubicBezTo>
                  <a:cubicBezTo>
                    <a:pt x="48773" y="27707"/>
                    <a:pt x="51363" y="24479"/>
                    <a:pt x="53941" y="21243"/>
                  </a:cubicBezTo>
                  <a:lnTo>
                    <a:pt x="53941" y="21243"/>
                  </a:lnTo>
                  <a:cubicBezTo>
                    <a:pt x="52610" y="23218"/>
                    <a:pt x="51302" y="25207"/>
                    <a:pt x="49997" y="27190"/>
                  </a:cubicBezTo>
                  <a:cubicBezTo>
                    <a:pt x="50482" y="26564"/>
                    <a:pt x="50967" y="25940"/>
                    <a:pt x="51455" y="25316"/>
                  </a:cubicBezTo>
                  <a:cubicBezTo>
                    <a:pt x="52991" y="23001"/>
                    <a:pt x="54553" y="20703"/>
                    <a:pt x="56152" y="18440"/>
                  </a:cubicBezTo>
                  <a:cubicBezTo>
                    <a:pt x="56984" y="17383"/>
                    <a:pt x="57815" y="16326"/>
                    <a:pt x="58632" y="15258"/>
                  </a:cubicBezTo>
                  <a:cubicBezTo>
                    <a:pt x="60269" y="13122"/>
                    <a:pt x="61897" y="10982"/>
                    <a:pt x="63520" y="8835"/>
                  </a:cubicBezTo>
                  <a:cubicBezTo>
                    <a:pt x="64192" y="8038"/>
                    <a:pt x="64877" y="7255"/>
                    <a:pt x="65570" y="6487"/>
                  </a:cubicBezTo>
                  <a:close/>
                  <a:moveTo>
                    <a:pt x="64591" y="53266"/>
                  </a:moveTo>
                  <a:cubicBezTo>
                    <a:pt x="64057" y="54386"/>
                    <a:pt x="63624" y="55552"/>
                    <a:pt x="63297" y="56750"/>
                  </a:cubicBezTo>
                  <a:cubicBezTo>
                    <a:pt x="62887" y="57336"/>
                    <a:pt x="62475" y="57922"/>
                    <a:pt x="62068" y="58508"/>
                  </a:cubicBezTo>
                  <a:cubicBezTo>
                    <a:pt x="62385" y="57824"/>
                    <a:pt x="62619" y="57102"/>
                    <a:pt x="62763" y="56360"/>
                  </a:cubicBezTo>
                  <a:cubicBezTo>
                    <a:pt x="62785" y="56264"/>
                    <a:pt x="62711" y="56174"/>
                    <a:pt x="62614" y="56174"/>
                  </a:cubicBezTo>
                  <a:cubicBezTo>
                    <a:pt x="62607" y="56174"/>
                    <a:pt x="62600" y="56175"/>
                    <a:pt x="62593" y="56176"/>
                  </a:cubicBezTo>
                  <a:cubicBezTo>
                    <a:pt x="63260" y="55203"/>
                    <a:pt x="63924" y="54233"/>
                    <a:pt x="64591" y="53266"/>
                  </a:cubicBezTo>
                  <a:close/>
                  <a:moveTo>
                    <a:pt x="43409" y="43767"/>
                  </a:moveTo>
                  <a:lnTo>
                    <a:pt x="43409" y="43767"/>
                  </a:lnTo>
                  <a:cubicBezTo>
                    <a:pt x="42153" y="45609"/>
                    <a:pt x="40891" y="47451"/>
                    <a:pt x="39627" y="49299"/>
                  </a:cubicBezTo>
                  <a:cubicBezTo>
                    <a:pt x="37814" y="51825"/>
                    <a:pt x="36033" y="54374"/>
                    <a:pt x="34283" y="56946"/>
                  </a:cubicBezTo>
                  <a:cubicBezTo>
                    <a:pt x="33379" y="58211"/>
                    <a:pt x="32467" y="59467"/>
                    <a:pt x="31543" y="60711"/>
                  </a:cubicBezTo>
                  <a:cubicBezTo>
                    <a:pt x="31976" y="60047"/>
                    <a:pt x="32406" y="59383"/>
                    <a:pt x="32834" y="58716"/>
                  </a:cubicBezTo>
                  <a:cubicBezTo>
                    <a:pt x="36139" y="53566"/>
                    <a:pt x="39780" y="48684"/>
                    <a:pt x="43409" y="43767"/>
                  </a:cubicBezTo>
                  <a:close/>
                  <a:moveTo>
                    <a:pt x="67957" y="3956"/>
                  </a:moveTo>
                  <a:cubicBezTo>
                    <a:pt x="68708" y="4703"/>
                    <a:pt x="68973" y="5766"/>
                    <a:pt x="69002" y="6981"/>
                  </a:cubicBezTo>
                  <a:cubicBezTo>
                    <a:pt x="69005" y="7056"/>
                    <a:pt x="69011" y="7117"/>
                    <a:pt x="69014" y="7186"/>
                  </a:cubicBezTo>
                  <a:cubicBezTo>
                    <a:pt x="68994" y="7195"/>
                    <a:pt x="68973" y="7195"/>
                    <a:pt x="68956" y="7218"/>
                  </a:cubicBezTo>
                  <a:cubicBezTo>
                    <a:pt x="60615" y="17308"/>
                    <a:pt x="53588" y="28325"/>
                    <a:pt x="45906" y="38906"/>
                  </a:cubicBezTo>
                  <a:cubicBezTo>
                    <a:pt x="41997" y="44284"/>
                    <a:pt x="37999" y="49599"/>
                    <a:pt x="33968" y="54885"/>
                  </a:cubicBezTo>
                  <a:cubicBezTo>
                    <a:pt x="32057" y="57391"/>
                    <a:pt x="30126" y="59880"/>
                    <a:pt x="28194" y="62368"/>
                  </a:cubicBezTo>
                  <a:cubicBezTo>
                    <a:pt x="34378" y="53762"/>
                    <a:pt x="40369" y="45014"/>
                    <a:pt x="46746" y="36535"/>
                  </a:cubicBezTo>
                  <a:cubicBezTo>
                    <a:pt x="50667" y="31321"/>
                    <a:pt x="54483" y="26032"/>
                    <a:pt x="58332" y="20767"/>
                  </a:cubicBezTo>
                  <a:cubicBezTo>
                    <a:pt x="62018" y="15723"/>
                    <a:pt x="66066" y="10991"/>
                    <a:pt x="68581" y="5211"/>
                  </a:cubicBezTo>
                  <a:cubicBezTo>
                    <a:pt x="68630" y="5095"/>
                    <a:pt x="68535" y="4957"/>
                    <a:pt x="68430" y="4957"/>
                  </a:cubicBezTo>
                  <a:cubicBezTo>
                    <a:pt x="68394" y="4957"/>
                    <a:pt x="68357" y="4973"/>
                    <a:pt x="68324" y="5012"/>
                  </a:cubicBezTo>
                  <a:cubicBezTo>
                    <a:pt x="67053" y="6502"/>
                    <a:pt x="65815" y="8020"/>
                    <a:pt x="64591" y="9553"/>
                  </a:cubicBezTo>
                  <a:cubicBezTo>
                    <a:pt x="65786" y="7723"/>
                    <a:pt x="66915" y="5861"/>
                    <a:pt x="67957" y="3956"/>
                  </a:cubicBezTo>
                  <a:close/>
                  <a:moveTo>
                    <a:pt x="75198" y="57281"/>
                  </a:moveTo>
                  <a:cubicBezTo>
                    <a:pt x="74233" y="58820"/>
                    <a:pt x="73260" y="60298"/>
                    <a:pt x="72045" y="61687"/>
                  </a:cubicBezTo>
                  <a:cubicBezTo>
                    <a:pt x="71353" y="62621"/>
                    <a:pt x="70864" y="63081"/>
                    <a:pt x="70571" y="63081"/>
                  </a:cubicBezTo>
                  <a:cubicBezTo>
                    <a:pt x="70463" y="63081"/>
                    <a:pt x="70382" y="63018"/>
                    <a:pt x="70327" y="62894"/>
                  </a:cubicBezTo>
                  <a:cubicBezTo>
                    <a:pt x="72005" y="61086"/>
                    <a:pt x="73676" y="59236"/>
                    <a:pt x="75198" y="57281"/>
                  </a:cubicBezTo>
                  <a:close/>
                  <a:moveTo>
                    <a:pt x="14357" y="58207"/>
                  </a:moveTo>
                  <a:cubicBezTo>
                    <a:pt x="14232" y="58428"/>
                    <a:pt x="14104" y="58645"/>
                    <a:pt x="13982" y="58866"/>
                  </a:cubicBezTo>
                  <a:cubicBezTo>
                    <a:pt x="12671" y="60512"/>
                    <a:pt x="11372" y="62166"/>
                    <a:pt x="10081" y="63829"/>
                  </a:cubicBezTo>
                  <a:cubicBezTo>
                    <a:pt x="11034" y="62536"/>
                    <a:pt x="11990" y="61245"/>
                    <a:pt x="12968" y="59981"/>
                  </a:cubicBezTo>
                  <a:cubicBezTo>
                    <a:pt x="13428" y="59388"/>
                    <a:pt x="13894" y="58796"/>
                    <a:pt x="14357" y="58207"/>
                  </a:cubicBezTo>
                  <a:close/>
                  <a:moveTo>
                    <a:pt x="60636" y="56236"/>
                  </a:moveTo>
                  <a:lnTo>
                    <a:pt x="60636" y="56236"/>
                  </a:lnTo>
                  <a:cubicBezTo>
                    <a:pt x="60552" y="56378"/>
                    <a:pt x="60468" y="56516"/>
                    <a:pt x="60384" y="56658"/>
                  </a:cubicBezTo>
                  <a:cubicBezTo>
                    <a:pt x="60090" y="57059"/>
                    <a:pt x="59798" y="57466"/>
                    <a:pt x="59501" y="57862"/>
                  </a:cubicBezTo>
                  <a:cubicBezTo>
                    <a:pt x="57864" y="60033"/>
                    <a:pt x="56077" y="62212"/>
                    <a:pt x="54290" y="64432"/>
                  </a:cubicBezTo>
                  <a:cubicBezTo>
                    <a:pt x="54966" y="63454"/>
                    <a:pt x="55635" y="62469"/>
                    <a:pt x="56305" y="61485"/>
                  </a:cubicBezTo>
                  <a:cubicBezTo>
                    <a:pt x="57777" y="59730"/>
                    <a:pt x="59241" y="57983"/>
                    <a:pt x="60636" y="56236"/>
                  </a:cubicBezTo>
                  <a:close/>
                  <a:moveTo>
                    <a:pt x="27995" y="49270"/>
                  </a:moveTo>
                  <a:cubicBezTo>
                    <a:pt x="27434" y="50172"/>
                    <a:pt x="26870" y="51068"/>
                    <a:pt x="26318" y="51969"/>
                  </a:cubicBezTo>
                  <a:cubicBezTo>
                    <a:pt x="23699" y="56254"/>
                    <a:pt x="21170" y="60599"/>
                    <a:pt x="18130" y="64574"/>
                  </a:cubicBezTo>
                  <a:cubicBezTo>
                    <a:pt x="21149" y="59295"/>
                    <a:pt x="24484" y="54224"/>
                    <a:pt x="27995" y="49270"/>
                  </a:cubicBezTo>
                  <a:close/>
                  <a:moveTo>
                    <a:pt x="71762" y="32239"/>
                  </a:moveTo>
                  <a:lnTo>
                    <a:pt x="71762" y="32239"/>
                  </a:lnTo>
                  <a:cubicBezTo>
                    <a:pt x="69190" y="36079"/>
                    <a:pt x="66661" y="39930"/>
                    <a:pt x="64091" y="43684"/>
                  </a:cubicBezTo>
                  <a:cubicBezTo>
                    <a:pt x="59686" y="50119"/>
                    <a:pt x="55321" y="56568"/>
                    <a:pt x="50534" y="62726"/>
                  </a:cubicBezTo>
                  <a:cubicBezTo>
                    <a:pt x="50017" y="63390"/>
                    <a:pt x="49506" y="64054"/>
                    <a:pt x="48998" y="64724"/>
                  </a:cubicBezTo>
                  <a:cubicBezTo>
                    <a:pt x="50557" y="62247"/>
                    <a:pt x="52073" y="59744"/>
                    <a:pt x="53588" y="57244"/>
                  </a:cubicBezTo>
                  <a:cubicBezTo>
                    <a:pt x="56822" y="52841"/>
                    <a:pt x="60029" y="48421"/>
                    <a:pt x="63211" y="43984"/>
                  </a:cubicBezTo>
                  <a:cubicBezTo>
                    <a:pt x="66029" y="40043"/>
                    <a:pt x="68881" y="36128"/>
                    <a:pt x="71762" y="32239"/>
                  </a:cubicBezTo>
                  <a:close/>
                  <a:moveTo>
                    <a:pt x="32510" y="50277"/>
                  </a:moveTo>
                  <a:cubicBezTo>
                    <a:pt x="30106" y="54137"/>
                    <a:pt x="27721" y="58006"/>
                    <a:pt x="25180" y="61779"/>
                  </a:cubicBezTo>
                  <a:cubicBezTo>
                    <a:pt x="24248" y="63162"/>
                    <a:pt x="23275" y="64513"/>
                    <a:pt x="22273" y="65844"/>
                  </a:cubicBezTo>
                  <a:cubicBezTo>
                    <a:pt x="22744" y="64886"/>
                    <a:pt x="23200" y="63962"/>
                    <a:pt x="23650" y="63246"/>
                  </a:cubicBezTo>
                  <a:cubicBezTo>
                    <a:pt x="25449" y="60388"/>
                    <a:pt x="27374" y="57608"/>
                    <a:pt x="29306" y="54836"/>
                  </a:cubicBezTo>
                  <a:cubicBezTo>
                    <a:pt x="30365" y="53312"/>
                    <a:pt x="31434" y="51793"/>
                    <a:pt x="32510" y="50277"/>
                  </a:cubicBezTo>
                  <a:close/>
                  <a:moveTo>
                    <a:pt x="74382" y="38202"/>
                  </a:moveTo>
                  <a:cubicBezTo>
                    <a:pt x="72998" y="39793"/>
                    <a:pt x="71878" y="42293"/>
                    <a:pt x="70518" y="44114"/>
                  </a:cubicBezTo>
                  <a:cubicBezTo>
                    <a:pt x="66932" y="48909"/>
                    <a:pt x="63670" y="54013"/>
                    <a:pt x="60315" y="58970"/>
                  </a:cubicBezTo>
                  <a:cubicBezTo>
                    <a:pt x="58404" y="61794"/>
                    <a:pt x="56412" y="64539"/>
                    <a:pt x="54336" y="67207"/>
                  </a:cubicBezTo>
                  <a:cubicBezTo>
                    <a:pt x="56597" y="63693"/>
                    <a:pt x="58713" y="60076"/>
                    <a:pt x="60815" y="56450"/>
                  </a:cubicBezTo>
                  <a:cubicBezTo>
                    <a:pt x="63497" y="52977"/>
                    <a:pt x="66138" y="49475"/>
                    <a:pt x="68595" y="45846"/>
                  </a:cubicBezTo>
                  <a:cubicBezTo>
                    <a:pt x="70392" y="43191"/>
                    <a:pt x="72272" y="40622"/>
                    <a:pt x="74382" y="38202"/>
                  </a:cubicBezTo>
                  <a:close/>
                  <a:moveTo>
                    <a:pt x="67127" y="42958"/>
                  </a:moveTo>
                  <a:lnTo>
                    <a:pt x="67127" y="42958"/>
                  </a:lnTo>
                  <a:cubicBezTo>
                    <a:pt x="66047" y="44535"/>
                    <a:pt x="64971" y="46113"/>
                    <a:pt x="63898" y="47688"/>
                  </a:cubicBezTo>
                  <a:cubicBezTo>
                    <a:pt x="59946" y="53485"/>
                    <a:pt x="56392" y="59579"/>
                    <a:pt x="52081" y="65120"/>
                  </a:cubicBezTo>
                  <a:cubicBezTo>
                    <a:pt x="51441" y="65942"/>
                    <a:pt x="50776" y="66748"/>
                    <a:pt x="50121" y="67556"/>
                  </a:cubicBezTo>
                  <a:cubicBezTo>
                    <a:pt x="55480" y="59167"/>
                    <a:pt x="61474" y="51145"/>
                    <a:pt x="67127" y="42958"/>
                  </a:cubicBezTo>
                  <a:close/>
                  <a:moveTo>
                    <a:pt x="68422" y="12400"/>
                  </a:moveTo>
                  <a:lnTo>
                    <a:pt x="68422" y="12400"/>
                  </a:lnTo>
                  <a:cubicBezTo>
                    <a:pt x="67639" y="13693"/>
                    <a:pt x="66967" y="15021"/>
                    <a:pt x="66594" y="15593"/>
                  </a:cubicBezTo>
                  <a:cubicBezTo>
                    <a:pt x="64192" y="19300"/>
                    <a:pt x="61666" y="22943"/>
                    <a:pt x="59097" y="26555"/>
                  </a:cubicBezTo>
                  <a:cubicBezTo>
                    <a:pt x="55563" y="30952"/>
                    <a:pt x="51995" y="35320"/>
                    <a:pt x="48764" y="39853"/>
                  </a:cubicBezTo>
                  <a:cubicBezTo>
                    <a:pt x="46570" y="42933"/>
                    <a:pt x="44379" y="46060"/>
                    <a:pt x="42182" y="49192"/>
                  </a:cubicBezTo>
                  <a:cubicBezTo>
                    <a:pt x="37340" y="55437"/>
                    <a:pt x="32545" y="61759"/>
                    <a:pt x="28396" y="68391"/>
                  </a:cubicBezTo>
                  <a:cubicBezTo>
                    <a:pt x="28206" y="68645"/>
                    <a:pt x="28021" y="68899"/>
                    <a:pt x="27831" y="69150"/>
                  </a:cubicBezTo>
                  <a:cubicBezTo>
                    <a:pt x="33870" y="58898"/>
                    <a:pt x="40938" y="49238"/>
                    <a:pt x="47757" y="39515"/>
                  </a:cubicBezTo>
                  <a:cubicBezTo>
                    <a:pt x="49114" y="37578"/>
                    <a:pt x="50465" y="35637"/>
                    <a:pt x="51804" y="33692"/>
                  </a:cubicBezTo>
                  <a:cubicBezTo>
                    <a:pt x="56914" y="27236"/>
                    <a:pt x="62146" y="20795"/>
                    <a:pt x="66716" y="13994"/>
                  </a:cubicBezTo>
                  <a:cubicBezTo>
                    <a:pt x="67215" y="13483"/>
                    <a:pt x="67813" y="12943"/>
                    <a:pt x="68422" y="12400"/>
                  </a:cubicBezTo>
                  <a:close/>
                  <a:moveTo>
                    <a:pt x="44162" y="35909"/>
                  </a:moveTo>
                  <a:lnTo>
                    <a:pt x="44162" y="35909"/>
                  </a:lnTo>
                  <a:cubicBezTo>
                    <a:pt x="36575" y="47030"/>
                    <a:pt x="29707" y="59571"/>
                    <a:pt x="20535" y="69470"/>
                  </a:cubicBezTo>
                  <a:cubicBezTo>
                    <a:pt x="20550" y="69424"/>
                    <a:pt x="20564" y="69381"/>
                    <a:pt x="20576" y="69337"/>
                  </a:cubicBezTo>
                  <a:cubicBezTo>
                    <a:pt x="21393" y="68105"/>
                    <a:pt x="22282" y="66921"/>
                    <a:pt x="23240" y="65792"/>
                  </a:cubicBezTo>
                  <a:cubicBezTo>
                    <a:pt x="23945" y="64909"/>
                    <a:pt x="24499" y="64124"/>
                    <a:pt x="25163" y="63200"/>
                  </a:cubicBezTo>
                  <a:cubicBezTo>
                    <a:pt x="27158" y="60428"/>
                    <a:pt x="28905" y="57472"/>
                    <a:pt x="30700" y="54573"/>
                  </a:cubicBezTo>
                  <a:cubicBezTo>
                    <a:pt x="34751" y="48029"/>
                    <a:pt x="39428" y="41963"/>
                    <a:pt x="44162" y="35909"/>
                  </a:cubicBezTo>
                  <a:close/>
                  <a:moveTo>
                    <a:pt x="40253" y="30366"/>
                  </a:moveTo>
                  <a:lnTo>
                    <a:pt x="40253" y="30366"/>
                  </a:lnTo>
                  <a:cubicBezTo>
                    <a:pt x="39514" y="31474"/>
                    <a:pt x="38781" y="32577"/>
                    <a:pt x="38059" y="33677"/>
                  </a:cubicBezTo>
                  <a:cubicBezTo>
                    <a:pt x="35299" y="37869"/>
                    <a:pt x="32539" y="42078"/>
                    <a:pt x="29846" y="46322"/>
                  </a:cubicBezTo>
                  <a:cubicBezTo>
                    <a:pt x="25229" y="52665"/>
                    <a:pt x="20864" y="59181"/>
                    <a:pt x="16996" y="66003"/>
                  </a:cubicBezTo>
                  <a:cubicBezTo>
                    <a:pt x="16118" y="67074"/>
                    <a:pt x="15211" y="68119"/>
                    <a:pt x="14230" y="69112"/>
                  </a:cubicBezTo>
                  <a:cubicBezTo>
                    <a:pt x="13963" y="69383"/>
                    <a:pt x="13808" y="69496"/>
                    <a:pt x="13735" y="69496"/>
                  </a:cubicBezTo>
                  <a:cubicBezTo>
                    <a:pt x="13445" y="69496"/>
                    <a:pt x="14461" y="67700"/>
                    <a:pt x="14946" y="66892"/>
                  </a:cubicBezTo>
                  <a:cubicBezTo>
                    <a:pt x="18254" y="63018"/>
                    <a:pt x="20781" y="58055"/>
                    <a:pt x="23517" y="53932"/>
                  </a:cubicBezTo>
                  <a:cubicBezTo>
                    <a:pt x="23650" y="53730"/>
                    <a:pt x="23786" y="53528"/>
                    <a:pt x="23922" y="53323"/>
                  </a:cubicBezTo>
                  <a:cubicBezTo>
                    <a:pt x="24770" y="52056"/>
                    <a:pt x="25622" y="50788"/>
                    <a:pt x="26477" y="49521"/>
                  </a:cubicBezTo>
                  <a:cubicBezTo>
                    <a:pt x="29390" y="45234"/>
                    <a:pt x="32375" y="40996"/>
                    <a:pt x="35432" y="36807"/>
                  </a:cubicBezTo>
                  <a:cubicBezTo>
                    <a:pt x="37014" y="34647"/>
                    <a:pt x="38622" y="32499"/>
                    <a:pt x="40253" y="30366"/>
                  </a:cubicBezTo>
                  <a:close/>
                  <a:moveTo>
                    <a:pt x="22611" y="61289"/>
                  </a:moveTo>
                  <a:cubicBezTo>
                    <a:pt x="21638" y="62755"/>
                    <a:pt x="20651" y="64210"/>
                    <a:pt x="19637" y="65648"/>
                  </a:cubicBezTo>
                  <a:cubicBezTo>
                    <a:pt x="18817" y="66811"/>
                    <a:pt x="17157" y="68489"/>
                    <a:pt x="16632" y="69563"/>
                  </a:cubicBezTo>
                  <a:cubicBezTo>
                    <a:pt x="17709" y="67360"/>
                    <a:pt x="19473" y="65353"/>
                    <a:pt x="20954" y="63436"/>
                  </a:cubicBezTo>
                  <a:cubicBezTo>
                    <a:pt x="21508" y="62723"/>
                    <a:pt x="22059" y="62004"/>
                    <a:pt x="22611" y="61289"/>
                  </a:cubicBezTo>
                  <a:close/>
                  <a:moveTo>
                    <a:pt x="46463" y="20302"/>
                  </a:moveTo>
                  <a:lnTo>
                    <a:pt x="46463" y="20302"/>
                  </a:lnTo>
                  <a:cubicBezTo>
                    <a:pt x="43683" y="24370"/>
                    <a:pt x="40978" y="28501"/>
                    <a:pt x="38048" y="32447"/>
                  </a:cubicBezTo>
                  <a:cubicBezTo>
                    <a:pt x="35242" y="36224"/>
                    <a:pt x="32542" y="40072"/>
                    <a:pt x="29892" y="43955"/>
                  </a:cubicBezTo>
                  <a:cubicBezTo>
                    <a:pt x="26918" y="48210"/>
                    <a:pt x="24023" y="52526"/>
                    <a:pt x="21173" y="56860"/>
                  </a:cubicBezTo>
                  <a:cubicBezTo>
                    <a:pt x="19516" y="59374"/>
                    <a:pt x="18075" y="62045"/>
                    <a:pt x="16294" y="64470"/>
                  </a:cubicBezTo>
                  <a:cubicBezTo>
                    <a:pt x="15561" y="65466"/>
                    <a:pt x="14784" y="66422"/>
                    <a:pt x="14175" y="67461"/>
                  </a:cubicBezTo>
                  <a:cubicBezTo>
                    <a:pt x="13618" y="68061"/>
                    <a:pt x="13049" y="68633"/>
                    <a:pt x="12454" y="69164"/>
                  </a:cubicBezTo>
                  <a:cubicBezTo>
                    <a:pt x="12378" y="69232"/>
                    <a:pt x="12449" y="69335"/>
                    <a:pt x="12531" y="69335"/>
                  </a:cubicBezTo>
                  <a:cubicBezTo>
                    <a:pt x="12554" y="69335"/>
                    <a:pt x="12577" y="69327"/>
                    <a:pt x="12599" y="69309"/>
                  </a:cubicBezTo>
                  <a:cubicBezTo>
                    <a:pt x="13020" y="68936"/>
                    <a:pt x="13422" y="68538"/>
                    <a:pt x="13817" y="68128"/>
                  </a:cubicBezTo>
                  <a:lnTo>
                    <a:pt x="13817" y="68128"/>
                  </a:lnTo>
                  <a:cubicBezTo>
                    <a:pt x="13523" y="68728"/>
                    <a:pt x="13295" y="69363"/>
                    <a:pt x="13176" y="70053"/>
                  </a:cubicBezTo>
                  <a:cubicBezTo>
                    <a:pt x="12772" y="69944"/>
                    <a:pt x="12365" y="69843"/>
                    <a:pt x="11958" y="69771"/>
                  </a:cubicBezTo>
                  <a:cubicBezTo>
                    <a:pt x="13528" y="67530"/>
                    <a:pt x="15035" y="65255"/>
                    <a:pt x="16568" y="63156"/>
                  </a:cubicBezTo>
                  <a:cubicBezTo>
                    <a:pt x="21476" y="56435"/>
                    <a:pt x="26020" y="49449"/>
                    <a:pt x="30660" y="42540"/>
                  </a:cubicBezTo>
                  <a:cubicBezTo>
                    <a:pt x="35565" y="35236"/>
                    <a:pt x="40314" y="27788"/>
                    <a:pt x="45900" y="20980"/>
                  </a:cubicBezTo>
                  <a:cubicBezTo>
                    <a:pt x="46088" y="20752"/>
                    <a:pt x="46276" y="20527"/>
                    <a:pt x="46463" y="20302"/>
                  </a:cubicBezTo>
                  <a:close/>
                  <a:moveTo>
                    <a:pt x="32860" y="38282"/>
                  </a:moveTo>
                  <a:lnTo>
                    <a:pt x="32860" y="38282"/>
                  </a:lnTo>
                  <a:cubicBezTo>
                    <a:pt x="28584" y="44726"/>
                    <a:pt x="24467" y="51291"/>
                    <a:pt x="20096" y="57602"/>
                  </a:cubicBezTo>
                  <a:cubicBezTo>
                    <a:pt x="17296" y="61652"/>
                    <a:pt x="14418" y="65717"/>
                    <a:pt x="11444" y="69698"/>
                  </a:cubicBezTo>
                  <a:lnTo>
                    <a:pt x="11444" y="69695"/>
                  </a:lnTo>
                  <a:cubicBezTo>
                    <a:pt x="11409" y="69704"/>
                    <a:pt x="11389" y="69736"/>
                    <a:pt x="11389" y="69768"/>
                  </a:cubicBezTo>
                  <a:cubicBezTo>
                    <a:pt x="11187" y="70042"/>
                    <a:pt x="10985" y="70316"/>
                    <a:pt x="10780" y="70588"/>
                  </a:cubicBezTo>
                  <a:cubicBezTo>
                    <a:pt x="11028" y="70004"/>
                    <a:pt x="11242" y="69410"/>
                    <a:pt x="11421" y="68803"/>
                  </a:cubicBezTo>
                  <a:cubicBezTo>
                    <a:pt x="11421" y="68795"/>
                    <a:pt x="11418" y="68789"/>
                    <a:pt x="11418" y="68783"/>
                  </a:cubicBezTo>
                  <a:cubicBezTo>
                    <a:pt x="16739" y="61808"/>
                    <a:pt x="21482" y="54363"/>
                    <a:pt x="26286" y="47024"/>
                  </a:cubicBezTo>
                  <a:cubicBezTo>
                    <a:pt x="28500" y="44125"/>
                    <a:pt x="30692" y="41209"/>
                    <a:pt x="32860" y="38282"/>
                  </a:cubicBezTo>
                  <a:close/>
                  <a:moveTo>
                    <a:pt x="26534" y="62865"/>
                  </a:moveTo>
                  <a:lnTo>
                    <a:pt x="26534" y="62865"/>
                  </a:lnTo>
                  <a:cubicBezTo>
                    <a:pt x="24577" y="65616"/>
                    <a:pt x="22518" y="68287"/>
                    <a:pt x="20148" y="70741"/>
                  </a:cubicBezTo>
                  <a:cubicBezTo>
                    <a:pt x="20206" y="70556"/>
                    <a:pt x="20261" y="70371"/>
                    <a:pt x="20319" y="70189"/>
                  </a:cubicBezTo>
                  <a:lnTo>
                    <a:pt x="20316" y="70189"/>
                  </a:lnTo>
                  <a:cubicBezTo>
                    <a:pt x="22524" y="67906"/>
                    <a:pt x="24580" y="65440"/>
                    <a:pt x="26534" y="62865"/>
                  </a:cubicBezTo>
                  <a:close/>
                  <a:moveTo>
                    <a:pt x="26003" y="58884"/>
                  </a:moveTo>
                  <a:cubicBezTo>
                    <a:pt x="23864" y="62129"/>
                    <a:pt x="21834" y="65454"/>
                    <a:pt x="19923" y="68861"/>
                  </a:cubicBezTo>
                  <a:cubicBezTo>
                    <a:pt x="19403" y="69499"/>
                    <a:pt x="18881" y="70134"/>
                    <a:pt x="18347" y="70764"/>
                  </a:cubicBezTo>
                  <a:cubicBezTo>
                    <a:pt x="19048" y="69935"/>
                    <a:pt x="19634" y="67761"/>
                    <a:pt x="20345" y="66707"/>
                  </a:cubicBezTo>
                  <a:cubicBezTo>
                    <a:pt x="21505" y="64984"/>
                    <a:pt x="22801" y="63338"/>
                    <a:pt x="24017" y="61655"/>
                  </a:cubicBezTo>
                  <a:cubicBezTo>
                    <a:pt x="24681" y="60734"/>
                    <a:pt x="25342" y="59810"/>
                    <a:pt x="26003" y="58884"/>
                  </a:cubicBezTo>
                  <a:close/>
                  <a:moveTo>
                    <a:pt x="58837" y="11179"/>
                  </a:moveTo>
                  <a:cubicBezTo>
                    <a:pt x="51576" y="21237"/>
                    <a:pt x="43764" y="30888"/>
                    <a:pt x="36315" y="40805"/>
                  </a:cubicBezTo>
                  <a:cubicBezTo>
                    <a:pt x="32848" y="45422"/>
                    <a:pt x="29698" y="50246"/>
                    <a:pt x="26598" y="55110"/>
                  </a:cubicBezTo>
                  <a:cubicBezTo>
                    <a:pt x="22735" y="60044"/>
                    <a:pt x="18419" y="65174"/>
                    <a:pt x="15691" y="70726"/>
                  </a:cubicBezTo>
                  <a:cubicBezTo>
                    <a:pt x="15665" y="70784"/>
                    <a:pt x="15676" y="70850"/>
                    <a:pt x="15717" y="70899"/>
                  </a:cubicBezTo>
                  <a:cubicBezTo>
                    <a:pt x="15001" y="70637"/>
                    <a:pt x="14288" y="70377"/>
                    <a:pt x="13566" y="70163"/>
                  </a:cubicBezTo>
                  <a:lnTo>
                    <a:pt x="13566" y="70160"/>
                  </a:lnTo>
                  <a:cubicBezTo>
                    <a:pt x="14461" y="69323"/>
                    <a:pt x="15318" y="68443"/>
                    <a:pt x="16153" y="67533"/>
                  </a:cubicBezTo>
                  <a:lnTo>
                    <a:pt x="16153" y="67533"/>
                  </a:lnTo>
                  <a:cubicBezTo>
                    <a:pt x="15682" y="68385"/>
                    <a:pt x="15200" y="69231"/>
                    <a:pt x="14744" y="70097"/>
                  </a:cubicBezTo>
                  <a:cubicBezTo>
                    <a:pt x="14674" y="70230"/>
                    <a:pt x="14777" y="70339"/>
                    <a:pt x="14889" y="70339"/>
                  </a:cubicBezTo>
                  <a:cubicBezTo>
                    <a:pt x="14940" y="70339"/>
                    <a:pt x="14993" y="70316"/>
                    <a:pt x="15032" y="70264"/>
                  </a:cubicBezTo>
                  <a:cubicBezTo>
                    <a:pt x="23679" y="58855"/>
                    <a:pt x="31292" y="46724"/>
                    <a:pt x="39985" y="35320"/>
                  </a:cubicBezTo>
                  <a:cubicBezTo>
                    <a:pt x="44532" y="29355"/>
                    <a:pt x="48955" y="23284"/>
                    <a:pt x="53713" y="17484"/>
                  </a:cubicBezTo>
                  <a:cubicBezTo>
                    <a:pt x="55430" y="15391"/>
                    <a:pt x="57177" y="13321"/>
                    <a:pt x="58837" y="11179"/>
                  </a:cubicBezTo>
                  <a:close/>
                  <a:moveTo>
                    <a:pt x="44533" y="32057"/>
                  </a:moveTo>
                  <a:lnTo>
                    <a:pt x="44533" y="32057"/>
                  </a:lnTo>
                  <a:cubicBezTo>
                    <a:pt x="42264" y="35288"/>
                    <a:pt x="40048" y="38552"/>
                    <a:pt x="37892" y="41839"/>
                  </a:cubicBezTo>
                  <a:cubicBezTo>
                    <a:pt x="34439" y="46617"/>
                    <a:pt x="31009" y="51412"/>
                    <a:pt x="27545" y="56184"/>
                  </a:cubicBezTo>
                  <a:cubicBezTo>
                    <a:pt x="24060" y="60991"/>
                    <a:pt x="19496" y="65888"/>
                    <a:pt x="17429" y="71529"/>
                  </a:cubicBezTo>
                  <a:cubicBezTo>
                    <a:pt x="16912" y="71347"/>
                    <a:pt x="16398" y="71156"/>
                    <a:pt x="15884" y="70963"/>
                  </a:cubicBezTo>
                  <a:cubicBezTo>
                    <a:pt x="15910" y="70957"/>
                    <a:pt x="15933" y="70946"/>
                    <a:pt x="15951" y="70928"/>
                  </a:cubicBezTo>
                  <a:cubicBezTo>
                    <a:pt x="19816" y="66292"/>
                    <a:pt x="23206" y="61294"/>
                    <a:pt x="26508" y="56230"/>
                  </a:cubicBezTo>
                  <a:cubicBezTo>
                    <a:pt x="32632" y="48263"/>
                    <a:pt x="38704" y="40231"/>
                    <a:pt x="44533" y="32057"/>
                  </a:cubicBezTo>
                  <a:close/>
                  <a:moveTo>
                    <a:pt x="19066" y="70411"/>
                  </a:moveTo>
                  <a:cubicBezTo>
                    <a:pt x="18838" y="70833"/>
                    <a:pt x="18598" y="71246"/>
                    <a:pt x="18370" y="71673"/>
                  </a:cubicBezTo>
                  <a:cubicBezTo>
                    <a:pt x="18341" y="71728"/>
                    <a:pt x="18347" y="71794"/>
                    <a:pt x="18390" y="71843"/>
                  </a:cubicBezTo>
                  <a:lnTo>
                    <a:pt x="18387" y="71843"/>
                  </a:lnTo>
                  <a:cubicBezTo>
                    <a:pt x="18240" y="71797"/>
                    <a:pt x="18093" y="71754"/>
                    <a:pt x="17948" y="71705"/>
                  </a:cubicBezTo>
                  <a:cubicBezTo>
                    <a:pt x="18324" y="71278"/>
                    <a:pt x="18699" y="70847"/>
                    <a:pt x="19066" y="70411"/>
                  </a:cubicBezTo>
                  <a:close/>
                  <a:moveTo>
                    <a:pt x="67452" y="6539"/>
                  </a:moveTo>
                  <a:cubicBezTo>
                    <a:pt x="66733" y="7411"/>
                    <a:pt x="64937" y="11263"/>
                    <a:pt x="63722" y="13024"/>
                  </a:cubicBezTo>
                  <a:cubicBezTo>
                    <a:pt x="61929" y="15619"/>
                    <a:pt x="59943" y="18085"/>
                    <a:pt x="58052" y="20602"/>
                  </a:cubicBezTo>
                  <a:cubicBezTo>
                    <a:pt x="53770" y="26312"/>
                    <a:pt x="49648" y="32141"/>
                    <a:pt x="45358" y="37849"/>
                  </a:cubicBezTo>
                  <a:cubicBezTo>
                    <a:pt x="36881" y="49120"/>
                    <a:pt x="29170" y="60982"/>
                    <a:pt x="20576" y="72147"/>
                  </a:cubicBezTo>
                  <a:cubicBezTo>
                    <a:pt x="20524" y="72216"/>
                    <a:pt x="20555" y="72291"/>
                    <a:pt x="20610" y="72340"/>
                  </a:cubicBezTo>
                  <a:cubicBezTo>
                    <a:pt x="20123" y="72277"/>
                    <a:pt x="19638" y="72185"/>
                    <a:pt x="19162" y="72060"/>
                  </a:cubicBezTo>
                  <a:lnTo>
                    <a:pt x="19162" y="72060"/>
                  </a:lnTo>
                  <a:cubicBezTo>
                    <a:pt x="19194" y="72057"/>
                    <a:pt x="19224" y="72046"/>
                    <a:pt x="19248" y="72022"/>
                  </a:cubicBezTo>
                  <a:cubicBezTo>
                    <a:pt x="28180" y="63462"/>
                    <a:pt x="34647" y="51851"/>
                    <a:pt x="41760" y="41795"/>
                  </a:cubicBezTo>
                  <a:cubicBezTo>
                    <a:pt x="47289" y="33977"/>
                    <a:pt x="52699" y="25992"/>
                    <a:pt x="58392" y="18243"/>
                  </a:cubicBezTo>
                  <a:cubicBezTo>
                    <a:pt x="59420" y="16912"/>
                    <a:pt x="60422" y="15567"/>
                    <a:pt x="61406" y="14210"/>
                  </a:cubicBezTo>
                  <a:cubicBezTo>
                    <a:pt x="63375" y="11612"/>
                    <a:pt x="65382" y="9048"/>
                    <a:pt x="67452" y="6539"/>
                  </a:cubicBezTo>
                  <a:close/>
                  <a:moveTo>
                    <a:pt x="83172" y="8243"/>
                  </a:moveTo>
                  <a:lnTo>
                    <a:pt x="83172" y="8243"/>
                  </a:lnTo>
                  <a:cubicBezTo>
                    <a:pt x="82652" y="8780"/>
                    <a:pt x="80530" y="12943"/>
                    <a:pt x="79511" y="14320"/>
                  </a:cubicBezTo>
                  <a:cubicBezTo>
                    <a:pt x="79133" y="14782"/>
                    <a:pt x="78746" y="15241"/>
                    <a:pt x="78373" y="15708"/>
                  </a:cubicBezTo>
                  <a:cubicBezTo>
                    <a:pt x="76786" y="17588"/>
                    <a:pt x="75091" y="19387"/>
                    <a:pt x="73486" y="21249"/>
                  </a:cubicBezTo>
                  <a:cubicBezTo>
                    <a:pt x="69256" y="26157"/>
                    <a:pt x="65538" y="31575"/>
                    <a:pt x="61773" y="36841"/>
                  </a:cubicBezTo>
                  <a:cubicBezTo>
                    <a:pt x="58534" y="41374"/>
                    <a:pt x="55399" y="45976"/>
                    <a:pt x="52295" y="50595"/>
                  </a:cubicBezTo>
                  <a:cubicBezTo>
                    <a:pt x="47003" y="57810"/>
                    <a:pt x="41818" y="65154"/>
                    <a:pt x="37280" y="72733"/>
                  </a:cubicBezTo>
                  <a:cubicBezTo>
                    <a:pt x="36949" y="72523"/>
                    <a:pt x="36552" y="72392"/>
                    <a:pt x="36045" y="72392"/>
                  </a:cubicBezTo>
                  <a:cubicBezTo>
                    <a:pt x="36034" y="72392"/>
                    <a:pt x="36023" y="72392"/>
                    <a:pt x="36012" y="72392"/>
                  </a:cubicBezTo>
                  <a:cubicBezTo>
                    <a:pt x="35914" y="72395"/>
                    <a:pt x="35819" y="72424"/>
                    <a:pt x="35732" y="72473"/>
                  </a:cubicBezTo>
                  <a:cubicBezTo>
                    <a:pt x="36240" y="71803"/>
                    <a:pt x="36734" y="71113"/>
                    <a:pt x="37213" y="70414"/>
                  </a:cubicBezTo>
                  <a:lnTo>
                    <a:pt x="37213" y="70414"/>
                  </a:lnTo>
                  <a:cubicBezTo>
                    <a:pt x="36974" y="70989"/>
                    <a:pt x="36777" y="71578"/>
                    <a:pt x="36665" y="72193"/>
                  </a:cubicBezTo>
                  <a:cubicBezTo>
                    <a:pt x="36647" y="72287"/>
                    <a:pt x="36727" y="72349"/>
                    <a:pt x="36799" y="72349"/>
                  </a:cubicBezTo>
                  <a:cubicBezTo>
                    <a:pt x="36847" y="72349"/>
                    <a:pt x="36892" y="72322"/>
                    <a:pt x="36904" y="72259"/>
                  </a:cubicBezTo>
                  <a:cubicBezTo>
                    <a:pt x="37427" y="69482"/>
                    <a:pt x="39529" y="67146"/>
                    <a:pt x="41076" y="64866"/>
                  </a:cubicBezTo>
                  <a:cubicBezTo>
                    <a:pt x="42907" y="62163"/>
                    <a:pt x="44841" y="59533"/>
                    <a:pt x="46792" y="56920"/>
                  </a:cubicBezTo>
                  <a:cubicBezTo>
                    <a:pt x="50970" y="51323"/>
                    <a:pt x="55220" y="45780"/>
                    <a:pt x="59325" y="40127"/>
                  </a:cubicBezTo>
                  <a:cubicBezTo>
                    <a:pt x="67108" y="29413"/>
                    <a:pt x="73922" y="17793"/>
                    <a:pt x="83172" y="8243"/>
                  </a:cubicBezTo>
                  <a:close/>
                  <a:moveTo>
                    <a:pt x="75258" y="29705"/>
                  </a:moveTo>
                  <a:lnTo>
                    <a:pt x="75258" y="29705"/>
                  </a:lnTo>
                  <a:cubicBezTo>
                    <a:pt x="72724" y="33697"/>
                    <a:pt x="70275" y="37725"/>
                    <a:pt x="67706" y="41530"/>
                  </a:cubicBezTo>
                  <a:cubicBezTo>
                    <a:pt x="61383" y="50887"/>
                    <a:pt x="54527" y="59955"/>
                    <a:pt x="48525" y="69537"/>
                  </a:cubicBezTo>
                  <a:cubicBezTo>
                    <a:pt x="47644" y="70616"/>
                    <a:pt x="46764" y="71696"/>
                    <a:pt x="45906" y="72793"/>
                  </a:cubicBezTo>
                  <a:cubicBezTo>
                    <a:pt x="47425" y="70336"/>
                    <a:pt x="48961" y="67897"/>
                    <a:pt x="50511" y="65478"/>
                  </a:cubicBezTo>
                  <a:cubicBezTo>
                    <a:pt x="52027" y="63214"/>
                    <a:pt x="53499" y="60922"/>
                    <a:pt x="54960" y="58621"/>
                  </a:cubicBezTo>
                  <a:cubicBezTo>
                    <a:pt x="59351" y="51958"/>
                    <a:pt x="63881" y="45401"/>
                    <a:pt x="68615" y="38923"/>
                  </a:cubicBezTo>
                  <a:cubicBezTo>
                    <a:pt x="70847" y="35871"/>
                    <a:pt x="73027" y="32768"/>
                    <a:pt x="75258" y="29705"/>
                  </a:cubicBezTo>
                  <a:close/>
                  <a:moveTo>
                    <a:pt x="77022" y="19046"/>
                  </a:moveTo>
                  <a:lnTo>
                    <a:pt x="77022" y="19046"/>
                  </a:lnTo>
                  <a:cubicBezTo>
                    <a:pt x="72302" y="25394"/>
                    <a:pt x="67992" y="32101"/>
                    <a:pt x="63410" y="38464"/>
                  </a:cubicBezTo>
                  <a:cubicBezTo>
                    <a:pt x="59126" y="44414"/>
                    <a:pt x="54853" y="50376"/>
                    <a:pt x="50595" y="56343"/>
                  </a:cubicBezTo>
                  <a:cubicBezTo>
                    <a:pt x="46769" y="61687"/>
                    <a:pt x="41815" y="67091"/>
                    <a:pt x="38793" y="72889"/>
                  </a:cubicBezTo>
                  <a:cubicBezTo>
                    <a:pt x="40453" y="69704"/>
                    <a:pt x="42274" y="66583"/>
                    <a:pt x="44188" y="63506"/>
                  </a:cubicBezTo>
                  <a:cubicBezTo>
                    <a:pt x="46484" y="60116"/>
                    <a:pt x="48744" y="56695"/>
                    <a:pt x="51002" y="53274"/>
                  </a:cubicBezTo>
                  <a:cubicBezTo>
                    <a:pt x="54177" y="48756"/>
                    <a:pt x="57463" y="44327"/>
                    <a:pt x="60714" y="39962"/>
                  </a:cubicBezTo>
                  <a:lnTo>
                    <a:pt x="60714" y="39965"/>
                  </a:lnTo>
                  <a:cubicBezTo>
                    <a:pt x="65281" y="33833"/>
                    <a:pt x="69883" y="27664"/>
                    <a:pt x="74750" y="21765"/>
                  </a:cubicBezTo>
                  <a:cubicBezTo>
                    <a:pt x="75504" y="20853"/>
                    <a:pt x="76266" y="19950"/>
                    <a:pt x="77022" y="19046"/>
                  </a:cubicBezTo>
                  <a:close/>
                  <a:moveTo>
                    <a:pt x="41593" y="67291"/>
                  </a:moveTo>
                  <a:lnTo>
                    <a:pt x="41593" y="67291"/>
                  </a:lnTo>
                  <a:cubicBezTo>
                    <a:pt x="40380" y="69358"/>
                    <a:pt x="39202" y="71445"/>
                    <a:pt x="38091" y="73561"/>
                  </a:cubicBezTo>
                  <a:lnTo>
                    <a:pt x="38091" y="73558"/>
                  </a:lnTo>
                  <a:cubicBezTo>
                    <a:pt x="37944" y="73336"/>
                    <a:pt x="37768" y="73131"/>
                    <a:pt x="37568" y="72949"/>
                  </a:cubicBezTo>
                  <a:cubicBezTo>
                    <a:pt x="38934" y="71084"/>
                    <a:pt x="40276" y="69196"/>
                    <a:pt x="41593" y="67291"/>
                  </a:cubicBezTo>
                  <a:close/>
                  <a:moveTo>
                    <a:pt x="48239" y="38247"/>
                  </a:moveTo>
                  <a:lnTo>
                    <a:pt x="48239" y="38247"/>
                  </a:lnTo>
                  <a:cubicBezTo>
                    <a:pt x="40767" y="49022"/>
                    <a:pt x="33033" y="59628"/>
                    <a:pt x="26448" y="70966"/>
                  </a:cubicBezTo>
                  <a:cubicBezTo>
                    <a:pt x="25672" y="71973"/>
                    <a:pt x="24897" y="72982"/>
                    <a:pt x="24116" y="73973"/>
                  </a:cubicBezTo>
                  <a:lnTo>
                    <a:pt x="24116" y="73973"/>
                  </a:lnTo>
                  <a:cubicBezTo>
                    <a:pt x="27803" y="69279"/>
                    <a:pt x="30449" y="63788"/>
                    <a:pt x="33544" y="58708"/>
                  </a:cubicBezTo>
                  <a:cubicBezTo>
                    <a:pt x="33743" y="58378"/>
                    <a:pt x="33951" y="58058"/>
                    <a:pt x="34156" y="57732"/>
                  </a:cubicBezTo>
                  <a:cubicBezTo>
                    <a:pt x="36287" y="54723"/>
                    <a:pt x="38365" y="51675"/>
                    <a:pt x="40429" y="48638"/>
                  </a:cubicBezTo>
                  <a:cubicBezTo>
                    <a:pt x="42139" y="46317"/>
                    <a:pt x="43882" y="44021"/>
                    <a:pt x="45591" y="41729"/>
                  </a:cubicBezTo>
                  <a:cubicBezTo>
                    <a:pt x="46460" y="40563"/>
                    <a:pt x="47344" y="39402"/>
                    <a:pt x="48239" y="38247"/>
                  </a:cubicBezTo>
                  <a:close/>
                  <a:moveTo>
                    <a:pt x="30331" y="33796"/>
                  </a:moveTo>
                  <a:lnTo>
                    <a:pt x="30331" y="33796"/>
                  </a:lnTo>
                  <a:cubicBezTo>
                    <a:pt x="25022" y="41126"/>
                    <a:pt x="19926" y="48551"/>
                    <a:pt x="15388" y="56401"/>
                  </a:cubicBezTo>
                  <a:cubicBezTo>
                    <a:pt x="14882" y="57048"/>
                    <a:pt x="14389" y="57697"/>
                    <a:pt x="13878" y="58341"/>
                  </a:cubicBezTo>
                  <a:cubicBezTo>
                    <a:pt x="11727" y="61058"/>
                    <a:pt x="9640" y="63823"/>
                    <a:pt x="7584" y="66609"/>
                  </a:cubicBezTo>
                  <a:cubicBezTo>
                    <a:pt x="6305" y="68344"/>
                    <a:pt x="4991" y="70048"/>
                    <a:pt x="3617" y="71702"/>
                  </a:cubicBezTo>
                  <a:cubicBezTo>
                    <a:pt x="3177" y="72234"/>
                    <a:pt x="1685" y="73996"/>
                    <a:pt x="1492" y="73996"/>
                  </a:cubicBezTo>
                  <a:cubicBezTo>
                    <a:pt x="1398" y="73996"/>
                    <a:pt x="1612" y="73578"/>
                    <a:pt x="2405" y="72398"/>
                  </a:cubicBezTo>
                  <a:cubicBezTo>
                    <a:pt x="6406" y="66442"/>
                    <a:pt x="11201" y="61239"/>
                    <a:pt x="14981" y="55105"/>
                  </a:cubicBezTo>
                  <a:cubicBezTo>
                    <a:pt x="19074" y="48453"/>
                    <a:pt x="23728" y="42390"/>
                    <a:pt x="28489" y="36209"/>
                  </a:cubicBezTo>
                  <a:cubicBezTo>
                    <a:pt x="29107" y="35407"/>
                    <a:pt x="29716" y="34601"/>
                    <a:pt x="30331" y="33796"/>
                  </a:cubicBezTo>
                  <a:close/>
                  <a:moveTo>
                    <a:pt x="27828" y="69312"/>
                  </a:moveTo>
                  <a:lnTo>
                    <a:pt x="27828" y="69312"/>
                  </a:lnTo>
                  <a:cubicBezTo>
                    <a:pt x="26809" y="70974"/>
                    <a:pt x="25836" y="72658"/>
                    <a:pt x="24909" y="74364"/>
                  </a:cubicBezTo>
                  <a:cubicBezTo>
                    <a:pt x="25013" y="74144"/>
                    <a:pt x="25154" y="73864"/>
                    <a:pt x="25354" y="73501"/>
                  </a:cubicBezTo>
                  <a:cubicBezTo>
                    <a:pt x="26041" y="72248"/>
                    <a:pt x="26757" y="71009"/>
                    <a:pt x="27475" y="69776"/>
                  </a:cubicBezTo>
                  <a:cubicBezTo>
                    <a:pt x="27594" y="69623"/>
                    <a:pt x="27709" y="69465"/>
                    <a:pt x="27828" y="69312"/>
                  </a:cubicBezTo>
                  <a:close/>
                  <a:moveTo>
                    <a:pt x="12521" y="61338"/>
                  </a:moveTo>
                  <a:cubicBezTo>
                    <a:pt x="10119" y="64776"/>
                    <a:pt x="7757" y="68240"/>
                    <a:pt x="5436" y="71722"/>
                  </a:cubicBezTo>
                  <a:cubicBezTo>
                    <a:pt x="4787" y="72461"/>
                    <a:pt x="4122" y="73186"/>
                    <a:pt x="3415" y="73879"/>
                  </a:cubicBezTo>
                  <a:lnTo>
                    <a:pt x="3415" y="73876"/>
                  </a:lnTo>
                  <a:cubicBezTo>
                    <a:pt x="2760" y="74518"/>
                    <a:pt x="2467" y="74754"/>
                    <a:pt x="2390" y="74754"/>
                  </a:cubicBezTo>
                  <a:cubicBezTo>
                    <a:pt x="2195" y="74754"/>
                    <a:pt x="3396" y="73227"/>
                    <a:pt x="3560" y="72995"/>
                  </a:cubicBezTo>
                  <a:cubicBezTo>
                    <a:pt x="4538" y="71610"/>
                    <a:pt x="5563" y="70253"/>
                    <a:pt x="6585" y="68893"/>
                  </a:cubicBezTo>
                  <a:cubicBezTo>
                    <a:pt x="8508" y="66332"/>
                    <a:pt x="10506" y="63829"/>
                    <a:pt x="12521" y="61338"/>
                  </a:cubicBezTo>
                  <a:close/>
                  <a:moveTo>
                    <a:pt x="68163" y="8657"/>
                  </a:moveTo>
                  <a:cubicBezTo>
                    <a:pt x="68217" y="8657"/>
                    <a:pt x="68048" y="9021"/>
                    <a:pt x="67492" y="10041"/>
                  </a:cubicBezTo>
                  <a:cubicBezTo>
                    <a:pt x="67189" y="10598"/>
                    <a:pt x="66866" y="11144"/>
                    <a:pt x="66534" y="11684"/>
                  </a:cubicBezTo>
                  <a:cubicBezTo>
                    <a:pt x="60812" y="17585"/>
                    <a:pt x="56247" y="24814"/>
                    <a:pt x="51669" y="31717"/>
                  </a:cubicBezTo>
                  <a:cubicBezTo>
                    <a:pt x="49411" y="34893"/>
                    <a:pt x="47168" y="38086"/>
                    <a:pt x="44873" y="41230"/>
                  </a:cubicBezTo>
                  <a:cubicBezTo>
                    <a:pt x="41293" y="46123"/>
                    <a:pt x="37540" y="50892"/>
                    <a:pt x="34211" y="55962"/>
                  </a:cubicBezTo>
                  <a:cubicBezTo>
                    <a:pt x="32473" y="58612"/>
                    <a:pt x="30585" y="61647"/>
                    <a:pt x="28674" y="64487"/>
                  </a:cubicBezTo>
                  <a:cubicBezTo>
                    <a:pt x="26679" y="67048"/>
                    <a:pt x="24629" y="69557"/>
                    <a:pt x="22490" y="71956"/>
                  </a:cubicBezTo>
                  <a:cubicBezTo>
                    <a:pt x="22381" y="72078"/>
                    <a:pt x="22487" y="72240"/>
                    <a:pt x="22611" y="72240"/>
                  </a:cubicBezTo>
                  <a:cubicBezTo>
                    <a:pt x="22648" y="72240"/>
                    <a:pt x="22688" y="72225"/>
                    <a:pt x="22723" y="72190"/>
                  </a:cubicBezTo>
                  <a:cubicBezTo>
                    <a:pt x="24239" y="70651"/>
                    <a:pt x="25622" y="69014"/>
                    <a:pt x="26927" y="67322"/>
                  </a:cubicBezTo>
                  <a:cubicBezTo>
                    <a:pt x="28428" y="65486"/>
                    <a:pt x="29877" y="63587"/>
                    <a:pt x="31304" y="61664"/>
                  </a:cubicBezTo>
                  <a:lnTo>
                    <a:pt x="31304" y="61664"/>
                  </a:lnTo>
                  <a:cubicBezTo>
                    <a:pt x="28645" y="66139"/>
                    <a:pt x="26208" y="70735"/>
                    <a:pt x="22980" y="74872"/>
                  </a:cubicBezTo>
                  <a:cubicBezTo>
                    <a:pt x="22943" y="74029"/>
                    <a:pt x="23116" y="73267"/>
                    <a:pt x="23584" y="72658"/>
                  </a:cubicBezTo>
                  <a:lnTo>
                    <a:pt x="23581" y="72658"/>
                  </a:lnTo>
                  <a:cubicBezTo>
                    <a:pt x="23618" y="72608"/>
                    <a:pt x="23572" y="72554"/>
                    <a:pt x="23520" y="72545"/>
                  </a:cubicBezTo>
                  <a:cubicBezTo>
                    <a:pt x="23751" y="72490"/>
                    <a:pt x="23982" y="72427"/>
                    <a:pt x="24216" y="72346"/>
                  </a:cubicBezTo>
                  <a:cubicBezTo>
                    <a:pt x="24401" y="72281"/>
                    <a:pt x="24349" y="72006"/>
                    <a:pt x="24184" y="72006"/>
                  </a:cubicBezTo>
                  <a:cubicBezTo>
                    <a:pt x="24166" y="72006"/>
                    <a:pt x="24147" y="72010"/>
                    <a:pt x="24127" y="72017"/>
                  </a:cubicBezTo>
                  <a:cubicBezTo>
                    <a:pt x="23312" y="72299"/>
                    <a:pt x="22513" y="72415"/>
                    <a:pt x="21726" y="72415"/>
                  </a:cubicBezTo>
                  <a:cubicBezTo>
                    <a:pt x="21412" y="72415"/>
                    <a:pt x="21100" y="72397"/>
                    <a:pt x="20789" y="72363"/>
                  </a:cubicBezTo>
                  <a:cubicBezTo>
                    <a:pt x="20804" y="72357"/>
                    <a:pt x="20818" y="72357"/>
                    <a:pt x="20830" y="72343"/>
                  </a:cubicBezTo>
                  <a:cubicBezTo>
                    <a:pt x="29063" y="61846"/>
                    <a:pt x="37222" y="51291"/>
                    <a:pt x="45118" y="40534"/>
                  </a:cubicBezTo>
                  <a:cubicBezTo>
                    <a:pt x="48984" y="35265"/>
                    <a:pt x="52647" y="29863"/>
                    <a:pt x="56377" y="24497"/>
                  </a:cubicBezTo>
                  <a:cubicBezTo>
                    <a:pt x="58410" y="21575"/>
                    <a:pt x="60483" y="18685"/>
                    <a:pt x="62602" y="15827"/>
                  </a:cubicBezTo>
                  <a:cubicBezTo>
                    <a:pt x="64008" y="13927"/>
                    <a:pt x="65463" y="12065"/>
                    <a:pt x="66929" y="10212"/>
                  </a:cubicBezTo>
                  <a:cubicBezTo>
                    <a:pt x="67456" y="9548"/>
                    <a:pt x="68080" y="8657"/>
                    <a:pt x="68163" y="8657"/>
                  </a:cubicBezTo>
                  <a:close/>
                  <a:moveTo>
                    <a:pt x="52457" y="66136"/>
                  </a:moveTo>
                  <a:cubicBezTo>
                    <a:pt x="51256" y="67903"/>
                    <a:pt x="50049" y="69669"/>
                    <a:pt x="48808" y="71413"/>
                  </a:cubicBezTo>
                  <a:cubicBezTo>
                    <a:pt x="47944" y="72626"/>
                    <a:pt x="47029" y="73798"/>
                    <a:pt x="46100" y="74958"/>
                  </a:cubicBezTo>
                  <a:cubicBezTo>
                    <a:pt x="47965" y="71895"/>
                    <a:pt x="50159" y="68980"/>
                    <a:pt x="52457" y="66136"/>
                  </a:cubicBezTo>
                  <a:close/>
                  <a:moveTo>
                    <a:pt x="60229" y="25605"/>
                  </a:moveTo>
                  <a:lnTo>
                    <a:pt x="60229" y="25605"/>
                  </a:lnTo>
                  <a:cubicBezTo>
                    <a:pt x="55754" y="31983"/>
                    <a:pt x="51342" y="38406"/>
                    <a:pt x="46902" y="44792"/>
                  </a:cubicBezTo>
                  <a:cubicBezTo>
                    <a:pt x="43132" y="50217"/>
                    <a:pt x="39529" y="55760"/>
                    <a:pt x="35727" y="61164"/>
                  </a:cubicBezTo>
                  <a:cubicBezTo>
                    <a:pt x="33527" y="64291"/>
                    <a:pt x="31223" y="67340"/>
                    <a:pt x="28812" y="70310"/>
                  </a:cubicBezTo>
                  <a:cubicBezTo>
                    <a:pt x="28312" y="70930"/>
                    <a:pt x="25198" y="74969"/>
                    <a:pt x="24772" y="74969"/>
                  </a:cubicBezTo>
                  <a:cubicBezTo>
                    <a:pt x="24743" y="74969"/>
                    <a:pt x="24727" y="74951"/>
                    <a:pt x="24724" y="74912"/>
                  </a:cubicBezTo>
                  <a:cubicBezTo>
                    <a:pt x="24843" y="74739"/>
                    <a:pt x="25007" y="74491"/>
                    <a:pt x="25203" y="74141"/>
                  </a:cubicBezTo>
                  <a:cubicBezTo>
                    <a:pt x="26015" y="72712"/>
                    <a:pt x="26889" y="71324"/>
                    <a:pt x="27776" y="69938"/>
                  </a:cubicBezTo>
                  <a:cubicBezTo>
                    <a:pt x="29291" y="67571"/>
                    <a:pt x="30934" y="65284"/>
                    <a:pt x="32606" y="63021"/>
                  </a:cubicBezTo>
                  <a:cubicBezTo>
                    <a:pt x="32744" y="62833"/>
                    <a:pt x="32880" y="62648"/>
                    <a:pt x="33019" y="62464"/>
                  </a:cubicBezTo>
                  <a:cubicBezTo>
                    <a:pt x="33504" y="61808"/>
                    <a:pt x="33991" y="61156"/>
                    <a:pt x="34479" y="60500"/>
                  </a:cubicBezTo>
                  <a:cubicBezTo>
                    <a:pt x="38960" y="54501"/>
                    <a:pt x="43374" y="48453"/>
                    <a:pt x="47872" y="42465"/>
                  </a:cubicBezTo>
                  <a:cubicBezTo>
                    <a:pt x="51553" y="37563"/>
                    <a:pt x="55110" y="32586"/>
                    <a:pt x="58655" y="27591"/>
                  </a:cubicBezTo>
                  <a:cubicBezTo>
                    <a:pt x="59181" y="26930"/>
                    <a:pt x="59703" y="26269"/>
                    <a:pt x="60229" y="25605"/>
                  </a:cubicBezTo>
                  <a:close/>
                  <a:moveTo>
                    <a:pt x="10506" y="72132"/>
                  </a:moveTo>
                  <a:lnTo>
                    <a:pt x="10506" y="72132"/>
                  </a:lnTo>
                  <a:cubicBezTo>
                    <a:pt x="9980" y="72701"/>
                    <a:pt x="9489" y="73749"/>
                    <a:pt x="9013" y="74800"/>
                  </a:cubicBezTo>
                  <a:lnTo>
                    <a:pt x="9010" y="74800"/>
                  </a:lnTo>
                  <a:cubicBezTo>
                    <a:pt x="8987" y="74823"/>
                    <a:pt x="8967" y="74852"/>
                    <a:pt x="8944" y="74875"/>
                  </a:cubicBezTo>
                  <a:cubicBezTo>
                    <a:pt x="8756" y="75080"/>
                    <a:pt x="8548" y="75319"/>
                    <a:pt x="8361" y="75539"/>
                  </a:cubicBezTo>
                  <a:cubicBezTo>
                    <a:pt x="8312" y="75444"/>
                    <a:pt x="8271" y="75342"/>
                    <a:pt x="8239" y="75241"/>
                  </a:cubicBezTo>
                  <a:cubicBezTo>
                    <a:pt x="8283" y="75169"/>
                    <a:pt x="8326" y="75097"/>
                    <a:pt x="8378" y="75013"/>
                  </a:cubicBezTo>
                  <a:cubicBezTo>
                    <a:pt x="8696" y="74499"/>
                    <a:pt x="9004" y="73991"/>
                    <a:pt x="9305" y="73480"/>
                  </a:cubicBezTo>
                  <a:cubicBezTo>
                    <a:pt x="9674" y="73004"/>
                    <a:pt x="10075" y="72554"/>
                    <a:pt x="10506" y="72132"/>
                  </a:cubicBezTo>
                  <a:close/>
                  <a:moveTo>
                    <a:pt x="60552" y="45696"/>
                  </a:moveTo>
                  <a:lnTo>
                    <a:pt x="60552" y="45696"/>
                  </a:lnTo>
                  <a:cubicBezTo>
                    <a:pt x="58499" y="48921"/>
                    <a:pt x="56493" y="52180"/>
                    <a:pt x="54489" y="55445"/>
                  </a:cubicBezTo>
                  <a:cubicBezTo>
                    <a:pt x="53277" y="57099"/>
                    <a:pt x="52073" y="58760"/>
                    <a:pt x="50852" y="60408"/>
                  </a:cubicBezTo>
                  <a:cubicBezTo>
                    <a:pt x="47176" y="65377"/>
                    <a:pt x="43080" y="70238"/>
                    <a:pt x="40224" y="75752"/>
                  </a:cubicBezTo>
                  <a:cubicBezTo>
                    <a:pt x="40206" y="75744"/>
                    <a:pt x="40192" y="75729"/>
                    <a:pt x="40170" y="75729"/>
                  </a:cubicBezTo>
                  <a:cubicBezTo>
                    <a:pt x="40168" y="75729"/>
                    <a:pt x="40166" y="75729"/>
                    <a:pt x="40164" y="75729"/>
                  </a:cubicBezTo>
                  <a:cubicBezTo>
                    <a:pt x="40121" y="75734"/>
                    <a:pt x="40079" y="75736"/>
                    <a:pt x="40038" y="75736"/>
                  </a:cubicBezTo>
                  <a:cubicBezTo>
                    <a:pt x="39192" y="75736"/>
                    <a:pt x="38840" y="74813"/>
                    <a:pt x="38331" y="73939"/>
                  </a:cubicBezTo>
                  <a:cubicBezTo>
                    <a:pt x="44896" y="64866"/>
                    <a:pt x="51507" y="55806"/>
                    <a:pt x="58055" y="46706"/>
                  </a:cubicBezTo>
                  <a:lnTo>
                    <a:pt x="58055" y="46706"/>
                  </a:lnTo>
                  <a:cubicBezTo>
                    <a:pt x="54798" y="51530"/>
                    <a:pt x="51651" y="56421"/>
                    <a:pt x="48447" y="61280"/>
                  </a:cubicBezTo>
                  <a:cubicBezTo>
                    <a:pt x="45228" y="65688"/>
                    <a:pt x="42064" y="70140"/>
                    <a:pt x="39000" y="74661"/>
                  </a:cubicBezTo>
                  <a:cubicBezTo>
                    <a:pt x="38912" y="74792"/>
                    <a:pt x="39027" y="74906"/>
                    <a:pt x="39148" y="74906"/>
                  </a:cubicBezTo>
                  <a:cubicBezTo>
                    <a:pt x="39200" y="74906"/>
                    <a:pt x="39254" y="74885"/>
                    <a:pt x="39292" y="74834"/>
                  </a:cubicBezTo>
                  <a:cubicBezTo>
                    <a:pt x="42595" y="70527"/>
                    <a:pt x="45664" y="66061"/>
                    <a:pt x="48666" y="61548"/>
                  </a:cubicBezTo>
                  <a:cubicBezTo>
                    <a:pt x="49362" y="60596"/>
                    <a:pt x="50052" y="59637"/>
                    <a:pt x="50753" y="58687"/>
                  </a:cubicBezTo>
                  <a:cubicBezTo>
                    <a:pt x="53967" y="54322"/>
                    <a:pt x="57249" y="50003"/>
                    <a:pt x="60552" y="45696"/>
                  </a:cubicBezTo>
                  <a:close/>
                  <a:moveTo>
                    <a:pt x="57691" y="53569"/>
                  </a:moveTo>
                  <a:lnTo>
                    <a:pt x="57691" y="53569"/>
                  </a:lnTo>
                  <a:cubicBezTo>
                    <a:pt x="56626" y="55255"/>
                    <a:pt x="55560" y="56944"/>
                    <a:pt x="54504" y="58635"/>
                  </a:cubicBezTo>
                  <a:cubicBezTo>
                    <a:pt x="53184" y="60682"/>
                    <a:pt x="51876" y="62729"/>
                    <a:pt x="50574" y="64779"/>
                  </a:cubicBezTo>
                  <a:cubicBezTo>
                    <a:pt x="48920" y="67288"/>
                    <a:pt x="47200" y="69750"/>
                    <a:pt x="45410" y="72163"/>
                  </a:cubicBezTo>
                  <a:lnTo>
                    <a:pt x="45410" y="72163"/>
                  </a:lnTo>
                  <a:cubicBezTo>
                    <a:pt x="45444" y="72118"/>
                    <a:pt x="45461" y="72096"/>
                    <a:pt x="45463" y="72096"/>
                  </a:cubicBezTo>
                  <a:lnTo>
                    <a:pt x="45463" y="72096"/>
                  </a:lnTo>
                  <a:cubicBezTo>
                    <a:pt x="45491" y="72096"/>
                    <a:pt x="42851" y="75906"/>
                    <a:pt x="42459" y="75906"/>
                  </a:cubicBezTo>
                  <a:cubicBezTo>
                    <a:pt x="42339" y="75906"/>
                    <a:pt x="42431" y="75546"/>
                    <a:pt x="42878" y="74606"/>
                  </a:cubicBezTo>
                  <a:cubicBezTo>
                    <a:pt x="43764" y="72738"/>
                    <a:pt x="44930" y="70998"/>
                    <a:pt x="46074" y="69283"/>
                  </a:cubicBezTo>
                  <a:cubicBezTo>
                    <a:pt x="49581" y="64011"/>
                    <a:pt x="53753" y="59167"/>
                    <a:pt x="57405" y="53982"/>
                  </a:cubicBezTo>
                  <a:cubicBezTo>
                    <a:pt x="57500" y="53843"/>
                    <a:pt x="57593" y="53707"/>
                    <a:pt x="57691" y="53569"/>
                  </a:cubicBezTo>
                  <a:close/>
                  <a:moveTo>
                    <a:pt x="34303" y="32716"/>
                  </a:moveTo>
                  <a:cubicBezTo>
                    <a:pt x="33039" y="34523"/>
                    <a:pt x="31777" y="36327"/>
                    <a:pt x="30518" y="38135"/>
                  </a:cubicBezTo>
                  <a:lnTo>
                    <a:pt x="30518" y="38132"/>
                  </a:lnTo>
                  <a:cubicBezTo>
                    <a:pt x="26107" y="44443"/>
                    <a:pt x="21482" y="50592"/>
                    <a:pt x="17027" y="56866"/>
                  </a:cubicBezTo>
                  <a:cubicBezTo>
                    <a:pt x="12420" y="63356"/>
                    <a:pt x="8381" y="70189"/>
                    <a:pt x="2947" y="76056"/>
                  </a:cubicBezTo>
                  <a:cubicBezTo>
                    <a:pt x="4287" y="74609"/>
                    <a:pt x="5404" y="72767"/>
                    <a:pt x="6513" y="70983"/>
                  </a:cubicBezTo>
                  <a:cubicBezTo>
                    <a:pt x="8924" y="68186"/>
                    <a:pt x="11014" y="65088"/>
                    <a:pt x="12954" y="61863"/>
                  </a:cubicBezTo>
                  <a:cubicBezTo>
                    <a:pt x="13739" y="60772"/>
                    <a:pt x="14516" y="59675"/>
                    <a:pt x="15266" y="58555"/>
                  </a:cubicBezTo>
                  <a:cubicBezTo>
                    <a:pt x="16248" y="57091"/>
                    <a:pt x="17253" y="55647"/>
                    <a:pt x="18257" y="54212"/>
                  </a:cubicBezTo>
                  <a:cubicBezTo>
                    <a:pt x="23809" y="47188"/>
                    <a:pt x="29110" y="39997"/>
                    <a:pt x="34303" y="32716"/>
                  </a:cubicBezTo>
                  <a:close/>
                  <a:moveTo>
                    <a:pt x="74698" y="16563"/>
                  </a:moveTo>
                  <a:lnTo>
                    <a:pt x="74698" y="16563"/>
                  </a:lnTo>
                  <a:cubicBezTo>
                    <a:pt x="74248" y="17270"/>
                    <a:pt x="73806" y="17940"/>
                    <a:pt x="73364" y="18538"/>
                  </a:cubicBezTo>
                  <a:cubicBezTo>
                    <a:pt x="68855" y="24664"/>
                    <a:pt x="64291" y="30735"/>
                    <a:pt x="59989" y="37009"/>
                  </a:cubicBezTo>
                  <a:cubicBezTo>
                    <a:pt x="55829" y="43083"/>
                    <a:pt x="51741" y="49293"/>
                    <a:pt x="47543" y="55428"/>
                  </a:cubicBezTo>
                  <a:cubicBezTo>
                    <a:pt x="47205" y="55875"/>
                    <a:pt x="46870" y="56323"/>
                    <a:pt x="46530" y="56770"/>
                  </a:cubicBezTo>
                  <a:cubicBezTo>
                    <a:pt x="44567" y="59374"/>
                    <a:pt x="42678" y="62033"/>
                    <a:pt x="40834" y="64724"/>
                  </a:cubicBezTo>
                  <a:cubicBezTo>
                    <a:pt x="40008" y="65931"/>
                    <a:pt x="39064" y="67135"/>
                    <a:pt x="38270" y="68402"/>
                  </a:cubicBezTo>
                  <a:cubicBezTo>
                    <a:pt x="36471" y="70784"/>
                    <a:pt x="34650" y="73140"/>
                    <a:pt x="32762" y="75432"/>
                  </a:cubicBezTo>
                  <a:cubicBezTo>
                    <a:pt x="32372" y="75905"/>
                    <a:pt x="32185" y="76098"/>
                    <a:pt x="32141" y="76098"/>
                  </a:cubicBezTo>
                  <a:cubicBezTo>
                    <a:pt x="31958" y="76098"/>
                    <a:pt x="34248" y="72748"/>
                    <a:pt x="34655" y="72271"/>
                  </a:cubicBezTo>
                  <a:cubicBezTo>
                    <a:pt x="35701" y="71047"/>
                    <a:pt x="36702" y="69779"/>
                    <a:pt x="37690" y="68509"/>
                  </a:cubicBezTo>
                  <a:cubicBezTo>
                    <a:pt x="39725" y="65896"/>
                    <a:pt x="41466" y="63050"/>
                    <a:pt x="43230" y="60252"/>
                  </a:cubicBezTo>
                  <a:cubicBezTo>
                    <a:pt x="47257" y="53863"/>
                    <a:pt x="51490" y="47604"/>
                    <a:pt x="55742" y="41365"/>
                  </a:cubicBezTo>
                  <a:cubicBezTo>
                    <a:pt x="60200" y="34835"/>
                    <a:pt x="64741" y="28385"/>
                    <a:pt x="69886" y="22372"/>
                  </a:cubicBezTo>
                  <a:cubicBezTo>
                    <a:pt x="71525" y="20455"/>
                    <a:pt x="73154" y="18535"/>
                    <a:pt x="74698" y="16563"/>
                  </a:cubicBezTo>
                  <a:close/>
                  <a:moveTo>
                    <a:pt x="52298" y="58990"/>
                  </a:moveTo>
                  <a:cubicBezTo>
                    <a:pt x="49079" y="64187"/>
                    <a:pt x="45788" y="69335"/>
                    <a:pt x="42150" y="74240"/>
                  </a:cubicBezTo>
                  <a:cubicBezTo>
                    <a:pt x="41483" y="75140"/>
                    <a:pt x="41016" y="75744"/>
                    <a:pt x="40698" y="76128"/>
                  </a:cubicBezTo>
                  <a:lnTo>
                    <a:pt x="40441" y="75969"/>
                  </a:lnTo>
                  <a:cubicBezTo>
                    <a:pt x="41119" y="74696"/>
                    <a:pt x="42777" y="72051"/>
                    <a:pt x="43270" y="71309"/>
                  </a:cubicBezTo>
                  <a:cubicBezTo>
                    <a:pt x="45037" y="68659"/>
                    <a:pt x="47009" y="66124"/>
                    <a:pt x="48917" y="63575"/>
                  </a:cubicBezTo>
                  <a:cubicBezTo>
                    <a:pt x="50055" y="62054"/>
                    <a:pt x="51172" y="60518"/>
                    <a:pt x="52298" y="58990"/>
                  </a:cubicBezTo>
                  <a:close/>
                  <a:moveTo>
                    <a:pt x="23512" y="50630"/>
                  </a:moveTo>
                  <a:cubicBezTo>
                    <a:pt x="20313" y="55451"/>
                    <a:pt x="17097" y="60261"/>
                    <a:pt x="13768" y="64993"/>
                  </a:cubicBezTo>
                  <a:cubicBezTo>
                    <a:pt x="12778" y="66396"/>
                    <a:pt x="11756" y="67773"/>
                    <a:pt x="10714" y="69138"/>
                  </a:cubicBezTo>
                  <a:cubicBezTo>
                    <a:pt x="9227" y="70795"/>
                    <a:pt x="7818" y="72510"/>
                    <a:pt x="6574" y="74341"/>
                  </a:cubicBezTo>
                  <a:lnTo>
                    <a:pt x="6571" y="74338"/>
                  </a:lnTo>
                  <a:cubicBezTo>
                    <a:pt x="6023" y="75008"/>
                    <a:pt x="4963" y="76259"/>
                    <a:pt x="4695" y="76259"/>
                  </a:cubicBezTo>
                  <a:cubicBezTo>
                    <a:pt x="4569" y="76259"/>
                    <a:pt x="4618" y="75983"/>
                    <a:pt x="4977" y="75241"/>
                  </a:cubicBezTo>
                  <a:cubicBezTo>
                    <a:pt x="5771" y="73596"/>
                    <a:pt x="7067" y="72193"/>
                    <a:pt x="8205" y="70781"/>
                  </a:cubicBezTo>
                  <a:cubicBezTo>
                    <a:pt x="12911" y="64943"/>
                    <a:pt x="17152" y="58731"/>
                    <a:pt x="21791" y="52838"/>
                  </a:cubicBezTo>
                  <a:cubicBezTo>
                    <a:pt x="22368" y="52105"/>
                    <a:pt x="22937" y="51366"/>
                    <a:pt x="23512" y="50630"/>
                  </a:cubicBezTo>
                  <a:close/>
                  <a:moveTo>
                    <a:pt x="43316" y="73171"/>
                  </a:moveTo>
                  <a:lnTo>
                    <a:pt x="43316" y="73171"/>
                  </a:lnTo>
                  <a:cubicBezTo>
                    <a:pt x="42684" y="74309"/>
                    <a:pt x="42110" y="75478"/>
                    <a:pt x="41587" y="76682"/>
                  </a:cubicBezTo>
                  <a:lnTo>
                    <a:pt x="40958" y="76289"/>
                  </a:lnTo>
                  <a:cubicBezTo>
                    <a:pt x="41766" y="75267"/>
                    <a:pt x="42549" y="74225"/>
                    <a:pt x="43316" y="73171"/>
                  </a:cubicBezTo>
                  <a:close/>
                  <a:moveTo>
                    <a:pt x="90326" y="11037"/>
                  </a:moveTo>
                  <a:cubicBezTo>
                    <a:pt x="90920" y="11268"/>
                    <a:pt x="91498" y="11531"/>
                    <a:pt x="92012" y="11901"/>
                  </a:cubicBezTo>
                  <a:cubicBezTo>
                    <a:pt x="91948" y="11961"/>
                    <a:pt x="91887" y="12025"/>
                    <a:pt x="91824" y="12085"/>
                  </a:cubicBezTo>
                  <a:cubicBezTo>
                    <a:pt x="91799" y="12071"/>
                    <a:pt x="91772" y="12063"/>
                    <a:pt x="91746" y="12063"/>
                  </a:cubicBezTo>
                  <a:cubicBezTo>
                    <a:pt x="91695" y="12063"/>
                    <a:pt x="91646" y="12090"/>
                    <a:pt x="91619" y="12137"/>
                  </a:cubicBezTo>
                  <a:cubicBezTo>
                    <a:pt x="91538" y="12267"/>
                    <a:pt x="91454" y="12397"/>
                    <a:pt x="91374" y="12530"/>
                  </a:cubicBezTo>
                  <a:cubicBezTo>
                    <a:pt x="88813" y="15183"/>
                    <a:pt x="87095" y="18451"/>
                    <a:pt x="85005" y="21500"/>
                  </a:cubicBezTo>
                  <a:cubicBezTo>
                    <a:pt x="81688" y="26336"/>
                    <a:pt x="77943" y="30810"/>
                    <a:pt x="74834" y="35802"/>
                  </a:cubicBezTo>
                  <a:cubicBezTo>
                    <a:pt x="74796" y="35862"/>
                    <a:pt x="74849" y="35919"/>
                    <a:pt x="74903" y="35919"/>
                  </a:cubicBezTo>
                  <a:cubicBezTo>
                    <a:pt x="74926" y="35919"/>
                    <a:pt x="74950" y="35908"/>
                    <a:pt x="74967" y="35883"/>
                  </a:cubicBezTo>
                  <a:cubicBezTo>
                    <a:pt x="77591" y="31841"/>
                    <a:pt x="80481" y="27998"/>
                    <a:pt x="83379" y="24153"/>
                  </a:cubicBezTo>
                  <a:cubicBezTo>
                    <a:pt x="85940" y="20758"/>
                    <a:pt x="88013" y="17028"/>
                    <a:pt x="90643" y="13690"/>
                  </a:cubicBezTo>
                  <a:cubicBezTo>
                    <a:pt x="90655" y="13676"/>
                    <a:pt x="90663" y="13667"/>
                    <a:pt x="90675" y="13653"/>
                  </a:cubicBezTo>
                  <a:lnTo>
                    <a:pt x="90675" y="13653"/>
                  </a:lnTo>
                  <a:cubicBezTo>
                    <a:pt x="89826" y="15010"/>
                    <a:pt x="88969" y="16361"/>
                    <a:pt x="88097" y="17706"/>
                  </a:cubicBezTo>
                  <a:cubicBezTo>
                    <a:pt x="87779" y="18122"/>
                    <a:pt x="87456" y="18538"/>
                    <a:pt x="87127" y="18951"/>
                  </a:cubicBezTo>
                  <a:cubicBezTo>
                    <a:pt x="87335" y="18711"/>
                    <a:pt x="87545" y="18471"/>
                    <a:pt x="87750" y="18232"/>
                  </a:cubicBezTo>
                  <a:lnTo>
                    <a:pt x="87750" y="18232"/>
                  </a:lnTo>
                  <a:cubicBezTo>
                    <a:pt x="82736" y="25911"/>
                    <a:pt x="77314" y="33377"/>
                    <a:pt x="71860" y="40762"/>
                  </a:cubicBezTo>
                  <a:cubicBezTo>
                    <a:pt x="69845" y="43253"/>
                    <a:pt x="67963" y="45866"/>
                    <a:pt x="66121" y="48514"/>
                  </a:cubicBezTo>
                  <a:cubicBezTo>
                    <a:pt x="65108" y="49876"/>
                    <a:pt x="64086" y="51236"/>
                    <a:pt x="63058" y="52590"/>
                  </a:cubicBezTo>
                  <a:cubicBezTo>
                    <a:pt x="64037" y="50916"/>
                    <a:pt x="65024" y="49244"/>
                    <a:pt x="66031" y="47590"/>
                  </a:cubicBezTo>
                  <a:cubicBezTo>
                    <a:pt x="66265" y="47206"/>
                    <a:pt x="66511" y="46828"/>
                    <a:pt x="66750" y="46446"/>
                  </a:cubicBezTo>
                  <a:lnTo>
                    <a:pt x="66750" y="46446"/>
                  </a:lnTo>
                  <a:cubicBezTo>
                    <a:pt x="65093" y="48949"/>
                    <a:pt x="63482" y="51496"/>
                    <a:pt x="61915" y="54085"/>
                  </a:cubicBezTo>
                  <a:cubicBezTo>
                    <a:pt x="60341" y="56141"/>
                    <a:pt x="58753" y="58188"/>
                    <a:pt x="57154" y="60223"/>
                  </a:cubicBezTo>
                  <a:cubicBezTo>
                    <a:pt x="60214" y="55659"/>
                    <a:pt x="63222" y="51063"/>
                    <a:pt x="66369" y="46625"/>
                  </a:cubicBezTo>
                  <a:cubicBezTo>
                    <a:pt x="74522" y="35135"/>
                    <a:pt x="82294" y="23385"/>
                    <a:pt x="90799" y="12149"/>
                  </a:cubicBezTo>
                  <a:cubicBezTo>
                    <a:pt x="90896" y="12021"/>
                    <a:pt x="90774" y="11897"/>
                    <a:pt x="90647" y="11897"/>
                  </a:cubicBezTo>
                  <a:cubicBezTo>
                    <a:pt x="90593" y="11897"/>
                    <a:pt x="90538" y="11920"/>
                    <a:pt x="90499" y="11973"/>
                  </a:cubicBezTo>
                  <a:cubicBezTo>
                    <a:pt x="81991" y="23206"/>
                    <a:pt x="74225" y="34962"/>
                    <a:pt x="66078" y="46455"/>
                  </a:cubicBezTo>
                  <a:cubicBezTo>
                    <a:pt x="62197" y="51929"/>
                    <a:pt x="58372" y="57437"/>
                    <a:pt x="54596" y="62980"/>
                  </a:cubicBezTo>
                  <a:cubicBezTo>
                    <a:pt x="53900" y="64005"/>
                    <a:pt x="53204" y="65027"/>
                    <a:pt x="52512" y="66052"/>
                  </a:cubicBezTo>
                  <a:cubicBezTo>
                    <a:pt x="50014" y="69158"/>
                    <a:pt x="47552" y="72265"/>
                    <a:pt x="45528" y="75660"/>
                  </a:cubicBezTo>
                  <a:cubicBezTo>
                    <a:pt x="45245" y="76006"/>
                    <a:pt x="44971" y="76356"/>
                    <a:pt x="44688" y="76699"/>
                  </a:cubicBezTo>
                  <a:lnTo>
                    <a:pt x="44688" y="76699"/>
                  </a:lnTo>
                  <a:cubicBezTo>
                    <a:pt x="44697" y="76685"/>
                    <a:pt x="46351" y="73691"/>
                    <a:pt x="46382" y="73636"/>
                  </a:cubicBezTo>
                  <a:cubicBezTo>
                    <a:pt x="47098" y="72403"/>
                    <a:pt x="47843" y="71185"/>
                    <a:pt x="48594" y="69970"/>
                  </a:cubicBezTo>
                  <a:cubicBezTo>
                    <a:pt x="50543" y="67542"/>
                    <a:pt x="52529" y="65143"/>
                    <a:pt x="54397" y="62648"/>
                  </a:cubicBezTo>
                  <a:cubicBezTo>
                    <a:pt x="58635" y="56981"/>
                    <a:pt x="62206" y="50748"/>
                    <a:pt x="66216" y="44911"/>
                  </a:cubicBezTo>
                  <a:cubicBezTo>
                    <a:pt x="70278" y="39004"/>
                    <a:pt x="74583" y="33270"/>
                    <a:pt x="78688" y="27395"/>
                  </a:cubicBezTo>
                  <a:cubicBezTo>
                    <a:pt x="82479" y="21973"/>
                    <a:pt x="87193" y="16866"/>
                    <a:pt x="90326" y="11046"/>
                  </a:cubicBezTo>
                  <a:lnTo>
                    <a:pt x="90326" y="11037"/>
                  </a:lnTo>
                  <a:close/>
                  <a:moveTo>
                    <a:pt x="52546" y="69479"/>
                  </a:moveTo>
                  <a:cubicBezTo>
                    <a:pt x="52486" y="69571"/>
                    <a:pt x="52425" y="69664"/>
                    <a:pt x="52364" y="69759"/>
                  </a:cubicBezTo>
                  <a:cubicBezTo>
                    <a:pt x="51163" y="71324"/>
                    <a:pt x="50020" y="73013"/>
                    <a:pt x="48819" y="74661"/>
                  </a:cubicBezTo>
                  <a:cubicBezTo>
                    <a:pt x="48184" y="75469"/>
                    <a:pt x="47537" y="76266"/>
                    <a:pt x="46879" y="77057"/>
                  </a:cubicBezTo>
                  <a:cubicBezTo>
                    <a:pt x="46943" y="76956"/>
                    <a:pt x="47000" y="76870"/>
                    <a:pt x="47041" y="76809"/>
                  </a:cubicBezTo>
                  <a:cubicBezTo>
                    <a:pt x="48767" y="74286"/>
                    <a:pt x="50641" y="71872"/>
                    <a:pt x="52546" y="69479"/>
                  </a:cubicBezTo>
                  <a:close/>
                  <a:moveTo>
                    <a:pt x="10635" y="69851"/>
                  </a:moveTo>
                  <a:cubicBezTo>
                    <a:pt x="10854" y="69851"/>
                    <a:pt x="10375" y="70881"/>
                    <a:pt x="9980" y="71662"/>
                  </a:cubicBezTo>
                  <a:lnTo>
                    <a:pt x="9977" y="71659"/>
                  </a:lnTo>
                  <a:cubicBezTo>
                    <a:pt x="8719" y="73310"/>
                    <a:pt x="7443" y="74938"/>
                    <a:pt x="6143" y="76543"/>
                  </a:cubicBezTo>
                  <a:cubicBezTo>
                    <a:pt x="5570" y="77251"/>
                    <a:pt x="5257" y="77559"/>
                    <a:pt x="5155" y="77559"/>
                  </a:cubicBezTo>
                  <a:cubicBezTo>
                    <a:pt x="5031" y="77559"/>
                    <a:pt x="5226" y="77094"/>
                    <a:pt x="5650" y="76333"/>
                  </a:cubicBezTo>
                  <a:cubicBezTo>
                    <a:pt x="5996" y="75703"/>
                    <a:pt x="6392" y="75097"/>
                    <a:pt x="6805" y="74502"/>
                  </a:cubicBezTo>
                  <a:cubicBezTo>
                    <a:pt x="8101" y="72987"/>
                    <a:pt x="9360" y="71439"/>
                    <a:pt x="10586" y="69863"/>
                  </a:cubicBezTo>
                  <a:cubicBezTo>
                    <a:pt x="10605" y="69855"/>
                    <a:pt x="10621" y="69851"/>
                    <a:pt x="10635" y="69851"/>
                  </a:cubicBezTo>
                  <a:close/>
                  <a:moveTo>
                    <a:pt x="74467" y="7700"/>
                  </a:moveTo>
                  <a:lnTo>
                    <a:pt x="74467" y="7700"/>
                  </a:lnTo>
                  <a:cubicBezTo>
                    <a:pt x="65650" y="18673"/>
                    <a:pt x="57792" y="30617"/>
                    <a:pt x="49922" y="42272"/>
                  </a:cubicBezTo>
                  <a:cubicBezTo>
                    <a:pt x="45652" y="48594"/>
                    <a:pt x="41420" y="54949"/>
                    <a:pt x="36864" y="61072"/>
                  </a:cubicBezTo>
                  <a:cubicBezTo>
                    <a:pt x="32649" y="66736"/>
                    <a:pt x="27885" y="71956"/>
                    <a:pt x="23728" y="77666"/>
                  </a:cubicBezTo>
                  <a:cubicBezTo>
                    <a:pt x="23385" y="76868"/>
                    <a:pt x="23134" y="76077"/>
                    <a:pt x="23036" y="75339"/>
                  </a:cubicBezTo>
                  <a:lnTo>
                    <a:pt x="23036" y="75339"/>
                  </a:lnTo>
                  <a:cubicBezTo>
                    <a:pt x="23036" y="75338"/>
                    <a:pt x="23037" y="75338"/>
                    <a:pt x="23038" y="75337"/>
                  </a:cubicBezTo>
                  <a:cubicBezTo>
                    <a:pt x="24083" y="74066"/>
                    <a:pt x="25117" y="72785"/>
                    <a:pt x="26136" y="71494"/>
                  </a:cubicBezTo>
                  <a:lnTo>
                    <a:pt x="26136" y="71494"/>
                  </a:lnTo>
                  <a:cubicBezTo>
                    <a:pt x="25201" y="73114"/>
                    <a:pt x="24291" y="74748"/>
                    <a:pt x="23408" y="76399"/>
                  </a:cubicBezTo>
                  <a:cubicBezTo>
                    <a:pt x="23343" y="76520"/>
                    <a:pt x="23445" y="76650"/>
                    <a:pt x="23556" y="76650"/>
                  </a:cubicBezTo>
                  <a:cubicBezTo>
                    <a:pt x="23595" y="76650"/>
                    <a:pt x="23634" y="76634"/>
                    <a:pt x="23668" y="76598"/>
                  </a:cubicBezTo>
                  <a:cubicBezTo>
                    <a:pt x="32392" y="67429"/>
                    <a:pt x="39153" y="56724"/>
                    <a:pt x="46258" y="46308"/>
                  </a:cubicBezTo>
                  <a:cubicBezTo>
                    <a:pt x="52390" y="37321"/>
                    <a:pt x="58586" y="28310"/>
                    <a:pt x="64963" y="19470"/>
                  </a:cubicBezTo>
                  <a:cubicBezTo>
                    <a:pt x="65855" y="18284"/>
                    <a:pt x="66727" y="17088"/>
                    <a:pt x="67585" y="15882"/>
                  </a:cubicBezTo>
                  <a:cubicBezTo>
                    <a:pt x="68497" y="14637"/>
                    <a:pt x="69398" y="13382"/>
                    <a:pt x="70316" y="12143"/>
                  </a:cubicBezTo>
                  <a:cubicBezTo>
                    <a:pt x="70376" y="12065"/>
                    <a:pt x="70342" y="11990"/>
                    <a:pt x="70281" y="11947"/>
                  </a:cubicBezTo>
                  <a:cubicBezTo>
                    <a:pt x="71162" y="10598"/>
                    <a:pt x="72010" y="9233"/>
                    <a:pt x="72827" y="7847"/>
                  </a:cubicBezTo>
                  <a:cubicBezTo>
                    <a:pt x="72979" y="7853"/>
                    <a:pt x="73133" y="7858"/>
                    <a:pt x="73287" y="7858"/>
                  </a:cubicBezTo>
                  <a:cubicBezTo>
                    <a:pt x="73681" y="7858"/>
                    <a:pt x="74079" y="7827"/>
                    <a:pt x="74467" y="7700"/>
                  </a:cubicBezTo>
                  <a:close/>
                  <a:moveTo>
                    <a:pt x="37955" y="61000"/>
                  </a:moveTo>
                  <a:lnTo>
                    <a:pt x="37955" y="61003"/>
                  </a:lnTo>
                  <a:cubicBezTo>
                    <a:pt x="34987" y="65659"/>
                    <a:pt x="32109" y="70374"/>
                    <a:pt x="29381" y="75152"/>
                  </a:cubicBezTo>
                  <a:cubicBezTo>
                    <a:pt x="28723" y="76327"/>
                    <a:pt x="27943" y="77433"/>
                    <a:pt x="27060" y="78446"/>
                  </a:cubicBezTo>
                  <a:cubicBezTo>
                    <a:pt x="26901" y="78215"/>
                    <a:pt x="26768" y="77967"/>
                    <a:pt x="26664" y="77704"/>
                  </a:cubicBezTo>
                  <a:cubicBezTo>
                    <a:pt x="27513" y="76084"/>
                    <a:pt x="28414" y="74491"/>
                    <a:pt x="29366" y="72920"/>
                  </a:cubicBezTo>
                  <a:cubicBezTo>
                    <a:pt x="30282" y="71708"/>
                    <a:pt x="31177" y="70475"/>
                    <a:pt x="32066" y="69242"/>
                  </a:cubicBezTo>
                  <a:cubicBezTo>
                    <a:pt x="34041" y="66502"/>
                    <a:pt x="36004" y="63754"/>
                    <a:pt x="37955" y="61000"/>
                  </a:cubicBezTo>
                  <a:close/>
                  <a:moveTo>
                    <a:pt x="59556" y="58072"/>
                  </a:moveTo>
                  <a:cubicBezTo>
                    <a:pt x="57316" y="61929"/>
                    <a:pt x="55023" y="65752"/>
                    <a:pt x="52555" y="69467"/>
                  </a:cubicBezTo>
                  <a:cubicBezTo>
                    <a:pt x="51824" y="70368"/>
                    <a:pt x="51085" y="71272"/>
                    <a:pt x="50329" y="72161"/>
                  </a:cubicBezTo>
                  <a:cubicBezTo>
                    <a:pt x="48597" y="74191"/>
                    <a:pt x="46899" y="76278"/>
                    <a:pt x="45548" y="78564"/>
                  </a:cubicBezTo>
                  <a:cubicBezTo>
                    <a:pt x="45435" y="78664"/>
                    <a:pt x="45360" y="78710"/>
                    <a:pt x="45316" y="78710"/>
                  </a:cubicBezTo>
                  <a:cubicBezTo>
                    <a:pt x="44894" y="78710"/>
                    <a:pt x="47405" y="74485"/>
                    <a:pt x="47852" y="73815"/>
                  </a:cubicBezTo>
                  <a:cubicBezTo>
                    <a:pt x="51481" y="68385"/>
                    <a:pt x="55540" y="63246"/>
                    <a:pt x="59556" y="58072"/>
                  </a:cubicBezTo>
                  <a:close/>
                  <a:moveTo>
                    <a:pt x="46657" y="70986"/>
                  </a:moveTo>
                  <a:cubicBezTo>
                    <a:pt x="45360" y="73053"/>
                    <a:pt x="44067" y="75117"/>
                    <a:pt x="42779" y="77181"/>
                  </a:cubicBezTo>
                  <a:cubicBezTo>
                    <a:pt x="42697" y="77310"/>
                    <a:pt x="42812" y="77430"/>
                    <a:pt x="42930" y="77430"/>
                  </a:cubicBezTo>
                  <a:cubicBezTo>
                    <a:pt x="42982" y="77430"/>
                    <a:pt x="43034" y="77407"/>
                    <a:pt x="43071" y="77352"/>
                  </a:cubicBezTo>
                  <a:cubicBezTo>
                    <a:pt x="44341" y="75444"/>
                    <a:pt x="45713" y="73613"/>
                    <a:pt x="47127" y="71815"/>
                  </a:cubicBezTo>
                  <a:lnTo>
                    <a:pt x="47127" y="71815"/>
                  </a:lnTo>
                  <a:cubicBezTo>
                    <a:pt x="45900" y="73841"/>
                    <a:pt x="44699" y="75885"/>
                    <a:pt x="43571" y="77973"/>
                  </a:cubicBezTo>
                  <a:cubicBezTo>
                    <a:pt x="43508" y="78089"/>
                    <a:pt x="43611" y="78221"/>
                    <a:pt x="43720" y="78221"/>
                  </a:cubicBezTo>
                  <a:cubicBezTo>
                    <a:pt x="43757" y="78221"/>
                    <a:pt x="43795" y="78206"/>
                    <a:pt x="43827" y="78169"/>
                  </a:cubicBezTo>
                  <a:cubicBezTo>
                    <a:pt x="44128" y="77828"/>
                    <a:pt x="44408" y="77467"/>
                    <a:pt x="44702" y="77124"/>
                  </a:cubicBezTo>
                  <a:lnTo>
                    <a:pt x="44702" y="77124"/>
                  </a:lnTo>
                  <a:cubicBezTo>
                    <a:pt x="44203" y="78050"/>
                    <a:pt x="43726" y="78997"/>
                    <a:pt x="43302" y="79979"/>
                  </a:cubicBezTo>
                  <a:cubicBezTo>
                    <a:pt x="43120" y="79067"/>
                    <a:pt x="42918" y="78186"/>
                    <a:pt x="42742" y="77392"/>
                  </a:cubicBezTo>
                  <a:cubicBezTo>
                    <a:pt x="42725" y="77323"/>
                    <a:pt x="42648" y="77262"/>
                    <a:pt x="42574" y="77262"/>
                  </a:cubicBezTo>
                  <a:cubicBezTo>
                    <a:pt x="42559" y="77262"/>
                    <a:pt x="42543" y="77265"/>
                    <a:pt x="42528" y="77271"/>
                  </a:cubicBezTo>
                  <a:cubicBezTo>
                    <a:pt x="42352" y="77161"/>
                    <a:pt x="42176" y="77052"/>
                    <a:pt x="42000" y="76942"/>
                  </a:cubicBezTo>
                  <a:cubicBezTo>
                    <a:pt x="43625" y="75010"/>
                    <a:pt x="45173" y="73021"/>
                    <a:pt x="46657" y="70986"/>
                  </a:cubicBezTo>
                  <a:close/>
                  <a:moveTo>
                    <a:pt x="74251" y="8477"/>
                  </a:moveTo>
                  <a:lnTo>
                    <a:pt x="74251" y="8477"/>
                  </a:lnTo>
                  <a:cubicBezTo>
                    <a:pt x="73890" y="8941"/>
                    <a:pt x="72562" y="10821"/>
                    <a:pt x="72149" y="11447"/>
                  </a:cubicBezTo>
                  <a:cubicBezTo>
                    <a:pt x="70509" y="13945"/>
                    <a:pt x="68815" y="16407"/>
                    <a:pt x="67114" y="18867"/>
                  </a:cubicBezTo>
                  <a:cubicBezTo>
                    <a:pt x="66560" y="19667"/>
                    <a:pt x="65991" y="20461"/>
                    <a:pt x="65431" y="21260"/>
                  </a:cubicBezTo>
                  <a:cubicBezTo>
                    <a:pt x="64299" y="22837"/>
                    <a:pt x="63185" y="24421"/>
                    <a:pt x="62088" y="26018"/>
                  </a:cubicBezTo>
                  <a:cubicBezTo>
                    <a:pt x="57209" y="32875"/>
                    <a:pt x="52249" y="39676"/>
                    <a:pt x="47491" y="46620"/>
                  </a:cubicBezTo>
                  <a:cubicBezTo>
                    <a:pt x="45554" y="49449"/>
                    <a:pt x="43634" y="52301"/>
                    <a:pt x="41737" y="55177"/>
                  </a:cubicBezTo>
                  <a:cubicBezTo>
                    <a:pt x="40917" y="56308"/>
                    <a:pt x="40112" y="57452"/>
                    <a:pt x="39295" y="58586"/>
                  </a:cubicBezTo>
                  <a:cubicBezTo>
                    <a:pt x="37811" y="60552"/>
                    <a:pt x="36350" y="62530"/>
                    <a:pt x="34924" y="64534"/>
                  </a:cubicBezTo>
                  <a:cubicBezTo>
                    <a:pt x="35911" y="63185"/>
                    <a:pt x="36904" y="61846"/>
                    <a:pt x="37909" y="60512"/>
                  </a:cubicBezTo>
                  <a:cubicBezTo>
                    <a:pt x="37993" y="60399"/>
                    <a:pt x="38077" y="60284"/>
                    <a:pt x="38163" y="60171"/>
                  </a:cubicBezTo>
                  <a:lnTo>
                    <a:pt x="38163" y="60171"/>
                  </a:lnTo>
                  <a:cubicBezTo>
                    <a:pt x="37447" y="61173"/>
                    <a:pt x="36723" y="62163"/>
                    <a:pt x="36015" y="63171"/>
                  </a:cubicBezTo>
                  <a:cubicBezTo>
                    <a:pt x="34560" y="65235"/>
                    <a:pt x="33105" y="67308"/>
                    <a:pt x="31618" y="69361"/>
                  </a:cubicBezTo>
                  <a:cubicBezTo>
                    <a:pt x="32687" y="67732"/>
                    <a:pt x="33789" y="66124"/>
                    <a:pt x="34927" y="64534"/>
                  </a:cubicBezTo>
                  <a:lnTo>
                    <a:pt x="34927" y="64534"/>
                  </a:lnTo>
                  <a:cubicBezTo>
                    <a:pt x="33391" y="66627"/>
                    <a:pt x="31898" y="68746"/>
                    <a:pt x="30481" y="70914"/>
                  </a:cubicBezTo>
                  <a:cubicBezTo>
                    <a:pt x="29638" y="72057"/>
                    <a:pt x="28789" y="73192"/>
                    <a:pt x="27914" y="74306"/>
                  </a:cubicBezTo>
                  <a:cubicBezTo>
                    <a:pt x="27637" y="74661"/>
                    <a:pt x="27369" y="75002"/>
                    <a:pt x="27106" y="75340"/>
                  </a:cubicBezTo>
                  <a:cubicBezTo>
                    <a:pt x="27369" y="75054"/>
                    <a:pt x="27709" y="74782"/>
                    <a:pt x="28134" y="74528"/>
                  </a:cubicBezTo>
                  <a:cubicBezTo>
                    <a:pt x="28295" y="74332"/>
                    <a:pt x="28440" y="74124"/>
                    <a:pt x="28599" y="73925"/>
                  </a:cubicBezTo>
                  <a:lnTo>
                    <a:pt x="28599" y="73925"/>
                  </a:lnTo>
                  <a:cubicBezTo>
                    <a:pt x="27900" y="75091"/>
                    <a:pt x="27224" y="76269"/>
                    <a:pt x="26592" y="77476"/>
                  </a:cubicBezTo>
                  <a:cubicBezTo>
                    <a:pt x="26387" y="76780"/>
                    <a:pt x="26497" y="76145"/>
                    <a:pt x="26933" y="75565"/>
                  </a:cubicBezTo>
                  <a:lnTo>
                    <a:pt x="26933" y="75565"/>
                  </a:lnTo>
                  <a:cubicBezTo>
                    <a:pt x="25925" y="76890"/>
                    <a:pt x="25128" y="78198"/>
                    <a:pt x="24987" y="79985"/>
                  </a:cubicBezTo>
                  <a:cubicBezTo>
                    <a:pt x="24557" y="79324"/>
                    <a:pt x="24173" y="78634"/>
                    <a:pt x="23841" y="77918"/>
                  </a:cubicBezTo>
                  <a:lnTo>
                    <a:pt x="23838" y="77918"/>
                  </a:lnTo>
                  <a:cubicBezTo>
                    <a:pt x="30166" y="69369"/>
                    <a:pt x="37210" y="61453"/>
                    <a:pt x="43285" y="52697"/>
                  </a:cubicBezTo>
                  <a:cubicBezTo>
                    <a:pt x="49642" y="43542"/>
                    <a:pt x="55837" y="34286"/>
                    <a:pt x="62275" y="25187"/>
                  </a:cubicBezTo>
                  <a:cubicBezTo>
                    <a:pt x="65249" y="20986"/>
                    <a:pt x="68119" y="16710"/>
                    <a:pt x="71147" y="12550"/>
                  </a:cubicBezTo>
                  <a:cubicBezTo>
                    <a:pt x="72158" y="11173"/>
                    <a:pt x="73194" y="9816"/>
                    <a:pt x="74251" y="8477"/>
                  </a:cubicBezTo>
                  <a:close/>
                  <a:moveTo>
                    <a:pt x="62180" y="57662"/>
                  </a:moveTo>
                  <a:cubicBezTo>
                    <a:pt x="62033" y="58225"/>
                    <a:pt x="61814" y="58768"/>
                    <a:pt x="61531" y="59273"/>
                  </a:cubicBezTo>
                  <a:cubicBezTo>
                    <a:pt x="60930" y="60134"/>
                    <a:pt x="60335" y="60994"/>
                    <a:pt x="59729" y="61851"/>
                  </a:cubicBezTo>
                  <a:cubicBezTo>
                    <a:pt x="59689" y="61906"/>
                    <a:pt x="59648" y="61958"/>
                    <a:pt x="59608" y="62016"/>
                  </a:cubicBezTo>
                  <a:cubicBezTo>
                    <a:pt x="59019" y="62749"/>
                    <a:pt x="58430" y="63445"/>
                    <a:pt x="57959" y="64080"/>
                  </a:cubicBezTo>
                  <a:cubicBezTo>
                    <a:pt x="56291" y="66332"/>
                    <a:pt x="54720" y="68659"/>
                    <a:pt x="53046" y="70908"/>
                  </a:cubicBezTo>
                  <a:cubicBezTo>
                    <a:pt x="52965" y="71021"/>
                    <a:pt x="52881" y="71133"/>
                    <a:pt x="52800" y="71246"/>
                  </a:cubicBezTo>
                  <a:cubicBezTo>
                    <a:pt x="52003" y="72288"/>
                    <a:pt x="51221" y="73342"/>
                    <a:pt x="50410" y="74375"/>
                  </a:cubicBezTo>
                  <a:cubicBezTo>
                    <a:pt x="48987" y="76194"/>
                    <a:pt x="47511" y="77975"/>
                    <a:pt x="46027" y="79745"/>
                  </a:cubicBezTo>
                  <a:cubicBezTo>
                    <a:pt x="45372" y="80526"/>
                    <a:pt x="45044" y="80832"/>
                    <a:pt x="44933" y="80832"/>
                  </a:cubicBezTo>
                  <a:cubicBezTo>
                    <a:pt x="44705" y="80832"/>
                    <a:pt x="45407" y="79523"/>
                    <a:pt x="46076" y="78380"/>
                  </a:cubicBezTo>
                  <a:cubicBezTo>
                    <a:pt x="46535" y="77851"/>
                    <a:pt x="46971" y="77309"/>
                    <a:pt x="47416" y="76772"/>
                  </a:cubicBezTo>
                  <a:cubicBezTo>
                    <a:pt x="47699" y="76440"/>
                    <a:pt x="47979" y="76110"/>
                    <a:pt x="48250" y="75770"/>
                  </a:cubicBezTo>
                  <a:cubicBezTo>
                    <a:pt x="48279" y="75732"/>
                    <a:pt x="48308" y="75698"/>
                    <a:pt x="48337" y="75660"/>
                  </a:cubicBezTo>
                  <a:cubicBezTo>
                    <a:pt x="48825" y="75045"/>
                    <a:pt x="49304" y="74419"/>
                    <a:pt x="49772" y="73783"/>
                  </a:cubicBezTo>
                  <a:cubicBezTo>
                    <a:pt x="50323" y="73047"/>
                    <a:pt x="50863" y="72305"/>
                    <a:pt x="51394" y="71555"/>
                  </a:cubicBezTo>
                  <a:cubicBezTo>
                    <a:pt x="52188" y="70449"/>
                    <a:pt x="52979" y="69358"/>
                    <a:pt x="53793" y="68318"/>
                  </a:cubicBezTo>
                  <a:cubicBezTo>
                    <a:pt x="55217" y="66505"/>
                    <a:pt x="56626" y="64681"/>
                    <a:pt x="58023" y="62850"/>
                  </a:cubicBezTo>
                  <a:cubicBezTo>
                    <a:pt x="58927" y="61664"/>
                    <a:pt x="61617" y="59184"/>
                    <a:pt x="62180" y="57662"/>
                  </a:cubicBezTo>
                  <a:close/>
                  <a:moveTo>
                    <a:pt x="78645" y="5265"/>
                  </a:moveTo>
                  <a:cubicBezTo>
                    <a:pt x="78867" y="5265"/>
                    <a:pt x="79090" y="5308"/>
                    <a:pt x="79312" y="5408"/>
                  </a:cubicBezTo>
                  <a:cubicBezTo>
                    <a:pt x="75186" y="9268"/>
                    <a:pt x="71823" y="14187"/>
                    <a:pt x="68416" y="18792"/>
                  </a:cubicBezTo>
                  <a:cubicBezTo>
                    <a:pt x="71696" y="14525"/>
                    <a:pt x="75079" y="10359"/>
                    <a:pt x="78642" y="6398"/>
                  </a:cubicBezTo>
                  <a:lnTo>
                    <a:pt x="78642" y="6398"/>
                  </a:lnTo>
                  <a:cubicBezTo>
                    <a:pt x="78575" y="6822"/>
                    <a:pt x="78509" y="7244"/>
                    <a:pt x="78446" y="7668"/>
                  </a:cubicBezTo>
                  <a:cubicBezTo>
                    <a:pt x="77816" y="8800"/>
                    <a:pt x="77071" y="9862"/>
                    <a:pt x="76223" y="10844"/>
                  </a:cubicBezTo>
                  <a:cubicBezTo>
                    <a:pt x="75406" y="11872"/>
                    <a:pt x="74499" y="12842"/>
                    <a:pt x="73639" y="13835"/>
                  </a:cubicBezTo>
                  <a:cubicBezTo>
                    <a:pt x="71525" y="16269"/>
                    <a:pt x="69721" y="18994"/>
                    <a:pt x="67778" y="21563"/>
                  </a:cubicBezTo>
                  <a:cubicBezTo>
                    <a:pt x="62758" y="28203"/>
                    <a:pt x="57795" y="34887"/>
                    <a:pt x="52890" y="41616"/>
                  </a:cubicBezTo>
                  <a:cubicBezTo>
                    <a:pt x="43498" y="54536"/>
                    <a:pt x="34517" y="68087"/>
                    <a:pt x="26298" y="81789"/>
                  </a:cubicBezTo>
                  <a:lnTo>
                    <a:pt x="26295" y="81789"/>
                  </a:lnTo>
                  <a:cubicBezTo>
                    <a:pt x="25902" y="81304"/>
                    <a:pt x="25518" y="80787"/>
                    <a:pt x="25157" y="80253"/>
                  </a:cubicBezTo>
                  <a:cubicBezTo>
                    <a:pt x="25175" y="80250"/>
                    <a:pt x="25192" y="80247"/>
                    <a:pt x="25206" y="80239"/>
                  </a:cubicBezTo>
                  <a:cubicBezTo>
                    <a:pt x="29756" y="77453"/>
                    <a:pt x="32080" y="71153"/>
                    <a:pt x="34788" y="66788"/>
                  </a:cubicBezTo>
                  <a:cubicBezTo>
                    <a:pt x="37485" y="62438"/>
                    <a:pt x="40259" y="58133"/>
                    <a:pt x="43071" y="53854"/>
                  </a:cubicBezTo>
                  <a:cubicBezTo>
                    <a:pt x="43969" y="52607"/>
                    <a:pt x="44855" y="51357"/>
                    <a:pt x="45744" y="50110"/>
                  </a:cubicBezTo>
                  <a:cubicBezTo>
                    <a:pt x="47355" y="47979"/>
                    <a:pt x="48940" y="45846"/>
                    <a:pt x="50462" y="43698"/>
                  </a:cubicBezTo>
                  <a:cubicBezTo>
                    <a:pt x="55416" y="36706"/>
                    <a:pt x="60370" y="29537"/>
                    <a:pt x="65558" y="22574"/>
                  </a:cubicBezTo>
                  <a:lnTo>
                    <a:pt x="65558" y="22574"/>
                  </a:lnTo>
                  <a:cubicBezTo>
                    <a:pt x="62475" y="26610"/>
                    <a:pt x="59440" y="30683"/>
                    <a:pt x="56461" y="34800"/>
                  </a:cubicBezTo>
                  <a:cubicBezTo>
                    <a:pt x="58159" y="32326"/>
                    <a:pt x="59850" y="29846"/>
                    <a:pt x="61536" y="27360"/>
                  </a:cubicBezTo>
                  <a:cubicBezTo>
                    <a:pt x="64438" y="23076"/>
                    <a:pt x="67504" y="18902"/>
                    <a:pt x="70596" y="14753"/>
                  </a:cubicBezTo>
                  <a:cubicBezTo>
                    <a:pt x="72680" y="11955"/>
                    <a:pt x="75853" y="9294"/>
                    <a:pt x="77403" y="6158"/>
                  </a:cubicBezTo>
                  <a:cubicBezTo>
                    <a:pt x="77469" y="6027"/>
                    <a:pt x="77354" y="5907"/>
                    <a:pt x="77245" y="5907"/>
                  </a:cubicBezTo>
                  <a:cubicBezTo>
                    <a:pt x="77195" y="5907"/>
                    <a:pt x="77147" y="5931"/>
                    <a:pt x="77118" y="5991"/>
                  </a:cubicBezTo>
                  <a:cubicBezTo>
                    <a:pt x="76133" y="7983"/>
                    <a:pt x="74242" y="9418"/>
                    <a:pt x="72900" y="11161"/>
                  </a:cubicBezTo>
                  <a:cubicBezTo>
                    <a:pt x="72288" y="11955"/>
                    <a:pt x="71693" y="12758"/>
                    <a:pt x="71092" y="13555"/>
                  </a:cubicBezTo>
                  <a:cubicBezTo>
                    <a:pt x="72490" y="11488"/>
                    <a:pt x="73870" y="9409"/>
                    <a:pt x="75221" y="7307"/>
                  </a:cubicBezTo>
                  <a:cubicBezTo>
                    <a:pt x="76163" y="6624"/>
                    <a:pt x="77403" y="5265"/>
                    <a:pt x="78645" y="5265"/>
                  </a:cubicBezTo>
                  <a:close/>
                  <a:moveTo>
                    <a:pt x="79574" y="5552"/>
                  </a:moveTo>
                  <a:cubicBezTo>
                    <a:pt x="79623" y="5584"/>
                    <a:pt x="79670" y="5607"/>
                    <a:pt x="79719" y="5647"/>
                  </a:cubicBezTo>
                  <a:cubicBezTo>
                    <a:pt x="80108" y="5950"/>
                    <a:pt x="80334" y="6404"/>
                    <a:pt x="80556" y="6860"/>
                  </a:cubicBezTo>
                  <a:cubicBezTo>
                    <a:pt x="71017" y="19742"/>
                    <a:pt x="61028" y="32346"/>
                    <a:pt x="51972" y="45572"/>
                  </a:cubicBezTo>
                  <a:cubicBezTo>
                    <a:pt x="48181" y="51103"/>
                    <a:pt x="44405" y="56629"/>
                    <a:pt x="40441" y="62033"/>
                  </a:cubicBezTo>
                  <a:cubicBezTo>
                    <a:pt x="44440" y="56638"/>
                    <a:pt x="48458" y="51253"/>
                    <a:pt x="52232" y="45722"/>
                  </a:cubicBezTo>
                  <a:cubicBezTo>
                    <a:pt x="54123" y="42947"/>
                    <a:pt x="56068" y="40211"/>
                    <a:pt x="58040" y="37488"/>
                  </a:cubicBezTo>
                  <a:lnTo>
                    <a:pt x="58040" y="37488"/>
                  </a:lnTo>
                  <a:cubicBezTo>
                    <a:pt x="57189" y="38732"/>
                    <a:pt x="56337" y="39974"/>
                    <a:pt x="55488" y="41218"/>
                  </a:cubicBezTo>
                  <a:cubicBezTo>
                    <a:pt x="51215" y="47440"/>
                    <a:pt x="46995" y="53713"/>
                    <a:pt x="42970" y="60099"/>
                  </a:cubicBezTo>
                  <a:cubicBezTo>
                    <a:pt x="39278" y="65957"/>
                    <a:pt x="34150" y="71024"/>
                    <a:pt x="30836" y="77040"/>
                  </a:cubicBezTo>
                  <a:cubicBezTo>
                    <a:pt x="30785" y="77131"/>
                    <a:pt x="30862" y="77253"/>
                    <a:pt x="30957" y="77253"/>
                  </a:cubicBezTo>
                  <a:cubicBezTo>
                    <a:pt x="30980" y="77253"/>
                    <a:pt x="31003" y="77246"/>
                    <a:pt x="31026" y="77231"/>
                  </a:cubicBezTo>
                  <a:cubicBezTo>
                    <a:pt x="32502" y="76206"/>
                    <a:pt x="33818" y="74852"/>
                    <a:pt x="35037" y="73353"/>
                  </a:cubicBezTo>
                  <a:lnTo>
                    <a:pt x="35037" y="73353"/>
                  </a:lnTo>
                  <a:cubicBezTo>
                    <a:pt x="34217" y="75536"/>
                    <a:pt x="32840" y="76613"/>
                    <a:pt x="30709" y="77672"/>
                  </a:cubicBezTo>
                  <a:cubicBezTo>
                    <a:pt x="30591" y="77733"/>
                    <a:pt x="30478" y="77799"/>
                    <a:pt x="30374" y="77877"/>
                  </a:cubicBezTo>
                  <a:cubicBezTo>
                    <a:pt x="30504" y="77646"/>
                    <a:pt x="30637" y="77415"/>
                    <a:pt x="30758" y="77179"/>
                  </a:cubicBezTo>
                  <a:cubicBezTo>
                    <a:pt x="30812" y="77073"/>
                    <a:pt x="30724" y="76978"/>
                    <a:pt x="30634" y="76978"/>
                  </a:cubicBezTo>
                  <a:cubicBezTo>
                    <a:pt x="30594" y="76978"/>
                    <a:pt x="30553" y="76997"/>
                    <a:pt x="30524" y="77043"/>
                  </a:cubicBezTo>
                  <a:cubicBezTo>
                    <a:pt x="30100" y="77724"/>
                    <a:pt x="29710" y="78426"/>
                    <a:pt x="29340" y="79133"/>
                  </a:cubicBezTo>
                  <a:cubicBezTo>
                    <a:pt x="29202" y="79367"/>
                    <a:pt x="29060" y="79601"/>
                    <a:pt x="28925" y="79835"/>
                  </a:cubicBezTo>
                  <a:cubicBezTo>
                    <a:pt x="28368" y="80810"/>
                    <a:pt x="27937" y="81812"/>
                    <a:pt x="27669" y="82901"/>
                  </a:cubicBezTo>
                  <a:cubicBezTo>
                    <a:pt x="27666" y="82909"/>
                    <a:pt x="27672" y="82915"/>
                    <a:pt x="27672" y="82924"/>
                  </a:cubicBezTo>
                  <a:cubicBezTo>
                    <a:pt x="27637" y="83016"/>
                    <a:pt x="27608" y="83109"/>
                    <a:pt x="27577" y="83201"/>
                  </a:cubicBezTo>
                  <a:cubicBezTo>
                    <a:pt x="27213" y="82834"/>
                    <a:pt x="26843" y="82442"/>
                    <a:pt x="26479" y="82006"/>
                  </a:cubicBezTo>
                  <a:cubicBezTo>
                    <a:pt x="30169" y="76125"/>
                    <a:pt x="34228" y="70466"/>
                    <a:pt x="38359" y="64857"/>
                  </a:cubicBezTo>
                  <a:lnTo>
                    <a:pt x="38359" y="64857"/>
                  </a:lnTo>
                  <a:cubicBezTo>
                    <a:pt x="36188" y="67755"/>
                    <a:pt x="33997" y="70640"/>
                    <a:pt x="31861" y="73567"/>
                  </a:cubicBezTo>
                  <a:cubicBezTo>
                    <a:pt x="31338" y="74283"/>
                    <a:pt x="30839" y="75019"/>
                    <a:pt x="30331" y="75747"/>
                  </a:cubicBezTo>
                  <a:cubicBezTo>
                    <a:pt x="38175" y="63188"/>
                    <a:pt x="46504" y="50803"/>
                    <a:pt x="55222" y="38865"/>
                  </a:cubicBezTo>
                  <a:cubicBezTo>
                    <a:pt x="59784" y="32615"/>
                    <a:pt x="64406" y="26411"/>
                    <a:pt x="69083" y="20253"/>
                  </a:cubicBezTo>
                  <a:cubicBezTo>
                    <a:pt x="72516" y="15726"/>
                    <a:pt x="77767" y="11069"/>
                    <a:pt x="79574" y="5552"/>
                  </a:cubicBezTo>
                  <a:close/>
                  <a:moveTo>
                    <a:pt x="29381" y="81847"/>
                  </a:moveTo>
                  <a:cubicBezTo>
                    <a:pt x="28982" y="82193"/>
                    <a:pt x="28662" y="83195"/>
                    <a:pt x="28394" y="83966"/>
                  </a:cubicBezTo>
                  <a:lnTo>
                    <a:pt x="28391" y="83966"/>
                  </a:lnTo>
                  <a:cubicBezTo>
                    <a:pt x="28157" y="83764"/>
                    <a:pt x="27917" y="83544"/>
                    <a:pt x="27675" y="83302"/>
                  </a:cubicBezTo>
                  <a:cubicBezTo>
                    <a:pt x="27704" y="83224"/>
                    <a:pt x="27732" y="83146"/>
                    <a:pt x="27761" y="83068"/>
                  </a:cubicBezTo>
                  <a:cubicBezTo>
                    <a:pt x="27778" y="83076"/>
                    <a:pt x="27796" y="83080"/>
                    <a:pt x="27814" y="83080"/>
                  </a:cubicBezTo>
                  <a:cubicBezTo>
                    <a:pt x="27849" y="83080"/>
                    <a:pt x="27883" y="83066"/>
                    <a:pt x="27906" y="83039"/>
                  </a:cubicBezTo>
                  <a:cubicBezTo>
                    <a:pt x="28342" y="82551"/>
                    <a:pt x="28896" y="82268"/>
                    <a:pt x="29381" y="81847"/>
                  </a:cubicBezTo>
                  <a:close/>
                  <a:moveTo>
                    <a:pt x="29929" y="82909"/>
                  </a:moveTo>
                  <a:lnTo>
                    <a:pt x="29929" y="82909"/>
                  </a:lnTo>
                  <a:cubicBezTo>
                    <a:pt x="29817" y="83132"/>
                    <a:pt x="29693" y="83348"/>
                    <a:pt x="29577" y="83553"/>
                  </a:cubicBezTo>
                  <a:cubicBezTo>
                    <a:pt x="29485" y="83721"/>
                    <a:pt x="29136" y="84177"/>
                    <a:pt x="29092" y="84514"/>
                  </a:cubicBezTo>
                  <a:cubicBezTo>
                    <a:pt x="28982" y="84437"/>
                    <a:pt x="28879" y="84373"/>
                    <a:pt x="28766" y="84286"/>
                  </a:cubicBezTo>
                  <a:lnTo>
                    <a:pt x="28763" y="84286"/>
                  </a:lnTo>
                  <a:cubicBezTo>
                    <a:pt x="29098" y="83856"/>
                    <a:pt x="29433" y="83429"/>
                    <a:pt x="29791" y="83022"/>
                  </a:cubicBezTo>
                  <a:cubicBezTo>
                    <a:pt x="29854" y="82993"/>
                    <a:pt x="29883" y="82947"/>
                    <a:pt x="29929" y="82909"/>
                  </a:cubicBezTo>
                  <a:close/>
                  <a:moveTo>
                    <a:pt x="29300" y="79719"/>
                  </a:moveTo>
                  <a:cubicBezTo>
                    <a:pt x="29300" y="79748"/>
                    <a:pt x="29291" y="79774"/>
                    <a:pt x="29291" y="79800"/>
                  </a:cubicBezTo>
                  <a:cubicBezTo>
                    <a:pt x="29291" y="80045"/>
                    <a:pt x="29323" y="80337"/>
                    <a:pt x="29465" y="80539"/>
                  </a:cubicBezTo>
                  <a:cubicBezTo>
                    <a:pt x="29589" y="80732"/>
                    <a:pt x="29719" y="80923"/>
                    <a:pt x="29860" y="81105"/>
                  </a:cubicBezTo>
                  <a:cubicBezTo>
                    <a:pt x="31044" y="81968"/>
                    <a:pt x="30911" y="83189"/>
                    <a:pt x="29459" y="84769"/>
                  </a:cubicBezTo>
                  <a:cubicBezTo>
                    <a:pt x="29453" y="84766"/>
                    <a:pt x="29447" y="84763"/>
                    <a:pt x="29444" y="84760"/>
                  </a:cubicBezTo>
                  <a:cubicBezTo>
                    <a:pt x="29526" y="84691"/>
                    <a:pt x="29492" y="84551"/>
                    <a:pt x="29381" y="84551"/>
                  </a:cubicBezTo>
                  <a:cubicBezTo>
                    <a:pt x="29370" y="84551"/>
                    <a:pt x="29358" y="84552"/>
                    <a:pt x="29346" y="84555"/>
                  </a:cubicBezTo>
                  <a:cubicBezTo>
                    <a:pt x="29748" y="84463"/>
                    <a:pt x="30348" y="82768"/>
                    <a:pt x="30469" y="82349"/>
                  </a:cubicBezTo>
                  <a:cubicBezTo>
                    <a:pt x="30502" y="82240"/>
                    <a:pt x="30414" y="82163"/>
                    <a:pt x="30322" y="82163"/>
                  </a:cubicBezTo>
                  <a:cubicBezTo>
                    <a:pt x="30286" y="82163"/>
                    <a:pt x="30249" y="82175"/>
                    <a:pt x="30218" y="82202"/>
                  </a:cubicBezTo>
                  <a:cubicBezTo>
                    <a:pt x="29534" y="82802"/>
                    <a:pt x="29029" y="83415"/>
                    <a:pt x="28659" y="84197"/>
                  </a:cubicBezTo>
                  <a:lnTo>
                    <a:pt x="28656" y="84194"/>
                  </a:lnTo>
                  <a:cubicBezTo>
                    <a:pt x="29058" y="83316"/>
                    <a:pt x="29482" y="82520"/>
                    <a:pt x="29675" y="81558"/>
                  </a:cubicBezTo>
                  <a:cubicBezTo>
                    <a:pt x="29706" y="81455"/>
                    <a:pt x="29624" y="81373"/>
                    <a:pt x="29537" y="81373"/>
                  </a:cubicBezTo>
                  <a:cubicBezTo>
                    <a:pt x="29502" y="81373"/>
                    <a:pt x="29466" y="81386"/>
                    <a:pt x="29436" y="81417"/>
                  </a:cubicBezTo>
                  <a:cubicBezTo>
                    <a:pt x="29060" y="81743"/>
                    <a:pt x="28630" y="81974"/>
                    <a:pt x="28258" y="82294"/>
                  </a:cubicBezTo>
                  <a:cubicBezTo>
                    <a:pt x="28189" y="82343"/>
                    <a:pt x="28137" y="82378"/>
                    <a:pt x="28090" y="82413"/>
                  </a:cubicBezTo>
                  <a:cubicBezTo>
                    <a:pt x="28145" y="82216"/>
                    <a:pt x="28209" y="82020"/>
                    <a:pt x="28287" y="81830"/>
                  </a:cubicBezTo>
                  <a:cubicBezTo>
                    <a:pt x="28599" y="81119"/>
                    <a:pt x="28933" y="80421"/>
                    <a:pt x="29291" y="79736"/>
                  </a:cubicBezTo>
                  <a:cubicBezTo>
                    <a:pt x="29294" y="79731"/>
                    <a:pt x="29297" y="79725"/>
                    <a:pt x="29300" y="79719"/>
                  </a:cubicBezTo>
                  <a:close/>
                  <a:moveTo>
                    <a:pt x="56855" y="95539"/>
                  </a:moveTo>
                  <a:cubicBezTo>
                    <a:pt x="56854" y="95540"/>
                    <a:pt x="56854" y="95540"/>
                    <a:pt x="56854" y="95540"/>
                  </a:cubicBezTo>
                  <a:cubicBezTo>
                    <a:pt x="56854" y="95540"/>
                    <a:pt x="56854" y="95540"/>
                    <a:pt x="56855" y="95539"/>
                  </a:cubicBezTo>
                  <a:close/>
                  <a:moveTo>
                    <a:pt x="56012" y="1"/>
                  </a:moveTo>
                  <a:cubicBezTo>
                    <a:pt x="55592" y="1"/>
                    <a:pt x="55116" y="195"/>
                    <a:pt x="54573" y="462"/>
                  </a:cubicBezTo>
                  <a:cubicBezTo>
                    <a:pt x="54488" y="503"/>
                    <a:pt x="54534" y="642"/>
                    <a:pt x="54616" y="642"/>
                  </a:cubicBezTo>
                  <a:cubicBezTo>
                    <a:pt x="54626" y="642"/>
                    <a:pt x="54637" y="640"/>
                    <a:pt x="54648" y="635"/>
                  </a:cubicBezTo>
                  <a:cubicBezTo>
                    <a:pt x="54879" y="534"/>
                    <a:pt x="55124" y="462"/>
                    <a:pt x="55373" y="419"/>
                  </a:cubicBezTo>
                  <a:lnTo>
                    <a:pt x="55373" y="419"/>
                  </a:lnTo>
                  <a:cubicBezTo>
                    <a:pt x="54628" y="1574"/>
                    <a:pt x="53863" y="2711"/>
                    <a:pt x="53092" y="3849"/>
                  </a:cubicBezTo>
                  <a:cubicBezTo>
                    <a:pt x="52182" y="5012"/>
                    <a:pt x="51189" y="6124"/>
                    <a:pt x="50193" y="7224"/>
                  </a:cubicBezTo>
                  <a:cubicBezTo>
                    <a:pt x="51787" y="5015"/>
                    <a:pt x="53199" y="2729"/>
                    <a:pt x="54102" y="286"/>
                  </a:cubicBezTo>
                  <a:cubicBezTo>
                    <a:pt x="54144" y="174"/>
                    <a:pt x="54045" y="93"/>
                    <a:pt x="53946" y="93"/>
                  </a:cubicBezTo>
                  <a:cubicBezTo>
                    <a:pt x="53908" y="93"/>
                    <a:pt x="53870" y="106"/>
                    <a:pt x="53840" y="133"/>
                  </a:cubicBezTo>
                  <a:cubicBezTo>
                    <a:pt x="49272" y="4328"/>
                    <a:pt x="46010" y="10356"/>
                    <a:pt x="42283" y="15287"/>
                  </a:cubicBezTo>
                  <a:cubicBezTo>
                    <a:pt x="37309" y="21866"/>
                    <a:pt x="32233" y="28385"/>
                    <a:pt x="27418" y="35086"/>
                  </a:cubicBezTo>
                  <a:cubicBezTo>
                    <a:pt x="22420" y="42041"/>
                    <a:pt x="17816" y="49264"/>
                    <a:pt x="12567" y="56043"/>
                  </a:cubicBezTo>
                  <a:cubicBezTo>
                    <a:pt x="8283" y="61574"/>
                    <a:pt x="3407" y="66482"/>
                    <a:pt x="29" y="72666"/>
                  </a:cubicBezTo>
                  <a:cubicBezTo>
                    <a:pt x="1" y="72716"/>
                    <a:pt x="46" y="72764"/>
                    <a:pt x="90" y="72764"/>
                  </a:cubicBezTo>
                  <a:cubicBezTo>
                    <a:pt x="109" y="72764"/>
                    <a:pt x="127" y="72755"/>
                    <a:pt x="138" y="72733"/>
                  </a:cubicBezTo>
                  <a:cubicBezTo>
                    <a:pt x="3866" y="66176"/>
                    <a:pt x="9258" y="60864"/>
                    <a:pt x="13843" y="54934"/>
                  </a:cubicBezTo>
                  <a:cubicBezTo>
                    <a:pt x="18402" y="49045"/>
                    <a:pt x="22438" y="42763"/>
                    <a:pt x="26702" y="36665"/>
                  </a:cubicBezTo>
                  <a:cubicBezTo>
                    <a:pt x="31081" y="30400"/>
                    <a:pt x="35816" y="24381"/>
                    <a:pt x="40421" y="18284"/>
                  </a:cubicBezTo>
                  <a:cubicBezTo>
                    <a:pt x="42811" y="15117"/>
                    <a:pt x="45222" y="11964"/>
                    <a:pt x="47586" y="8780"/>
                  </a:cubicBezTo>
                  <a:cubicBezTo>
                    <a:pt x="48398" y="7686"/>
                    <a:pt x="49131" y="6525"/>
                    <a:pt x="49893" y="5396"/>
                  </a:cubicBezTo>
                  <a:cubicBezTo>
                    <a:pt x="50365" y="4696"/>
                    <a:pt x="52762" y="1490"/>
                    <a:pt x="53130" y="1490"/>
                  </a:cubicBezTo>
                  <a:cubicBezTo>
                    <a:pt x="53247" y="1490"/>
                    <a:pt x="53157" y="1819"/>
                    <a:pt x="52728" y="2665"/>
                  </a:cubicBezTo>
                  <a:cubicBezTo>
                    <a:pt x="51415" y="5255"/>
                    <a:pt x="49212" y="7290"/>
                    <a:pt x="47532" y="9626"/>
                  </a:cubicBezTo>
                  <a:cubicBezTo>
                    <a:pt x="45222" y="12839"/>
                    <a:pt x="42973" y="16095"/>
                    <a:pt x="40707" y="19340"/>
                  </a:cubicBezTo>
                  <a:cubicBezTo>
                    <a:pt x="35724" y="26477"/>
                    <a:pt x="30351" y="33360"/>
                    <a:pt x="25004" y="40225"/>
                  </a:cubicBezTo>
                  <a:cubicBezTo>
                    <a:pt x="20957" y="45422"/>
                    <a:pt x="17342" y="50690"/>
                    <a:pt x="13889" y="56303"/>
                  </a:cubicBezTo>
                  <a:cubicBezTo>
                    <a:pt x="9810" y="62934"/>
                    <a:pt x="4394" y="68549"/>
                    <a:pt x="271" y="75146"/>
                  </a:cubicBezTo>
                  <a:cubicBezTo>
                    <a:pt x="202" y="75257"/>
                    <a:pt x="300" y="75365"/>
                    <a:pt x="404" y="75365"/>
                  </a:cubicBezTo>
                  <a:cubicBezTo>
                    <a:pt x="439" y="75365"/>
                    <a:pt x="475" y="75353"/>
                    <a:pt x="505" y="75325"/>
                  </a:cubicBezTo>
                  <a:cubicBezTo>
                    <a:pt x="2283" y="73668"/>
                    <a:pt x="3894" y="71855"/>
                    <a:pt x="5425" y="69964"/>
                  </a:cubicBezTo>
                  <a:lnTo>
                    <a:pt x="5425" y="69964"/>
                  </a:lnTo>
                  <a:cubicBezTo>
                    <a:pt x="4047" y="71829"/>
                    <a:pt x="2691" y="73708"/>
                    <a:pt x="1377" y="75620"/>
                  </a:cubicBezTo>
                  <a:cubicBezTo>
                    <a:pt x="1298" y="75731"/>
                    <a:pt x="1402" y="75832"/>
                    <a:pt x="1509" y="75832"/>
                  </a:cubicBezTo>
                  <a:cubicBezTo>
                    <a:pt x="1543" y="75832"/>
                    <a:pt x="1577" y="75822"/>
                    <a:pt x="1605" y="75799"/>
                  </a:cubicBezTo>
                  <a:cubicBezTo>
                    <a:pt x="2624" y="74976"/>
                    <a:pt x="3571" y="74087"/>
                    <a:pt x="4486" y="73169"/>
                  </a:cubicBezTo>
                  <a:lnTo>
                    <a:pt x="4486" y="73169"/>
                  </a:lnTo>
                  <a:cubicBezTo>
                    <a:pt x="3600" y="74508"/>
                    <a:pt x="2705" y="75845"/>
                    <a:pt x="1839" y="77190"/>
                  </a:cubicBezTo>
                  <a:cubicBezTo>
                    <a:pt x="1765" y="77303"/>
                    <a:pt x="1873" y="77424"/>
                    <a:pt x="1983" y="77424"/>
                  </a:cubicBezTo>
                  <a:cubicBezTo>
                    <a:pt x="2020" y="77424"/>
                    <a:pt x="2056" y="77411"/>
                    <a:pt x="2087" y="77381"/>
                  </a:cubicBezTo>
                  <a:cubicBezTo>
                    <a:pt x="6213" y="73206"/>
                    <a:pt x="9564" y="68474"/>
                    <a:pt x="12841" y="63621"/>
                  </a:cubicBezTo>
                  <a:cubicBezTo>
                    <a:pt x="16941" y="57544"/>
                    <a:pt x="21297" y="51681"/>
                    <a:pt x="25570" y="45722"/>
                  </a:cubicBezTo>
                  <a:cubicBezTo>
                    <a:pt x="31047" y="38086"/>
                    <a:pt x="36373" y="30334"/>
                    <a:pt x="41893" y="22727"/>
                  </a:cubicBezTo>
                  <a:cubicBezTo>
                    <a:pt x="43051" y="21240"/>
                    <a:pt x="44214" y="19756"/>
                    <a:pt x="45401" y="18292"/>
                  </a:cubicBezTo>
                  <a:cubicBezTo>
                    <a:pt x="48118" y="14941"/>
                    <a:pt x="50828" y="11583"/>
                    <a:pt x="53144" y="7971"/>
                  </a:cubicBezTo>
                  <a:cubicBezTo>
                    <a:pt x="54134" y="6759"/>
                    <a:pt x="55150" y="5566"/>
                    <a:pt x="56169" y="4377"/>
                  </a:cubicBezTo>
                  <a:cubicBezTo>
                    <a:pt x="56823" y="3617"/>
                    <a:pt x="57324" y="2991"/>
                    <a:pt x="57398" y="2991"/>
                  </a:cubicBezTo>
                  <a:cubicBezTo>
                    <a:pt x="57456" y="2991"/>
                    <a:pt x="57254" y="3372"/>
                    <a:pt x="56660" y="4368"/>
                  </a:cubicBezTo>
                  <a:cubicBezTo>
                    <a:pt x="54703" y="7662"/>
                    <a:pt x="52087" y="10570"/>
                    <a:pt x="49671" y="13529"/>
                  </a:cubicBezTo>
                  <a:cubicBezTo>
                    <a:pt x="45306" y="18878"/>
                    <a:pt x="41246" y="24488"/>
                    <a:pt x="37286" y="30141"/>
                  </a:cubicBezTo>
                  <a:cubicBezTo>
                    <a:pt x="33146" y="36053"/>
                    <a:pt x="29173" y="42081"/>
                    <a:pt x="25189" y="48101"/>
                  </a:cubicBezTo>
                  <a:cubicBezTo>
                    <a:pt x="22146" y="51929"/>
                    <a:pt x="19092" y="55751"/>
                    <a:pt x="16158" y="59669"/>
                  </a:cubicBezTo>
                  <a:cubicBezTo>
                    <a:pt x="13442" y="63304"/>
                    <a:pt x="10815" y="67013"/>
                    <a:pt x="7982" y="70562"/>
                  </a:cubicBezTo>
                  <a:cubicBezTo>
                    <a:pt x="6233" y="72756"/>
                    <a:pt x="4590" y="74843"/>
                    <a:pt x="3710" y="77542"/>
                  </a:cubicBezTo>
                  <a:cubicBezTo>
                    <a:pt x="3674" y="77650"/>
                    <a:pt x="3772" y="77743"/>
                    <a:pt x="3869" y="77743"/>
                  </a:cubicBezTo>
                  <a:cubicBezTo>
                    <a:pt x="3907" y="77743"/>
                    <a:pt x="3945" y="77729"/>
                    <a:pt x="3975" y="77695"/>
                  </a:cubicBezTo>
                  <a:cubicBezTo>
                    <a:pt x="4501" y="77130"/>
                    <a:pt x="5015" y="76555"/>
                    <a:pt x="5528" y="75975"/>
                  </a:cubicBezTo>
                  <a:lnTo>
                    <a:pt x="5528" y="75975"/>
                  </a:lnTo>
                  <a:cubicBezTo>
                    <a:pt x="5049" y="76777"/>
                    <a:pt x="4602" y="77597"/>
                    <a:pt x="4195" y="78446"/>
                  </a:cubicBezTo>
                  <a:cubicBezTo>
                    <a:pt x="4128" y="78569"/>
                    <a:pt x="4229" y="78691"/>
                    <a:pt x="4341" y="78691"/>
                  </a:cubicBezTo>
                  <a:cubicBezTo>
                    <a:pt x="4379" y="78691"/>
                    <a:pt x="4418" y="78677"/>
                    <a:pt x="4452" y="78645"/>
                  </a:cubicBezTo>
                  <a:cubicBezTo>
                    <a:pt x="5670" y="77586"/>
                    <a:pt x="6807" y="76396"/>
                    <a:pt x="7890" y="75129"/>
                  </a:cubicBezTo>
                  <a:lnTo>
                    <a:pt x="7890" y="75129"/>
                  </a:lnTo>
                  <a:cubicBezTo>
                    <a:pt x="7777" y="75337"/>
                    <a:pt x="7674" y="75556"/>
                    <a:pt x="7572" y="75773"/>
                  </a:cubicBezTo>
                  <a:cubicBezTo>
                    <a:pt x="7278" y="76240"/>
                    <a:pt x="6989" y="76711"/>
                    <a:pt x="6718" y="77187"/>
                  </a:cubicBezTo>
                  <a:cubicBezTo>
                    <a:pt x="6651" y="77306"/>
                    <a:pt x="6754" y="77430"/>
                    <a:pt x="6865" y="77430"/>
                  </a:cubicBezTo>
                  <a:cubicBezTo>
                    <a:pt x="6902" y="77430"/>
                    <a:pt x="6939" y="77416"/>
                    <a:pt x="6972" y="77384"/>
                  </a:cubicBezTo>
                  <a:cubicBezTo>
                    <a:pt x="7015" y="77337"/>
                    <a:pt x="7056" y="77291"/>
                    <a:pt x="7102" y="77248"/>
                  </a:cubicBezTo>
                  <a:cubicBezTo>
                    <a:pt x="7126" y="77262"/>
                    <a:pt x="7154" y="77269"/>
                    <a:pt x="7182" y="77269"/>
                  </a:cubicBezTo>
                  <a:cubicBezTo>
                    <a:pt x="7207" y="77269"/>
                    <a:pt x="7232" y="77263"/>
                    <a:pt x="7255" y="77251"/>
                  </a:cubicBezTo>
                  <a:cubicBezTo>
                    <a:pt x="7555" y="77069"/>
                    <a:pt x="7844" y="76873"/>
                    <a:pt x="8121" y="76668"/>
                  </a:cubicBezTo>
                  <a:lnTo>
                    <a:pt x="8121" y="76668"/>
                  </a:lnTo>
                  <a:cubicBezTo>
                    <a:pt x="8020" y="76852"/>
                    <a:pt x="7919" y="77028"/>
                    <a:pt x="7815" y="77184"/>
                  </a:cubicBezTo>
                  <a:cubicBezTo>
                    <a:pt x="7739" y="77299"/>
                    <a:pt x="7857" y="77439"/>
                    <a:pt x="7973" y="77439"/>
                  </a:cubicBezTo>
                  <a:cubicBezTo>
                    <a:pt x="8011" y="77439"/>
                    <a:pt x="8050" y="77423"/>
                    <a:pt x="8081" y="77386"/>
                  </a:cubicBezTo>
                  <a:cubicBezTo>
                    <a:pt x="8765" y="76604"/>
                    <a:pt x="9420" y="75799"/>
                    <a:pt x="10050" y="74967"/>
                  </a:cubicBezTo>
                  <a:cubicBezTo>
                    <a:pt x="10696" y="74142"/>
                    <a:pt x="11002" y="73838"/>
                    <a:pt x="11104" y="73838"/>
                  </a:cubicBezTo>
                  <a:cubicBezTo>
                    <a:pt x="11345" y="73838"/>
                    <a:pt x="10424" y="75567"/>
                    <a:pt x="10179" y="76082"/>
                  </a:cubicBezTo>
                  <a:cubicBezTo>
                    <a:pt x="10119" y="76204"/>
                    <a:pt x="10218" y="76339"/>
                    <a:pt x="10330" y="76339"/>
                  </a:cubicBezTo>
                  <a:cubicBezTo>
                    <a:pt x="10368" y="76339"/>
                    <a:pt x="10407" y="76323"/>
                    <a:pt x="10442" y="76287"/>
                  </a:cubicBezTo>
                  <a:cubicBezTo>
                    <a:pt x="10846" y="75900"/>
                    <a:pt x="11216" y="75478"/>
                    <a:pt x="11545" y="75025"/>
                  </a:cubicBezTo>
                  <a:cubicBezTo>
                    <a:pt x="11646" y="74898"/>
                    <a:pt x="11534" y="74731"/>
                    <a:pt x="11416" y="74731"/>
                  </a:cubicBezTo>
                  <a:cubicBezTo>
                    <a:pt x="11378" y="74731"/>
                    <a:pt x="11340" y="74748"/>
                    <a:pt x="11308" y="74788"/>
                  </a:cubicBezTo>
                  <a:cubicBezTo>
                    <a:pt x="11031" y="75135"/>
                    <a:pt x="10888" y="75276"/>
                    <a:pt x="10838" y="75276"/>
                  </a:cubicBezTo>
                  <a:cubicBezTo>
                    <a:pt x="10642" y="75276"/>
                    <a:pt x="11880" y="73099"/>
                    <a:pt x="12062" y="72588"/>
                  </a:cubicBezTo>
                  <a:cubicBezTo>
                    <a:pt x="12101" y="72476"/>
                    <a:pt x="11999" y="72386"/>
                    <a:pt x="11895" y="72386"/>
                  </a:cubicBezTo>
                  <a:cubicBezTo>
                    <a:pt x="11876" y="72386"/>
                    <a:pt x="11857" y="72389"/>
                    <a:pt x="11839" y="72395"/>
                  </a:cubicBezTo>
                  <a:cubicBezTo>
                    <a:pt x="12018" y="72106"/>
                    <a:pt x="12189" y="71815"/>
                    <a:pt x="12353" y="71523"/>
                  </a:cubicBezTo>
                  <a:cubicBezTo>
                    <a:pt x="12416" y="71407"/>
                    <a:pt x="12312" y="71277"/>
                    <a:pt x="12205" y="71277"/>
                  </a:cubicBezTo>
                  <a:cubicBezTo>
                    <a:pt x="12168" y="71277"/>
                    <a:pt x="12130" y="71292"/>
                    <a:pt x="12099" y="71330"/>
                  </a:cubicBezTo>
                  <a:cubicBezTo>
                    <a:pt x="11658" y="71843"/>
                    <a:pt x="11199" y="72340"/>
                    <a:pt x="10748" y="72851"/>
                  </a:cubicBezTo>
                  <a:cubicBezTo>
                    <a:pt x="10985" y="72352"/>
                    <a:pt x="11213" y="71846"/>
                    <a:pt x="11424" y="71327"/>
                  </a:cubicBezTo>
                  <a:cubicBezTo>
                    <a:pt x="11471" y="71209"/>
                    <a:pt x="11368" y="71132"/>
                    <a:pt x="11265" y="71132"/>
                  </a:cubicBezTo>
                  <a:cubicBezTo>
                    <a:pt x="11224" y="71132"/>
                    <a:pt x="11184" y="71144"/>
                    <a:pt x="11152" y="71171"/>
                  </a:cubicBezTo>
                  <a:cubicBezTo>
                    <a:pt x="10930" y="71358"/>
                    <a:pt x="10742" y="71563"/>
                    <a:pt x="10535" y="71760"/>
                  </a:cubicBezTo>
                  <a:cubicBezTo>
                    <a:pt x="10976" y="71156"/>
                    <a:pt x="11415" y="70547"/>
                    <a:pt x="11845" y="69935"/>
                  </a:cubicBezTo>
                  <a:cubicBezTo>
                    <a:pt x="12307" y="70033"/>
                    <a:pt x="12766" y="70160"/>
                    <a:pt x="13225" y="70305"/>
                  </a:cubicBezTo>
                  <a:cubicBezTo>
                    <a:pt x="13251" y="70331"/>
                    <a:pt x="13289" y="70343"/>
                    <a:pt x="13326" y="70343"/>
                  </a:cubicBezTo>
                  <a:cubicBezTo>
                    <a:pt x="13330" y="70343"/>
                    <a:pt x="13334" y="70342"/>
                    <a:pt x="13338" y="70342"/>
                  </a:cubicBezTo>
                  <a:cubicBezTo>
                    <a:pt x="14674" y="70769"/>
                    <a:pt x="15997" y="71338"/>
                    <a:pt x="17322" y="71820"/>
                  </a:cubicBezTo>
                  <a:cubicBezTo>
                    <a:pt x="17299" y="71890"/>
                    <a:pt x="17270" y="71959"/>
                    <a:pt x="17247" y="72028"/>
                  </a:cubicBezTo>
                  <a:cubicBezTo>
                    <a:pt x="17207" y="72145"/>
                    <a:pt x="17315" y="72245"/>
                    <a:pt x="17420" y="72245"/>
                  </a:cubicBezTo>
                  <a:cubicBezTo>
                    <a:pt x="17461" y="72245"/>
                    <a:pt x="17501" y="72230"/>
                    <a:pt x="17533" y="72196"/>
                  </a:cubicBezTo>
                  <a:cubicBezTo>
                    <a:pt x="17599" y="72118"/>
                    <a:pt x="17663" y="72040"/>
                    <a:pt x="17729" y="71965"/>
                  </a:cubicBezTo>
                  <a:cubicBezTo>
                    <a:pt x="19047" y="72420"/>
                    <a:pt x="20375" y="72762"/>
                    <a:pt x="21735" y="72762"/>
                  </a:cubicBezTo>
                  <a:cubicBezTo>
                    <a:pt x="22307" y="72762"/>
                    <a:pt x="22886" y="72701"/>
                    <a:pt x="23471" y="72562"/>
                  </a:cubicBezTo>
                  <a:lnTo>
                    <a:pt x="23471" y="72562"/>
                  </a:lnTo>
                  <a:cubicBezTo>
                    <a:pt x="23468" y="72565"/>
                    <a:pt x="23465" y="72562"/>
                    <a:pt x="23463" y="72568"/>
                  </a:cubicBezTo>
                  <a:cubicBezTo>
                    <a:pt x="22111" y="74156"/>
                    <a:pt x="22446" y="76151"/>
                    <a:pt x="23422" y="78088"/>
                  </a:cubicBezTo>
                  <a:cubicBezTo>
                    <a:pt x="23327" y="78218"/>
                    <a:pt x="23232" y="78345"/>
                    <a:pt x="23139" y="78475"/>
                  </a:cubicBezTo>
                  <a:cubicBezTo>
                    <a:pt x="23079" y="78560"/>
                    <a:pt x="23158" y="78641"/>
                    <a:pt x="23241" y="78641"/>
                  </a:cubicBezTo>
                  <a:cubicBezTo>
                    <a:pt x="23276" y="78641"/>
                    <a:pt x="23312" y="78626"/>
                    <a:pt x="23338" y="78590"/>
                  </a:cubicBezTo>
                  <a:cubicBezTo>
                    <a:pt x="23405" y="78501"/>
                    <a:pt x="23474" y="78414"/>
                    <a:pt x="23540" y="78322"/>
                  </a:cubicBezTo>
                  <a:cubicBezTo>
                    <a:pt x="24239" y="79641"/>
                    <a:pt x="25221" y="80920"/>
                    <a:pt x="26162" y="82017"/>
                  </a:cubicBezTo>
                  <a:cubicBezTo>
                    <a:pt x="26147" y="82040"/>
                    <a:pt x="26133" y="82066"/>
                    <a:pt x="26119" y="82089"/>
                  </a:cubicBezTo>
                  <a:cubicBezTo>
                    <a:pt x="26058" y="82190"/>
                    <a:pt x="26148" y="82282"/>
                    <a:pt x="26238" y="82282"/>
                  </a:cubicBezTo>
                  <a:cubicBezTo>
                    <a:pt x="26277" y="82282"/>
                    <a:pt x="26317" y="82264"/>
                    <a:pt x="26344" y="82222"/>
                  </a:cubicBezTo>
                  <a:cubicBezTo>
                    <a:pt x="26748" y="82684"/>
                    <a:pt x="27129" y="83097"/>
                    <a:pt x="27484" y="83475"/>
                  </a:cubicBezTo>
                  <a:cubicBezTo>
                    <a:pt x="27369" y="83819"/>
                    <a:pt x="27242" y="84156"/>
                    <a:pt x="27138" y="84506"/>
                  </a:cubicBezTo>
                  <a:cubicBezTo>
                    <a:pt x="27129" y="84536"/>
                    <a:pt x="27153" y="84555"/>
                    <a:pt x="27178" y="84555"/>
                  </a:cubicBezTo>
                  <a:cubicBezTo>
                    <a:pt x="27193" y="84555"/>
                    <a:pt x="27209" y="84547"/>
                    <a:pt x="27216" y="84529"/>
                  </a:cubicBezTo>
                  <a:cubicBezTo>
                    <a:pt x="27325" y="84206"/>
                    <a:pt x="27455" y="83891"/>
                    <a:pt x="27577" y="83570"/>
                  </a:cubicBezTo>
                  <a:cubicBezTo>
                    <a:pt x="27640" y="83640"/>
                    <a:pt x="27709" y="83715"/>
                    <a:pt x="27770" y="83781"/>
                  </a:cubicBezTo>
                  <a:cubicBezTo>
                    <a:pt x="27900" y="83917"/>
                    <a:pt x="28073" y="84099"/>
                    <a:pt x="28275" y="84295"/>
                  </a:cubicBezTo>
                  <a:cubicBezTo>
                    <a:pt x="28235" y="84408"/>
                    <a:pt x="28191" y="84512"/>
                    <a:pt x="28151" y="84601"/>
                  </a:cubicBezTo>
                  <a:cubicBezTo>
                    <a:pt x="28104" y="84704"/>
                    <a:pt x="28194" y="84831"/>
                    <a:pt x="28290" y="84831"/>
                  </a:cubicBezTo>
                  <a:cubicBezTo>
                    <a:pt x="28323" y="84831"/>
                    <a:pt x="28356" y="84816"/>
                    <a:pt x="28385" y="84780"/>
                  </a:cubicBezTo>
                  <a:cubicBezTo>
                    <a:pt x="28443" y="84708"/>
                    <a:pt x="28497" y="84633"/>
                    <a:pt x="28555" y="84561"/>
                  </a:cubicBezTo>
                  <a:cubicBezTo>
                    <a:pt x="29148" y="85095"/>
                    <a:pt x="29899" y="85641"/>
                    <a:pt x="30565" y="85641"/>
                  </a:cubicBezTo>
                  <a:cubicBezTo>
                    <a:pt x="30752" y="85641"/>
                    <a:pt x="30933" y="85598"/>
                    <a:pt x="31102" y="85499"/>
                  </a:cubicBezTo>
                  <a:cubicBezTo>
                    <a:pt x="32340" y="84771"/>
                    <a:pt x="31806" y="82710"/>
                    <a:pt x="31136" y="81838"/>
                  </a:cubicBezTo>
                  <a:cubicBezTo>
                    <a:pt x="27787" y="77485"/>
                    <a:pt x="33532" y="78022"/>
                    <a:pt x="34858" y="75559"/>
                  </a:cubicBezTo>
                  <a:cubicBezTo>
                    <a:pt x="35008" y="75279"/>
                    <a:pt x="35086" y="74681"/>
                    <a:pt x="35143" y="74378"/>
                  </a:cubicBezTo>
                  <a:cubicBezTo>
                    <a:pt x="35273" y="73714"/>
                    <a:pt x="35805" y="73429"/>
                    <a:pt x="36394" y="73429"/>
                  </a:cubicBezTo>
                  <a:cubicBezTo>
                    <a:pt x="36911" y="73429"/>
                    <a:pt x="37472" y="73648"/>
                    <a:pt x="37843" y="74020"/>
                  </a:cubicBezTo>
                  <a:cubicBezTo>
                    <a:pt x="37811" y="74081"/>
                    <a:pt x="37779" y="74139"/>
                    <a:pt x="37747" y="74196"/>
                  </a:cubicBezTo>
                  <a:cubicBezTo>
                    <a:pt x="37680" y="74325"/>
                    <a:pt x="37780" y="74432"/>
                    <a:pt x="37889" y="74432"/>
                  </a:cubicBezTo>
                  <a:cubicBezTo>
                    <a:pt x="37938" y="74432"/>
                    <a:pt x="37990" y="74410"/>
                    <a:pt x="38027" y="74358"/>
                  </a:cubicBezTo>
                  <a:lnTo>
                    <a:pt x="38065" y="74306"/>
                  </a:lnTo>
                  <a:cubicBezTo>
                    <a:pt x="38186" y="74499"/>
                    <a:pt x="38256" y="74719"/>
                    <a:pt x="38264" y="74947"/>
                  </a:cubicBezTo>
                  <a:cubicBezTo>
                    <a:pt x="38273" y="75256"/>
                    <a:pt x="38334" y="75796"/>
                    <a:pt x="38648" y="75980"/>
                  </a:cubicBezTo>
                  <a:cubicBezTo>
                    <a:pt x="38859" y="76102"/>
                    <a:pt x="39254" y="76494"/>
                    <a:pt x="39676" y="76896"/>
                  </a:cubicBezTo>
                  <a:cubicBezTo>
                    <a:pt x="39503" y="77257"/>
                    <a:pt x="39318" y="77606"/>
                    <a:pt x="39159" y="77973"/>
                  </a:cubicBezTo>
                  <a:cubicBezTo>
                    <a:pt x="39106" y="78093"/>
                    <a:pt x="39205" y="78236"/>
                    <a:pt x="39314" y="78236"/>
                  </a:cubicBezTo>
                  <a:cubicBezTo>
                    <a:pt x="39352" y="78236"/>
                    <a:pt x="39391" y="78219"/>
                    <a:pt x="39425" y="78177"/>
                  </a:cubicBezTo>
                  <a:cubicBezTo>
                    <a:pt x="39664" y="77895"/>
                    <a:pt x="39892" y="77606"/>
                    <a:pt x="40126" y="77320"/>
                  </a:cubicBezTo>
                  <a:cubicBezTo>
                    <a:pt x="40513" y="77672"/>
                    <a:pt x="40871" y="77955"/>
                    <a:pt x="41065" y="77955"/>
                  </a:cubicBezTo>
                  <a:cubicBezTo>
                    <a:pt x="42855" y="77961"/>
                    <a:pt x="42658" y="78619"/>
                    <a:pt x="42927" y="80349"/>
                  </a:cubicBezTo>
                  <a:cubicBezTo>
                    <a:pt x="43213" y="82190"/>
                    <a:pt x="43689" y="84506"/>
                    <a:pt x="43288" y="86377"/>
                  </a:cubicBezTo>
                  <a:cubicBezTo>
                    <a:pt x="43285" y="86391"/>
                    <a:pt x="43293" y="86400"/>
                    <a:pt x="43293" y="86411"/>
                  </a:cubicBezTo>
                  <a:cubicBezTo>
                    <a:pt x="42888" y="86760"/>
                    <a:pt x="42590" y="87066"/>
                    <a:pt x="42448" y="87066"/>
                  </a:cubicBezTo>
                  <a:cubicBezTo>
                    <a:pt x="42330" y="87066"/>
                    <a:pt x="42319" y="86856"/>
                    <a:pt x="42442" y="86287"/>
                  </a:cubicBezTo>
                  <a:cubicBezTo>
                    <a:pt x="42461" y="86200"/>
                    <a:pt x="42402" y="86099"/>
                    <a:pt x="42305" y="86099"/>
                  </a:cubicBezTo>
                  <a:cubicBezTo>
                    <a:pt x="42303" y="86099"/>
                    <a:pt x="42300" y="86099"/>
                    <a:pt x="42297" y="86099"/>
                  </a:cubicBezTo>
                  <a:cubicBezTo>
                    <a:pt x="42276" y="86100"/>
                    <a:pt x="42255" y="86101"/>
                    <a:pt x="42234" y="86101"/>
                  </a:cubicBezTo>
                  <a:cubicBezTo>
                    <a:pt x="41971" y="86101"/>
                    <a:pt x="41804" y="86034"/>
                    <a:pt x="41691" y="85975"/>
                  </a:cubicBezTo>
                  <a:cubicBezTo>
                    <a:pt x="41763" y="85715"/>
                    <a:pt x="41835" y="85453"/>
                    <a:pt x="41908" y="85193"/>
                  </a:cubicBezTo>
                  <a:cubicBezTo>
                    <a:pt x="41948" y="85119"/>
                    <a:pt x="41885" y="85052"/>
                    <a:pt x="41821" y="85052"/>
                  </a:cubicBezTo>
                  <a:cubicBezTo>
                    <a:pt x="41793" y="85052"/>
                    <a:pt x="41764" y="85066"/>
                    <a:pt x="41743" y="85098"/>
                  </a:cubicBezTo>
                  <a:cubicBezTo>
                    <a:pt x="41469" y="85510"/>
                    <a:pt x="41192" y="85923"/>
                    <a:pt x="40917" y="86333"/>
                  </a:cubicBezTo>
                  <a:cubicBezTo>
                    <a:pt x="40851" y="86436"/>
                    <a:pt x="40945" y="86544"/>
                    <a:pt x="41047" y="86544"/>
                  </a:cubicBezTo>
                  <a:cubicBezTo>
                    <a:pt x="41057" y="86544"/>
                    <a:pt x="41067" y="86543"/>
                    <a:pt x="41076" y="86541"/>
                  </a:cubicBezTo>
                  <a:cubicBezTo>
                    <a:pt x="42043" y="86657"/>
                    <a:pt x="42240" y="87069"/>
                    <a:pt x="41671" y="87780"/>
                  </a:cubicBezTo>
                  <a:cubicBezTo>
                    <a:pt x="41625" y="87900"/>
                    <a:pt x="41727" y="87975"/>
                    <a:pt x="41829" y="87975"/>
                  </a:cubicBezTo>
                  <a:cubicBezTo>
                    <a:pt x="41868" y="87975"/>
                    <a:pt x="41908" y="87964"/>
                    <a:pt x="41939" y="87938"/>
                  </a:cubicBezTo>
                  <a:cubicBezTo>
                    <a:pt x="42456" y="87518"/>
                    <a:pt x="42732" y="87406"/>
                    <a:pt x="42899" y="87406"/>
                  </a:cubicBezTo>
                  <a:cubicBezTo>
                    <a:pt x="42998" y="87406"/>
                    <a:pt x="43058" y="87445"/>
                    <a:pt x="43109" y="87482"/>
                  </a:cubicBezTo>
                  <a:cubicBezTo>
                    <a:pt x="42843" y="87881"/>
                    <a:pt x="42566" y="88276"/>
                    <a:pt x="42312" y="88683"/>
                  </a:cubicBezTo>
                  <a:cubicBezTo>
                    <a:pt x="42231" y="88812"/>
                    <a:pt x="42347" y="88932"/>
                    <a:pt x="42463" y="88932"/>
                  </a:cubicBezTo>
                  <a:cubicBezTo>
                    <a:pt x="42514" y="88932"/>
                    <a:pt x="42565" y="88909"/>
                    <a:pt x="42600" y="88854"/>
                  </a:cubicBezTo>
                  <a:cubicBezTo>
                    <a:pt x="43265" y="87826"/>
                    <a:pt x="43305" y="87866"/>
                    <a:pt x="43435" y="87427"/>
                  </a:cubicBezTo>
                  <a:cubicBezTo>
                    <a:pt x="43573" y="87289"/>
                    <a:pt x="43781" y="87018"/>
                    <a:pt x="44136" y="86492"/>
                  </a:cubicBezTo>
                  <a:cubicBezTo>
                    <a:pt x="44616" y="85780"/>
                    <a:pt x="44843" y="85500"/>
                    <a:pt x="44902" y="85500"/>
                  </a:cubicBezTo>
                  <a:cubicBezTo>
                    <a:pt x="45106" y="85500"/>
                    <a:pt x="43328" y="88828"/>
                    <a:pt x="43097" y="89316"/>
                  </a:cubicBezTo>
                  <a:cubicBezTo>
                    <a:pt x="43020" y="89447"/>
                    <a:pt x="43132" y="89568"/>
                    <a:pt x="43247" y="89568"/>
                  </a:cubicBezTo>
                  <a:cubicBezTo>
                    <a:pt x="43298" y="89568"/>
                    <a:pt x="43351" y="89543"/>
                    <a:pt x="43386" y="89483"/>
                  </a:cubicBezTo>
                  <a:cubicBezTo>
                    <a:pt x="44061" y="88526"/>
                    <a:pt x="44749" y="87584"/>
                    <a:pt x="45458" y="86655"/>
                  </a:cubicBezTo>
                  <a:lnTo>
                    <a:pt x="45458" y="86655"/>
                  </a:lnTo>
                  <a:cubicBezTo>
                    <a:pt x="44885" y="87425"/>
                    <a:pt x="44410" y="89190"/>
                    <a:pt x="43882" y="90098"/>
                  </a:cubicBezTo>
                  <a:cubicBezTo>
                    <a:pt x="43802" y="90236"/>
                    <a:pt x="43913" y="90349"/>
                    <a:pt x="44032" y="90349"/>
                  </a:cubicBezTo>
                  <a:cubicBezTo>
                    <a:pt x="44085" y="90349"/>
                    <a:pt x="44140" y="90326"/>
                    <a:pt x="44180" y="90274"/>
                  </a:cubicBezTo>
                  <a:cubicBezTo>
                    <a:pt x="45392" y="88670"/>
                    <a:pt x="45891" y="88107"/>
                    <a:pt x="46005" y="88107"/>
                  </a:cubicBezTo>
                  <a:cubicBezTo>
                    <a:pt x="46203" y="88107"/>
                    <a:pt x="45225" y="89828"/>
                    <a:pt x="44821" y="90727"/>
                  </a:cubicBezTo>
                  <a:cubicBezTo>
                    <a:pt x="44763" y="90861"/>
                    <a:pt x="44862" y="90997"/>
                    <a:pt x="44979" y="90997"/>
                  </a:cubicBezTo>
                  <a:cubicBezTo>
                    <a:pt x="45019" y="90997"/>
                    <a:pt x="45062" y="90981"/>
                    <a:pt x="45101" y="90944"/>
                  </a:cubicBezTo>
                  <a:cubicBezTo>
                    <a:pt x="45727" y="90375"/>
                    <a:pt x="46319" y="89769"/>
                    <a:pt x="46876" y="89134"/>
                  </a:cubicBezTo>
                  <a:lnTo>
                    <a:pt x="46876" y="89134"/>
                  </a:lnTo>
                  <a:cubicBezTo>
                    <a:pt x="46674" y="90190"/>
                    <a:pt x="46296" y="91207"/>
                    <a:pt x="45762" y="92139"/>
                  </a:cubicBezTo>
                  <a:cubicBezTo>
                    <a:pt x="45680" y="92284"/>
                    <a:pt x="45801" y="92414"/>
                    <a:pt x="45925" y="92414"/>
                  </a:cubicBezTo>
                  <a:cubicBezTo>
                    <a:pt x="45981" y="92414"/>
                    <a:pt x="46038" y="92388"/>
                    <a:pt x="46076" y="92324"/>
                  </a:cubicBezTo>
                  <a:cubicBezTo>
                    <a:pt x="47117" y="90894"/>
                    <a:pt x="47551" y="90400"/>
                    <a:pt x="47651" y="90400"/>
                  </a:cubicBezTo>
                  <a:cubicBezTo>
                    <a:pt x="47831" y="90400"/>
                    <a:pt x="46932" y="91997"/>
                    <a:pt x="46550" y="92613"/>
                  </a:cubicBezTo>
                  <a:cubicBezTo>
                    <a:pt x="46465" y="92747"/>
                    <a:pt x="46586" y="92886"/>
                    <a:pt x="46715" y="92886"/>
                  </a:cubicBezTo>
                  <a:cubicBezTo>
                    <a:pt x="46758" y="92886"/>
                    <a:pt x="46801" y="92871"/>
                    <a:pt x="46839" y="92835"/>
                  </a:cubicBezTo>
                  <a:cubicBezTo>
                    <a:pt x="47401" y="92275"/>
                    <a:pt x="48790" y="90873"/>
                    <a:pt x="48961" y="90873"/>
                  </a:cubicBezTo>
                  <a:cubicBezTo>
                    <a:pt x="49068" y="90873"/>
                    <a:pt x="48701" y="91417"/>
                    <a:pt x="47367" y="93048"/>
                  </a:cubicBezTo>
                  <a:cubicBezTo>
                    <a:pt x="47257" y="93187"/>
                    <a:pt x="47368" y="93364"/>
                    <a:pt x="47500" y="93364"/>
                  </a:cubicBezTo>
                  <a:cubicBezTo>
                    <a:pt x="47541" y="93364"/>
                    <a:pt x="47585" y="93347"/>
                    <a:pt x="47624" y="93305"/>
                  </a:cubicBezTo>
                  <a:cubicBezTo>
                    <a:pt x="48458" y="92442"/>
                    <a:pt x="48947" y="92034"/>
                    <a:pt x="49124" y="92034"/>
                  </a:cubicBezTo>
                  <a:cubicBezTo>
                    <a:pt x="49356" y="92034"/>
                    <a:pt x="49052" y="92734"/>
                    <a:pt x="48282" y="94027"/>
                  </a:cubicBezTo>
                  <a:cubicBezTo>
                    <a:pt x="48195" y="94175"/>
                    <a:pt x="48314" y="94296"/>
                    <a:pt x="48444" y="94296"/>
                  </a:cubicBezTo>
                  <a:cubicBezTo>
                    <a:pt x="48487" y="94296"/>
                    <a:pt x="48532" y="94283"/>
                    <a:pt x="48571" y="94252"/>
                  </a:cubicBezTo>
                  <a:cubicBezTo>
                    <a:pt x="49526" y="93511"/>
                    <a:pt x="49983" y="93213"/>
                    <a:pt x="50130" y="93213"/>
                  </a:cubicBezTo>
                  <a:cubicBezTo>
                    <a:pt x="50384" y="93213"/>
                    <a:pt x="49709" y="94105"/>
                    <a:pt x="49070" y="95133"/>
                  </a:cubicBezTo>
                  <a:cubicBezTo>
                    <a:pt x="48988" y="95262"/>
                    <a:pt x="49111" y="95409"/>
                    <a:pt x="49236" y="95409"/>
                  </a:cubicBezTo>
                  <a:cubicBezTo>
                    <a:pt x="49278" y="95409"/>
                    <a:pt x="49321" y="95392"/>
                    <a:pt x="49356" y="95352"/>
                  </a:cubicBezTo>
                  <a:cubicBezTo>
                    <a:pt x="49896" y="94574"/>
                    <a:pt x="50228" y="94184"/>
                    <a:pt x="50354" y="94184"/>
                  </a:cubicBezTo>
                  <a:cubicBezTo>
                    <a:pt x="50492" y="94184"/>
                    <a:pt x="50379" y="94657"/>
                    <a:pt x="50014" y="95603"/>
                  </a:cubicBezTo>
                  <a:cubicBezTo>
                    <a:pt x="49941" y="95746"/>
                    <a:pt x="50050" y="95875"/>
                    <a:pt x="50175" y="95875"/>
                  </a:cubicBezTo>
                  <a:cubicBezTo>
                    <a:pt x="50218" y="95875"/>
                    <a:pt x="50263" y="95860"/>
                    <a:pt x="50303" y="95826"/>
                  </a:cubicBezTo>
                  <a:cubicBezTo>
                    <a:pt x="51031" y="95235"/>
                    <a:pt x="51505" y="94939"/>
                    <a:pt x="51728" y="94939"/>
                  </a:cubicBezTo>
                  <a:cubicBezTo>
                    <a:pt x="51967" y="94939"/>
                    <a:pt x="51914" y="95281"/>
                    <a:pt x="51570" y="95964"/>
                  </a:cubicBezTo>
                  <a:cubicBezTo>
                    <a:pt x="51531" y="96091"/>
                    <a:pt x="51643" y="96195"/>
                    <a:pt x="51756" y="96195"/>
                  </a:cubicBezTo>
                  <a:cubicBezTo>
                    <a:pt x="51800" y="96195"/>
                    <a:pt x="51844" y="96180"/>
                    <a:pt x="51879" y="96143"/>
                  </a:cubicBezTo>
                  <a:cubicBezTo>
                    <a:pt x="52408" y="95574"/>
                    <a:pt x="52755" y="95290"/>
                    <a:pt x="52922" y="95290"/>
                  </a:cubicBezTo>
                  <a:cubicBezTo>
                    <a:pt x="53101" y="95290"/>
                    <a:pt x="53070" y="95619"/>
                    <a:pt x="52829" y="96279"/>
                  </a:cubicBezTo>
                  <a:cubicBezTo>
                    <a:pt x="52806" y="96402"/>
                    <a:pt x="52909" y="96518"/>
                    <a:pt x="53017" y="96518"/>
                  </a:cubicBezTo>
                  <a:cubicBezTo>
                    <a:pt x="53059" y="96518"/>
                    <a:pt x="53101" y="96501"/>
                    <a:pt x="53138" y="96461"/>
                  </a:cubicBezTo>
                  <a:cubicBezTo>
                    <a:pt x="53402" y="95934"/>
                    <a:pt x="53614" y="95671"/>
                    <a:pt x="53774" y="95671"/>
                  </a:cubicBezTo>
                  <a:cubicBezTo>
                    <a:pt x="53920" y="95671"/>
                    <a:pt x="54023" y="95890"/>
                    <a:pt x="54082" y="96328"/>
                  </a:cubicBezTo>
                  <a:cubicBezTo>
                    <a:pt x="54071" y="96438"/>
                    <a:pt x="54176" y="96512"/>
                    <a:pt x="54276" y="96512"/>
                  </a:cubicBezTo>
                  <a:cubicBezTo>
                    <a:pt x="54306" y="96512"/>
                    <a:pt x="54336" y="96505"/>
                    <a:pt x="54362" y="96490"/>
                  </a:cubicBezTo>
                  <a:cubicBezTo>
                    <a:pt x="54671" y="96168"/>
                    <a:pt x="54897" y="96008"/>
                    <a:pt x="55041" y="96008"/>
                  </a:cubicBezTo>
                  <a:cubicBezTo>
                    <a:pt x="55219" y="96008"/>
                    <a:pt x="55270" y="96256"/>
                    <a:pt x="55194" y="96752"/>
                  </a:cubicBezTo>
                  <a:cubicBezTo>
                    <a:pt x="55159" y="96890"/>
                    <a:pt x="55258" y="96978"/>
                    <a:pt x="55369" y="96978"/>
                  </a:cubicBezTo>
                  <a:cubicBezTo>
                    <a:pt x="55414" y="96978"/>
                    <a:pt x="55462" y="96963"/>
                    <a:pt x="55503" y="96931"/>
                  </a:cubicBezTo>
                  <a:cubicBezTo>
                    <a:pt x="56061" y="96419"/>
                    <a:pt x="56445" y="96163"/>
                    <a:pt x="56656" y="96163"/>
                  </a:cubicBezTo>
                  <a:cubicBezTo>
                    <a:pt x="56870" y="96163"/>
                    <a:pt x="56905" y="96428"/>
                    <a:pt x="56761" y="96957"/>
                  </a:cubicBezTo>
                  <a:cubicBezTo>
                    <a:pt x="56750" y="97065"/>
                    <a:pt x="56852" y="97143"/>
                    <a:pt x="56952" y="97143"/>
                  </a:cubicBezTo>
                  <a:cubicBezTo>
                    <a:pt x="56983" y="97143"/>
                    <a:pt x="57014" y="97136"/>
                    <a:pt x="57041" y="97119"/>
                  </a:cubicBezTo>
                  <a:cubicBezTo>
                    <a:pt x="57508" y="96832"/>
                    <a:pt x="57739" y="96673"/>
                    <a:pt x="57792" y="96673"/>
                  </a:cubicBezTo>
                  <a:cubicBezTo>
                    <a:pt x="57859" y="96673"/>
                    <a:pt x="57640" y="96928"/>
                    <a:pt x="57258" y="97494"/>
                  </a:cubicBezTo>
                  <a:cubicBezTo>
                    <a:pt x="57167" y="97626"/>
                    <a:pt x="57298" y="97776"/>
                    <a:pt x="57428" y="97776"/>
                  </a:cubicBezTo>
                  <a:cubicBezTo>
                    <a:pt x="57471" y="97776"/>
                    <a:pt x="57515" y="97759"/>
                    <a:pt x="57549" y="97720"/>
                  </a:cubicBezTo>
                  <a:cubicBezTo>
                    <a:pt x="57876" y="97348"/>
                    <a:pt x="58421" y="96504"/>
                    <a:pt x="58635" y="96504"/>
                  </a:cubicBezTo>
                  <a:cubicBezTo>
                    <a:pt x="58737" y="96504"/>
                    <a:pt x="58763" y="96696"/>
                    <a:pt x="58655" y="97223"/>
                  </a:cubicBezTo>
                  <a:cubicBezTo>
                    <a:pt x="58633" y="97332"/>
                    <a:pt x="58713" y="97465"/>
                    <a:pt x="58828" y="97465"/>
                  </a:cubicBezTo>
                  <a:cubicBezTo>
                    <a:pt x="58846" y="97465"/>
                    <a:pt x="58866" y="97462"/>
                    <a:pt x="58886" y="97454"/>
                  </a:cubicBezTo>
                  <a:cubicBezTo>
                    <a:pt x="59343" y="97276"/>
                    <a:pt x="59839" y="96976"/>
                    <a:pt x="60093" y="96976"/>
                  </a:cubicBezTo>
                  <a:cubicBezTo>
                    <a:pt x="60332" y="96976"/>
                    <a:pt x="60357" y="97242"/>
                    <a:pt x="59931" y="98124"/>
                  </a:cubicBezTo>
                  <a:cubicBezTo>
                    <a:pt x="59867" y="98259"/>
                    <a:pt x="59978" y="98412"/>
                    <a:pt x="60102" y="98412"/>
                  </a:cubicBezTo>
                  <a:cubicBezTo>
                    <a:pt x="60144" y="98412"/>
                    <a:pt x="60187" y="98395"/>
                    <a:pt x="60226" y="98352"/>
                  </a:cubicBezTo>
                  <a:cubicBezTo>
                    <a:pt x="60562" y="97982"/>
                    <a:pt x="61209" y="96902"/>
                    <a:pt x="61404" y="96902"/>
                  </a:cubicBezTo>
                  <a:cubicBezTo>
                    <a:pt x="61490" y="96902"/>
                    <a:pt x="61487" y="97114"/>
                    <a:pt x="61329" y="97697"/>
                  </a:cubicBezTo>
                  <a:cubicBezTo>
                    <a:pt x="61289" y="97837"/>
                    <a:pt x="61396" y="97927"/>
                    <a:pt x="61512" y="97927"/>
                  </a:cubicBezTo>
                  <a:cubicBezTo>
                    <a:pt x="61558" y="97927"/>
                    <a:pt x="61606" y="97913"/>
                    <a:pt x="61646" y="97881"/>
                  </a:cubicBezTo>
                  <a:cubicBezTo>
                    <a:pt x="62251" y="97396"/>
                    <a:pt x="62857" y="96844"/>
                    <a:pt x="63162" y="96844"/>
                  </a:cubicBezTo>
                  <a:cubicBezTo>
                    <a:pt x="63389" y="96844"/>
                    <a:pt x="63450" y="97149"/>
                    <a:pt x="63219" y="98011"/>
                  </a:cubicBezTo>
                  <a:cubicBezTo>
                    <a:pt x="63186" y="98134"/>
                    <a:pt x="63302" y="98257"/>
                    <a:pt x="63415" y="98257"/>
                  </a:cubicBezTo>
                  <a:cubicBezTo>
                    <a:pt x="63458" y="98257"/>
                    <a:pt x="63501" y="98239"/>
                    <a:pt x="63534" y="98196"/>
                  </a:cubicBezTo>
                  <a:cubicBezTo>
                    <a:pt x="63549" y="98177"/>
                    <a:pt x="64616" y="96649"/>
                    <a:pt x="64793" y="96649"/>
                  </a:cubicBezTo>
                  <a:cubicBezTo>
                    <a:pt x="64860" y="96649"/>
                    <a:pt x="64798" y="96873"/>
                    <a:pt x="64496" y="97492"/>
                  </a:cubicBezTo>
                  <a:cubicBezTo>
                    <a:pt x="64418" y="97636"/>
                    <a:pt x="64536" y="97778"/>
                    <a:pt x="64667" y="97778"/>
                  </a:cubicBezTo>
                  <a:cubicBezTo>
                    <a:pt x="64711" y="97778"/>
                    <a:pt x="64756" y="97762"/>
                    <a:pt x="64796" y="97725"/>
                  </a:cubicBezTo>
                  <a:cubicBezTo>
                    <a:pt x="65078" y="97483"/>
                    <a:pt x="65798" y="96507"/>
                    <a:pt x="65984" y="96507"/>
                  </a:cubicBezTo>
                  <a:cubicBezTo>
                    <a:pt x="66057" y="96507"/>
                    <a:pt x="66047" y="96658"/>
                    <a:pt x="65896" y="97064"/>
                  </a:cubicBezTo>
                  <a:cubicBezTo>
                    <a:pt x="65850" y="97190"/>
                    <a:pt x="65967" y="97303"/>
                    <a:pt x="66085" y="97303"/>
                  </a:cubicBezTo>
                  <a:cubicBezTo>
                    <a:pt x="66116" y="97303"/>
                    <a:pt x="66148" y="97295"/>
                    <a:pt x="66176" y="97278"/>
                  </a:cubicBezTo>
                  <a:cubicBezTo>
                    <a:pt x="66511" y="97072"/>
                    <a:pt x="67379" y="96294"/>
                    <a:pt x="67730" y="96294"/>
                  </a:cubicBezTo>
                  <a:cubicBezTo>
                    <a:pt x="67890" y="96294"/>
                    <a:pt x="67942" y="96456"/>
                    <a:pt x="67787" y="96908"/>
                  </a:cubicBezTo>
                  <a:cubicBezTo>
                    <a:pt x="67748" y="97025"/>
                    <a:pt x="67861" y="97151"/>
                    <a:pt x="67976" y="97151"/>
                  </a:cubicBezTo>
                  <a:cubicBezTo>
                    <a:pt x="68006" y="97151"/>
                    <a:pt x="68036" y="97142"/>
                    <a:pt x="68064" y="97122"/>
                  </a:cubicBezTo>
                  <a:lnTo>
                    <a:pt x="68529" y="96784"/>
                  </a:lnTo>
                  <a:cubicBezTo>
                    <a:pt x="68633" y="96706"/>
                    <a:pt x="68647" y="96588"/>
                    <a:pt x="68566" y="96487"/>
                  </a:cubicBezTo>
                  <a:cubicBezTo>
                    <a:pt x="68520" y="96426"/>
                    <a:pt x="68468" y="96371"/>
                    <a:pt x="68413" y="96317"/>
                  </a:cubicBezTo>
                  <a:cubicBezTo>
                    <a:pt x="68508" y="96192"/>
                    <a:pt x="68534" y="96008"/>
                    <a:pt x="68468" y="95748"/>
                  </a:cubicBezTo>
                  <a:cubicBezTo>
                    <a:pt x="68486" y="95634"/>
                    <a:pt x="68399" y="95505"/>
                    <a:pt x="68287" y="95505"/>
                  </a:cubicBezTo>
                  <a:cubicBezTo>
                    <a:pt x="68256" y="95505"/>
                    <a:pt x="68224" y="95515"/>
                    <a:pt x="68191" y="95537"/>
                  </a:cubicBezTo>
                  <a:cubicBezTo>
                    <a:pt x="67897" y="95735"/>
                    <a:pt x="67058" y="96533"/>
                    <a:pt x="66743" y="96533"/>
                  </a:cubicBezTo>
                  <a:cubicBezTo>
                    <a:pt x="66599" y="96533"/>
                    <a:pt x="66565" y="96368"/>
                    <a:pt x="66739" y="95907"/>
                  </a:cubicBezTo>
                  <a:cubicBezTo>
                    <a:pt x="66791" y="95772"/>
                    <a:pt x="66670" y="95670"/>
                    <a:pt x="66550" y="95670"/>
                  </a:cubicBezTo>
                  <a:cubicBezTo>
                    <a:pt x="66502" y="95670"/>
                    <a:pt x="66455" y="95686"/>
                    <a:pt x="66418" y="95722"/>
                  </a:cubicBezTo>
                  <a:cubicBezTo>
                    <a:pt x="65945" y="96184"/>
                    <a:pt x="65463" y="96833"/>
                    <a:pt x="65348" y="96833"/>
                  </a:cubicBezTo>
                  <a:cubicBezTo>
                    <a:pt x="65279" y="96833"/>
                    <a:pt x="65341" y="96600"/>
                    <a:pt x="65616" y="95953"/>
                  </a:cubicBezTo>
                  <a:cubicBezTo>
                    <a:pt x="65678" y="95809"/>
                    <a:pt x="65576" y="95665"/>
                    <a:pt x="65449" y="95665"/>
                  </a:cubicBezTo>
                  <a:cubicBezTo>
                    <a:pt x="65405" y="95665"/>
                    <a:pt x="65359" y="95682"/>
                    <a:pt x="65315" y="95722"/>
                  </a:cubicBezTo>
                  <a:cubicBezTo>
                    <a:pt x="64635" y="96344"/>
                    <a:pt x="64219" y="96925"/>
                    <a:pt x="64052" y="96925"/>
                  </a:cubicBezTo>
                  <a:cubicBezTo>
                    <a:pt x="63936" y="96925"/>
                    <a:pt x="63940" y="96646"/>
                    <a:pt x="64060" y="95907"/>
                  </a:cubicBezTo>
                  <a:cubicBezTo>
                    <a:pt x="64080" y="95768"/>
                    <a:pt x="63988" y="95672"/>
                    <a:pt x="63877" y="95672"/>
                  </a:cubicBezTo>
                  <a:cubicBezTo>
                    <a:pt x="63833" y="95672"/>
                    <a:pt x="63786" y="95687"/>
                    <a:pt x="63742" y="95722"/>
                  </a:cubicBezTo>
                  <a:cubicBezTo>
                    <a:pt x="63282" y="96090"/>
                    <a:pt x="62532" y="96911"/>
                    <a:pt x="62213" y="96911"/>
                  </a:cubicBezTo>
                  <a:cubicBezTo>
                    <a:pt x="62048" y="96911"/>
                    <a:pt x="61999" y="96689"/>
                    <a:pt x="62169" y="96065"/>
                  </a:cubicBezTo>
                  <a:cubicBezTo>
                    <a:pt x="62202" y="95940"/>
                    <a:pt x="62088" y="95820"/>
                    <a:pt x="61974" y="95820"/>
                  </a:cubicBezTo>
                  <a:cubicBezTo>
                    <a:pt x="61930" y="95820"/>
                    <a:pt x="61886" y="95838"/>
                    <a:pt x="61851" y="95881"/>
                  </a:cubicBezTo>
                  <a:cubicBezTo>
                    <a:pt x="61263" y="96604"/>
                    <a:pt x="60916" y="97161"/>
                    <a:pt x="60856" y="97161"/>
                  </a:cubicBezTo>
                  <a:cubicBezTo>
                    <a:pt x="60811" y="97161"/>
                    <a:pt x="60926" y="96849"/>
                    <a:pt x="61222" y="96062"/>
                  </a:cubicBezTo>
                  <a:cubicBezTo>
                    <a:pt x="61275" y="95922"/>
                    <a:pt x="61158" y="95838"/>
                    <a:pt x="61041" y="95838"/>
                  </a:cubicBezTo>
                  <a:cubicBezTo>
                    <a:pt x="60993" y="95838"/>
                    <a:pt x="60946" y="95852"/>
                    <a:pt x="60910" y="95881"/>
                  </a:cubicBezTo>
                  <a:cubicBezTo>
                    <a:pt x="60148" y="96452"/>
                    <a:pt x="59636" y="96738"/>
                    <a:pt x="59375" y="96738"/>
                  </a:cubicBezTo>
                  <a:cubicBezTo>
                    <a:pt x="59118" y="96738"/>
                    <a:pt x="59103" y="96461"/>
                    <a:pt x="59331" y="95907"/>
                  </a:cubicBezTo>
                  <a:cubicBezTo>
                    <a:pt x="59364" y="95771"/>
                    <a:pt x="59261" y="95674"/>
                    <a:pt x="59150" y="95674"/>
                  </a:cubicBezTo>
                  <a:cubicBezTo>
                    <a:pt x="59105" y="95674"/>
                    <a:pt x="59059" y="95690"/>
                    <a:pt x="59019" y="95725"/>
                  </a:cubicBezTo>
                  <a:cubicBezTo>
                    <a:pt x="58551" y="96130"/>
                    <a:pt x="58150" y="96808"/>
                    <a:pt x="58148" y="96808"/>
                  </a:cubicBezTo>
                  <a:cubicBezTo>
                    <a:pt x="58147" y="96808"/>
                    <a:pt x="58257" y="96621"/>
                    <a:pt x="58525" y="96109"/>
                  </a:cubicBezTo>
                  <a:cubicBezTo>
                    <a:pt x="58588" y="95988"/>
                    <a:pt x="58489" y="95821"/>
                    <a:pt x="58363" y="95821"/>
                  </a:cubicBezTo>
                  <a:cubicBezTo>
                    <a:pt x="58333" y="95821"/>
                    <a:pt x="58300" y="95831"/>
                    <a:pt x="58268" y="95855"/>
                  </a:cubicBezTo>
                  <a:cubicBezTo>
                    <a:pt x="57911" y="96114"/>
                    <a:pt x="57642" y="96331"/>
                    <a:pt x="57453" y="96331"/>
                  </a:cubicBezTo>
                  <a:cubicBezTo>
                    <a:pt x="57285" y="96331"/>
                    <a:pt x="57180" y="96161"/>
                    <a:pt x="57131" y="95699"/>
                  </a:cubicBezTo>
                  <a:cubicBezTo>
                    <a:pt x="57120" y="95600"/>
                    <a:pt x="57038" y="95512"/>
                    <a:pt x="56944" y="95512"/>
                  </a:cubicBezTo>
                  <a:cubicBezTo>
                    <a:pt x="56915" y="95512"/>
                    <a:pt x="56884" y="95521"/>
                    <a:pt x="56855" y="95539"/>
                  </a:cubicBezTo>
                  <a:lnTo>
                    <a:pt x="56855" y="95539"/>
                  </a:lnTo>
                  <a:cubicBezTo>
                    <a:pt x="56856" y="95539"/>
                    <a:pt x="56856" y="95538"/>
                    <a:pt x="56857" y="95538"/>
                  </a:cubicBezTo>
                  <a:lnTo>
                    <a:pt x="56857" y="95538"/>
                  </a:lnTo>
                  <a:cubicBezTo>
                    <a:pt x="56869" y="95538"/>
                    <a:pt x="56287" y="96052"/>
                    <a:pt x="55993" y="96052"/>
                  </a:cubicBezTo>
                  <a:cubicBezTo>
                    <a:pt x="55852" y="96052"/>
                    <a:pt x="55778" y="95936"/>
                    <a:pt x="55863" y="95592"/>
                  </a:cubicBezTo>
                  <a:cubicBezTo>
                    <a:pt x="55895" y="95467"/>
                    <a:pt x="55798" y="95359"/>
                    <a:pt x="55684" y="95359"/>
                  </a:cubicBezTo>
                  <a:cubicBezTo>
                    <a:pt x="55654" y="95359"/>
                    <a:pt x="55622" y="95367"/>
                    <a:pt x="55592" y="95384"/>
                  </a:cubicBezTo>
                  <a:cubicBezTo>
                    <a:pt x="55357" y="95613"/>
                    <a:pt x="55163" y="95727"/>
                    <a:pt x="55012" y="95727"/>
                  </a:cubicBezTo>
                  <a:cubicBezTo>
                    <a:pt x="54779" y="95727"/>
                    <a:pt x="54645" y="95456"/>
                    <a:pt x="54610" y="94913"/>
                  </a:cubicBezTo>
                  <a:cubicBezTo>
                    <a:pt x="54624" y="94798"/>
                    <a:pt x="54527" y="94735"/>
                    <a:pt x="54429" y="94735"/>
                  </a:cubicBezTo>
                  <a:cubicBezTo>
                    <a:pt x="54380" y="94735"/>
                    <a:pt x="54331" y="94751"/>
                    <a:pt x="54296" y="94784"/>
                  </a:cubicBezTo>
                  <a:cubicBezTo>
                    <a:pt x="53851" y="95190"/>
                    <a:pt x="53588" y="95450"/>
                    <a:pt x="53485" y="95450"/>
                  </a:cubicBezTo>
                  <a:cubicBezTo>
                    <a:pt x="53379" y="95450"/>
                    <a:pt x="53445" y="95171"/>
                    <a:pt x="53658" y="94489"/>
                  </a:cubicBezTo>
                  <a:cubicBezTo>
                    <a:pt x="53701" y="94351"/>
                    <a:pt x="53594" y="94268"/>
                    <a:pt x="53482" y="94268"/>
                  </a:cubicBezTo>
                  <a:cubicBezTo>
                    <a:pt x="53436" y="94268"/>
                    <a:pt x="53390" y="94281"/>
                    <a:pt x="53352" y="94310"/>
                  </a:cubicBezTo>
                  <a:cubicBezTo>
                    <a:pt x="52840" y="94705"/>
                    <a:pt x="52504" y="95092"/>
                    <a:pt x="52368" y="95092"/>
                  </a:cubicBezTo>
                  <a:cubicBezTo>
                    <a:pt x="52269" y="95092"/>
                    <a:pt x="52276" y="94887"/>
                    <a:pt x="52399" y="94330"/>
                  </a:cubicBezTo>
                  <a:cubicBezTo>
                    <a:pt x="52429" y="94207"/>
                    <a:pt x="52329" y="94099"/>
                    <a:pt x="52216" y="94099"/>
                  </a:cubicBezTo>
                  <a:cubicBezTo>
                    <a:pt x="52187" y="94099"/>
                    <a:pt x="52157" y="94106"/>
                    <a:pt x="52128" y="94122"/>
                  </a:cubicBezTo>
                  <a:cubicBezTo>
                    <a:pt x="51521" y="94454"/>
                    <a:pt x="51200" y="94631"/>
                    <a:pt x="51063" y="94631"/>
                  </a:cubicBezTo>
                  <a:cubicBezTo>
                    <a:pt x="50838" y="94631"/>
                    <a:pt x="51119" y="94146"/>
                    <a:pt x="51452" y="93072"/>
                  </a:cubicBezTo>
                  <a:cubicBezTo>
                    <a:pt x="51491" y="92943"/>
                    <a:pt x="51382" y="92840"/>
                    <a:pt x="51270" y="92840"/>
                  </a:cubicBezTo>
                  <a:cubicBezTo>
                    <a:pt x="51226" y="92840"/>
                    <a:pt x="51182" y="92856"/>
                    <a:pt x="51146" y="92893"/>
                  </a:cubicBezTo>
                  <a:cubicBezTo>
                    <a:pt x="50353" y="93700"/>
                    <a:pt x="50055" y="94011"/>
                    <a:pt x="50026" y="94011"/>
                  </a:cubicBezTo>
                  <a:cubicBezTo>
                    <a:pt x="49976" y="94011"/>
                    <a:pt x="50736" y="93072"/>
                    <a:pt x="51117" y="92171"/>
                  </a:cubicBezTo>
                  <a:cubicBezTo>
                    <a:pt x="51177" y="92029"/>
                    <a:pt x="51081" y="91897"/>
                    <a:pt x="50958" y="91897"/>
                  </a:cubicBezTo>
                  <a:cubicBezTo>
                    <a:pt x="50916" y="91897"/>
                    <a:pt x="50871" y="91912"/>
                    <a:pt x="50828" y="91949"/>
                  </a:cubicBezTo>
                  <a:cubicBezTo>
                    <a:pt x="49992" y="92662"/>
                    <a:pt x="49588" y="92941"/>
                    <a:pt x="49443" y="92941"/>
                  </a:cubicBezTo>
                  <a:cubicBezTo>
                    <a:pt x="49140" y="92941"/>
                    <a:pt x="49978" y="91715"/>
                    <a:pt x="50349" y="90710"/>
                  </a:cubicBezTo>
                  <a:cubicBezTo>
                    <a:pt x="50399" y="90574"/>
                    <a:pt x="50284" y="90488"/>
                    <a:pt x="50170" y="90488"/>
                  </a:cubicBezTo>
                  <a:cubicBezTo>
                    <a:pt x="50124" y="90488"/>
                    <a:pt x="50079" y="90501"/>
                    <a:pt x="50043" y="90531"/>
                  </a:cubicBezTo>
                  <a:cubicBezTo>
                    <a:pt x="49662" y="90840"/>
                    <a:pt x="49298" y="91166"/>
                    <a:pt x="48955" y="91515"/>
                  </a:cubicBezTo>
                  <a:cubicBezTo>
                    <a:pt x="49238" y="91071"/>
                    <a:pt x="49486" y="90603"/>
                    <a:pt x="49700" y="90124"/>
                  </a:cubicBezTo>
                  <a:cubicBezTo>
                    <a:pt x="49762" y="89984"/>
                    <a:pt x="49662" y="89852"/>
                    <a:pt x="49540" y="89852"/>
                  </a:cubicBezTo>
                  <a:cubicBezTo>
                    <a:pt x="49498" y="89852"/>
                    <a:pt x="49455" y="89867"/>
                    <a:pt x="49414" y="89902"/>
                  </a:cubicBezTo>
                  <a:cubicBezTo>
                    <a:pt x="48269" y="90911"/>
                    <a:pt x="47793" y="91465"/>
                    <a:pt x="47717" y="91465"/>
                  </a:cubicBezTo>
                  <a:cubicBezTo>
                    <a:pt x="47639" y="91465"/>
                    <a:pt x="47983" y="90881"/>
                    <a:pt x="48458" y="89607"/>
                  </a:cubicBezTo>
                  <a:cubicBezTo>
                    <a:pt x="48508" y="89476"/>
                    <a:pt x="48392" y="89380"/>
                    <a:pt x="48276" y="89380"/>
                  </a:cubicBezTo>
                  <a:cubicBezTo>
                    <a:pt x="48232" y="89380"/>
                    <a:pt x="48187" y="89394"/>
                    <a:pt x="48152" y="89425"/>
                  </a:cubicBezTo>
                  <a:cubicBezTo>
                    <a:pt x="47077" y="90430"/>
                    <a:pt x="46638" y="90847"/>
                    <a:pt x="46557" y="90847"/>
                  </a:cubicBezTo>
                  <a:cubicBezTo>
                    <a:pt x="46422" y="90847"/>
                    <a:pt x="47270" y="89701"/>
                    <a:pt x="47826" y="88187"/>
                  </a:cubicBezTo>
                  <a:cubicBezTo>
                    <a:pt x="47874" y="88060"/>
                    <a:pt x="47760" y="87963"/>
                    <a:pt x="47647" y="87963"/>
                  </a:cubicBezTo>
                  <a:cubicBezTo>
                    <a:pt x="47603" y="87963"/>
                    <a:pt x="47560" y="87978"/>
                    <a:pt x="47526" y="88011"/>
                  </a:cubicBezTo>
                  <a:cubicBezTo>
                    <a:pt x="46481" y="89017"/>
                    <a:pt x="46019" y="89453"/>
                    <a:pt x="45893" y="89453"/>
                  </a:cubicBezTo>
                  <a:cubicBezTo>
                    <a:pt x="45710" y="89453"/>
                    <a:pt x="46239" y="88527"/>
                    <a:pt x="46720" y="87084"/>
                  </a:cubicBezTo>
                  <a:cubicBezTo>
                    <a:pt x="46758" y="86967"/>
                    <a:pt x="46647" y="86860"/>
                    <a:pt x="46539" y="86860"/>
                  </a:cubicBezTo>
                  <a:cubicBezTo>
                    <a:pt x="46498" y="86860"/>
                    <a:pt x="46457" y="86876"/>
                    <a:pt x="46426" y="86914"/>
                  </a:cubicBezTo>
                  <a:cubicBezTo>
                    <a:pt x="45282" y="88285"/>
                    <a:pt x="44869" y="88815"/>
                    <a:pt x="44843" y="88815"/>
                  </a:cubicBezTo>
                  <a:cubicBezTo>
                    <a:pt x="44797" y="88815"/>
                    <a:pt x="45916" y="87219"/>
                    <a:pt x="46400" y="85663"/>
                  </a:cubicBezTo>
                  <a:cubicBezTo>
                    <a:pt x="46435" y="85545"/>
                    <a:pt x="46333" y="85451"/>
                    <a:pt x="46229" y="85451"/>
                  </a:cubicBezTo>
                  <a:cubicBezTo>
                    <a:pt x="46189" y="85451"/>
                    <a:pt x="46147" y="85466"/>
                    <a:pt x="46114" y="85499"/>
                  </a:cubicBezTo>
                  <a:cubicBezTo>
                    <a:pt x="45228" y="86400"/>
                    <a:pt x="44509" y="87318"/>
                    <a:pt x="43787" y="88348"/>
                  </a:cubicBezTo>
                  <a:cubicBezTo>
                    <a:pt x="44665" y="87095"/>
                    <a:pt x="45277" y="85548"/>
                    <a:pt x="45906" y="84128"/>
                  </a:cubicBezTo>
                  <a:cubicBezTo>
                    <a:pt x="45958" y="84012"/>
                    <a:pt x="45858" y="83869"/>
                    <a:pt x="45753" y="83869"/>
                  </a:cubicBezTo>
                  <a:cubicBezTo>
                    <a:pt x="45716" y="83869"/>
                    <a:pt x="45678" y="83887"/>
                    <a:pt x="45646" y="83928"/>
                  </a:cubicBezTo>
                  <a:cubicBezTo>
                    <a:pt x="44953" y="84820"/>
                    <a:pt x="44295" y="85730"/>
                    <a:pt x="43657" y="86651"/>
                  </a:cubicBezTo>
                  <a:cubicBezTo>
                    <a:pt x="43677" y="86587"/>
                    <a:pt x="43698" y="86524"/>
                    <a:pt x="43718" y="86452"/>
                  </a:cubicBezTo>
                  <a:cubicBezTo>
                    <a:pt x="43744" y="86382"/>
                    <a:pt x="43715" y="86307"/>
                    <a:pt x="43651" y="86276"/>
                  </a:cubicBezTo>
                  <a:cubicBezTo>
                    <a:pt x="44021" y="84442"/>
                    <a:pt x="43747" y="82242"/>
                    <a:pt x="43345" y="80193"/>
                  </a:cubicBezTo>
                  <a:cubicBezTo>
                    <a:pt x="43882" y="78971"/>
                    <a:pt x="44486" y="77779"/>
                    <a:pt x="45138" y="76607"/>
                  </a:cubicBezTo>
                  <a:cubicBezTo>
                    <a:pt x="45834" y="75784"/>
                    <a:pt x="46530" y="74958"/>
                    <a:pt x="47202" y="74113"/>
                  </a:cubicBezTo>
                  <a:lnTo>
                    <a:pt x="47202" y="74113"/>
                  </a:lnTo>
                  <a:cubicBezTo>
                    <a:pt x="46042" y="75986"/>
                    <a:pt x="45020" y="77909"/>
                    <a:pt x="44197" y="79898"/>
                  </a:cubicBezTo>
                  <a:cubicBezTo>
                    <a:pt x="44128" y="79956"/>
                    <a:pt x="44067" y="80019"/>
                    <a:pt x="44001" y="80077"/>
                  </a:cubicBezTo>
                  <a:cubicBezTo>
                    <a:pt x="43966" y="80105"/>
                    <a:pt x="43998" y="80147"/>
                    <a:pt x="44034" y="80147"/>
                  </a:cubicBezTo>
                  <a:cubicBezTo>
                    <a:pt x="44043" y="80147"/>
                    <a:pt x="44053" y="80144"/>
                    <a:pt x="44061" y="80138"/>
                  </a:cubicBezTo>
                  <a:cubicBezTo>
                    <a:pt x="44079" y="80120"/>
                    <a:pt x="44096" y="80103"/>
                    <a:pt x="44113" y="80089"/>
                  </a:cubicBezTo>
                  <a:lnTo>
                    <a:pt x="44113" y="80089"/>
                  </a:lnTo>
                  <a:cubicBezTo>
                    <a:pt x="44096" y="80135"/>
                    <a:pt x="44073" y="80181"/>
                    <a:pt x="44056" y="80227"/>
                  </a:cubicBezTo>
                  <a:cubicBezTo>
                    <a:pt x="44016" y="80323"/>
                    <a:pt x="44107" y="80401"/>
                    <a:pt x="44195" y="80401"/>
                  </a:cubicBezTo>
                  <a:cubicBezTo>
                    <a:pt x="44228" y="80401"/>
                    <a:pt x="44262" y="80389"/>
                    <a:pt x="44287" y="80363"/>
                  </a:cubicBezTo>
                  <a:cubicBezTo>
                    <a:pt x="44512" y="80123"/>
                    <a:pt x="44725" y="79878"/>
                    <a:pt x="44945" y="79638"/>
                  </a:cubicBezTo>
                  <a:lnTo>
                    <a:pt x="44945" y="79638"/>
                  </a:lnTo>
                  <a:cubicBezTo>
                    <a:pt x="44471" y="80536"/>
                    <a:pt x="44064" y="81469"/>
                    <a:pt x="43726" y="82427"/>
                  </a:cubicBezTo>
                  <a:cubicBezTo>
                    <a:pt x="43691" y="82529"/>
                    <a:pt x="43788" y="82620"/>
                    <a:pt x="43881" y="82620"/>
                  </a:cubicBezTo>
                  <a:cubicBezTo>
                    <a:pt x="43917" y="82620"/>
                    <a:pt x="43953" y="82607"/>
                    <a:pt x="43980" y="82574"/>
                  </a:cubicBezTo>
                  <a:cubicBezTo>
                    <a:pt x="45513" y="80816"/>
                    <a:pt x="47015" y="79032"/>
                    <a:pt x="48484" y="77225"/>
                  </a:cubicBezTo>
                  <a:lnTo>
                    <a:pt x="48484" y="77225"/>
                  </a:lnTo>
                  <a:cubicBezTo>
                    <a:pt x="46919" y="79480"/>
                    <a:pt x="45421" y="81775"/>
                    <a:pt x="44058" y="84125"/>
                  </a:cubicBezTo>
                  <a:cubicBezTo>
                    <a:pt x="43990" y="84243"/>
                    <a:pt x="44091" y="84348"/>
                    <a:pt x="44194" y="84348"/>
                  </a:cubicBezTo>
                  <a:cubicBezTo>
                    <a:pt x="44240" y="84348"/>
                    <a:pt x="44286" y="84327"/>
                    <a:pt x="44318" y="84278"/>
                  </a:cubicBezTo>
                  <a:cubicBezTo>
                    <a:pt x="46795" y="80395"/>
                    <a:pt x="49827" y="76977"/>
                    <a:pt x="52815" y="73486"/>
                  </a:cubicBezTo>
                  <a:cubicBezTo>
                    <a:pt x="53320" y="72894"/>
                    <a:pt x="53805" y="72288"/>
                    <a:pt x="54278" y="71679"/>
                  </a:cubicBezTo>
                  <a:lnTo>
                    <a:pt x="54278" y="71679"/>
                  </a:lnTo>
                  <a:cubicBezTo>
                    <a:pt x="53785" y="72432"/>
                    <a:pt x="53277" y="73174"/>
                    <a:pt x="52728" y="73890"/>
                  </a:cubicBezTo>
                  <a:cubicBezTo>
                    <a:pt x="52649" y="73993"/>
                    <a:pt x="52753" y="74103"/>
                    <a:pt x="52859" y="74103"/>
                  </a:cubicBezTo>
                  <a:cubicBezTo>
                    <a:pt x="52892" y="74103"/>
                    <a:pt x="52926" y="74092"/>
                    <a:pt x="52953" y="74066"/>
                  </a:cubicBezTo>
                  <a:cubicBezTo>
                    <a:pt x="54645" y="72461"/>
                    <a:pt x="56175" y="70732"/>
                    <a:pt x="57645" y="68945"/>
                  </a:cubicBezTo>
                  <a:lnTo>
                    <a:pt x="57645" y="68945"/>
                  </a:lnTo>
                  <a:cubicBezTo>
                    <a:pt x="56787" y="70131"/>
                    <a:pt x="55973" y="71338"/>
                    <a:pt x="55234" y="72623"/>
                  </a:cubicBezTo>
                  <a:cubicBezTo>
                    <a:pt x="55167" y="72740"/>
                    <a:pt x="55268" y="72863"/>
                    <a:pt x="55377" y="72863"/>
                  </a:cubicBezTo>
                  <a:cubicBezTo>
                    <a:pt x="55413" y="72863"/>
                    <a:pt x="55450" y="72849"/>
                    <a:pt x="55482" y="72816"/>
                  </a:cubicBezTo>
                  <a:cubicBezTo>
                    <a:pt x="57720" y="70501"/>
                    <a:pt x="59458" y="67848"/>
                    <a:pt x="61473" y="65342"/>
                  </a:cubicBezTo>
                  <a:lnTo>
                    <a:pt x="61473" y="65342"/>
                  </a:lnTo>
                  <a:cubicBezTo>
                    <a:pt x="60777" y="66208"/>
                    <a:pt x="58681" y="69138"/>
                    <a:pt x="57749" y="70891"/>
                  </a:cubicBezTo>
                  <a:cubicBezTo>
                    <a:pt x="57682" y="71016"/>
                    <a:pt x="57779" y="71125"/>
                    <a:pt x="57891" y="71125"/>
                  </a:cubicBezTo>
                  <a:cubicBezTo>
                    <a:pt x="57929" y="71125"/>
                    <a:pt x="57968" y="71113"/>
                    <a:pt x="58003" y="71084"/>
                  </a:cubicBezTo>
                  <a:cubicBezTo>
                    <a:pt x="59103" y="70207"/>
                    <a:pt x="59693" y="69620"/>
                    <a:pt x="59828" y="69620"/>
                  </a:cubicBezTo>
                  <a:cubicBezTo>
                    <a:pt x="59958" y="69620"/>
                    <a:pt x="59667" y="70164"/>
                    <a:pt x="59004" y="71517"/>
                  </a:cubicBezTo>
                  <a:cubicBezTo>
                    <a:pt x="58944" y="71642"/>
                    <a:pt x="59042" y="71767"/>
                    <a:pt x="59154" y="71767"/>
                  </a:cubicBezTo>
                  <a:cubicBezTo>
                    <a:pt x="59192" y="71767"/>
                    <a:pt x="59231" y="71753"/>
                    <a:pt x="59267" y="71719"/>
                  </a:cubicBezTo>
                  <a:cubicBezTo>
                    <a:pt x="59779" y="71235"/>
                    <a:pt x="60510" y="70314"/>
                    <a:pt x="60762" y="70314"/>
                  </a:cubicBezTo>
                  <a:cubicBezTo>
                    <a:pt x="60911" y="70314"/>
                    <a:pt x="60893" y="70636"/>
                    <a:pt x="60563" y="71558"/>
                  </a:cubicBezTo>
                  <a:cubicBezTo>
                    <a:pt x="60524" y="71668"/>
                    <a:pt x="60632" y="71771"/>
                    <a:pt x="60734" y="71771"/>
                  </a:cubicBezTo>
                  <a:cubicBezTo>
                    <a:pt x="60773" y="71771"/>
                    <a:pt x="60812" y="71755"/>
                    <a:pt x="60841" y="71719"/>
                  </a:cubicBezTo>
                  <a:cubicBezTo>
                    <a:pt x="60947" y="71589"/>
                    <a:pt x="61525" y="70853"/>
                    <a:pt x="61880" y="70322"/>
                  </a:cubicBezTo>
                  <a:cubicBezTo>
                    <a:pt x="61900" y="70316"/>
                    <a:pt x="61923" y="70319"/>
                    <a:pt x="61946" y="70302"/>
                  </a:cubicBezTo>
                  <a:cubicBezTo>
                    <a:pt x="62192" y="70134"/>
                    <a:pt x="62405" y="69921"/>
                    <a:pt x="62576" y="69672"/>
                  </a:cubicBezTo>
                  <a:cubicBezTo>
                    <a:pt x="62677" y="69547"/>
                    <a:pt x="62570" y="69380"/>
                    <a:pt x="62450" y="69380"/>
                  </a:cubicBezTo>
                  <a:cubicBezTo>
                    <a:pt x="62412" y="69380"/>
                    <a:pt x="62373" y="69396"/>
                    <a:pt x="62339" y="69436"/>
                  </a:cubicBezTo>
                  <a:cubicBezTo>
                    <a:pt x="62200" y="69589"/>
                    <a:pt x="62073" y="69736"/>
                    <a:pt x="61964" y="69869"/>
                  </a:cubicBezTo>
                  <a:cubicBezTo>
                    <a:pt x="61874" y="69929"/>
                    <a:pt x="61790" y="69993"/>
                    <a:pt x="61710" y="70062"/>
                  </a:cubicBezTo>
                  <a:cubicBezTo>
                    <a:pt x="61663" y="70100"/>
                    <a:pt x="61649" y="70163"/>
                    <a:pt x="61675" y="70218"/>
                  </a:cubicBezTo>
                  <a:cubicBezTo>
                    <a:pt x="61526" y="70394"/>
                    <a:pt x="61427" y="70502"/>
                    <a:pt x="61385" y="70502"/>
                  </a:cubicBezTo>
                  <a:cubicBezTo>
                    <a:pt x="61315" y="70502"/>
                    <a:pt x="61400" y="70209"/>
                    <a:pt x="61675" y="69439"/>
                  </a:cubicBezTo>
                  <a:cubicBezTo>
                    <a:pt x="61720" y="69315"/>
                    <a:pt x="61619" y="69236"/>
                    <a:pt x="61514" y="69236"/>
                  </a:cubicBezTo>
                  <a:cubicBezTo>
                    <a:pt x="61472" y="69236"/>
                    <a:pt x="61429" y="69249"/>
                    <a:pt x="61395" y="69277"/>
                  </a:cubicBezTo>
                  <a:cubicBezTo>
                    <a:pt x="60446" y="70065"/>
                    <a:pt x="60002" y="70453"/>
                    <a:pt x="59914" y="70453"/>
                  </a:cubicBezTo>
                  <a:cubicBezTo>
                    <a:pt x="59801" y="70453"/>
                    <a:pt x="60279" y="69806"/>
                    <a:pt x="61025" y="68532"/>
                  </a:cubicBezTo>
                  <a:cubicBezTo>
                    <a:pt x="61099" y="68404"/>
                    <a:pt x="60995" y="68292"/>
                    <a:pt x="60880" y="68292"/>
                  </a:cubicBezTo>
                  <a:cubicBezTo>
                    <a:pt x="60842" y="68292"/>
                    <a:pt x="60803" y="68305"/>
                    <a:pt x="60768" y="68333"/>
                  </a:cubicBezTo>
                  <a:cubicBezTo>
                    <a:pt x="60240" y="68765"/>
                    <a:pt x="59003" y="70007"/>
                    <a:pt x="58765" y="70007"/>
                  </a:cubicBezTo>
                  <a:cubicBezTo>
                    <a:pt x="58641" y="70007"/>
                    <a:pt x="58790" y="69667"/>
                    <a:pt x="59458" y="68694"/>
                  </a:cubicBezTo>
                  <a:cubicBezTo>
                    <a:pt x="60523" y="67140"/>
                    <a:pt x="61704" y="65795"/>
                    <a:pt x="62596" y="64118"/>
                  </a:cubicBezTo>
                  <a:cubicBezTo>
                    <a:pt x="62656" y="64004"/>
                    <a:pt x="62559" y="63878"/>
                    <a:pt x="62453" y="63878"/>
                  </a:cubicBezTo>
                  <a:cubicBezTo>
                    <a:pt x="62417" y="63878"/>
                    <a:pt x="62380" y="63893"/>
                    <a:pt x="62348" y="63927"/>
                  </a:cubicBezTo>
                  <a:cubicBezTo>
                    <a:pt x="60483" y="65954"/>
                    <a:pt x="58927" y="68197"/>
                    <a:pt x="57229" y="70354"/>
                  </a:cubicBezTo>
                  <a:cubicBezTo>
                    <a:pt x="58828" y="68272"/>
                    <a:pt x="60402" y="65824"/>
                    <a:pt x="61805" y="63641"/>
                  </a:cubicBezTo>
                  <a:cubicBezTo>
                    <a:pt x="61879" y="63523"/>
                    <a:pt x="61778" y="63423"/>
                    <a:pt x="61670" y="63423"/>
                  </a:cubicBezTo>
                  <a:cubicBezTo>
                    <a:pt x="61623" y="63423"/>
                    <a:pt x="61575" y="63442"/>
                    <a:pt x="61539" y="63488"/>
                  </a:cubicBezTo>
                  <a:cubicBezTo>
                    <a:pt x="59388" y="66297"/>
                    <a:pt x="57255" y="69107"/>
                    <a:pt x="54888" y="71739"/>
                  </a:cubicBezTo>
                  <a:cubicBezTo>
                    <a:pt x="54159" y="72550"/>
                    <a:pt x="53871" y="72867"/>
                    <a:pt x="53847" y="72867"/>
                  </a:cubicBezTo>
                  <a:cubicBezTo>
                    <a:pt x="53814" y="72867"/>
                    <a:pt x="54235" y="72320"/>
                    <a:pt x="54706" y="71624"/>
                  </a:cubicBezTo>
                  <a:cubicBezTo>
                    <a:pt x="55390" y="70614"/>
                    <a:pt x="56005" y="69548"/>
                    <a:pt x="56620" y="68489"/>
                  </a:cubicBezTo>
                  <a:cubicBezTo>
                    <a:pt x="57884" y="66679"/>
                    <a:pt x="59097" y="64837"/>
                    <a:pt x="60370" y="63003"/>
                  </a:cubicBezTo>
                  <a:cubicBezTo>
                    <a:pt x="60435" y="62910"/>
                    <a:pt x="60339" y="62800"/>
                    <a:pt x="60246" y="62800"/>
                  </a:cubicBezTo>
                  <a:cubicBezTo>
                    <a:pt x="60215" y="62800"/>
                    <a:pt x="60184" y="62812"/>
                    <a:pt x="60159" y="62842"/>
                  </a:cubicBezTo>
                  <a:cubicBezTo>
                    <a:pt x="58589" y="64721"/>
                    <a:pt x="57318" y="66797"/>
                    <a:pt x="56045" y="68876"/>
                  </a:cubicBezTo>
                  <a:cubicBezTo>
                    <a:pt x="55563" y="69563"/>
                    <a:pt x="55072" y="70247"/>
                    <a:pt x="54547" y="70925"/>
                  </a:cubicBezTo>
                  <a:cubicBezTo>
                    <a:pt x="52361" y="73743"/>
                    <a:pt x="49913" y="76362"/>
                    <a:pt x="47650" y="79119"/>
                  </a:cubicBezTo>
                  <a:cubicBezTo>
                    <a:pt x="47295" y="79549"/>
                    <a:pt x="46241" y="81157"/>
                    <a:pt x="45617" y="82121"/>
                  </a:cubicBezTo>
                  <a:lnTo>
                    <a:pt x="45906" y="81674"/>
                  </a:lnTo>
                  <a:cubicBezTo>
                    <a:pt x="47892" y="78559"/>
                    <a:pt x="50069" y="75510"/>
                    <a:pt x="52234" y="72516"/>
                  </a:cubicBezTo>
                  <a:cubicBezTo>
                    <a:pt x="52327" y="72389"/>
                    <a:pt x="52416" y="72259"/>
                    <a:pt x="52509" y="72132"/>
                  </a:cubicBezTo>
                  <a:cubicBezTo>
                    <a:pt x="55427" y="68350"/>
                    <a:pt x="58248" y="64496"/>
                    <a:pt x="61014" y="60593"/>
                  </a:cubicBezTo>
                  <a:cubicBezTo>
                    <a:pt x="61718" y="59600"/>
                    <a:pt x="62408" y="58598"/>
                    <a:pt x="63104" y="57599"/>
                  </a:cubicBezTo>
                  <a:cubicBezTo>
                    <a:pt x="63118" y="57681"/>
                    <a:pt x="63187" y="57728"/>
                    <a:pt x="63256" y="57728"/>
                  </a:cubicBezTo>
                  <a:cubicBezTo>
                    <a:pt x="63303" y="57728"/>
                    <a:pt x="63351" y="57706"/>
                    <a:pt x="63381" y="57660"/>
                  </a:cubicBezTo>
                  <a:cubicBezTo>
                    <a:pt x="65578" y="54758"/>
                    <a:pt x="67403" y="51611"/>
                    <a:pt x="69502" y="48643"/>
                  </a:cubicBezTo>
                  <a:cubicBezTo>
                    <a:pt x="71488" y="45837"/>
                    <a:pt x="73616" y="43227"/>
                    <a:pt x="75290" y="40236"/>
                  </a:cubicBezTo>
                  <a:lnTo>
                    <a:pt x="75290" y="40236"/>
                  </a:lnTo>
                  <a:cubicBezTo>
                    <a:pt x="75313" y="40424"/>
                    <a:pt x="75227" y="40831"/>
                    <a:pt x="75024" y="41466"/>
                  </a:cubicBezTo>
                  <a:cubicBezTo>
                    <a:pt x="74106" y="43236"/>
                    <a:pt x="72698" y="44905"/>
                    <a:pt x="71488" y="46444"/>
                  </a:cubicBezTo>
                  <a:cubicBezTo>
                    <a:pt x="68832" y="49824"/>
                    <a:pt x="66219" y="53208"/>
                    <a:pt x="64224" y="57033"/>
                  </a:cubicBezTo>
                  <a:cubicBezTo>
                    <a:pt x="64171" y="57138"/>
                    <a:pt x="64263" y="57259"/>
                    <a:pt x="64358" y="57259"/>
                  </a:cubicBezTo>
                  <a:cubicBezTo>
                    <a:pt x="64391" y="57259"/>
                    <a:pt x="64425" y="57244"/>
                    <a:pt x="64452" y="57209"/>
                  </a:cubicBezTo>
                  <a:cubicBezTo>
                    <a:pt x="66228" y="54960"/>
                    <a:pt x="68006" y="52711"/>
                    <a:pt x="69782" y="50462"/>
                  </a:cubicBezTo>
                  <a:lnTo>
                    <a:pt x="69782" y="50462"/>
                  </a:lnTo>
                  <a:cubicBezTo>
                    <a:pt x="68003" y="52893"/>
                    <a:pt x="66236" y="55333"/>
                    <a:pt x="64548" y="57827"/>
                  </a:cubicBezTo>
                  <a:cubicBezTo>
                    <a:pt x="64482" y="57922"/>
                    <a:pt x="64579" y="58032"/>
                    <a:pt x="64673" y="58032"/>
                  </a:cubicBezTo>
                  <a:cubicBezTo>
                    <a:pt x="64705" y="58032"/>
                    <a:pt x="64736" y="58020"/>
                    <a:pt x="64761" y="57992"/>
                  </a:cubicBezTo>
                  <a:cubicBezTo>
                    <a:pt x="69328" y="52766"/>
                    <a:pt x="72674" y="46585"/>
                    <a:pt x="77706" y="41755"/>
                  </a:cubicBezTo>
                  <a:lnTo>
                    <a:pt x="77706" y="41755"/>
                  </a:lnTo>
                  <a:cubicBezTo>
                    <a:pt x="77620" y="42200"/>
                    <a:pt x="77533" y="42644"/>
                    <a:pt x="77447" y="43089"/>
                  </a:cubicBezTo>
                  <a:cubicBezTo>
                    <a:pt x="76696" y="44330"/>
                    <a:pt x="75836" y="45502"/>
                    <a:pt x="74880" y="46594"/>
                  </a:cubicBezTo>
                  <a:cubicBezTo>
                    <a:pt x="73656" y="48092"/>
                    <a:pt x="72308" y="49492"/>
                    <a:pt x="71043" y="50956"/>
                  </a:cubicBezTo>
                  <a:cubicBezTo>
                    <a:pt x="68953" y="53375"/>
                    <a:pt x="66926" y="55893"/>
                    <a:pt x="65009" y="58453"/>
                  </a:cubicBezTo>
                  <a:cubicBezTo>
                    <a:pt x="64929" y="58558"/>
                    <a:pt x="65036" y="58672"/>
                    <a:pt x="65145" y="58672"/>
                  </a:cubicBezTo>
                  <a:cubicBezTo>
                    <a:pt x="65180" y="58672"/>
                    <a:pt x="65215" y="58660"/>
                    <a:pt x="65243" y="58632"/>
                  </a:cubicBezTo>
                  <a:cubicBezTo>
                    <a:pt x="66199" y="57741"/>
                    <a:pt x="66746" y="57188"/>
                    <a:pt x="66890" y="57188"/>
                  </a:cubicBezTo>
                  <a:cubicBezTo>
                    <a:pt x="67035" y="57188"/>
                    <a:pt x="66774" y="57747"/>
                    <a:pt x="66112" y="59083"/>
                  </a:cubicBezTo>
                  <a:cubicBezTo>
                    <a:pt x="66055" y="59202"/>
                    <a:pt x="66143" y="59297"/>
                    <a:pt x="66240" y="59297"/>
                  </a:cubicBezTo>
                  <a:cubicBezTo>
                    <a:pt x="66284" y="59297"/>
                    <a:pt x="66331" y="59277"/>
                    <a:pt x="66366" y="59230"/>
                  </a:cubicBezTo>
                  <a:cubicBezTo>
                    <a:pt x="67334" y="57932"/>
                    <a:pt x="67742" y="57475"/>
                    <a:pt x="67841" y="57475"/>
                  </a:cubicBezTo>
                  <a:cubicBezTo>
                    <a:pt x="68036" y="57475"/>
                    <a:pt x="67034" y="59245"/>
                    <a:pt x="66745" y="59871"/>
                  </a:cubicBezTo>
                  <a:cubicBezTo>
                    <a:pt x="66689" y="59990"/>
                    <a:pt x="66775" y="60084"/>
                    <a:pt x="66871" y="60084"/>
                  </a:cubicBezTo>
                  <a:cubicBezTo>
                    <a:pt x="66914" y="60084"/>
                    <a:pt x="66960" y="60064"/>
                    <a:pt x="66996" y="60018"/>
                  </a:cubicBezTo>
                  <a:cubicBezTo>
                    <a:pt x="67476" y="59395"/>
                    <a:pt x="67703" y="59167"/>
                    <a:pt x="67789" y="59167"/>
                  </a:cubicBezTo>
                  <a:cubicBezTo>
                    <a:pt x="67986" y="59167"/>
                    <a:pt x="67452" y="60362"/>
                    <a:pt x="67553" y="60772"/>
                  </a:cubicBezTo>
                  <a:cubicBezTo>
                    <a:pt x="67570" y="60838"/>
                    <a:pt x="67637" y="60881"/>
                    <a:pt x="67703" y="60881"/>
                  </a:cubicBezTo>
                  <a:cubicBezTo>
                    <a:pt x="67740" y="60881"/>
                    <a:pt x="67775" y="60868"/>
                    <a:pt x="67801" y="60838"/>
                  </a:cubicBezTo>
                  <a:cubicBezTo>
                    <a:pt x="67894" y="60731"/>
                    <a:pt x="67986" y="60627"/>
                    <a:pt x="68078" y="60523"/>
                  </a:cubicBezTo>
                  <a:cubicBezTo>
                    <a:pt x="68173" y="60413"/>
                    <a:pt x="68074" y="60264"/>
                    <a:pt x="67966" y="60264"/>
                  </a:cubicBezTo>
                  <a:cubicBezTo>
                    <a:pt x="67932" y="60264"/>
                    <a:pt x="67898" y="60279"/>
                    <a:pt x="67868" y="60313"/>
                  </a:cubicBezTo>
                  <a:cubicBezTo>
                    <a:pt x="68150" y="59588"/>
                    <a:pt x="68390" y="58846"/>
                    <a:pt x="68586" y="58093"/>
                  </a:cubicBezTo>
                  <a:cubicBezTo>
                    <a:pt x="68618" y="57994"/>
                    <a:pt x="68528" y="57906"/>
                    <a:pt x="68437" y="57906"/>
                  </a:cubicBezTo>
                  <a:cubicBezTo>
                    <a:pt x="68403" y="57906"/>
                    <a:pt x="68369" y="57919"/>
                    <a:pt x="68341" y="57948"/>
                  </a:cubicBezTo>
                  <a:cubicBezTo>
                    <a:pt x="67771" y="58585"/>
                    <a:pt x="67506" y="58828"/>
                    <a:pt x="67428" y="58828"/>
                  </a:cubicBezTo>
                  <a:cubicBezTo>
                    <a:pt x="67225" y="58828"/>
                    <a:pt x="68314" y="57155"/>
                    <a:pt x="68569" y="56551"/>
                  </a:cubicBezTo>
                  <a:cubicBezTo>
                    <a:pt x="68614" y="56448"/>
                    <a:pt x="68533" y="56327"/>
                    <a:pt x="68439" y="56327"/>
                  </a:cubicBezTo>
                  <a:cubicBezTo>
                    <a:pt x="68407" y="56327"/>
                    <a:pt x="68374" y="56341"/>
                    <a:pt x="68344" y="56375"/>
                  </a:cubicBezTo>
                  <a:cubicBezTo>
                    <a:pt x="67450" y="57359"/>
                    <a:pt x="67099" y="57751"/>
                    <a:pt x="67041" y="57751"/>
                  </a:cubicBezTo>
                  <a:cubicBezTo>
                    <a:pt x="66954" y="57751"/>
                    <a:pt x="67551" y="56841"/>
                    <a:pt x="67957" y="55731"/>
                  </a:cubicBezTo>
                  <a:cubicBezTo>
                    <a:pt x="67995" y="55631"/>
                    <a:pt x="67899" y="55542"/>
                    <a:pt x="67807" y="55542"/>
                  </a:cubicBezTo>
                  <a:cubicBezTo>
                    <a:pt x="67772" y="55542"/>
                    <a:pt x="67737" y="55555"/>
                    <a:pt x="67712" y="55587"/>
                  </a:cubicBezTo>
                  <a:cubicBezTo>
                    <a:pt x="67157" y="56262"/>
                    <a:pt x="66577" y="56915"/>
                    <a:pt x="65971" y="57544"/>
                  </a:cubicBezTo>
                  <a:cubicBezTo>
                    <a:pt x="66765" y="56626"/>
                    <a:pt x="67547" y="55699"/>
                    <a:pt x="68318" y="54764"/>
                  </a:cubicBezTo>
                  <a:cubicBezTo>
                    <a:pt x="69912" y="52844"/>
                    <a:pt x="71456" y="50898"/>
                    <a:pt x="73116" y="49036"/>
                  </a:cubicBezTo>
                  <a:cubicBezTo>
                    <a:pt x="73451" y="48661"/>
                    <a:pt x="73780" y="48288"/>
                    <a:pt x="74106" y="47913"/>
                  </a:cubicBezTo>
                  <a:lnTo>
                    <a:pt x="74106" y="47913"/>
                  </a:lnTo>
                  <a:cubicBezTo>
                    <a:pt x="72859" y="49533"/>
                    <a:pt x="71626" y="51158"/>
                    <a:pt x="70425" y="52815"/>
                  </a:cubicBezTo>
                  <a:cubicBezTo>
                    <a:pt x="70386" y="52869"/>
                    <a:pt x="70445" y="52935"/>
                    <a:pt x="70500" y="52935"/>
                  </a:cubicBezTo>
                  <a:cubicBezTo>
                    <a:pt x="70518" y="52935"/>
                    <a:pt x="70536" y="52928"/>
                    <a:pt x="70550" y="52910"/>
                  </a:cubicBezTo>
                  <a:cubicBezTo>
                    <a:pt x="72698" y="50130"/>
                    <a:pt x="74863" y="47359"/>
                    <a:pt x="77066" y="44622"/>
                  </a:cubicBezTo>
                  <a:cubicBezTo>
                    <a:pt x="77750" y="43773"/>
                    <a:pt x="79003" y="42610"/>
                    <a:pt x="79479" y="41634"/>
                  </a:cubicBezTo>
                  <a:lnTo>
                    <a:pt x="79479" y="41634"/>
                  </a:lnTo>
                  <a:cubicBezTo>
                    <a:pt x="78616" y="43409"/>
                    <a:pt x="77311" y="45017"/>
                    <a:pt x="76179" y="46628"/>
                  </a:cubicBezTo>
                  <a:cubicBezTo>
                    <a:pt x="76099" y="46746"/>
                    <a:pt x="76213" y="46874"/>
                    <a:pt x="76330" y="46874"/>
                  </a:cubicBezTo>
                  <a:cubicBezTo>
                    <a:pt x="76368" y="46874"/>
                    <a:pt x="76407" y="46860"/>
                    <a:pt x="76439" y="46828"/>
                  </a:cubicBezTo>
                  <a:cubicBezTo>
                    <a:pt x="77403" y="45835"/>
                    <a:pt x="78344" y="44821"/>
                    <a:pt x="79274" y="43794"/>
                  </a:cubicBezTo>
                  <a:lnTo>
                    <a:pt x="79274" y="43794"/>
                  </a:lnTo>
                  <a:cubicBezTo>
                    <a:pt x="78315" y="44854"/>
                    <a:pt x="77620" y="46623"/>
                    <a:pt x="76970" y="47890"/>
                  </a:cubicBezTo>
                  <a:cubicBezTo>
                    <a:pt x="76912" y="48006"/>
                    <a:pt x="77014" y="48140"/>
                    <a:pt x="77120" y="48140"/>
                  </a:cubicBezTo>
                  <a:cubicBezTo>
                    <a:pt x="77157" y="48140"/>
                    <a:pt x="77193" y="48124"/>
                    <a:pt x="77224" y="48086"/>
                  </a:cubicBezTo>
                  <a:cubicBezTo>
                    <a:pt x="77490" y="47755"/>
                    <a:pt x="78778" y="45948"/>
                    <a:pt x="78983" y="45948"/>
                  </a:cubicBezTo>
                  <a:cubicBezTo>
                    <a:pt x="79077" y="45948"/>
                    <a:pt x="78945" y="46324"/>
                    <a:pt x="78388" y="47390"/>
                  </a:cubicBezTo>
                  <a:cubicBezTo>
                    <a:pt x="77727" y="48658"/>
                    <a:pt x="76774" y="49821"/>
                    <a:pt x="76029" y="51043"/>
                  </a:cubicBezTo>
                  <a:cubicBezTo>
                    <a:pt x="75962" y="51155"/>
                    <a:pt x="76066" y="51282"/>
                    <a:pt x="76173" y="51282"/>
                  </a:cubicBezTo>
                  <a:cubicBezTo>
                    <a:pt x="76209" y="51282"/>
                    <a:pt x="76245" y="51267"/>
                    <a:pt x="76275" y="51233"/>
                  </a:cubicBezTo>
                  <a:cubicBezTo>
                    <a:pt x="76780" y="50661"/>
                    <a:pt x="79003" y="48693"/>
                    <a:pt x="79086" y="48511"/>
                  </a:cubicBezTo>
                  <a:lnTo>
                    <a:pt x="79086" y="48511"/>
                  </a:lnTo>
                  <a:cubicBezTo>
                    <a:pt x="78125" y="50618"/>
                    <a:pt x="76387" y="52451"/>
                    <a:pt x="75085" y="54351"/>
                  </a:cubicBezTo>
                  <a:cubicBezTo>
                    <a:pt x="75009" y="54462"/>
                    <a:pt x="75119" y="54587"/>
                    <a:pt x="75229" y="54587"/>
                  </a:cubicBezTo>
                  <a:cubicBezTo>
                    <a:pt x="75265" y="54587"/>
                    <a:pt x="75301" y="54574"/>
                    <a:pt x="75330" y="54542"/>
                  </a:cubicBezTo>
                  <a:cubicBezTo>
                    <a:pt x="76139" y="53645"/>
                    <a:pt x="78141" y="51245"/>
                    <a:pt x="78508" y="51245"/>
                  </a:cubicBezTo>
                  <a:cubicBezTo>
                    <a:pt x="78673" y="51245"/>
                    <a:pt x="78507" y="51729"/>
                    <a:pt x="77756" y="53052"/>
                  </a:cubicBezTo>
                  <a:cubicBezTo>
                    <a:pt x="76035" y="56080"/>
                    <a:pt x="73618" y="58722"/>
                    <a:pt x="71312" y="61312"/>
                  </a:cubicBezTo>
                  <a:cubicBezTo>
                    <a:pt x="70962" y="61701"/>
                    <a:pt x="70604" y="62085"/>
                    <a:pt x="70252" y="62472"/>
                  </a:cubicBezTo>
                  <a:cubicBezTo>
                    <a:pt x="70246" y="62348"/>
                    <a:pt x="70246" y="62221"/>
                    <a:pt x="70252" y="62094"/>
                  </a:cubicBezTo>
                  <a:cubicBezTo>
                    <a:pt x="70512" y="61670"/>
                    <a:pt x="70778" y="61216"/>
                    <a:pt x="70991" y="60827"/>
                  </a:cubicBezTo>
                  <a:cubicBezTo>
                    <a:pt x="71569" y="60041"/>
                    <a:pt x="72285" y="59025"/>
                    <a:pt x="72360" y="58918"/>
                  </a:cubicBezTo>
                  <a:cubicBezTo>
                    <a:pt x="72436" y="58812"/>
                    <a:pt x="72323" y="58682"/>
                    <a:pt x="72215" y="58682"/>
                  </a:cubicBezTo>
                  <a:cubicBezTo>
                    <a:pt x="72180" y="58682"/>
                    <a:pt x="72145" y="58696"/>
                    <a:pt x="72117" y="58731"/>
                  </a:cubicBezTo>
                  <a:cubicBezTo>
                    <a:pt x="70662" y="60587"/>
                    <a:pt x="69224" y="62212"/>
                    <a:pt x="68445" y="64467"/>
                  </a:cubicBezTo>
                  <a:cubicBezTo>
                    <a:pt x="68405" y="64580"/>
                    <a:pt x="68510" y="64676"/>
                    <a:pt x="68613" y="64676"/>
                  </a:cubicBezTo>
                  <a:cubicBezTo>
                    <a:pt x="68653" y="64676"/>
                    <a:pt x="68692" y="64662"/>
                    <a:pt x="68722" y="64629"/>
                  </a:cubicBezTo>
                  <a:cubicBezTo>
                    <a:pt x="69005" y="64320"/>
                    <a:pt x="69294" y="64011"/>
                    <a:pt x="69580" y="63705"/>
                  </a:cubicBezTo>
                  <a:cubicBezTo>
                    <a:pt x="69594" y="63702"/>
                    <a:pt x="69611" y="63699"/>
                    <a:pt x="69626" y="63696"/>
                  </a:cubicBezTo>
                  <a:cubicBezTo>
                    <a:pt x="71857" y="62700"/>
                    <a:pt x="73177" y="60939"/>
                    <a:pt x="74525" y="58964"/>
                  </a:cubicBezTo>
                  <a:cubicBezTo>
                    <a:pt x="75437" y="57636"/>
                    <a:pt x="76237" y="56228"/>
                    <a:pt x="77120" y="54879"/>
                  </a:cubicBezTo>
                  <a:cubicBezTo>
                    <a:pt x="78190" y="53250"/>
                    <a:pt x="80126" y="51953"/>
                    <a:pt x="81132" y="50448"/>
                  </a:cubicBezTo>
                  <a:lnTo>
                    <a:pt x="81132" y="50448"/>
                  </a:lnTo>
                  <a:cubicBezTo>
                    <a:pt x="79011" y="53625"/>
                    <a:pt x="76781" y="56714"/>
                    <a:pt x="74332" y="59637"/>
                  </a:cubicBezTo>
                  <a:cubicBezTo>
                    <a:pt x="73373" y="60688"/>
                    <a:pt x="72423" y="61748"/>
                    <a:pt x="71482" y="62816"/>
                  </a:cubicBezTo>
                  <a:cubicBezTo>
                    <a:pt x="71374" y="62940"/>
                    <a:pt x="71481" y="63104"/>
                    <a:pt x="71604" y="63104"/>
                  </a:cubicBezTo>
                  <a:cubicBezTo>
                    <a:pt x="71642" y="63104"/>
                    <a:pt x="71681" y="63089"/>
                    <a:pt x="71716" y="63052"/>
                  </a:cubicBezTo>
                  <a:cubicBezTo>
                    <a:pt x="72920" y="61805"/>
                    <a:pt x="74052" y="60506"/>
                    <a:pt x="75143" y="59175"/>
                  </a:cubicBezTo>
                  <a:cubicBezTo>
                    <a:pt x="75449" y="58875"/>
                    <a:pt x="75738" y="58583"/>
                    <a:pt x="75974" y="58326"/>
                  </a:cubicBezTo>
                  <a:cubicBezTo>
                    <a:pt x="76657" y="57586"/>
                    <a:pt x="76985" y="57303"/>
                    <a:pt x="77089" y="57303"/>
                  </a:cubicBezTo>
                  <a:cubicBezTo>
                    <a:pt x="77292" y="57303"/>
                    <a:pt x="76645" y="58377"/>
                    <a:pt x="76113" y="59239"/>
                  </a:cubicBezTo>
                  <a:cubicBezTo>
                    <a:pt x="76762" y="58208"/>
                    <a:pt x="77698" y="57186"/>
                    <a:pt x="78220" y="55890"/>
                  </a:cubicBezTo>
                  <a:cubicBezTo>
                    <a:pt x="78266" y="55776"/>
                    <a:pt x="78156" y="55681"/>
                    <a:pt x="78050" y="55681"/>
                  </a:cubicBezTo>
                  <a:cubicBezTo>
                    <a:pt x="78009" y="55681"/>
                    <a:pt x="77968" y="55695"/>
                    <a:pt x="77937" y="55728"/>
                  </a:cubicBezTo>
                  <a:cubicBezTo>
                    <a:pt x="77747" y="55930"/>
                    <a:pt x="77562" y="56135"/>
                    <a:pt x="77372" y="56340"/>
                  </a:cubicBezTo>
                  <a:cubicBezTo>
                    <a:pt x="79084" y="54057"/>
                    <a:pt x="80700" y="51698"/>
                    <a:pt x="82300" y="49319"/>
                  </a:cubicBezTo>
                  <a:cubicBezTo>
                    <a:pt x="82385" y="49191"/>
                    <a:pt x="82268" y="49067"/>
                    <a:pt x="82146" y="49067"/>
                  </a:cubicBezTo>
                  <a:cubicBezTo>
                    <a:pt x="82106" y="49067"/>
                    <a:pt x="82065" y="49081"/>
                    <a:pt x="82031" y="49111"/>
                  </a:cubicBezTo>
                  <a:cubicBezTo>
                    <a:pt x="80472" y="50497"/>
                    <a:pt x="79035" y="52015"/>
                    <a:pt x="77741" y="53652"/>
                  </a:cubicBezTo>
                  <a:cubicBezTo>
                    <a:pt x="78529" y="52356"/>
                    <a:pt x="79225" y="51011"/>
                    <a:pt x="79785" y="49590"/>
                  </a:cubicBezTo>
                  <a:cubicBezTo>
                    <a:pt x="79829" y="49482"/>
                    <a:pt x="79723" y="49390"/>
                    <a:pt x="79623" y="49390"/>
                  </a:cubicBezTo>
                  <a:cubicBezTo>
                    <a:pt x="79585" y="49390"/>
                    <a:pt x="79547" y="49403"/>
                    <a:pt x="79520" y="49434"/>
                  </a:cubicBezTo>
                  <a:cubicBezTo>
                    <a:pt x="78370" y="50708"/>
                    <a:pt x="77085" y="51990"/>
                    <a:pt x="76134" y="53374"/>
                  </a:cubicBezTo>
                  <a:lnTo>
                    <a:pt x="76134" y="53374"/>
                  </a:lnTo>
                  <a:cubicBezTo>
                    <a:pt x="77490" y="51398"/>
                    <a:pt x="78922" y="49621"/>
                    <a:pt x="79924" y="47419"/>
                  </a:cubicBezTo>
                  <a:cubicBezTo>
                    <a:pt x="79977" y="47303"/>
                    <a:pt x="79892" y="47185"/>
                    <a:pt x="79787" y="47185"/>
                  </a:cubicBezTo>
                  <a:cubicBezTo>
                    <a:pt x="79752" y="47185"/>
                    <a:pt x="79714" y="47199"/>
                    <a:pt x="79678" y="47232"/>
                  </a:cubicBezTo>
                  <a:cubicBezTo>
                    <a:pt x="78856" y="48000"/>
                    <a:pt x="77398" y="49400"/>
                    <a:pt x="77040" y="49986"/>
                  </a:cubicBezTo>
                  <a:cubicBezTo>
                    <a:pt x="78099" y="48245"/>
                    <a:pt x="79162" y="46813"/>
                    <a:pt x="79782" y="44864"/>
                  </a:cubicBezTo>
                  <a:cubicBezTo>
                    <a:pt x="79816" y="44760"/>
                    <a:pt x="79717" y="44662"/>
                    <a:pt x="79622" y="44662"/>
                  </a:cubicBezTo>
                  <a:cubicBezTo>
                    <a:pt x="79586" y="44662"/>
                    <a:pt x="79550" y="44677"/>
                    <a:pt x="79522" y="44711"/>
                  </a:cubicBezTo>
                  <a:cubicBezTo>
                    <a:pt x="78479" y="46001"/>
                    <a:pt x="78048" y="46490"/>
                    <a:pt x="77983" y="46490"/>
                  </a:cubicBezTo>
                  <a:cubicBezTo>
                    <a:pt x="77838" y="46490"/>
                    <a:pt x="79495" y="44082"/>
                    <a:pt x="80247" y="42699"/>
                  </a:cubicBezTo>
                  <a:cubicBezTo>
                    <a:pt x="80312" y="42581"/>
                    <a:pt x="80208" y="42448"/>
                    <a:pt x="80097" y="42448"/>
                  </a:cubicBezTo>
                  <a:cubicBezTo>
                    <a:pt x="80059" y="42448"/>
                    <a:pt x="80020" y="42463"/>
                    <a:pt x="79987" y="42500"/>
                  </a:cubicBezTo>
                  <a:cubicBezTo>
                    <a:pt x="79234" y="43346"/>
                    <a:pt x="77649" y="45110"/>
                    <a:pt x="77328" y="45566"/>
                  </a:cubicBezTo>
                  <a:cubicBezTo>
                    <a:pt x="78480" y="43926"/>
                    <a:pt x="79528" y="42298"/>
                    <a:pt x="80406" y="40496"/>
                  </a:cubicBezTo>
                  <a:cubicBezTo>
                    <a:pt x="80464" y="40376"/>
                    <a:pt x="80361" y="40236"/>
                    <a:pt x="80253" y="40236"/>
                  </a:cubicBezTo>
                  <a:cubicBezTo>
                    <a:pt x="80215" y="40236"/>
                    <a:pt x="80176" y="40253"/>
                    <a:pt x="80143" y="40294"/>
                  </a:cubicBezTo>
                  <a:cubicBezTo>
                    <a:pt x="79115" y="41567"/>
                    <a:pt x="78093" y="42846"/>
                    <a:pt x="77074" y="44125"/>
                  </a:cubicBezTo>
                  <a:cubicBezTo>
                    <a:pt x="77761" y="43080"/>
                    <a:pt x="78362" y="41974"/>
                    <a:pt x="78830" y="40765"/>
                  </a:cubicBezTo>
                  <a:cubicBezTo>
                    <a:pt x="78871" y="40657"/>
                    <a:pt x="78778" y="40586"/>
                    <a:pt x="78685" y="40586"/>
                  </a:cubicBezTo>
                  <a:cubicBezTo>
                    <a:pt x="78649" y="40586"/>
                    <a:pt x="78613" y="40597"/>
                    <a:pt x="78584" y="40620"/>
                  </a:cubicBezTo>
                  <a:cubicBezTo>
                    <a:pt x="73994" y="44538"/>
                    <a:pt x="70841" y="49657"/>
                    <a:pt x="67293" y="54467"/>
                  </a:cubicBezTo>
                  <a:cubicBezTo>
                    <a:pt x="66167" y="55992"/>
                    <a:pt x="65731" y="56571"/>
                    <a:pt x="65717" y="56571"/>
                  </a:cubicBezTo>
                  <a:cubicBezTo>
                    <a:pt x="65676" y="56571"/>
                    <a:pt x="69073" y="51862"/>
                    <a:pt x="69718" y="50979"/>
                  </a:cubicBezTo>
                  <a:cubicBezTo>
                    <a:pt x="70919" y="49333"/>
                    <a:pt x="72126" y="47694"/>
                    <a:pt x="73327" y="46048"/>
                  </a:cubicBezTo>
                  <a:cubicBezTo>
                    <a:pt x="74984" y="44070"/>
                    <a:pt x="76889" y="42304"/>
                    <a:pt x="77718" y="39818"/>
                  </a:cubicBezTo>
                  <a:cubicBezTo>
                    <a:pt x="77752" y="39716"/>
                    <a:pt x="77670" y="39649"/>
                    <a:pt x="77585" y="39649"/>
                  </a:cubicBezTo>
                  <a:cubicBezTo>
                    <a:pt x="77540" y="39649"/>
                    <a:pt x="77494" y="39668"/>
                    <a:pt x="77464" y="39711"/>
                  </a:cubicBezTo>
                  <a:cubicBezTo>
                    <a:pt x="76020" y="41853"/>
                    <a:pt x="74516" y="43949"/>
                    <a:pt x="73001" y="46039"/>
                  </a:cubicBezTo>
                  <a:cubicBezTo>
                    <a:pt x="72230" y="46960"/>
                    <a:pt x="71456" y="47881"/>
                    <a:pt x="70703" y="48817"/>
                  </a:cubicBezTo>
                  <a:cubicBezTo>
                    <a:pt x="69617" y="50168"/>
                    <a:pt x="68552" y="51536"/>
                    <a:pt x="67481" y="52899"/>
                  </a:cubicBezTo>
                  <a:cubicBezTo>
                    <a:pt x="67173" y="53285"/>
                    <a:pt x="65443" y="55717"/>
                    <a:pt x="65318" y="55717"/>
                  </a:cubicBezTo>
                  <a:cubicBezTo>
                    <a:pt x="65267" y="55717"/>
                    <a:pt x="65482" y="55314"/>
                    <a:pt x="66167" y="54207"/>
                  </a:cubicBezTo>
                  <a:cubicBezTo>
                    <a:pt x="69375" y="49022"/>
                    <a:pt x="74170" y="44752"/>
                    <a:pt x="76459" y="39033"/>
                  </a:cubicBezTo>
                  <a:cubicBezTo>
                    <a:pt x="76503" y="38927"/>
                    <a:pt x="76410" y="38854"/>
                    <a:pt x="76317" y="38854"/>
                  </a:cubicBezTo>
                  <a:cubicBezTo>
                    <a:pt x="76280" y="38854"/>
                    <a:pt x="76243" y="38866"/>
                    <a:pt x="76214" y="38891"/>
                  </a:cubicBezTo>
                  <a:cubicBezTo>
                    <a:pt x="76087" y="39001"/>
                    <a:pt x="75957" y="39122"/>
                    <a:pt x="75830" y="39235"/>
                  </a:cubicBezTo>
                  <a:cubicBezTo>
                    <a:pt x="75897" y="39104"/>
                    <a:pt x="75796" y="38993"/>
                    <a:pt x="75685" y="38993"/>
                  </a:cubicBezTo>
                  <a:cubicBezTo>
                    <a:pt x="75635" y="38993"/>
                    <a:pt x="75583" y="39016"/>
                    <a:pt x="75544" y="39070"/>
                  </a:cubicBezTo>
                  <a:cubicBezTo>
                    <a:pt x="75267" y="39463"/>
                    <a:pt x="74996" y="39858"/>
                    <a:pt x="74718" y="40254"/>
                  </a:cubicBezTo>
                  <a:cubicBezTo>
                    <a:pt x="73616" y="41287"/>
                    <a:pt x="72487" y="42413"/>
                    <a:pt x="71378" y="43620"/>
                  </a:cubicBezTo>
                  <a:cubicBezTo>
                    <a:pt x="72966" y="41527"/>
                    <a:pt x="74528" y="39405"/>
                    <a:pt x="75518" y="36989"/>
                  </a:cubicBezTo>
                  <a:cubicBezTo>
                    <a:pt x="75560" y="36885"/>
                    <a:pt x="75463" y="36802"/>
                    <a:pt x="75368" y="36802"/>
                  </a:cubicBezTo>
                  <a:cubicBezTo>
                    <a:pt x="75331" y="36802"/>
                    <a:pt x="75295" y="36815"/>
                    <a:pt x="75267" y="36844"/>
                  </a:cubicBezTo>
                  <a:cubicBezTo>
                    <a:pt x="74845" y="37283"/>
                    <a:pt x="74450" y="37748"/>
                    <a:pt x="74043" y="38204"/>
                  </a:cubicBezTo>
                  <a:cubicBezTo>
                    <a:pt x="77178" y="33842"/>
                    <a:pt x="80308" y="29474"/>
                    <a:pt x="83426" y="25100"/>
                  </a:cubicBezTo>
                  <a:cubicBezTo>
                    <a:pt x="85083" y="22790"/>
                    <a:pt x="86697" y="20449"/>
                    <a:pt x="88273" y="18082"/>
                  </a:cubicBezTo>
                  <a:cubicBezTo>
                    <a:pt x="88417" y="17865"/>
                    <a:pt x="88914" y="17039"/>
                    <a:pt x="89434" y="16156"/>
                  </a:cubicBezTo>
                  <a:cubicBezTo>
                    <a:pt x="90251" y="15076"/>
                    <a:pt x="90987" y="13936"/>
                    <a:pt x="91633" y="12744"/>
                  </a:cubicBezTo>
                  <a:lnTo>
                    <a:pt x="91633" y="12744"/>
                  </a:lnTo>
                  <a:cubicBezTo>
                    <a:pt x="92023" y="12824"/>
                    <a:pt x="90704" y="15714"/>
                    <a:pt x="90282" y="16488"/>
                  </a:cubicBezTo>
                  <a:cubicBezTo>
                    <a:pt x="89933" y="17126"/>
                    <a:pt x="89535" y="17735"/>
                    <a:pt x="89119" y="18336"/>
                  </a:cubicBezTo>
                  <a:cubicBezTo>
                    <a:pt x="87817" y="19834"/>
                    <a:pt x="86570" y="21387"/>
                    <a:pt x="85438" y="23013"/>
                  </a:cubicBezTo>
                  <a:cubicBezTo>
                    <a:pt x="83356" y="25516"/>
                    <a:pt x="81234" y="27955"/>
                    <a:pt x="79494" y="30730"/>
                  </a:cubicBezTo>
                  <a:cubicBezTo>
                    <a:pt x="79431" y="30830"/>
                    <a:pt x="79522" y="30958"/>
                    <a:pt x="79627" y="30958"/>
                  </a:cubicBezTo>
                  <a:cubicBezTo>
                    <a:pt x="79651" y="30958"/>
                    <a:pt x="79677" y="30951"/>
                    <a:pt x="79701" y="30935"/>
                  </a:cubicBezTo>
                  <a:cubicBezTo>
                    <a:pt x="80518" y="30369"/>
                    <a:pt x="81301" y="29754"/>
                    <a:pt x="82043" y="29093"/>
                  </a:cubicBezTo>
                  <a:lnTo>
                    <a:pt x="82043" y="29093"/>
                  </a:lnTo>
                  <a:cubicBezTo>
                    <a:pt x="81858" y="29540"/>
                    <a:pt x="81682" y="29991"/>
                    <a:pt x="81520" y="30450"/>
                  </a:cubicBezTo>
                  <a:cubicBezTo>
                    <a:pt x="81486" y="30545"/>
                    <a:pt x="81580" y="30652"/>
                    <a:pt x="81677" y="30652"/>
                  </a:cubicBezTo>
                  <a:cubicBezTo>
                    <a:pt x="81703" y="30652"/>
                    <a:pt x="81730" y="30644"/>
                    <a:pt x="81754" y="30626"/>
                  </a:cubicBezTo>
                  <a:cubicBezTo>
                    <a:pt x="82375" y="30155"/>
                    <a:pt x="82967" y="29656"/>
                    <a:pt x="83535" y="29139"/>
                  </a:cubicBezTo>
                  <a:lnTo>
                    <a:pt x="83535" y="29139"/>
                  </a:lnTo>
                  <a:cubicBezTo>
                    <a:pt x="83189" y="29817"/>
                    <a:pt x="82886" y="30519"/>
                    <a:pt x="82626" y="31238"/>
                  </a:cubicBezTo>
                  <a:cubicBezTo>
                    <a:pt x="82586" y="31346"/>
                    <a:pt x="82683" y="31430"/>
                    <a:pt x="82780" y="31430"/>
                  </a:cubicBezTo>
                  <a:cubicBezTo>
                    <a:pt x="82818" y="31430"/>
                    <a:pt x="82856" y="31417"/>
                    <a:pt x="82886" y="31388"/>
                  </a:cubicBezTo>
                  <a:cubicBezTo>
                    <a:pt x="83258" y="31015"/>
                    <a:pt x="83631" y="30640"/>
                    <a:pt x="84003" y="30265"/>
                  </a:cubicBezTo>
                  <a:lnTo>
                    <a:pt x="84003" y="30265"/>
                  </a:lnTo>
                  <a:cubicBezTo>
                    <a:pt x="83908" y="30481"/>
                    <a:pt x="83807" y="30698"/>
                    <a:pt x="83726" y="30920"/>
                  </a:cubicBezTo>
                  <a:cubicBezTo>
                    <a:pt x="83685" y="31038"/>
                    <a:pt x="83782" y="31114"/>
                    <a:pt x="83881" y="31114"/>
                  </a:cubicBezTo>
                  <a:cubicBezTo>
                    <a:pt x="83921" y="31114"/>
                    <a:pt x="83960" y="31102"/>
                    <a:pt x="83992" y="31076"/>
                  </a:cubicBezTo>
                  <a:cubicBezTo>
                    <a:pt x="88712" y="27095"/>
                    <a:pt x="91850" y="21812"/>
                    <a:pt x="95877" y="17198"/>
                  </a:cubicBezTo>
                  <a:lnTo>
                    <a:pt x="95877" y="17198"/>
                  </a:lnTo>
                  <a:cubicBezTo>
                    <a:pt x="94113" y="19219"/>
                    <a:pt x="92491" y="22279"/>
                    <a:pt x="90634" y="24531"/>
                  </a:cubicBezTo>
                  <a:cubicBezTo>
                    <a:pt x="88686" y="26899"/>
                    <a:pt x="86682" y="29214"/>
                    <a:pt x="84840" y="31668"/>
                  </a:cubicBezTo>
                  <a:cubicBezTo>
                    <a:pt x="84757" y="31779"/>
                    <a:pt x="84877" y="31911"/>
                    <a:pt x="84991" y="31911"/>
                  </a:cubicBezTo>
                  <a:cubicBezTo>
                    <a:pt x="85029" y="31911"/>
                    <a:pt x="85065" y="31897"/>
                    <a:pt x="85094" y="31864"/>
                  </a:cubicBezTo>
                  <a:cubicBezTo>
                    <a:pt x="87294" y="29370"/>
                    <a:pt x="89353" y="26771"/>
                    <a:pt x="91394" y="24147"/>
                  </a:cubicBezTo>
                  <a:cubicBezTo>
                    <a:pt x="92107" y="23232"/>
                    <a:pt x="92982" y="22291"/>
                    <a:pt x="93848" y="21327"/>
                  </a:cubicBezTo>
                  <a:lnTo>
                    <a:pt x="93848" y="21327"/>
                  </a:lnTo>
                  <a:cubicBezTo>
                    <a:pt x="92777" y="22735"/>
                    <a:pt x="91801" y="24216"/>
                    <a:pt x="90932" y="25758"/>
                  </a:cubicBezTo>
                  <a:cubicBezTo>
                    <a:pt x="89298" y="27788"/>
                    <a:pt x="87661" y="29814"/>
                    <a:pt x="86258" y="31983"/>
                  </a:cubicBezTo>
                  <a:cubicBezTo>
                    <a:pt x="86180" y="32101"/>
                    <a:pt x="86288" y="32225"/>
                    <a:pt x="86401" y="32225"/>
                  </a:cubicBezTo>
                  <a:cubicBezTo>
                    <a:pt x="86439" y="32225"/>
                    <a:pt x="86477" y="32211"/>
                    <a:pt x="86509" y="32179"/>
                  </a:cubicBezTo>
                  <a:cubicBezTo>
                    <a:pt x="88224" y="30487"/>
                    <a:pt x="89820" y="28709"/>
                    <a:pt x="91368" y="26884"/>
                  </a:cubicBezTo>
                  <a:cubicBezTo>
                    <a:pt x="92193" y="26307"/>
                    <a:pt x="92985" y="25698"/>
                    <a:pt x="93721" y="25025"/>
                  </a:cubicBezTo>
                  <a:lnTo>
                    <a:pt x="93721" y="25025"/>
                  </a:lnTo>
                  <a:cubicBezTo>
                    <a:pt x="93253" y="25692"/>
                    <a:pt x="92806" y="26376"/>
                    <a:pt x="92390" y="27095"/>
                  </a:cubicBezTo>
                  <a:cubicBezTo>
                    <a:pt x="92312" y="27231"/>
                    <a:pt x="92421" y="27347"/>
                    <a:pt x="92543" y="27347"/>
                  </a:cubicBezTo>
                  <a:cubicBezTo>
                    <a:pt x="92583" y="27347"/>
                    <a:pt x="92625" y="27334"/>
                    <a:pt x="92661" y="27306"/>
                  </a:cubicBezTo>
                  <a:cubicBezTo>
                    <a:pt x="93819" y="26388"/>
                    <a:pt x="94927" y="25406"/>
                    <a:pt x="95981" y="24364"/>
                  </a:cubicBezTo>
                  <a:lnTo>
                    <a:pt x="95981" y="24364"/>
                  </a:lnTo>
                  <a:cubicBezTo>
                    <a:pt x="95187" y="25366"/>
                    <a:pt x="94405" y="26376"/>
                    <a:pt x="93654" y="27412"/>
                  </a:cubicBezTo>
                  <a:cubicBezTo>
                    <a:pt x="93577" y="27523"/>
                    <a:pt x="93689" y="27668"/>
                    <a:pt x="93805" y="27668"/>
                  </a:cubicBezTo>
                  <a:cubicBezTo>
                    <a:pt x="93831" y="27668"/>
                    <a:pt x="93858" y="27660"/>
                    <a:pt x="93882" y="27643"/>
                  </a:cubicBezTo>
                  <a:cubicBezTo>
                    <a:pt x="94538" y="27190"/>
                    <a:pt x="95164" y="26705"/>
                    <a:pt x="95770" y="26200"/>
                  </a:cubicBezTo>
                  <a:lnTo>
                    <a:pt x="95770" y="26200"/>
                  </a:lnTo>
                  <a:cubicBezTo>
                    <a:pt x="95641" y="26393"/>
                    <a:pt x="95508" y="26581"/>
                    <a:pt x="95381" y="26777"/>
                  </a:cubicBezTo>
                  <a:cubicBezTo>
                    <a:pt x="95301" y="26907"/>
                    <a:pt x="95415" y="27035"/>
                    <a:pt x="95537" y="27035"/>
                  </a:cubicBezTo>
                  <a:cubicBezTo>
                    <a:pt x="95578" y="27035"/>
                    <a:pt x="95620" y="27021"/>
                    <a:pt x="95655" y="26988"/>
                  </a:cubicBezTo>
                  <a:cubicBezTo>
                    <a:pt x="97041" y="25698"/>
                    <a:pt x="98213" y="24237"/>
                    <a:pt x="99316" y="22721"/>
                  </a:cubicBezTo>
                  <a:cubicBezTo>
                    <a:pt x="101533" y="20227"/>
                    <a:pt x="103470" y="17458"/>
                    <a:pt x="105373" y="14718"/>
                  </a:cubicBezTo>
                  <a:cubicBezTo>
                    <a:pt x="105757" y="14325"/>
                    <a:pt x="105964" y="14167"/>
                    <a:pt x="106050" y="14167"/>
                  </a:cubicBezTo>
                  <a:cubicBezTo>
                    <a:pt x="106391" y="14167"/>
                    <a:pt x="104797" y="16674"/>
                    <a:pt x="104723" y="16782"/>
                  </a:cubicBezTo>
                  <a:cubicBezTo>
                    <a:pt x="103655" y="18370"/>
                    <a:pt x="102312" y="19814"/>
                    <a:pt x="101045" y="21249"/>
                  </a:cubicBezTo>
                  <a:cubicBezTo>
                    <a:pt x="99102" y="23449"/>
                    <a:pt x="97188" y="25605"/>
                    <a:pt x="95540" y="28036"/>
                  </a:cubicBezTo>
                  <a:cubicBezTo>
                    <a:pt x="95453" y="28164"/>
                    <a:pt x="95574" y="28300"/>
                    <a:pt x="95698" y="28300"/>
                  </a:cubicBezTo>
                  <a:cubicBezTo>
                    <a:pt x="95739" y="28300"/>
                    <a:pt x="95780" y="28285"/>
                    <a:pt x="95814" y="28250"/>
                  </a:cubicBezTo>
                  <a:cubicBezTo>
                    <a:pt x="98914" y="25083"/>
                    <a:pt x="101775" y="21711"/>
                    <a:pt x="104648" y="18336"/>
                  </a:cubicBezTo>
                  <a:cubicBezTo>
                    <a:pt x="104978" y="17948"/>
                    <a:pt x="106705" y="15615"/>
                    <a:pt x="106899" y="15615"/>
                  </a:cubicBezTo>
                  <a:cubicBezTo>
                    <a:pt x="106971" y="15615"/>
                    <a:pt x="106831" y="15937"/>
                    <a:pt x="106328" y="16803"/>
                  </a:cubicBezTo>
                  <a:cubicBezTo>
                    <a:pt x="106178" y="17063"/>
                    <a:pt x="106002" y="17305"/>
                    <a:pt x="105840" y="17559"/>
                  </a:cubicBezTo>
                  <a:cubicBezTo>
                    <a:pt x="103135" y="20388"/>
                    <a:pt x="100843" y="23639"/>
                    <a:pt x="98305" y="26601"/>
                  </a:cubicBezTo>
                  <a:cubicBezTo>
                    <a:pt x="96175" y="29081"/>
                    <a:pt x="94067" y="31555"/>
                    <a:pt x="92095" y="34133"/>
                  </a:cubicBezTo>
                  <a:cubicBezTo>
                    <a:pt x="91963" y="34286"/>
                    <a:pt x="91835" y="34442"/>
                    <a:pt x="91703" y="34595"/>
                  </a:cubicBezTo>
                  <a:cubicBezTo>
                    <a:pt x="91356" y="34997"/>
                    <a:pt x="89555" y="37434"/>
                    <a:pt x="89352" y="37434"/>
                  </a:cubicBezTo>
                  <a:cubicBezTo>
                    <a:pt x="89278" y="37434"/>
                    <a:pt x="89419" y="37107"/>
                    <a:pt x="89924" y="36232"/>
                  </a:cubicBezTo>
                  <a:cubicBezTo>
                    <a:pt x="91371" y="33729"/>
                    <a:pt x="93530" y="31607"/>
                    <a:pt x="95499" y="29508"/>
                  </a:cubicBezTo>
                  <a:cubicBezTo>
                    <a:pt x="95617" y="29384"/>
                    <a:pt x="95499" y="29210"/>
                    <a:pt x="95367" y="29210"/>
                  </a:cubicBezTo>
                  <a:cubicBezTo>
                    <a:pt x="95327" y="29210"/>
                    <a:pt x="95287" y="29226"/>
                    <a:pt x="95251" y="29263"/>
                  </a:cubicBezTo>
                  <a:cubicBezTo>
                    <a:pt x="93282" y="31345"/>
                    <a:pt x="91264" y="33363"/>
                    <a:pt x="89428" y="35565"/>
                  </a:cubicBezTo>
                  <a:cubicBezTo>
                    <a:pt x="89320" y="35693"/>
                    <a:pt x="89434" y="35864"/>
                    <a:pt x="89556" y="35864"/>
                  </a:cubicBezTo>
                  <a:cubicBezTo>
                    <a:pt x="89595" y="35864"/>
                    <a:pt x="89634" y="35848"/>
                    <a:pt x="89667" y="35808"/>
                  </a:cubicBezTo>
                  <a:cubicBezTo>
                    <a:pt x="89901" y="35528"/>
                    <a:pt x="90144" y="35262"/>
                    <a:pt x="90380" y="34988"/>
                  </a:cubicBezTo>
                  <a:lnTo>
                    <a:pt x="90380" y="34988"/>
                  </a:lnTo>
                  <a:cubicBezTo>
                    <a:pt x="89595" y="36125"/>
                    <a:pt x="88888" y="37315"/>
                    <a:pt x="88290" y="38588"/>
                  </a:cubicBezTo>
                  <a:cubicBezTo>
                    <a:pt x="88230" y="38717"/>
                    <a:pt x="88337" y="38866"/>
                    <a:pt x="88453" y="38866"/>
                  </a:cubicBezTo>
                  <a:cubicBezTo>
                    <a:pt x="88493" y="38866"/>
                    <a:pt x="88535" y="38848"/>
                    <a:pt x="88570" y="38805"/>
                  </a:cubicBezTo>
                  <a:cubicBezTo>
                    <a:pt x="88925" y="38383"/>
                    <a:pt x="89280" y="37956"/>
                    <a:pt x="89636" y="37531"/>
                  </a:cubicBezTo>
                  <a:lnTo>
                    <a:pt x="89636" y="37531"/>
                  </a:lnTo>
                  <a:cubicBezTo>
                    <a:pt x="89145" y="38253"/>
                    <a:pt x="88663" y="38984"/>
                    <a:pt x="88201" y="39731"/>
                  </a:cubicBezTo>
                  <a:cubicBezTo>
                    <a:pt x="88161" y="39796"/>
                    <a:pt x="88220" y="39885"/>
                    <a:pt x="88287" y="39885"/>
                  </a:cubicBezTo>
                  <a:cubicBezTo>
                    <a:pt x="88303" y="39885"/>
                    <a:pt x="88320" y="39880"/>
                    <a:pt x="88336" y="39867"/>
                  </a:cubicBezTo>
                  <a:lnTo>
                    <a:pt x="88772" y="39535"/>
                  </a:lnTo>
                  <a:cubicBezTo>
                    <a:pt x="88807" y="39592"/>
                    <a:pt x="88871" y="39633"/>
                    <a:pt x="88934" y="39633"/>
                  </a:cubicBezTo>
                  <a:cubicBezTo>
                    <a:pt x="88970" y="39633"/>
                    <a:pt x="89006" y="39620"/>
                    <a:pt x="89035" y="39587"/>
                  </a:cubicBezTo>
                  <a:cubicBezTo>
                    <a:pt x="92185" y="36134"/>
                    <a:pt x="95228" y="32597"/>
                    <a:pt x="98369" y="29139"/>
                  </a:cubicBezTo>
                  <a:lnTo>
                    <a:pt x="98369" y="29139"/>
                  </a:lnTo>
                  <a:cubicBezTo>
                    <a:pt x="97765" y="29970"/>
                    <a:pt x="97223" y="30845"/>
                    <a:pt x="96801" y="31818"/>
                  </a:cubicBezTo>
                  <a:cubicBezTo>
                    <a:pt x="96749" y="31939"/>
                    <a:pt x="96810" y="32072"/>
                    <a:pt x="96951" y="32078"/>
                  </a:cubicBezTo>
                  <a:cubicBezTo>
                    <a:pt x="96985" y="32079"/>
                    <a:pt x="97018" y="32080"/>
                    <a:pt x="97052" y="32080"/>
                  </a:cubicBezTo>
                  <a:cubicBezTo>
                    <a:pt x="97218" y="32080"/>
                    <a:pt x="97386" y="32062"/>
                    <a:pt x="97549" y="32029"/>
                  </a:cubicBezTo>
                  <a:lnTo>
                    <a:pt x="97549" y="32029"/>
                  </a:lnTo>
                  <a:cubicBezTo>
                    <a:pt x="96524" y="33259"/>
                    <a:pt x="95514" y="34497"/>
                    <a:pt x="94509" y="35747"/>
                  </a:cubicBezTo>
                  <a:cubicBezTo>
                    <a:pt x="93856" y="36564"/>
                    <a:pt x="92875" y="37407"/>
                    <a:pt x="91965" y="38276"/>
                  </a:cubicBezTo>
                  <a:cubicBezTo>
                    <a:pt x="93406" y="36195"/>
                    <a:pt x="94994" y="34200"/>
                    <a:pt x="96455" y="32144"/>
                  </a:cubicBezTo>
                  <a:cubicBezTo>
                    <a:pt x="96533" y="32035"/>
                    <a:pt x="96421" y="31907"/>
                    <a:pt x="96311" y="31907"/>
                  </a:cubicBezTo>
                  <a:cubicBezTo>
                    <a:pt x="96275" y="31907"/>
                    <a:pt x="96239" y="31921"/>
                    <a:pt x="96209" y="31954"/>
                  </a:cubicBezTo>
                  <a:cubicBezTo>
                    <a:pt x="93498" y="34991"/>
                    <a:pt x="90889" y="38048"/>
                    <a:pt x="88625" y="41435"/>
                  </a:cubicBezTo>
                  <a:cubicBezTo>
                    <a:pt x="88547" y="41550"/>
                    <a:pt x="88656" y="41669"/>
                    <a:pt x="88768" y="41669"/>
                  </a:cubicBezTo>
                  <a:cubicBezTo>
                    <a:pt x="88804" y="41669"/>
                    <a:pt x="88840" y="41657"/>
                    <a:pt x="88871" y="41628"/>
                  </a:cubicBezTo>
                  <a:lnTo>
                    <a:pt x="89410" y="41123"/>
                  </a:lnTo>
                  <a:lnTo>
                    <a:pt x="89410" y="41123"/>
                  </a:lnTo>
                  <a:cubicBezTo>
                    <a:pt x="89346" y="41241"/>
                    <a:pt x="89442" y="41358"/>
                    <a:pt x="89550" y="41358"/>
                  </a:cubicBezTo>
                  <a:cubicBezTo>
                    <a:pt x="89587" y="41358"/>
                    <a:pt x="89625" y="41345"/>
                    <a:pt x="89659" y="41313"/>
                  </a:cubicBezTo>
                  <a:lnTo>
                    <a:pt x="89685" y="41290"/>
                  </a:lnTo>
                  <a:lnTo>
                    <a:pt x="89685" y="41290"/>
                  </a:lnTo>
                  <a:cubicBezTo>
                    <a:pt x="89370" y="41816"/>
                    <a:pt x="89067" y="42335"/>
                    <a:pt x="88778" y="42852"/>
                  </a:cubicBezTo>
                  <a:cubicBezTo>
                    <a:pt x="88716" y="42968"/>
                    <a:pt x="88817" y="43097"/>
                    <a:pt x="88923" y="43097"/>
                  </a:cubicBezTo>
                  <a:cubicBezTo>
                    <a:pt x="88960" y="43097"/>
                    <a:pt x="88998" y="43082"/>
                    <a:pt x="89029" y="43046"/>
                  </a:cubicBezTo>
                  <a:cubicBezTo>
                    <a:pt x="89664" y="42324"/>
                    <a:pt x="90323" y="41628"/>
                    <a:pt x="90972" y="40924"/>
                  </a:cubicBezTo>
                  <a:lnTo>
                    <a:pt x="90972" y="40924"/>
                  </a:lnTo>
                  <a:cubicBezTo>
                    <a:pt x="90008" y="42197"/>
                    <a:pt x="89119" y="43525"/>
                    <a:pt x="88305" y="44899"/>
                  </a:cubicBezTo>
                  <a:cubicBezTo>
                    <a:pt x="88236" y="45020"/>
                    <a:pt x="88339" y="45142"/>
                    <a:pt x="88450" y="45142"/>
                  </a:cubicBezTo>
                  <a:cubicBezTo>
                    <a:pt x="88488" y="45142"/>
                    <a:pt x="88526" y="45128"/>
                    <a:pt x="88559" y="45095"/>
                  </a:cubicBezTo>
                  <a:cubicBezTo>
                    <a:pt x="90009" y="43660"/>
                    <a:pt x="91324" y="42117"/>
                    <a:pt x="92667" y="40580"/>
                  </a:cubicBezTo>
                  <a:lnTo>
                    <a:pt x="92667" y="40580"/>
                  </a:lnTo>
                  <a:cubicBezTo>
                    <a:pt x="91520" y="41894"/>
                    <a:pt x="90231" y="43807"/>
                    <a:pt x="89093" y="45375"/>
                  </a:cubicBezTo>
                  <a:cubicBezTo>
                    <a:pt x="89012" y="45489"/>
                    <a:pt x="89127" y="45618"/>
                    <a:pt x="89242" y="45618"/>
                  </a:cubicBezTo>
                  <a:cubicBezTo>
                    <a:pt x="89279" y="45618"/>
                    <a:pt x="89316" y="45604"/>
                    <a:pt x="89347" y="45572"/>
                  </a:cubicBezTo>
                  <a:cubicBezTo>
                    <a:pt x="89578" y="45323"/>
                    <a:pt x="90848" y="43938"/>
                    <a:pt x="91544" y="43080"/>
                  </a:cubicBezTo>
                  <a:cubicBezTo>
                    <a:pt x="92104" y="42636"/>
                    <a:pt x="92632" y="42151"/>
                    <a:pt x="93126" y="41631"/>
                  </a:cubicBezTo>
                  <a:cubicBezTo>
                    <a:pt x="93243" y="41517"/>
                    <a:pt x="93133" y="41359"/>
                    <a:pt x="93006" y="41359"/>
                  </a:cubicBezTo>
                  <a:cubicBezTo>
                    <a:pt x="92970" y="41359"/>
                    <a:pt x="92932" y="41372"/>
                    <a:pt x="92898" y="41403"/>
                  </a:cubicBezTo>
                  <a:cubicBezTo>
                    <a:pt x="92595" y="41671"/>
                    <a:pt x="92228" y="42050"/>
                    <a:pt x="91861" y="42445"/>
                  </a:cubicBezTo>
                  <a:cubicBezTo>
                    <a:pt x="91694" y="42555"/>
                    <a:pt x="91532" y="42673"/>
                    <a:pt x="91382" y="42800"/>
                  </a:cubicBezTo>
                  <a:cubicBezTo>
                    <a:pt x="92211" y="41689"/>
                    <a:pt x="93036" y="40583"/>
                    <a:pt x="93781" y="39393"/>
                  </a:cubicBezTo>
                  <a:cubicBezTo>
                    <a:pt x="93855" y="39277"/>
                    <a:pt x="93747" y="39150"/>
                    <a:pt x="93634" y="39150"/>
                  </a:cubicBezTo>
                  <a:cubicBezTo>
                    <a:pt x="93597" y="39150"/>
                    <a:pt x="93559" y="39164"/>
                    <a:pt x="93527" y="39197"/>
                  </a:cubicBezTo>
                  <a:cubicBezTo>
                    <a:pt x="92269" y="40534"/>
                    <a:pt x="90222" y="42283"/>
                    <a:pt x="89361" y="43741"/>
                  </a:cubicBezTo>
                  <a:cubicBezTo>
                    <a:pt x="90900" y="41131"/>
                    <a:pt x="93022" y="38856"/>
                    <a:pt x="95017" y="36590"/>
                  </a:cubicBezTo>
                  <a:cubicBezTo>
                    <a:pt x="95121" y="36473"/>
                    <a:pt x="95015" y="36314"/>
                    <a:pt x="94896" y="36314"/>
                  </a:cubicBezTo>
                  <a:cubicBezTo>
                    <a:pt x="94860" y="36314"/>
                    <a:pt x="94822" y="36329"/>
                    <a:pt x="94789" y="36365"/>
                  </a:cubicBezTo>
                  <a:cubicBezTo>
                    <a:pt x="93576" y="37656"/>
                    <a:pt x="92358" y="38946"/>
                    <a:pt x="91137" y="40231"/>
                  </a:cubicBezTo>
                  <a:cubicBezTo>
                    <a:pt x="90408" y="41004"/>
                    <a:pt x="89957" y="41554"/>
                    <a:pt x="89906" y="41554"/>
                  </a:cubicBezTo>
                  <a:cubicBezTo>
                    <a:pt x="89869" y="41554"/>
                    <a:pt x="90050" y="41254"/>
                    <a:pt x="90499" y="40522"/>
                  </a:cubicBezTo>
                  <a:cubicBezTo>
                    <a:pt x="93308" y="37858"/>
                    <a:pt x="95742" y="34829"/>
                    <a:pt x="98201" y="31830"/>
                  </a:cubicBezTo>
                  <a:cubicBezTo>
                    <a:pt x="98245" y="31812"/>
                    <a:pt x="98288" y="31792"/>
                    <a:pt x="98331" y="31769"/>
                  </a:cubicBezTo>
                  <a:cubicBezTo>
                    <a:pt x="98342" y="31787"/>
                    <a:pt x="98360" y="31801"/>
                    <a:pt x="98379" y="31801"/>
                  </a:cubicBezTo>
                  <a:cubicBezTo>
                    <a:pt x="98391" y="31801"/>
                    <a:pt x="98404" y="31795"/>
                    <a:pt x="98415" y="31780"/>
                  </a:cubicBezTo>
                  <a:cubicBezTo>
                    <a:pt x="98444" y="31743"/>
                    <a:pt x="98467" y="31714"/>
                    <a:pt x="98493" y="31679"/>
                  </a:cubicBezTo>
                  <a:cubicBezTo>
                    <a:pt x="100153" y="30738"/>
                    <a:pt x="101400" y="28377"/>
                    <a:pt x="102523" y="27161"/>
                  </a:cubicBezTo>
                  <a:cubicBezTo>
                    <a:pt x="103996" y="25565"/>
                    <a:pt x="105321" y="23827"/>
                    <a:pt x="106724" y="22170"/>
                  </a:cubicBezTo>
                  <a:cubicBezTo>
                    <a:pt x="107431" y="21335"/>
                    <a:pt x="108182" y="20553"/>
                    <a:pt x="108950" y="19776"/>
                  </a:cubicBezTo>
                  <a:cubicBezTo>
                    <a:pt x="108976" y="19747"/>
                    <a:pt x="108996" y="19730"/>
                    <a:pt x="109022" y="19704"/>
                  </a:cubicBezTo>
                  <a:lnTo>
                    <a:pt x="109022" y="19704"/>
                  </a:lnTo>
                  <a:cubicBezTo>
                    <a:pt x="106767" y="24274"/>
                    <a:pt x="102292" y="27586"/>
                    <a:pt x="99321" y="31665"/>
                  </a:cubicBezTo>
                  <a:cubicBezTo>
                    <a:pt x="99235" y="31784"/>
                    <a:pt x="99360" y="31925"/>
                    <a:pt x="99480" y="31925"/>
                  </a:cubicBezTo>
                  <a:cubicBezTo>
                    <a:pt x="99520" y="31925"/>
                    <a:pt x="99559" y="31909"/>
                    <a:pt x="99590" y="31873"/>
                  </a:cubicBezTo>
                  <a:cubicBezTo>
                    <a:pt x="101241" y="29933"/>
                    <a:pt x="102948" y="28045"/>
                    <a:pt x="104662" y="26159"/>
                  </a:cubicBezTo>
                  <a:cubicBezTo>
                    <a:pt x="105272" y="25493"/>
                    <a:pt x="106112" y="24569"/>
                    <a:pt x="106588" y="23902"/>
                  </a:cubicBezTo>
                  <a:lnTo>
                    <a:pt x="106588" y="23902"/>
                  </a:lnTo>
                  <a:cubicBezTo>
                    <a:pt x="105849" y="25057"/>
                    <a:pt x="105035" y="26165"/>
                    <a:pt x="104206" y="27257"/>
                  </a:cubicBezTo>
                  <a:cubicBezTo>
                    <a:pt x="104112" y="27382"/>
                    <a:pt x="104236" y="27505"/>
                    <a:pt x="104362" y="27505"/>
                  </a:cubicBezTo>
                  <a:cubicBezTo>
                    <a:pt x="104402" y="27505"/>
                    <a:pt x="104442" y="27493"/>
                    <a:pt x="104475" y="27464"/>
                  </a:cubicBezTo>
                  <a:cubicBezTo>
                    <a:pt x="104949" y="27052"/>
                    <a:pt x="106133" y="25638"/>
                    <a:pt x="106351" y="25638"/>
                  </a:cubicBezTo>
                  <a:cubicBezTo>
                    <a:pt x="106458" y="25638"/>
                    <a:pt x="106333" y="25978"/>
                    <a:pt x="105780" y="26942"/>
                  </a:cubicBezTo>
                  <a:cubicBezTo>
                    <a:pt x="105704" y="27074"/>
                    <a:pt x="105812" y="27192"/>
                    <a:pt x="105933" y="27192"/>
                  </a:cubicBezTo>
                  <a:cubicBezTo>
                    <a:pt x="105973" y="27192"/>
                    <a:pt x="106015" y="27179"/>
                    <a:pt x="106051" y="27150"/>
                  </a:cubicBezTo>
                  <a:cubicBezTo>
                    <a:pt x="106351" y="26899"/>
                    <a:pt x="106268" y="26974"/>
                    <a:pt x="106516" y="26621"/>
                  </a:cubicBezTo>
                  <a:cubicBezTo>
                    <a:pt x="106583" y="26528"/>
                    <a:pt x="106489" y="26421"/>
                    <a:pt x="106394" y="26421"/>
                  </a:cubicBezTo>
                  <a:cubicBezTo>
                    <a:pt x="106364" y="26421"/>
                    <a:pt x="106333" y="26433"/>
                    <a:pt x="106308" y="26460"/>
                  </a:cubicBezTo>
                  <a:cubicBezTo>
                    <a:pt x="106597" y="26142"/>
                    <a:pt x="106833" y="25516"/>
                    <a:pt x="107038" y="25025"/>
                  </a:cubicBezTo>
                  <a:cubicBezTo>
                    <a:pt x="107089" y="24906"/>
                    <a:pt x="106976" y="24813"/>
                    <a:pt x="106867" y="24813"/>
                  </a:cubicBezTo>
                  <a:cubicBezTo>
                    <a:pt x="106825" y="24813"/>
                    <a:pt x="106784" y="24826"/>
                    <a:pt x="106753" y="24857"/>
                  </a:cubicBezTo>
                  <a:cubicBezTo>
                    <a:pt x="106357" y="25259"/>
                    <a:pt x="105956" y="25651"/>
                    <a:pt x="105552" y="26041"/>
                  </a:cubicBezTo>
                  <a:cubicBezTo>
                    <a:pt x="105537" y="26050"/>
                    <a:pt x="105526" y="26058"/>
                    <a:pt x="105511" y="26070"/>
                  </a:cubicBezTo>
                  <a:cubicBezTo>
                    <a:pt x="106268" y="25031"/>
                    <a:pt x="106975" y="23954"/>
                    <a:pt x="107651" y="22862"/>
                  </a:cubicBezTo>
                  <a:cubicBezTo>
                    <a:pt x="107723" y="22744"/>
                    <a:pt x="107625" y="22623"/>
                    <a:pt x="107515" y="22608"/>
                  </a:cubicBezTo>
                  <a:cubicBezTo>
                    <a:pt x="108341" y="21511"/>
                    <a:pt x="109065" y="20351"/>
                    <a:pt x="109643" y="19101"/>
                  </a:cubicBezTo>
                  <a:cubicBezTo>
                    <a:pt x="109886" y="18880"/>
                    <a:pt x="110021" y="18784"/>
                    <a:pt x="110077" y="18784"/>
                  </a:cubicBezTo>
                  <a:cubicBezTo>
                    <a:pt x="110261" y="18784"/>
                    <a:pt x="109590" y="19813"/>
                    <a:pt x="109085" y="20795"/>
                  </a:cubicBezTo>
                  <a:cubicBezTo>
                    <a:pt x="109012" y="20927"/>
                    <a:pt x="109121" y="21059"/>
                    <a:pt x="109242" y="21059"/>
                  </a:cubicBezTo>
                  <a:cubicBezTo>
                    <a:pt x="109283" y="21059"/>
                    <a:pt x="109325" y="21044"/>
                    <a:pt x="109363" y="21009"/>
                  </a:cubicBezTo>
                  <a:cubicBezTo>
                    <a:pt x="110396" y="20056"/>
                    <a:pt x="110946" y="19490"/>
                    <a:pt x="111018" y="19490"/>
                  </a:cubicBezTo>
                  <a:cubicBezTo>
                    <a:pt x="111084" y="19490"/>
                    <a:pt x="110740" y="19976"/>
                    <a:pt x="109992" y="21090"/>
                  </a:cubicBezTo>
                  <a:cubicBezTo>
                    <a:pt x="109946" y="21070"/>
                    <a:pt x="109908" y="21055"/>
                    <a:pt x="109856" y="21035"/>
                  </a:cubicBezTo>
                  <a:cubicBezTo>
                    <a:pt x="109844" y="21030"/>
                    <a:pt x="109832" y="21027"/>
                    <a:pt x="109820" y="21027"/>
                  </a:cubicBezTo>
                  <a:cubicBezTo>
                    <a:pt x="109725" y="21027"/>
                    <a:pt x="109669" y="21194"/>
                    <a:pt x="109772" y="21240"/>
                  </a:cubicBezTo>
                  <a:cubicBezTo>
                    <a:pt x="109798" y="21252"/>
                    <a:pt x="109833" y="21275"/>
                    <a:pt x="109868" y="21292"/>
                  </a:cubicBezTo>
                  <a:cubicBezTo>
                    <a:pt x="109806" y="21416"/>
                    <a:pt x="109915" y="21527"/>
                    <a:pt x="110032" y="21527"/>
                  </a:cubicBezTo>
                  <a:cubicBezTo>
                    <a:pt x="110073" y="21527"/>
                    <a:pt x="110115" y="21514"/>
                    <a:pt x="110151" y="21483"/>
                  </a:cubicBezTo>
                  <a:lnTo>
                    <a:pt x="110159" y="21477"/>
                  </a:lnTo>
                  <a:cubicBezTo>
                    <a:pt x="111055" y="22101"/>
                    <a:pt x="112684" y="23551"/>
                    <a:pt x="113576" y="23551"/>
                  </a:cubicBezTo>
                  <a:cubicBezTo>
                    <a:pt x="113682" y="23551"/>
                    <a:pt x="113778" y="23531"/>
                    <a:pt x="113860" y="23486"/>
                  </a:cubicBezTo>
                  <a:cubicBezTo>
                    <a:pt x="114481" y="23145"/>
                    <a:pt x="115922" y="22496"/>
                    <a:pt x="115417" y="21445"/>
                  </a:cubicBezTo>
                  <a:cubicBezTo>
                    <a:pt x="114395" y="19320"/>
                    <a:pt x="111860" y="18024"/>
                    <a:pt x="110376" y="16208"/>
                  </a:cubicBezTo>
                  <a:cubicBezTo>
                    <a:pt x="109075" y="14616"/>
                    <a:pt x="106938" y="11528"/>
                    <a:pt x="104501" y="11528"/>
                  </a:cubicBezTo>
                  <a:cubicBezTo>
                    <a:pt x="104494" y="11528"/>
                    <a:pt x="104487" y="11528"/>
                    <a:pt x="104481" y="11528"/>
                  </a:cubicBezTo>
                  <a:cubicBezTo>
                    <a:pt x="103173" y="11537"/>
                    <a:pt x="102968" y="12308"/>
                    <a:pt x="102393" y="13436"/>
                  </a:cubicBezTo>
                  <a:cubicBezTo>
                    <a:pt x="101555" y="15087"/>
                    <a:pt x="99546" y="15250"/>
                    <a:pt x="97834" y="15250"/>
                  </a:cubicBezTo>
                  <a:cubicBezTo>
                    <a:pt x="97453" y="15250"/>
                    <a:pt x="97087" y="15242"/>
                    <a:pt x="96752" y="15241"/>
                  </a:cubicBezTo>
                  <a:cubicBezTo>
                    <a:pt x="93882" y="15229"/>
                    <a:pt x="93571" y="12547"/>
                    <a:pt x="92292" y="10907"/>
                  </a:cubicBezTo>
                  <a:cubicBezTo>
                    <a:pt x="91807" y="10284"/>
                    <a:pt x="90718" y="10067"/>
                    <a:pt x="90046" y="9859"/>
                  </a:cubicBezTo>
                  <a:cubicBezTo>
                    <a:pt x="82126" y="7423"/>
                    <a:pt x="88103" y="8604"/>
                    <a:pt x="84938" y="6753"/>
                  </a:cubicBezTo>
                  <a:cubicBezTo>
                    <a:pt x="84413" y="6444"/>
                    <a:pt x="83948" y="6324"/>
                    <a:pt x="83512" y="6324"/>
                  </a:cubicBezTo>
                  <a:cubicBezTo>
                    <a:pt x="82630" y="6324"/>
                    <a:pt x="81865" y="6818"/>
                    <a:pt x="80951" y="7252"/>
                  </a:cubicBezTo>
                  <a:cubicBezTo>
                    <a:pt x="80914" y="7157"/>
                    <a:pt x="80874" y="7059"/>
                    <a:pt x="80833" y="6961"/>
                  </a:cubicBezTo>
                  <a:cubicBezTo>
                    <a:pt x="80839" y="6952"/>
                    <a:pt x="80845" y="6941"/>
                    <a:pt x="80850" y="6932"/>
                  </a:cubicBezTo>
                  <a:cubicBezTo>
                    <a:pt x="80897" y="6845"/>
                    <a:pt x="80839" y="6739"/>
                    <a:pt x="80741" y="6736"/>
                  </a:cubicBezTo>
                  <a:cubicBezTo>
                    <a:pt x="80481" y="6109"/>
                    <a:pt x="80172" y="5497"/>
                    <a:pt x="79583" y="5154"/>
                  </a:cubicBezTo>
                  <a:cubicBezTo>
                    <a:pt x="79303" y="4989"/>
                    <a:pt x="79013" y="4921"/>
                    <a:pt x="78722" y="4921"/>
                  </a:cubicBezTo>
                  <a:cubicBezTo>
                    <a:pt x="77823" y="4921"/>
                    <a:pt x="76913" y="5575"/>
                    <a:pt x="76237" y="6075"/>
                  </a:cubicBezTo>
                  <a:cubicBezTo>
                    <a:pt x="75914" y="6314"/>
                    <a:pt x="75593" y="6606"/>
                    <a:pt x="75258" y="6868"/>
                  </a:cubicBezTo>
                  <a:cubicBezTo>
                    <a:pt x="75236" y="6860"/>
                    <a:pt x="75214" y="6855"/>
                    <a:pt x="75191" y="6855"/>
                  </a:cubicBezTo>
                  <a:cubicBezTo>
                    <a:pt x="75158" y="6855"/>
                    <a:pt x="75126" y="6867"/>
                    <a:pt x="75100" y="6900"/>
                  </a:cubicBezTo>
                  <a:cubicBezTo>
                    <a:pt x="75045" y="6967"/>
                    <a:pt x="74993" y="7036"/>
                    <a:pt x="74941" y="7102"/>
                  </a:cubicBezTo>
                  <a:cubicBezTo>
                    <a:pt x="74513" y="7398"/>
                    <a:pt x="74055" y="7615"/>
                    <a:pt x="73525" y="7615"/>
                  </a:cubicBezTo>
                  <a:cubicBezTo>
                    <a:pt x="73407" y="7615"/>
                    <a:pt x="73285" y="7605"/>
                    <a:pt x="73159" y="7582"/>
                  </a:cubicBezTo>
                  <a:cubicBezTo>
                    <a:pt x="73105" y="7570"/>
                    <a:pt x="73053" y="7556"/>
                    <a:pt x="72998" y="7541"/>
                  </a:cubicBezTo>
                  <a:cubicBezTo>
                    <a:pt x="73038" y="7426"/>
                    <a:pt x="72946" y="7329"/>
                    <a:pt x="72846" y="7329"/>
                  </a:cubicBezTo>
                  <a:cubicBezTo>
                    <a:pt x="72808" y="7329"/>
                    <a:pt x="72769" y="7342"/>
                    <a:pt x="72735" y="7374"/>
                  </a:cubicBezTo>
                  <a:cubicBezTo>
                    <a:pt x="72706" y="7400"/>
                    <a:pt x="72680" y="7429"/>
                    <a:pt x="72651" y="7455"/>
                  </a:cubicBezTo>
                  <a:cubicBezTo>
                    <a:pt x="72267" y="7345"/>
                    <a:pt x="71892" y="7221"/>
                    <a:pt x="71479" y="7195"/>
                  </a:cubicBezTo>
                  <a:cubicBezTo>
                    <a:pt x="71452" y="7193"/>
                    <a:pt x="71426" y="7192"/>
                    <a:pt x="71399" y="7192"/>
                  </a:cubicBezTo>
                  <a:cubicBezTo>
                    <a:pt x="70626" y="7192"/>
                    <a:pt x="70229" y="7960"/>
                    <a:pt x="69984" y="8658"/>
                  </a:cubicBezTo>
                  <a:cubicBezTo>
                    <a:pt x="69951" y="8616"/>
                    <a:pt x="69901" y="8594"/>
                    <a:pt x="69851" y="8594"/>
                  </a:cubicBezTo>
                  <a:cubicBezTo>
                    <a:pt x="69813" y="8594"/>
                    <a:pt x="69775" y="8606"/>
                    <a:pt x="69744" y="8632"/>
                  </a:cubicBezTo>
                  <a:cubicBezTo>
                    <a:pt x="69715" y="8656"/>
                    <a:pt x="69692" y="8682"/>
                    <a:pt x="69663" y="8705"/>
                  </a:cubicBezTo>
                  <a:cubicBezTo>
                    <a:pt x="68719" y="6412"/>
                    <a:pt x="69741" y="4458"/>
                    <a:pt x="67131" y="2942"/>
                  </a:cubicBezTo>
                  <a:cubicBezTo>
                    <a:pt x="66996" y="2864"/>
                    <a:pt x="66857" y="2795"/>
                    <a:pt x="66716" y="2734"/>
                  </a:cubicBezTo>
                  <a:cubicBezTo>
                    <a:pt x="66701" y="2661"/>
                    <a:pt x="66630" y="2611"/>
                    <a:pt x="66552" y="2611"/>
                  </a:cubicBezTo>
                  <a:cubicBezTo>
                    <a:pt x="66520" y="2611"/>
                    <a:pt x="66486" y="2619"/>
                    <a:pt x="66456" y="2639"/>
                  </a:cubicBezTo>
                  <a:cubicBezTo>
                    <a:pt x="66096" y="2512"/>
                    <a:pt x="65727" y="2444"/>
                    <a:pt x="65367" y="2444"/>
                  </a:cubicBezTo>
                  <a:cubicBezTo>
                    <a:pt x="64654" y="2444"/>
                    <a:pt x="63976" y="2714"/>
                    <a:pt x="63474" y="3338"/>
                  </a:cubicBezTo>
                  <a:cubicBezTo>
                    <a:pt x="63416" y="3410"/>
                    <a:pt x="63333" y="3439"/>
                    <a:pt x="63234" y="3439"/>
                  </a:cubicBezTo>
                  <a:cubicBezTo>
                    <a:pt x="62844" y="3439"/>
                    <a:pt x="62216" y="2989"/>
                    <a:pt x="62016" y="2948"/>
                  </a:cubicBezTo>
                  <a:cubicBezTo>
                    <a:pt x="60699" y="2665"/>
                    <a:pt x="59345" y="2792"/>
                    <a:pt x="58294" y="2116"/>
                  </a:cubicBezTo>
                  <a:cubicBezTo>
                    <a:pt x="58361" y="1992"/>
                    <a:pt x="58439" y="1871"/>
                    <a:pt x="58505" y="1747"/>
                  </a:cubicBezTo>
                  <a:cubicBezTo>
                    <a:pt x="58567" y="1626"/>
                    <a:pt x="58464" y="1493"/>
                    <a:pt x="58354" y="1493"/>
                  </a:cubicBezTo>
                  <a:cubicBezTo>
                    <a:pt x="58317" y="1493"/>
                    <a:pt x="58278" y="1508"/>
                    <a:pt x="58245" y="1545"/>
                  </a:cubicBezTo>
                  <a:cubicBezTo>
                    <a:pt x="58150" y="1655"/>
                    <a:pt x="58058" y="1761"/>
                    <a:pt x="57962" y="1868"/>
                  </a:cubicBezTo>
                  <a:cubicBezTo>
                    <a:pt x="57665" y="1600"/>
                    <a:pt x="57419" y="1279"/>
                    <a:pt x="57238" y="921"/>
                  </a:cubicBezTo>
                  <a:cubicBezTo>
                    <a:pt x="56888" y="249"/>
                    <a:pt x="56486" y="1"/>
                    <a:pt x="560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65"/>
            <p:cNvSpPr/>
            <p:nvPr/>
          </p:nvSpPr>
          <p:spPr>
            <a:xfrm>
              <a:off x="3821825" y="993775"/>
              <a:ext cx="392800" cy="417775"/>
            </a:xfrm>
            <a:custGeom>
              <a:avLst/>
              <a:gdLst/>
              <a:ahLst/>
              <a:cxnLst/>
              <a:rect l="l" t="t" r="r" b="b"/>
              <a:pathLst>
                <a:path w="15712" h="16711" extrusionOk="0">
                  <a:moveTo>
                    <a:pt x="8892" y="351"/>
                  </a:moveTo>
                  <a:lnTo>
                    <a:pt x="8892" y="351"/>
                  </a:lnTo>
                  <a:cubicBezTo>
                    <a:pt x="8237" y="625"/>
                    <a:pt x="7645" y="1027"/>
                    <a:pt x="7149" y="1535"/>
                  </a:cubicBezTo>
                  <a:cubicBezTo>
                    <a:pt x="7154" y="1437"/>
                    <a:pt x="7160" y="1344"/>
                    <a:pt x="7160" y="1237"/>
                  </a:cubicBezTo>
                  <a:cubicBezTo>
                    <a:pt x="7160" y="1125"/>
                    <a:pt x="7081" y="1071"/>
                    <a:pt x="6996" y="1071"/>
                  </a:cubicBezTo>
                  <a:cubicBezTo>
                    <a:pt x="6959" y="1071"/>
                    <a:pt x="6921" y="1081"/>
                    <a:pt x="6889" y="1102"/>
                  </a:cubicBezTo>
                  <a:cubicBezTo>
                    <a:pt x="7342" y="588"/>
                    <a:pt x="8073" y="389"/>
                    <a:pt x="8892" y="351"/>
                  </a:cubicBezTo>
                  <a:close/>
                  <a:moveTo>
                    <a:pt x="3410" y="2629"/>
                  </a:moveTo>
                  <a:lnTo>
                    <a:pt x="3410" y="2629"/>
                  </a:lnTo>
                  <a:cubicBezTo>
                    <a:pt x="3408" y="2631"/>
                    <a:pt x="3407" y="2634"/>
                    <a:pt x="3405" y="2636"/>
                  </a:cubicBezTo>
                  <a:lnTo>
                    <a:pt x="3405" y="2636"/>
                  </a:lnTo>
                  <a:cubicBezTo>
                    <a:pt x="3407" y="2633"/>
                    <a:pt x="3408" y="2631"/>
                    <a:pt x="3410" y="2629"/>
                  </a:cubicBezTo>
                  <a:close/>
                  <a:moveTo>
                    <a:pt x="9943" y="377"/>
                  </a:moveTo>
                  <a:cubicBezTo>
                    <a:pt x="10304" y="409"/>
                    <a:pt x="10665" y="458"/>
                    <a:pt x="11020" y="513"/>
                  </a:cubicBezTo>
                  <a:cubicBezTo>
                    <a:pt x="9585" y="1705"/>
                    <a:pt x="7951" y="3050"/>
                    <a:pt x="6433" y="4471"/>
                  </a:cubicBezTo>
                  <a:cubicBezTo>
                    <a:pt x="6964" y="3908"/>
                    <a:pt x="7486" y="3336"/>
                    <a:pt x="7971" y="2739"/>
                  </a:cubicBezTo>
                  <a:cubicBezTo>
                    <a:pt x="8673" y="1988"/>
                    <a:pt x="9343" y="1211"/>
                    <a:pt x="9943" y="377"/>
                  </a:cubicBezTo>
                  <a:close/>
                  <a:moveTo>
                    <a:pt x="3407" y="2537"/>
                  </a:moveTo>
                  <a:lnTo>
                    <a:pt x="3407" y="2537"/>
                  </a:lnTo>
                  <a:cubicBezTo>
                    <a:pt x="2573" y="3564"/>
                    <a:pt x="1741" y="4586"/>
                    <a:pt x="994" y="5686"/>
                  </a:cubicBezTo>
                  <a:cubicBezTo>
                    <a:pt x="1074" y="5132"/>
                    <a:pt x="1251" y="4595"/>
                    <a:pt x="1516" y="4101"/>
                  </a:cubicBezTo>
                  <a:cubicBezTo>
                    <a:pt x="1935" y="3154"/>
                    <a:pt x="2625" y="2687"/>
                    <a:pt x="3407" y="2537"/>
                  </a:cubicBezTo>
                  <a:close/>
                  <a:moveTo>
                    <a:pt x="5038" y="2609"/>
                  </a:moveTo>
                  <a:cubicBezTo>
                    <a:pt x="5217" y="2652"/>
                    <a:pt x="5393" y="2704"/>
                    <a:pt x="5570" y="2765"/>
                  </a:cubicBezTo>
                  <a:cubicBezTo>
                    <a:pt x="4548" y="3841"/>
                    <a:pt x="3554" y="4938"/>
                    <a:pt x="2584" y="6062"/>
                  </a:cubicBezTo>
                  <a:cubicBezTo>
                    <a:pt x="3364" y="4881"/>
                    <a:pt x="4169" y="3726"/>
                    <a:pt x="5038" y="2609"/>
                  </a:cubicBezTo>
                  <a:close/>
                  <a:moveTo>
                    <a:pt x="4010" y="2481"/>
                  </a:moveTo>
                  <a:cubicBezTo>
                    <a:pt x="4220" y="2481"/>
                    <a:pt x="4431" y="2499"/>
                    <a:pt x="4640" y="2531"/>
                  </a:cubicBezTo>
                  <a:cubicBezTo>
                    <a:pt x="3427" y="3631"/>
                    <a:pt x="2394" y="4861"/>
                    <a:pt x="1375" y="6151"/>
                  </a:cubicBezTo>
                  <a:cubicBezTo>
                    <a:pt x="2232" y="5066"/>
                    <a:pt x="3032" y="3720"/>
                    <a:pt x="3849" y="2485"/>
                  </a:cubicBezTo>
                  <a:cubicBezTo>
                    <a:pt x="3902" y="2482"/>
                    <a:pt x="3956" y="2481"/>
                    <a:pt x="4010" y="2481"/>
                  </a:cubicBezTo>
                  <a:close/>
                  <a:moveTo>
                    <a:pt x="2656" y="3727"/>
                  </a:moveTo>
                  <a:cubicBezTo>
                    <a:pt x="2041" y="4656"/>
                    <a:pt x="1471" y="5609"/>
                    <a:pt x="959" y="6604"/>
                  </a:cubicBezTo>
                  <a:cubicBezTo>
                    <a:pt x="956" y="6500"/>
                    <a:pt x="953" y="6396"/>
                    <a:pt x="956" y="6293"/>
                  </a:cubicBezTo>
                  <a:lnTo>
                    <a:pt x="953" y="6293"/>
                  </a:lnTo>
                  <a:cubicBezTo>
                    <a:pt x="1022" y="6212"/>
                    <a:pt x="1089" y="6131"/>
                    <a:pt x="1155" y="6050"/>
                  </a:cubicBezTo>
                  <a:cubicBezTo>
                    <a:pt x="1210" y="5986"/>
                    <a:pt x="1153" y="5901"/>
                    <a:pt x="1091" y="5901"/>
                  </a:cubicBezTo>
                  <a:cubicBezTo>
                    <a:pt x="1071" y="5901"/>
                    <a:pt x="1051" y="5909"/>
                    <a:pt x="1034" y="5929"/>
                  </a:cubicBezTo>
                  <a:cubicBezTo>
                    <a:pt x="1522" y="5359"/>
                    <a:pt x="2147" y="4469"/>
                    <a:pt x="2656" y="3727"/>
                  </a:cubicBezTo>
                  <a:close/>
                  <a:moveTo>
                    <a:pt x="4328" y="3022"/>
                  </a:moveTo>
                  <a:lnTo>
                    <a:pt x="4328" y="3022"/>
                  </a:lnTo>
                  <a:cubicBezTo>
                    <a:pt x="3176" y="4486"/>
                    <a:pt x="2192" y="6085"/>
                    <a:pt x="1170" y="7644"/>
                  </a:cubicBezTo>
                  <a:cubicBezTo>
                    <a:pt x="1124" y="7528"/>
                    <a:pt x="1080" y="7410"/>
                    <a:pt x="1031" y="7294"/>
                  </a:cubicBezTo>
                  <a:cubicBezTo>
                    <a:pt x="1017" y="7213"/>
                    <a:pt x="1017" y="7136"/>
                    <a:pt x="1005" y="7055"/>
                  </a:cubicBezTo>
                  <a:cubicBezTo>
                    <a:pt x="1017" y="7049"/>
                    <a:pt x="1028" y="7049"/>
                    <a:pt x="1040" y="7037"/>
                  </a:cubicBezTo>
                  <a:cubicBezTo>
                    <a:pt x="2065" y="5750"/>
                    <a:pt x="3560" y="3998"/>
                    <a:pt x="4328" y="3022"/>
                  </a:cubicBezTo>
                  <a:close/>
                  <a:moveTo>
                    <a:pt x="8566" y="1428"/>
                  </a:moveTo>
                  <a:lnTo>
                    <a:pt x="8566" y="1428"/>
                  </a:lnTo>
                  <a:cubicBezTo>
                    <a:pt x="7948" y="2337"/>
                    <a:pt x="7186" y="3160"/>
                    <a:pt x="6444" y="3963"/>
                  </a:cubicBezTo>
                  <a:cubicBezTo>
                    <a:pt x="5136" y="5383"/>
                    <a:pt x="3719" y="6702"/>
                    <a:pt x="2420" y="8134"/>
                  </a:cubicBezTo>
                  <a:cubicBezTo>
                    <a:pt x="3551" y="6887"/>
                    <a:pt x="4588" y="5343"/>
                    <a:pt x="5561" y="3792"/>
                  </a:cubicBezTo>
                  <a:lnTo>
                    <a:pt x="5561" y="3792"/>
                  </a:lnTo>
                  <a:cubicBezTo>
                    <a:pt x="5549" y="3815"/>
                    <a:pt x="5535" y="3839"/>
                    <a:pt x="5523" y="3862"/>
                  </a:cubicBezTo>
                  <a:cubicBezTo>
                    <a:pt x="5457" y="3982"/>
                    <a:pt x="5557" y="4107"/>
                    <a:pt x="5668" y="4107"/>
                  </a:cubicBezTo>
                  <a:cubicBezTo>
                    <a:pt x="5706" y="4107"/>
                    <a:pt x="5746" y="4093"/>
                    <a:pt x="5780" y="4058"/>
                  </a:cubicBezTo>
                  <a:cubicBezTo>
                    <a:pt x="6681" y="3160"/>
                    <a:pt x="7590" y="2277"/>
                    <a:pt x="8543" y="1431"/>
                  </a:cubicBezTo>
                  <a:cubicBezTo>
                    <a:pt x="8552" y="1431"/>
                    <a:pt x="8558" y="1431"/>
                    <a:pt x="8566" y="1428"/>
                  </a:cubicBezTo>
                  <a:close/>
                  <a:moveTo>
                    <a:pt x="10618" y="1071"/>
                  </a:moveTo>
                  <a:cubicBezTo>
                    <a:pt x="10624" y="1071"/>
                    <a:pt x="10465" y="1255"/>
                    <a:pt x="10030" y="1751"/>
                  </a:cubicBezTo>
                  <a:cubicBezTo>
                    <a:pt x="7507" y="4630"/>
                    <a:pt x="4475" y="6962"/>
                    <a:pt x="2131" y="10005"/>
                  </a:cubicBezTo>
                  <a:cubicBezTo>
                    <a:pt x="1851" y="9344"/>
                    <a:pt x="1583" y="8680"/>
                    <a:pt x="1320" y="8013"/>
                  </a:cubicBezTo>
                  <a:lnTo>
                    <a:pt x="1317" y="8013"/>
                  </a:lnTo>
                  <a:cubicBezTo>
                    <a:pt x="2798" y="6269"/>
                    <a:pt x="4288" y="4540"/>
                    <a:pt x="5858" y="2880"/>
                  </a:cubicBezTo>
                  <a:lnTo>
                    <a:pt x="5858" y="2880"/>
                  </a:lnTo>
                  <a:cubicBezTo>
                    <a:pt x="4380" y="4445"/>
                    <a:pt x="3130" y="6855"/>
                    <a:pt x="1900" y="8744"/>
                  </a:cubicBezTo>
                  <a:cubicBezTo>
                    <a:pt x="1825" y="8857"/>
                    <a:pt x="1934" y="8981"/>
                    <a:pt x="2045" y="8981"/>
                  </a:cubicBezTo>
                  <a:cubicBezTo>
                    <a:pt x="2075" y="8981"/>
                    <a:pt x="2105" y="8972"/>
                    <a:pt x="2131" y="8951"/>
                  </a:cubicBezTo>
                  <a:lnTo>
                    <a:pt x="2131" y="8951"/>
                  </a:lnTo>
                  <a:cubicBezTo>
                    <a:pt x="2105" y="8989"/>
                    <a:pt x="2079" y="9021"/>
                    <a:pt x="2053" y="9058"/>
                  </a:cubicBezTo>
                  <a:cubicBezTo>
                    <a:pt x="1971" y="9180"/>
                    <a:pt x="2084" y="9301"/>
                    <a:pt x="2203" y="9301"/>
                  </a:cubicBezTo>
                  <a:cubicBezTo>
                    <a:pt x="2242" y="9301"/>
                    <a:pt x="2282" y="9288"/>
                    <a:pt x="2316" y="9257"/>
                  </a:cubicBezTo>
                  <a:cubicBezTo>
                    <a:pt x="3982" y="7733"/>
                    <a:pt x="5570" y="6128"/>
                    <a:pt x="7169" y="4531"/>
                  </a:cubicBezTo>
                  <a:cubicBezTo>
                    <a:pt x="7853" y="3847"/>
                    <a:pt x="8549" y="3180"/>
                    <a:pt x="9253" y="2519"/>
                  </a:cubicBezTo>
                  <a:cubicBezTo>
                    <a:pt x="9525" y="2264"/>
                    <a:pt x="10604" y="1071"/>
                    <a:pt x="10618" y="1071"/>
                  </a:cubicBezTo>
                  <a:close/>
                  <a:moveTo>
                    <a:pt x="11465" y="588"/>
                  </a:moveTo>
                  <a:cubicBezTo>
                    <a:pt x="12097" y="700"/>
                    <a:pt x="12683" y="822"/>
                    <a:pt x="13128" y="885"/>
                  </a:cubicBezTo>
                  <a:cubicBezTo>
                    <a:pt x="13691" y="966"/>
                    <a:pt x="15446" y="764"/>
                    <a:pt x="15258" y="1460"/>
                  </a:cubicBezTo>
                  <a:cubicBezTo>
                    <a:pt x="14987" y="2441"/>
                    <a:pt x="13792" y="3076"/>
                    <a:pt x="12983" y="3544"/>
                  </a:cubicBezTo>
                  <a:cubicBezTo>
                    <a:pt x="12221" y="3986"/>
                    <a:pt x="10913" y="4595"/>
                    <a:pt x="10059" y="5311"/>
                  </a:cubicBezTo>
                  <a:cubicBezTo>
                    <a:pt x="10382" y="5014"/>
                    <a:pt x="10697" y="4705"/>
                    <a:pt x="11032" y="4413"/>
                  </a:cubicBezTo>
                  <a:cubicBezTo>
                    <a:pt x="11421" y="4070"/>
                    <a:pt x="11823" y="3738"/>
                    <a:pt x="12224" y="3408"/>
                  </a:cubicBezTo>
                  <a:lnTo>
                    <a:pt x="12224" y="3408"/>
                  </a:lnTo>
                  <a:cubicBezTo>
                    <a:pt x="12201" y="3440"/>
                    <a:pt x="12172" y="3466"/>
                    <a:pt x="12149" y="3498"/>
                  </a:cubicBezTo>
                  <a:cubicBezTo>
                    <a:pt x="12055" y="3620"/>
                    <a:pt x="12138" y="3816"/>
                    <a:pt x="12273" y="3816"/>
                  </a:cubicBezTo>
                  <a:cubicBezTo>
                    <a:pt x="12304" y="3816"/>
                    <a:pt x="12337" y="3806"/>
                    <a:pt x="12371" y="3784"/>
                  </a:cubicBezTo>
                  <a:cubicBezTo>
                    <a:pt x="13200" y="3229"/>
                    <a:pt x="13913" y="2655"/>
                    <a:pt x="14482" y="1829"/>
                  </a:cubicBezTo>
                  <a:cubicBezTo>
                    <a:pt x="14577" y="1694"/>
                    <a:pt x="14451" y="1564"/>
                    <a:pt x="14321" y="1564"/>
                  </a:cubicBezTo>
                  <a:cubicBezTo>
                    <a:pt x="14266" y="1564"/>
                    <a:pt x="14210" y="1587"/>
                    <a:pt x="14170" y="1644"/>
                  </a:cubicBezTo>
                  <a:lnTo>
                    <a:pt x="14161" y="1656"/>
                  </a:lnTo>
                  <a:cubicBezTo>
                    <a:pt x="14125" y="1603"/>
                    <a:pt x="14063" y="1565"/>
                    <a:pt x="13998" y="1565"/>
                  </a:cubicBezTo>
                  <a:cubicBezTo>
                    <a:pt x="13960" y="1565"/>
                    <a:pt x="13921" y="1577"/>
                    <a:pt x="13884" y="1607"/>
                  </a:cubicBezTo>
                  <a:cubicBezTo>
                    <a:pt x="12868" y="2418"/>
                    <a:pt x="11863" y="3235"/>
                    <a:pt x="10884" y="4081"/>
                  </a:cubicBezTo>
                  <a:cubicBezTo>
                    <a:pt x="11719" y="3195"/>
                    <a:pt x="12550" y="2308"/>
                    <a:pt x="13353" y="1393"/>
                  </a:cubicBezTo>
                  <a:cubicBezTo>
                    <a:pt x="13478" y="1259"/>
                    <a:pt x="13358" y="1082"/>
                    <a:pt x="13217" y="1082"/>
                  </a:cubicBezTo>
                  <a:cubicBezTo>
                    <a:pt x="13175" y="1082"/>
                    <a:pt x="13132" y="1097"/>
                    <a:pt x="13093" y="1133"/>
                  </a:cubicBezTo>
                  <a:cubicBezTo>
                    <a:pt x="9577" y="4127"/>
                    <a:pt x="6453" y="7528"/>
                    <a:pt x="3107" y="10707"/>
                  </a:cubicBezTo>
                  <a:cubicBezTo>
                    <a:pt x="4389" y="9488"/>
                    <a:pt x="5953" y="7358"/>
                    <a:pt x="7400" y="5859"/>
                  </a:cubicBezTo>
                  <a:cubicBezTo>
                    <a:pt x="8924" y="4280"/>
                    <a:pt x="10535" y="2779"/>
                    <a:pt x="12091" y="1234"/>
                  </a:cubicBezTo>
                  <a:cubicBezTo>
                    <a:pt x="12218" y="1107"/>
                    <a:pt x="12099" y="932"/>
                    <a:pt x="11961" y="932"/>
                  </a:cubicBezTo>
                  <a:cubicBezTo>
                    <a:pt x="11920" y="932"/>
                    <a:pt x="11878" y="947"/>
                    <a:pt x="11840" y="983"/>
                  </a:cubicBezTo>
                  <a:cubicBezTo>
                    <a:pt x="11603" y="1200"/>
                    <a:pt x="11378" y="1428"/>
                    <a:pt x="11147" y="1647"/>
                  </a:cubicBezTo>
                  <a:cubicBezTo>
                    <a:pt x="11123" y="1641"/>
                    <a:pt x="11099" y="1638"/>
                    <a:pt x="11075" y="1638"/>
                  </a:cubicBezTo>
                  <a:cubicBezTo>
                    <a:pt x="10883" y="1638"/>
                    <a:pt x="10705" y="1835"/>
                    <a:pt x="10535" y="2233"/>
                  </a:cubicBezTo>
                  <a:cubicBezTo>
                    <a:pt x="8145" y="4552"/>
                    <a:pt x="5867" y="6985"/>
                    <a:pt x="3335" y="9159"/>
                  </a:cubicBezTo>
                  <a:cubicBezTo>
                    <a:pt x="4573" y="8094"/>
                    <a:pt x="5809" y="6408"/>
                    <a:pt x="7082" y="5195"/>
                  </a:cubicBezTo>
                  <a:cubicBezTo>
                    <a:pt x="8621" y="3729"/>
                    <a:pt x="10117" y="2251"/>
                    <a:pt x="11459" y="602"/>
                  </a:cubicBezTo>
                  <a:cubicBezTo>
                    <a:pt x="11462" y="596"/>
                    <a:pt x="11459" y="591"/>
                    <a:pt x="11465" y="588"/>
                  </a:cubicBezTo>
                  <a:close/>
                  <a:moveTo>
                    <a:pt x="8791" y="9180"/>
                  </a:moveTo>
                  <a:cubicBezTo>
                    <a:pt x="8431" y="9653"/>
                    <a:pt x="8061" y="10124"/>
                    <a:pt x="7686" y="10588"/>
                  </a:cubicBezTo>
                  <a:cubicBezTo>
                    <a:pt x="7670" y="10576"/>
                    <a:pt x="7650" y="10569"/>
                    <a:pt x="7630" y="10569"/>
                  </a:cubicBezTo>
                  <a:cubicBezTo>
                    <a:pt x="7618" y="10569"/>
                    <a:pt x="7605" y="10571"/>
                    <a:pt x="7593" y="10577"/>
                  </a:cubicBezTo>
                  <a:cubicBezTo>
                    <a:pt x="7480" y="10628"/>
                    <a:pt x="7376" y="10680"/>
                    <a:pt x="7280" y="10732"/>
                  </a:cubicBezTo>
                  <a:lnTo>
                    <a:pt x="7280" y="10732"/>
                  </a:lnTo>
                  <a:cubicBezTo>
                    <a:pt x="7288" y="10718"/>
                    <a:pt x="7287" y="10701"/>
                    <a:pt x="7270" y="10687"/>
                  </a:cubicBezTo>
                  <a:cubicBezTo>
                    <a:pt x="7128" y="10562"/>
                    <a:pt x="8047" y="9780"/>
                    <a:pt x="8791" y="9180"/>
                  </a:cubicBezTo>
                  <a:close/>
                  <a:moveTo>
                    <a:pt x="4319" y="8741"/>
                  </a:moveTo>
                  <a:lnTo>
                    <a:pt x="4319" y="8741"/>
                  </a:lnTo>
                  <a:cubicBezTo>
                    <a:pt x="3705" y="9503"/>
                    <a:pt x="3124" y="10294"/>
                    <a:pt x="2570" y="11108"/>
                  </a:cubicBezTo>
                  <a:cubicBezTo>
                    <a:pt x="2495" y="10900"/>
                    <a:pt x="2423" y="10692"/>
                    <a:pt x="2327" y="10479"/>
                  </a:cubicBezTo>
                  <a:cubicBezTo>
                    <a:pt x="2319" y="10458"/>
                    <a:pt x="2313" y="10438"/>
                    <a:pt x="2304" y="10418"/>
                  </a:cubicBezTo>
                  <a:cubicBezTo>
                    <a:pt x="2994" y="9881"/>
                    <a:pt x="3664" y="9318"/>
                    <a:pt x="4319" y="8741"/>
                  </a:cubicBezTo>
                  <a:close/>
                  <a:moveTo>
                    <a:pt x="9577" y="9777"/>
                  </a:moveTo>
                  <a:cubicBezTo>
                    <a:pt x="9118" y="10343"/>
                    <a:pt x="8667" y="10915"/>
                    <a:pt x="8214" y="11483"/>
                  </a:cubicBezTo>
                  <a:cubicBezTo>
                    <a:pt x="8078" y="11339"/>
                    <a:pt x="7925" y="11212"/>
                    <a:pt x="7755" y="11108"/>
                  </a:cubicBezTo>
                  <a:cubicBezTo>
                    <a:pt x="8399" y="10713"/>
                    <a:pt x="8991" y="10251"/>
                    <a:pt x="9577" y="9777"/>
                  </a:cubicBezTo>
                  <a:close/>
                  <a:moveTo>
                    <a:pt x="10353" y="10473"/>
                  </a:moveTo>
                  <a:lnTo>
                    <a:pt x="10353" y="10473"/>
                  </a:lnTo>
                  <a:cubicBezTo>
                    <a:pt x="9903" y="11180"/>
                    <a:pt x="9435" y="11876"/>
                    <a:pt x="8947" y="12560"/>
                  </a:cubicBezTo>
                  <a:cubicBezTo>
                    <a:pt x="8826" y="12355"/>
                    <a:pt x="8705" y="12147"/>
                    <a:pt x="8575" y="11954"/>
                  </a:cubicBezTo>
                  <a:cubicBezTo>
                    <a:pt x="9152" y="11440"/>
                    <a:pt x="9735" y="10938"/>
                    <a:pt x="10353" y="10473"/>
                  </a:cubicBezTo>
                  <a:close/>
                  <a:moveTo>
                    <a:pt x="10633" y="3830"/>
                  </a:moveTo>
                  <a:lnTo>
                    <a:pt x="10633" y="3830"/>
                  </a:lnTo>
                  <a:cubicBezTo>
                    <a:pt x="9484" y="5060"/>
                    <a:pt x="8332" y="6284"/>
                    <a:pt x="7267" y="7595"/>
                  </a:cubicBezTo>
                  <a:cubicBezTo>
                    <a:pt x="7215" y="7661"/>
                    <a:pt x="7212" y="7753"/>
                    <a:pt x="7264" y="7820"/>
                  </a:cubicBezTo>
                  <a:cubicBezTo>
                    <a:pt x="5751" y="9171"/>
                    <a:pt x="4293" y="10571"/>
                    <a:pt x="2934" y="12081"/>
                  </a:cubicBezTo>
                  <a:cubicBezTo>
                    <a:pt x="2885" y="12136"/>
                    <a:pt x="2933" y="12211"/>
                    <a:pt x="2988" y="12211"/>
                  </a:cubicBezTo>
                  <a:cubicBezTo>
                    <a:pt x="3005" y="12211"/>
                    <a:pt x="3022" y="12204"/>
                    <a:pt x="3038" y="12188"/>
                  </a:cubicBezTo>
                  <a:cubicBezTo>
                    <a:pt x="3782" y="11403"/>
                    <a:pt x="4533" y="10623"/>
                    <a:pt x="5301" y="9864"/>
                  </a:cubicBezTo>
                  <a:cubicBezTo>
                    <a:pt x="5999" y="9171"/>
                    <a:pt x="7212" y="8356"/>
                    <a:pt x="7705" y="7745"/>
                  </a:cubicBezTo>
                  <a:lnTo>
                    <a:pt x="7705" y="7745"/>
                  </a:lnTo>
                  <a:cubicBezTo>
                    <a:pt x="6263" y="9543"/>
                    <a:pt x="4606" y="11160"/>
                    <a:pt x="3069" y="12878"/>
                  </a:cubicBezTo>
                  <a:cubicBezTo>
                    <a:pt x="2965" y="12433"/>
                    <a:pt x="2859" y="11994"/>
                    <a:pt x="2723" y="11556"/>
                  </a:cubicBezTo>
                  <a:cubicBezTo>
                    <a:pt x="5353" y="9113"/>
                    <a:pt x="7827" y="6515"/>
                    <a:pt x="10417" y="4029"/>
                  </a:cubicBezTo>
                  <a:cubicBezTo>
                    <a:pt x="10489" y="3963"/>
                    <a:pt x="10564" y="3899"/>
                    <a:pt x="10633" y="3830"/>
                  </a:cubicBezTo>
                  <a:close/>
                  <a:moveTo>
                    <a:pt x="6684" y="9999"/>
                  </a:moveTo>
                  <a:lnTo>
                    <a:pt x="6684" y="9999"/>
                  </a:lnTo>
                  <a:cubicBezTo>
                    <a:pt x="5477" y="11221"/>
                    <a:pt x="4340" y="12505"/>
                    <a:pt x="3309" y="13882"/>
                  </a:cubicBezTo>
                  <a:cubicBezTo>
                    <a:pt x="3260" y="13683"/>
                    <a:pt x="3217" y="13493"/>
                    <a:pt x="3170" y="13299"/>
                  </a:cubicBezTo>
                  <a:cubicBezTo>
                    <a:pt x="3973" y="12497"/>
                    <a:pt x="4781" y="11703"/>
                    <a:pt x="5613" y="10929"/>
                  </a:cubicBezTo>
                  <a:cubicBezTo>
                    <a:pt x="5959" y="10609"/>
                    <a:pt x="6323" y="10303"/>
                    <a:pt x="6684" y="9999"/>
                  </a:cubicBezTo>
                  <a:close/>
                  <a:moveTo>
                    <a:pt x="10867" y="8683"/>
                  </a:moveTo>
                  <a:cubicBezTo>
                    <a:pt x="11947" y="9413"/>
                    <a:pt x="12602" y="10542"/>
                    <a:pt x="12403" y="11885"/>
                  </a:cubicBezTo>
                  <a:cubicBezTo>
                    <a:pt x="12295" y="12613"/>
                    <a:pt x="11454" y="14017"/>
                    <a:pt x="10547" y="14017"/>
                  </a:cubicBezTo>
                  <a:cubicBezTo>
                    <a:pt x="10408" y="14017"/>
                    <a:pt x="10268" y="13984"/>
                    <a:pt x="10128" y="13911"/>
                  </a:cubicBezTo>
                  <a:cubicBezTo>
                    <a:pt x="9730" y="13701"/>
                    <a:pt x="9447" y="13343"/>
                    <a:pt x="9190" y="12950"/>
                  </a:cubicBezTo>
                  <a:cubicBezTo>
                    <a:pt x="9675" y="12396"/>
                    <a:pt x="10189" y="11870"/>
                    <a:pt x="10729" y="11374"/>
                  </a:cubicBezTo>
                  <a:lnTo>
                    <a:pt x="10729" y="11374"/>
                  </a:lnTo>
                  <a:cubicBezTo>
                    <a:pt x="10411" y="11925"/>
                    <a:pt x="10030" y="12433"/>
                    <a:pt x="9623" y="12944"/>
                  </a:cubicBezTo>
                  <a:cubicBezTo>
                    <a:pt x="9505" y="13091"/>
                    <a:pt x="9615" y="13269"/>
                    <a:pt x="9760" y="13269"/>
                  </a:cubicBezTo>
                  <a:cubicBezTo>
                    <a:pt x="9803" y="13269"/>
                    <a:pt x="9850" y="13253"/>
                    <a:pt x="9894" y="13216"/>
                  </a:cubicBezTo>
                  <a:cubicBezTo>
                    <a:pt x="10362" y="12820"/>
                    <a:pt x="10798" y="12393"/>
                    <a:pt x="11237" y="11968"/>
                  </a:cubicBezTo>
                  <a:lnTo>
                    <a:pt x="11237" y="11968"/>
                  </a:lnTo>
                  <a:cubicBezTo>
                    <a:pt x="11026" y="12373"/>
                    <a:pt x="10795" y="12762"/>
                    <a:pt x="10538" y="13140"/>
                  </a:cubicBezTo>
                  <a:cubicBezTo>
                    <a:pt x="10469" y="13295"/>
                    <a:pt x="10583" y="13425"/>
                    <a:pt x="10708" y="13425"/>
                  </a:cubicBezTo>
                  <a:cubicBezTo>
                    <a:pt x="10765" y="13425"/>
                    <a:pt x="10825" y="13398"/>
                    <a:pt x="10870" y="13334"/>
                  </a:cubicBezTo>
                  <a:cubicBezTo>
                    <a:pt x="11058" y="12915"/>
                    <a:pt x="11384" y="12595"/>
                    <a:pt x="11641" y="12222"/>
                  </a:cubicBezTo>
                  <a:cubicBezTo>
                    <a:pt x="11681" y="12162"/>
                    <a:pt x="11664" y="12101"/>
                    <a:pt x="11629" y="12052"/>
                  </a:cubicBezTo>
                  <a:cubicBezTo>
                    <a:pt x="11794" y="11743"/>
                    <a:pt x="11956" y="11431"/>
                    <a:pt x="12129" y="11128"/>
                  </a:cubicBezTo>
                  <a:cubicBezTo>
                    <a:pt x="12215" y="10979"/>
                    <a:pt x="12094" y="10846"/>
                    <a:pt x="11960" y="10846"/>
                  </a:cubicBezTo>
                  <a:cubicBezTo>
                    <a:pt x="11915" y="10846"/>
                    <a:pt x="11869" y="10860"/>
                    <a:pt x="11829" y="10894"/>
                  </a:cubicBezTo>
                  <a:cubicBezTo>
                    <a:pt x="11534" y="11140"/>
                    <a:pt x="11263" y="11408"/>
                    <a:pt x="10988" y="11674"/>
                  </a:cubicBezTo>
                  <a:cubicBezTo>
                    <a:pt x="11196" y="11336"/>
                    <a:pt x="11375" y="10981"/>
                    <a:pt x="11520" y="10609"/>
                  </a:cubicBezTo>
                  <a:cubicBezTo>
                    <a:pt x="11571" y="10468"/>
                    <a:pt x="11454" y="10377"/>
                    <a:pt x="11334" y="10377"/>
                  </a:cubicBezTo>
                  <a:cubicBezTo>
                    <a:pt x="11286" y="10377"/>
                    <a:pt x="11237" y="10392"/>
                    <a:pt x="11199" y="10424"/>
                  </a:cubicBezTo>
                  <a:cubicBezTo>
                    <a:pt x="10890" y="10687"/>
                    <a:pt x="10599" y="10967"/>
                    <a:pt x="10307" y="11247"/>
                  </a:cubicBezTo>
                  <a:cubicBezTo>
                    <a:pt x="10607" y="10790"/>
                    <a:pt x="10905" y="10337"/>
                    <a:pt x="11182" y="9864"/>
                  </a:cubicBezTo>
                  <a:cubicBezTo>
                    <a:pt x="11254" y="9738"/>
                    <a:pt x="11148" y="9580"/>
                    <a:pt x="11019" y="9580"/>
                  </a:cubicBezTo>
                  <a:cubicBezTo>
                    <a:pt x="10988" y="9580"/>
                    <a:pt x="10956" y="9589"/>
                    <a:pt x="10925" y="9610"/>
                  </a:cubicBezTo>
                  <a:cubicBezTo>
                    <a:pt x="10229" y="10063"/>
                    <a:pt x="9588" y="10585"/>
                    <a:pt x="8962" y="11125"/>
                  </a:cubicBezTo>
                  <a:cubicBezTo>
                    <a:pt x="9588" y="10352"/>
                    <a:pt x="10218" y="9581"/>
                    <a:pt x="10833" y="8796"/>
                  </a:cubicBezTo>
                  <a:cubicBezTo>
                    <a:pt x="10856" y="8764"/>
                    <a:pt x="10867" y="8723"/>
                    <a:pt x="10867" y="8683"/>
                  </a:cubicBezTo>
                  <a:close/>
                  <a:moveTo>
                    <a:pt x="5015" y="12629"/>
                  </a:moveTo>
                  <a:lnTo>
                    <a:pt x="5015" y="12629"/>
                  </a:lnTo>
                  <a:cubicBezTo>
                    <a:pt x="4957" y="12716"/>
                    <a:pt x="4897" y="12800"/>
                    <a:pt x="4839" y="12886"/>
                  </a:cubicBezTo>
                  <a:cubicBezTo>
                    <a:pt x="4392" y="13556"/>
                    <a:pt x="3990" y="14258"/>
                    <a:pt x="3595" y="14959"/>
                  </a:cubicBezTo>
                  <a:cubicBezTo>
                    <a:pt x="3523" y="14743"/>
                    <a:pt x="3465" y="14526"/>
                    <a:pt x="3413" y="14315"/>
                  </a:cubicBezTo>
                  <a:cubicBezTo>
                    <a:pt x="3419" y="14310"/>
                    <a:pt x="3424" y="14313"/>
                    <a:pt x="3427" y="14310"/>
                  </a:cubicBezTo>
                  <a:cubicBezTo>
                    <a:pt x="3961" y="13753"/>
                    <a:pt x="4481" y="13184"/>
                    <a:pt x="5015" y="12629"/>
                  </a:cubicBezTo>
                  <a:close/>
                  <a:moveTo>
                    <a:pt x="5870" y="13285"/>
                  </a:moveTo>
                  <a:cubicBezTo>
                    <a:pt x="5344" y="13811"/>
                    <a:pt x="4579" y="14881"/>
                    <a:pt x="3961" y="15629"/>
                  </a:cubicBezTo>
                  <a:cubicBezTo>
                    <a:pt x="3950" y="15646"/>
                    <a:pt x="3941" y="15669"/>
                    <a:pt x="3938" y="15693"/>
                  </a:cubicBezTo>
                  <a:cubicBezTo>
                    <a:pt x="3872" y="15594"/>
                    <a:pt x="3814" y="15493"/>
                    <a:pt x="3765" y="15389"/>
                  </a:cubicBezTo>
                  <a:lnTo>
                    <a:pt x="5870" y="13285"/>
                  </a:lnTo>
                  <a:close/>
                  <a:moveTo>
                    <a:pt x="6280" y="12880"/>
                  </a:moveTo>
                  <a:cubicBezTo>
                    <a:pt x="6336" y="13421"/>
                    <a:pt x="6491" y="14002"/>
                    <a:pt x="6545" y="14443"/>
                  </a:cubicBezTo>
                  <a:cubicBezTo>
                    <a:pt x="6504" y="15465"/>
                    <a:pt x="6056" y="15969"/>
                    <a:pt x="5209" y="15969"/>
                  </a:cubicBezTo>
                  <a:cubicBezTo>
                    <a:pt x="5179" y="15969"/>
                    <a:pt x="5148" y="15968"/>
                    <a:pt x="5116" y="15967"/>
                  </a:cubicBezTo>
                  <a:cubicBezTo>
                    <a:pt x="5512" y="15404"/>
                    <a:pt x="5893" y="14832"/>
                    <a:pt x="6291" y="14272"/>
                  </a:cubicBezTo>
                  <a:cubicBezTo>
                    <a:pt x="6382" y="14146"/>
                    <a:pt x="6253" y="13999"/>
                    <a:pt x="6126" y="13999"/>
                  </a:cubicBezTo>
                  <a:cubicBezTo>
                    <a:pt x="6084" y="13999"/>
                    <a:pt x="6042" y="14015"/>
                    <a:pt x="6008" y="14053"/>
                  </a:cubicBezTo>
                  <a:cubicBezTo>
                    <a:pt x="5705" y="14437"/>
                    <a:pt x="5339" y="14766"/>
                    <a:pt x="4923" y="15023"/>
                  </a:cubicBezTo>
                  <a:lnTo>
                    <a:pt x="4897" y="15043"/>
                  </a:lnTo>
                  <a:cubicBezTo>
                    <a:pt x="4929" y="15005"/>
                    <a:pt x="4960" y="14974"/>
                    <a:pt x="4992" y="14933"/>
                  </a:cubicBezTo>
                  <a:cubicBezTo>
                    <a:pt x="5496" y="14300"/>
                    <a:pt x="5928" y="13611"/>
                    <a:pt x="6280" y="12880"/>
                  </a:cubicBezTo>
                  <a:close/>
                  <a:moveTo>
                    <a:pt x="9420" y="0"/>
                  </a:moveTo>
                  <a:cubicBezTo>
                    <a:pt x="7823" y="0"/>
                    <a:pt x="6529" y="434"/>
                    <a:pt x="6309" y="1979"/>
                  </a:cubicBezTo>
                  <a:cubicBezTo>
                    <a:pt x="6228" y="2063"/>
                    <a:pt x="6150" y="2150"/>
                    <a:pt x="6069" y="2236"/>
                  </a:cubicBezTo>
                  <a:cubicBezTo>
                    <a:pt x="5885" y="2286"/>
                    <a:pt x="5680" y="2307"/>
                    <a:pt x="5460" y="2307"/>
                  </a:cubicBezTo>
                  <a:cubicBezTo>
                    <a:pt x="5359" y="2307"/>
                    <a:pt x="5255" y="2302"/>
                    <a:pt x="5148" y="2294"/>
                  </a:cubicBezTo>
                  <a:cubicBezTo>
                    <a:pt x="5123" y="2248"/>
                    <a:pt x="5077" y="2223"/>
                    <a:pt x="5029" y="2223"/>
                  </a:cubicBezTo>
                  <a:cubicBezTo>
                    <a:pt x="4994" y="2223"/>
                    <a:pt x="4959" y="2237"/>
                    <a:pt x="4931" y="2265"/>
                  </a:cubicBezTo>
                  <a:cubicBezTo>
                    <a:pt x="4926" y="2268"/>
                    <a:pt x="4923" y="2271"/>
                    <a:pt x="4920" y="2274"/>
                  </a:cubicBezTo>
                  <a:cubicBezTo>
                    <a:pt x="4628" y="2242"/>
                    <a:pt x="4337" y="2207"/>
                    <a:pt x="4060" y="2176"/>
                  </a:cubicBezTo>
                  <a:cubicBezTo>
                    <a:pt x="4106" y="2106"/>
                    <a:pt x="4152" y="2031"/>
                    <a:pt x="4204" y="1959"/>
                  </a:cubicBezTo>
                  <a:cubicBezTo>
                    <a:pt x="4265" y="1870"/>
                    <a:pt x="4171" y="1763"/>
                    <a:pt x="4082" y="1763"/>
                  </a:cubicBezTo>
                  <a:cubicBezTo>
                    <a:pt x="4053" y="1763"/>
                    <a:pt x="4024" y="1775"/>
                    <a:pt x="4002" y="1803"/>
                  </a:cubicBezTo>
                  <a:cubicBezTo>
                    <a:pt x="3909" y="1919"/>
                    <a:pt x="3817" y="2034"/>
                    <a:pt x="3725" y="2147"/>
                  </a:cubicBezTo>
                  <a:cubicBezTo>
                    <a:pt x="3644" y="2143"/>
                    <a:pt x="3566" y="2140"/>
                    <a:pt x="3491" y="2140"/>
                  </a:cubicBezTo>
                  <a:cubicBezTo>
                    <a:pt x="3350" y="2140"/>
                    <a:pt x="3220" y="2149"/>
                    <a:pt x="3107" y="2176"/>
                  </a:cubicBezTo>
                  <a:cubicBezTo>
                    <a:pt x="1981" y="2435"/>
                    <a:pt x="1326" y="3619"/>
                    <a:pt x="907" y="4566"/>
                  </a:cubicBezTo>
                  <a:cubicBezTo>
                    <a:pt x="0" y="6625"/>
                    <a:pt x="1025" y="8466"/>
                    <a:pt x="1886" y="10334"/>
                  </a:cubicBezTo>
                  <a:cubicBezTo>
                    <a:pt x="1842" y="10424"/>
                    <a:pt x="1900" y="10522"/>
                    <a:pt x="1987" y="10562"/>
                  </a:cubicBezTo>
                  <a:cubicBezTo>
                    <a:pt x="2120" y="10854"/>
                    <a:pt x="2244" y="11148"/>
                    <a:pt x="2353" y="11446"/>
                  </a:cubicBezTo>
                  <a:cubicBezTo>
                    <a:pt x="2319" y="11521"/>
                    <a:pt x="2350" y="11610"/>
                    <a:pt x="2426" y="11648"/>
                  </a:cubicBezTo>
                  <a:cubicBezTo>
                    <a:pt x="2564" y="12029"/>
                    <a:pt x="2668" y="12422"/>
                    <a:pt x="2737" y="12823"/>
                  </a:cubicBezTo>
                  <a:cubicBezTo>
                    <a:pt x="2755" y="12936"/>
                    <a:pt x="2775" y="13057"/>
                    <a:pt x="2795" y="13184"/>
                  </a:cubicBezTo>
                  <a:cubicBezTo>
                    <a:pt x="2766" y="13213"/>
                    <a:pt x="2737" y="13242"/>
                    <a:pt x="2711" y="13273"/>
                  </a:cubicBezTo>
                  <a:cubicBezTo>
                    <a:pt x="2611" y="13384"/>
                    <a:pt x="2693" y="13554"/>
                    <a:pt x="2836" y="13554"/>
                  </a:cubicBezTo>
                  <a:cubicBezTo>
                    <a:pt x="2841" y="13554"/>
                    <a:pt x="2847" y="13554"/>
                    <a:pt x="2853" y="13553"/>
                  </a:cubicBezTo>
                  <a:cubicBezTo>
                    <a:pt x="3075" y="14902"/>
                    <a:pt x="3497" y="16625"/>
                    <a:pt x="4966" y="16709"/>
                  </a:cubicBezTo>
                  <a:cubicBezTo>
                    <a:pt x="4982" y="16710"/>
                    <a:pt x="4998" y="16710"/>
                    <a:pt x="5014" y="16710"/>
                  </a:cubicBezTo>
                  <a:cubicBezTo>
                    <a:pt x="5713" y="16710"/>
                    <a:pt x="6378" y="15921"/>
                    <a:pt x="6747" y="15439"/>
                  </a:cubicBezTo>
                  <a:cubicBezTo>
                    <a:pt x="7865" y="13969"/>
                    <a:pt x="5209" y="12269"/>
                    <a:pt x="7449" y="10883"/>
                  </a:cubicBezTo>
                  <a:lnTo>
                    <a:pt x="7449" y="10883"/>
                  </a:lnTo>
                  <a:lnTo>
                    <a:pt x="7432" y="10906"/>
                  </a:lnTo>
                  <a:cubicBezTo>
                    <a:pt x="7420" y="10920"/>
                    <a:pt x="7423" y="10935"/>
                    <a:pt x="7417" y="10949"/>
                  </a:cubicBezTo>
                  <a:cubicBezTo>
                    <a:pt x="7299" y="10949"/>
                    <a:pt x="7235" y="11111"/>
                    <a:pt x="7316" y="11203"/>
                  </a:cubicBezTo>
                  <a:cubicBezTo>
                    <a:pt x="7518" y="11428"/>
                    <a:pt x="7700" y="11662"/>
                    <a:pt x="7891" y="11893"/>
                  </a:cubicBezTo>
                  <a:cubicBezTo>
                    <a:pt x="7738" y="12090"/>
                    <a:pt x="7579" y="12277"/>
                    <a:pt x="7429" y="12474"/>
                  </a:cubicBezTo>
                  <a:lnTo>
                    <a:pt x="7426" y="12476"/>
                  </a:lnTo>
                  <a:cubicBezTo>
                    <a:pt x="7417" y="12488"/>
                    <a:pt x="7406" y="12500"/>
                    <a:pt x="7397" y="12511"/>
                  </a:cubicBezTo>
                  <a:cubicBezTo>
                    <a:pt x="7296" y="12645"/>
                    <a:pt x="7431" y="12780"/>
                    <a:pt x="7566" y="12780"/>
                  </a:cubicBezTo>
                  <a:cubicBezTo>
                    <a:pt x="7608" y="12780"/>
                    <a:pt x="7651" y="12767"/>
                    <a:pt x="7686" y="12736"/>
                  </a:cubicBezTo>
                  <a:cubicBezTo>
                    <a:pt x="7862" y="12583"/>
                    <a:pt x="8032" y="12430"/>
                    <a:pt x="8205" y="12277"/>
                  </a:cubicBezTo>
                  <a:cubicBezTo>
                    <a:pt x="8373" y="12485"/>
                    <a:pt x="8543" y="12693"/>
                    <a:pt x="8708" y="12904"/>
                  </a:cubicBezTo>
                  <a:cubicBezTo>
                    <a:pt x="8690" y="12930"/>
                    <a:pt x="8673" y="12956"/>
                    <a:pt x="8653" y="12982"/>
                  </a:cubicBezTo>
                  <a:cubicBezTo>
                    <a:pt x="8559" y="13114"/>
                    <a:pt x="8696" y="13270"/>
                    <a:pt x="8829" y="13270"/>
                  </a:cubicBezTo>
                  <a:cubicBezTo>
                    <a:pt x="8873" y="13270"/>
                    <a:pt x="8916" y="13253"/>
                    <a:pt x="8950" y="13213"/>
                  </a:cubicBezTo>
                  <a:cubicBezTo>
                    <a:pt x="9080" y="13377"/>
                    <a:pt x="9207" y="13545"/>
                    <a:pt x="9343" y="13709"/>
                  </a:cubicBezTo>
                  <a:cubicBezTo>
                    <a:pt x="9685" y="14124"/>
                    <a:pt x="10090" y="14388"/>
                    <a:pt x="10549" y="14388"/>
                  </a:cubicBezTo>
                  <a:cubicBezTo>
                    <a:pt x="10745" y="14388"/>
                    <a:pt x="10950" y="14340"/>
                    <a:pt x="11165" y="14235"/>
                  </a:cubicBezTo>
                  <a:cubicBezTo>
                    <a:pt x="12227" y="13709"/>
                    <a:pt x="12836" y="12349"/>
                    <a:pt x="12801" y="11226"/>
                  </a:cubicBezTo>
                  <a:cubicBezTo>
                    <a:pt x="12761" y="9959"/>
                    <a:pt x="11834" y="8925"/>
                    <a:pt x="10755" y="8388"/>
                  </a:cubicBezTo>
                  <a:cubicBezTo>
                    <a:pt x="10740" y="8381"/>
                    <a:pt x="10726" y="8378"/>
                    <a:pt x="10712" y="8378"/>
                  </a:cubicBezTo>
                  <a:cubicBezTo>
                    <a:pt x="10650" y="8378"/>
                    <a:pt x="10600" y="8443"/>
                    <a:pt x="10633" y="8507"/>
                  </a:cubicBezTo>
                  <a:cubicBezTo>
                    <a:pt x="10630" y="8510"/>
                    <a:pt x="10627" y="8510"/>
                    <a:pt x="10623" y="8510"/>
                  </a:cubicBezTo>
                  <a:cubicBezTo>
                    <a:pt x="10620" y="8510"/>
                    <a:pt x="10616" y="8510"/>
                    <a:pt x="10613" y="8513"/>
                  </a:cubicBezTo>
                  <a:cubicBezTo>
                    <a:pt x="9860" y="9067"/>
                    <a:pt x="9152" y="9682"/>
                    <a:pt x="8402" y="10239"/>
                  </a:cubicBezTo>
                  <a:cubicBezTo>
                    <a:pt x="8866" y="9650"/>
                    <a:pt x="9320" y="9055"/>
                    <a:pt x="9735" y="8432"/>
                  </a:cubicBezTo>
                  <a:cubicBezTo>
                    <a:pt x="9812" y="8314"/>
                    <a:pt x="9706" y="8209"/>
                    <a:pt x="9595" y="8209"/>
                  </a:cubicBezTo>
                  <a:cubicBezTo>
                    <a:pt x="9560" y="8209"/>
                    <a:pt x="9524" y="8220"/>
                    <a:pt x="9493" y="8244"/>
                  </a:cubicBezTo>
                  <a:cubicBezTo>
                    <a:pt x="9239" y="8452"/>
                    <a:pt x="6623" y="10487"/>
                    <a:pt x="7218" y="10756"/>
                  </a:cubicBezTo>
                  <a:cubicBezTo>
                    <a:pt x="7223" y="10758"/>
                    <a:pt x="7227" y="10759"/>
                    <a:pt x="7232" y="10759"/>
                  </a:cubicBezTo>
                  <a:lnTo>
                    <a:pt x="7232" y="10759"/>
                  </a:lnTo>
                  <a:cubicBezTo>
                    <a:pt x="6631" y="11102"/>
                    <a:pt x="6384" y="11495"/>
                    <a:pt x="6277" y="12283"/>
                  </a:cubicBezTo>
                  <a:cubicBezTo>
                    <a:pt x="6265" y="12413"/>
                    <a:pt x="6262" y="12543"/>
                    <a:pt x="6274" y="12676"/>
                  </a:cubicBezTo>
                  <a:cubicBezTo>
                    <a:pt x="6239" y="12622"/>
                    <a:pt x="6184" y="12584"/>
                    <a:pt x="6125" y="12584"/>
                  </a:cubicBezTo>
                  <a:cubicBezTo>
                    <a:pt x="6087" y="12584"/>
                    <a:pt x="6046" y="12600"/>
                    <a:pt x="6008" y="12638"/>
                  </a:cubicBezTo>
                  <a:cubicBezTo>
                    <a:pt x="5351" y="13295"/>
                    <a:pt x="4398" y="14274"/>
                    <a:pt x="4113" y="14778"/>
                  </a:cubicBezTo>
                  <a:lnTo>
                    <a:pt x="4113" y="14778"/>
                  </a:lnTo>
                  <a:cubicBezTo>
                    <a:pt x="4768" y="13618"/>
                    <a:pt x="5507" y="12513"/>
                    <a:pt x="6294" y="11440"/>
                  </a:cubicBezTo>
                  <a:cubicBezTo>
                    <a:pt x="6393" y="11304"/>
                    <a:pt x="6261" y="11181"/>
                    <a:pt x="6128" y="11181"/>
                  </a:cubicBezTo>
                  <a:cubicBezTo>
                    <a:pt x="6086" y="11181"/>
                    <a:pt x="6044" y="11193"/>
                    <a:pt x="6008" y="11221"/>
                  </a:cubicBezTo>
                  <a:cubicBezTo>
                    <a:pt x="5959" y="11255"/>
                    <a:pt x="5922" y="11299"/>
                    <a:pt x="5876" y="11336"/>
                  </a:cubicBezTo>
                  <a:cubicBezTo>
                    <a:pt x="6900" y="10230"/>
                    <a:pt x="7995" y="9188"/>
                    <a:pt x="9095" y="8163"/>
                  </a:cubicBezTo>
                  <a:cubicBezTo>
                    <a:pt x="9214" y="8054"/>
                    <a:pt x="9104" y="7861"/>
                    <a:pt x="8970" y="7861"/>
                  </a:cubicBezTo>
                  <a:cubicBezTo>
                    <a:pt x="8942" y="7861"/>
                    <a:pt x="8912" y="7869"/>
                    <a:pt x="8884" y="7889"/>
                  </a:cubicBezTo>
                  <a:cubicBezTo>
                    <a:pt x="7902" y="8565"/>
                    <a:pt x="6978" y="9304"/>
                    <a:pt x="6086" y="10080"/>
                  </a:cubicBezTo>
                  <a:cubicBezTo>
                    <a:pt x="6106" y="10057"/>
                    <a:pt x="6130" y="10037"/>
                    <a:pt x="6150" y="10014"/>
                  </a:cubicBezTo>
                  <a:cubicBezTo>
                    <a:pt x="7082" y="9006"/>
                    <a:pt x="7966" y="7955"/>
                    <a:pt x="8791" y="6861"/>
                  </a:cubicBezTo>
                  <a:cubicBezTo>
                    <a:pt x="8866" y="6760"/>
                    <a:pt x="8789" y="6671"/>
                    <a:pt x="8690" y="6645"/>
                  </a:cubicBezTo>
                  <a:cubicBezTo>
                    <a:pt x="9045" y="6284"/>
                    <a:pt x="9406" y="5923"/>
                    <a:pt x="9773" y="5577"/>
                  </a:cubicBezTo>
                  <a:lnTo>
                    <a:pt x="9773" y="5577"/>
                  </a:lnTo>
                  <a:cubicBezTo>
                    <a:pt x="9022" y="6342"/>
                    <a:pt x="8866" y="7219"/>
                    <a:pt x="10411" y="8158"/>
                  </a:cubicBezTo>
                  <a:cubicBezTo>
                    <a:pt x="10435" y="8172"/>
                    <a:pt x="10460" y="8178"/>
                    <a:pt x="10484" y="8178"/>
                  </a:cubicBezTo>
                  <a:cubicBezTo>
                    <a:pt x="10602" y="8178"/>
                    <a:pt x="10699" y="8020"/>
                    <a:pt x="10593" y="7927"/>
                  </a:cubicBezTo>
                  <a:cubicBezTo>
                    <a:pt x="9646" y="7075"/>
                    <a:pt x="9164" y="6327"/>
                    <a:pt x="10359" y="5444"/>
                  </a:cubicBezTo>
                  <a:cubicBezTo>
                    <a:pt x="11136" y="4872"/>
                    <a:pt x="12054" y="4474"/>
                    <a:pt x="12900" y="4018"/>
                  </a:cubicBezTo>
                  <a:cubicBezTo>
                    <a:pt x="14158" y="3333"/>
                    <a:pt x="15706" y="2412"/>
                    <a:pt x="15712" y="801"/>
                  </a:cubicBezTo>
                  <a:cubicBezTo>
                    <a:pt x="15712" y="711"/>
                    <a:pt x="15636" y="613"/>
                    <a:pt x="15542" y="613"/>
                  </a:cubicBezTo>
                  <a:cubicBezTo>
                    <a:pt x="15537" y="613"/>
                    <a:pt x="15532" y="613"/>
                    <a:pt x="15527" y="614"/>
                  </a:cubicBezTo>
                  <a:cubicBezTo>
                    <a:pt x="15412" y="627"/>
                    <a:pt x="15286" y="633"/>
                    <a:pt x="15151" y="633"/>
                  </a:cubicBezTo>
                  <a:cubicBezTo>
                    <a:pt x="13883" y="633"/>
                    <a:pt x="11786" y="107"/>
                    <a:pt x="9946" y="13"/>
                  </a:cubicBezTo>
                  <a:lnTo>
                    <a:pt x="9917" y="13"/>
                  </a:lnTo>
                  <a:cubicBezTo>
                    <a:pt x="9749" y="5"/>
                    <a:pt x="9583" y="0"/>
                    <a:pt x="94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65"/>
            <p:cNvSpPr/>
            <p:nvPr/>
          </p:nvSpPr>
          <p:spPr>
            <a:xfrm>
              <a:off x="4492625" y="804475"/>
              <a:ext cx="446125" cy="296800"/>
            </a:xfrm>
            <a:custGeom>
              <a:avLst/>
              <a:gdLst/>
              <a:ahLst/>
              <a:cxnLst/>
              <a:rect l="l" t="t" r="r" b="b"/>
              <a:pathLst>
                <a:path w="17845" h="11872" extrusionOk="0">
                  <a:moveTo>
                    <a:pt x="11999" y="965"/>
                  </a:moveTo>
                  <a:lnTo>
                    <a:pt x="11999" y="965"/>
                  </a:lnTo>
                  <a:cubicBezTo>
                    <a:pt x="11996" y="971"/>
                    <a:pt x="11990" y="977"/>
                    <a:pt x="11987" y="983"/>
                  </a:cubicBezTo>
                  <a:cubicBezTo>
                    <a:pt x="11456" y="1445"/>
                    <a:pt x="10942" y="1915"/>
                    <a:pt x="10440" y="2406"/>
                  </a:cubicBezTo>
                  <a:cubicBezTo>
                    <a:pt x="10206" y="2637"/>
                    <a:pt x="9984" y="2885"/>
                    <a:pt x="9779" y="3145"/>
                  </a:cubicBezTo>
                  <a:cubicBezTo>
                    <a:pt x="10197" y="2562"/>
                    <a:pt x="10656" y="2008"/>
                    <a:pt x="11153" y="1485"/>
                  </a:cubicBezTo>
                  <a:cubicBezTo>
                    <a:pt x="11456" y="1167"/>
                    <a:pt x="11742" y="1009"/>
                    <a:pt x="11999" y="965"/>
                  </a:cubicBezTo>
                  <a:close/>
                  <a:moveTo>
                    <a:pt x="14773" y="4565"/>
                  </a:moveTo>
                  <a:lnTo>
                    <a:pt x="14773" y="4565"/>
                  </a:lnTo>
                  <a:cubicBezTo>
                    <a:pt x="14383" y="4892"/>
                    <a:pt x="13997" y="5215"/>
                    <a:pt x="13601" y="5533"/>
                  </a:cubicBezTo>
                  <a:cubicBezTo>
                    <a:pt x="13601" y="5530"/>
                    <a:pt x="13607" y="5527"/>
                    <a:pt x="13607" y="5524"/>
                  </a:cubicBezTo>
                  <a:cubicBezTo>
                    <a:pt x="13589" y="5371"/>
                    <a:pt x="13595" y="5085"/>
                    <a:pt x="13607" y="4733"/>
                  </a:cubicBezTo>
                  <a:cubicBezTo>
                    <a:pt x="13722" y="4783"/>
                    <a:pt x="13835" y="4811"/>
                    <a:pt x="13959" y="4811"/>
                  </a:cubicBezTo>
                  <a:cubicBezTo>
                    <a:pt x="14079" y="4811"/>
                    <a:pt x="14209" y="4785"/>
                    <a:pt x="14360" y="4727"/>
                  </a:cubicBezTo>
                  <a:cubicBezTo>
                    <a:pt x="14508" y="4669"/>
                    <a:pt x="14640" y="4617"/>
                    <a:pt x="14773" y="4565"/>
                  </a:cubicBezTo>
                  <a:close/>
                  <a:moveTo>
                    <a:pt x="12143" y="2265"/>
                  </a:moveTo>
                  <a:cubicBezTo>
                    <a:pt x="11430" y="3318"/>
                    <a:pt x="10544" y="4254"/>
                    <a:pt x="9605" y="5128"/>
                  </a:cubicBezTo>
                  <a:cubicBezTo>
                    <a:pt x="9565" y="5166"/>
                    <a:pt x="9522" y="5203"/>
                    <a:pt x="9478" y="5244"/>
                  </a:cubicBezTo>
                  <a:cubicBezTo>
                    <a:pt x="9187" y="5515"/>
                    <a:pt x="8892" y="5781"/>
                    <a:pt x="8595" y="6041"/>
                  </a:cubicBezTo>
                  <a:cubicBezTo>
                    <a:pt x="8606" y="5642"/>
                    <a:pt x="8682" y="5250"/>
                    <a:pt x="8823" y="4877"/>
                  </a:cubicBezTo>
                  <a:lnTo>
                    <a:pt x="8826" y="4877"/>
                  </a:lnTo>
                  <a:cubicBezTo>
                    <a:pt x="8853" y="4903"/>
                    <a:pt x="8889" y="4916"/>
                    <a:pt x="8925" y="4916"/>
                  </a:cubicBezTo>
                  <a:cubicBezTo>
                    <a:pt x="8953" y="4916"/>
                    <a:pt x="8981" y="4908"/>
                    <a:pt x="9005" y="4892"/>
                  </a:cubicBezTo>
                  <a:cubicBezTo>
                    <a:pt x="10079" y="4150"/>
                    <a:pt x="11488" y="3232"/>
                    <a:pt x="12143" y="2265"/>
                  </a:cubicBezTo>
                  <a:close/>
                  <a:moveTo>
                    <a:pt x="12455" y="1014"/>
                  </a:moveTo>
                  <a:cubicBezTo>
                    <a:pt x="13029" y="1254"/>
                    <a:pt x="13387" y="2132"/>
                    <a:pt x="13367" y="3004"/>
                  </a:cubicBezTo>
                  <a:cubicBezTo>
                    <a:pt x="13356" y="3422"/>
                    <a:pt x="13318" y="3838"/>
                    <a:pt x="13292" y="4254"/>
                  </a:cubicBezTo>
                  <a:cubicBezTo>
                    <a:pt x="13272" y="4259"/>
                    <a:pt x="13255" y="4254"/>
                    <a:pt x="13231" y="4265"/>
                  </a:cubicBezTo>
                  <a:cubicBezTo>
                    <a:pt x="12305" y="4915"/>
                    <a:pt x="11381" y="5567"/>
                    <a:pt x="10486" y="6260"/>
                  </a:cubicBezTo>
                  <a:lnTo>
                    <a:pt x="10486" y="6257"/>
                  </a:lnTo>
                  <a:cubicBezTo>
                    <a:pt x="10324" y="6384"/>
                    <a:pt x="10165" y="6517"/>
                    <a:pt x="10004" y="6644"/>
                  </a:cubicBezTo>
                  <a:cubicBezTo>
                    <a:pt x="11101" y="5437"/>
                    <a:pt x="12131" y="4176"/>
                    <a:pt x="13003" y="2781"/>
                  </a:cubicBezTo>
                  <a:cubicBezTo>
                    <a:pt x="13073" y="2667"/>
                    <a:pt x="12968" y="2517"/>
                    <a:pt x="12850" y="2517"/>
                  </a:cubicBezTo>
                  <a:cubicBezTo>
                    <a:pt x="12822" y="2517"/>
                    <a:pt x="12794" y="2525"/>
                    <a:pt x="12767" y="2545"/>
                  </a:cubicBezTo>
                  <a:cubicBezTo>
                    <a:pt x="12414" y="2799"/>
                    <a:pt x="12065" y="3061"/>
                    <a:pt x="11719" y="3327"/>
                  </a:cubicBezTo>
                  <a:cubicBezTo>
                    <a:pt x="12120" y="2851"/>
                    <a:pt x="12495" y="2351"/>
                    <a:pt x="12847" y="1837"/>
                  </a:cubicBezTo>
                  <a:cubicBezTo>
                    <a:pt x="12935" y="1707"/>
                    <a:pt x="12815" y="1583"/>
                    <a:pt x="12690" y="1583"/>
                  </a:cubicBezTo>
                  <a:cubicBezTo>
                    <a:pt x="12649" y="1583"/>
                    <a:pt x="12608" y="1596"/>
                    <a:pt x="12573" y="1626"/>
                  </a:cubicBezTo>
                  <a:cubicBezTo>
                    <a:pt x="12135" y="2007"/>
                    <a:pt x="9835" y="4153"/>
                    <a:pt x="9557" y="4153"/>
                  </a:cubicBezTo>
                  <a:cubicBezTo>
                    <a:pt x="9458" y="4153"/>
                    <a:pt x="9618" y="3879"/>
                    <a:pt x="10212" y="3154"/>
                  </a:cubicBezTo>
                  <a:cubicBezTo>
                    <a:pt x="10861" y="2360"/>
                    <a:pt x="11664" y="1684"/>
                    <a:pt x="12455" y="1014"/>
                  </a:cubicBezTo>
                  <a:close/>
                  <a:moveTo>
                    <a:pt x="3179" y="4756"/>
                  </a:moveTo>
                  <a:cubicBezTo>
                    <a:pt x="3808" y="4756"/>
                    <a:pt x="4411" y="4956"/>
                    <a:pt x="5015" y="5215"/>
                  </a:cubicBezTo>
                  <a:cubicBezTo>
                    <a:pt x="5003" y="5212"/>
                    <a:pt x="4991" y="5211"/>
                    <a:pt x="4978" y="5211"/>
                  </a:cubicBezTo>
                  <a:cubicBezTo>
                    <a:pt x="4949" y="5211"/>
                    <a:pt x="4921" y="5218"/>
                    <a:pt x="4897" y="5232"/>
                  </a:cubicBezTo>
                  <a:cubicBezTo>
                    <a:pt x="4065" y="5689"/>
                    <a:pt x="3300" y="6211"/>
                    <a:pt x="2547" y="6765"/>
                  </a:cubicBezTo>
                  <a:cubicBezTo>
                    <a:pt x="2682" y="6612"/>
                    <a:pt x="2818" y="6459"/>
                    <a:pt x="2951" y="6303"/>
                  </a:cubicBezTo>
                  <a:cubicBezTo>
                    <a:pt x="3343" y="5853"/>
                    <a:pt x="3505" y="5613"/>
                    <a:pt x="3852" y="5137"/>
                  </a:cubicBezTo>
                  <a:cubicBezTo>
                    <a:pt x="3930" y="5027"/>
                    <a:pt x="3821" y="4913"/>
                    <a:pt x="3711" y="4913"/>
                  </a:cubicBezTo>
                  <a:cubicBezTo>
                    <a:pt x="3688" y="4913"/>
                    <a:pt x="3665" y="4918"/>
                    <a:pt x="3644" y="4929"/>
                  </a:cubicBezTo>
                  <a:cubicBezTo>
                    <a:pt x="3159" y="5178"/>
                    <a:pt x="2827" y="5333"/>
                    <a:pt x="2394" y="5683"/>
                  </a:cubicBezTo>
                  <a:cubicBezTo>
                    <a:pt x="2070" y="5944"/>
                    <a:pt x="1922" y="6047"/>
                    <a:pt x="1888" y="6047"/>
                  </a:cubicBezTo>
                  <a:cubicBezTo>
                    <a:pt x="1786" y="6047"/>
                    <a:pt x="2654" y="5164"/>
                    <a:pt x="2893" y="4811"/>
                  </a:cubicBezTo>
                  <a:lnTo>
                    <a:pt x="2893" y="4814"/>
                  </a:lnTo>
                  <a:cubicBezTo>
                    <a:pt x="2902" y="4799"/>
                    <a:pt x="2905" y="4782"/>
                    <a:pt x="2905" y="4768"/>
                  </a:cubicBezTo>
                  <a:lnTo>
                    <a:pt x="2916" y="4768"/>
                  </a:lnTo>
                  <a:cubicBezTo>
                    <a:pt x="3004" y="4759"/>
                    <a:pt x="3092" y="4756"/>
                    <a:pt x="3179" y="4756"/>
                  </a:cubicBezTo>
                  <a:close/>
                  <a:moveTo>
                    <a:pt x="16751" y="4147"/>
                  </a:moveTo>
                  <a:cubicBezTo>
                    <a:pt x="17651" y="4147"/>
                    <a:pt x="17244" y="4378"/>
                    <a:pt x="16800" y="4909"/>
                  </a:cubicBezTo>
                  <a:cubicBezTo>
                    <a:pt x="16615" y="5131"/>
                    <a:pt x="16439" y="5359"/>
                    <a:pt x="16274" y="5596"/>
                  </a:cubicBezTo>
                  <a:cubicBezTo>
                    <a:pt x="15659" y="6046"/>
                    <a:pt x="15073" y="6529"/>
                    <a:pt x="14505" y="7025"/>
                  </a:cubicBezTo>
                  <a:cubicBezTo>
                    <a:pt x="15192" y="6214"/>
                    <a:pt x="15862" y="5391"/>
                    <a:pt x="16488" y="4528"/>
                  </a:cubicBezTo>
                  <a:cubicBezTo>
                    <a:pt x="16593" y="4383"/>
                    <a:pt x="16452" y="4242"/>
                    <a:pt x="16308" y="4242"/>
                  </a:cubicBezTo>
                  <a:cubicBezTo>
                    <a:pt x="16263" y="4242"/>
                    <a:pt x="16217" y="4256"/>
                    <a:pt x="16179" y="4288"/>
                  </a:cubicBezTo>
                  <a:cubicBezTo>
                    <a:pt x="15685" y="4716"/>
                    <a:pt x="15212" y="5157"/>
                    <a:pt x="14724" y="5590"/>
                  </a:cubicBezTo>
                  <a:cubicBezTo>
                    <a:pt x="15128" y="5154"/>
                    <a:pt x="15506" y="4698"/>
                    <a:pt x="15879" y="4233"/>
                  </a:cubicBezTo>
                  <a:cubicBezTo>
                    <a:pt x="16168" y="4176"/>
                    <a:pt x="16459" y="4147"/>
                    <a:pt x="16751" y="4147"/>
                  </a:cubicBezTo>
                  <a:close/>
                  <a:moveTo>
                    <a:pt x="2376" y="4834"/>
                  </a:moveTo>
                  <a:lnTo>
                    <a:pt x="2376" y="4834"/>
                  </a:lnTo>
                  <a:cubicBezTo>
                    <a:pt x="2096" y="5024"/>
                    <a:pt x="1727" y="5279"/>
                    <a:pt x="1548" y="5408"/>
                  </a:cubicBezTo>
                  <a:cubicBezTo>
                    <a:pt x="1575" y="5371"/>
                    <a:pt x="1561" y="5309"/>
                    <a:pt x="1517" y="5309"/>
                  </a:cubicBezTo>
                  <a:cubicBezTo>
                    <a:pt x="1511" y="5309"/>
                    <a:pt x="1504" y="5310"/>
                    <a:pt x="1496" y="5313"/>
                  </a:cubicBezTo>
                  <a:cubicBezTo>
                    <a:pt x="1360" y="5377"/>
                    <a:pt x="1222" y="5429"/>
                    <a:pt x="1077" y="5469"/>
                  </a:cubicBezTo>
                  <a:cubicBezTo>
                    <a:pt x="1011" y="5486"/>
                    <a:pt x="979" y="5564"/>
                    <a:pt x="1014" y="5622"/>
                  </a:cubicBezTo>
                  <a:lnTo>
                    <a:pt x="1094" y="5746"/>
                  </a:lnTo>
                  <a:cubicBezTo>
                    <a:pt x="1116" y="5785"/>
                    <a:pt x="1156" y="5807"/>
                    <a:pt x="1198" y="5807"/>
                  </a:cubicBezTo>
                  <a:cubicBezTo>
                    <a:pt x="1219" y="5807"/>
                    <a:pt x="1240" y="5801"/>
                    <a:pt x="1259" y="5790"/>
                  </a:cubicBezTo>
                  <a:cubicBezTo>
                    <a:pt x="1770" y="5466"/>
                    <a:pt x="2034" y="5326"/>
                    <a:pt x="2130" y="5326"/>
                  </a:cubicBezTo>
                  <a:cubicBezTo>
                    <a:pt x="2315" y="5326"/>
                    <a:pt x="1878" y="5843"/>
                    <a:pt x="1386" y="6557"/>
                  </a:cubicBezTo>
                  <a:cubicBezTo>
                    <a:pt x="1312" y="6666"/>
                    <a:pt x="1414" y="6775"/>
                    <a:pt x="1519" y="6775"/>
                  </a:cubicBezTo>
                  <a:cubicBezTo>
                    <a:pt x="1553" y="6775"/>
                    <a:pt x="1588" y="6764"/>
                    <a:pt x="1617" y="6736"/>
                  </a:cubicBezTo>
                  <a:cubicBezTo>
                    <a:pt x="1910" y="6464"/>
                    <a:pt x="2992" y="5467"/>
                    <a:pt x="3137" y="5467"/>
                  </a:cubicBezTo>
                  <a:cubicBezTo>
                    <a:pt x="3196" y="5467"/>
                    <a:pt x="3100" y="5633"/>
                    <a:pt x="2731" y="6081"/>
                  </a:cubicBezTo>
                  <a:cubicBezTo>
                    <a:pt x="2399" y="6485"/>
                    <a:pt x="2047" y="6875"/>
                    <a:pt x="1698" y="7268"/>
                  </a:cubicBezTo>
                  <a:cubicBezTo>
                    <a:pt x="1525" y="7040"/>
                    <a:pt x="1340" y="6820"/>
                    <a:pt x="1138" y="6601"/>
                  </a:cubicBezTo>
                  <a:cubicBezTo>
                    <a:pt x="119" y="5486"/>
                    <a:pt x="1314" y="5016"/>
                    <a:pt x="2376" y="4834"/>
                  </a:cubicBezTo>
                  <a:close/>
                  <a:moveTo>
                    <a:pt x="13272" y="4776"/>
                  </a:moveTo>
                  <a:lnTo>
                    <a:pt x="13272" y="4776"/>
                  </a:lnTo>
                  <a:cubicBezTo>
                    <a:pt x="13260" y="5024"/>
                    <a:pt x="13269" y="5273"/>
                    <a:pt x="13292" y="5521"/>
                  </a:cubicBezTo>
                  <a:cubicBezTo>
                    <a:pt x="13304" y="5599"/>
                    <a:pt x="13367" y="5660"/>
                    <a:pt x="13442" y="5663"/>
                  </a:cubicBezTo>
                  <a:cubicBezTo>
                    <a:pt x="12440" y="6474"/>
                    <a:pt x="11442" y="7288"/>
                    <a:pt x="10443" y="8105"/>
                  </a:cubicBezTo>
                  <a:cubicBezTo>
                    <a:pt x="10564" y="7963"/>
                    <a:pt x="10682" y="7819"/>
                    <a:pt x="10803" y="7678"/>
                  </a:cubicBezTo>
                  <a:cubicBezTo>
                    <a:pt x="11632" y="6716"/>
                    <a:pt x="12461" y="5755"/>
                    <a:pt x="13272" y="4776"/>
                  </a:cubicBezTo>
                  <a:close/>
                  <a:moveTo>
                    <a:pt x="4357" y="5902"/>
                  </a:moveTo>
                  <a:cubicBezTo>
                    <a:pt x="3719" y="6716"/>
                    <a:pt x="2971" y="7444"/>
                    <a:pt x="2316" y="8252"/>
                  </a:cubicBezTo>
                  <a:cubicBezTo>
                    <a:pt x="2284" y="8189"/>
                    <a:pt x="2249" y="8119"/>
                    <a:pt x="2218" y="8059"/>
                  </a:cubicBezTo>
                  <a:cubicBezTo>
                    <a:pt x="2137" y="7914"/>
                    <a:pt x="2044" y="7787"/>
                    <a:pt x="1955" y="7655"/>
                  </a:cubicBezTo>
                  <a:cubicBezTo>
                    <a:pt x="2729" y="7141"/>
                    <a:pt x="3953" y="6416"/>
                    <a:pt x="4357" y="5902"/>
                  </a:cubicBezTo>
                  <a:close/>
                  <a:moveTo>
                    <a:pt x="5032" y="6936"/>
                  </a:moveTo>
                  <a:cubicBezTo>
                    <a:pt x="4354" y="7325"/>
                    <a:pt x="3531" y="8613"/>
                    <a:pt x="2939" y="9439"/>
                  </a:cubicBezTo>
                  <a:cubicBezTo>
                    <a:pt x="2780" y="9159"/>
                    <a:pt x="2633" y="8873"/>
                    <a:pt x="2492" y="8593"/>
                  </a:cubicBezTo>
                  <a:lnTo>
                    <a:pt x="2492" y="8590"/>
                  </a:lnTo>
                  <a:cubicBezTo>
                    <a:pt x="3320" y="8004"/>
                    <a:pt x="4149" y="7441"/>
                    <a:pt x="5032" y="6936"/>
                  </a:cubicBezTo>
                  <a:close/>
                  <a:moveTo>
                    <a:pt x="5037" y="5222"/>
                  </a:moveTo>
                  <a:cubicBezTo>
                    <a:pt x="6084" y="5675"/>
                    <a:pt x="7123" y="6289"/>
                    <a:pt x="8257" y="6335"/>
                  </a:cubicBezTo>
                  <a:lnTo>
                    <a:pt x="8260" y="6335"/>
                  </a:lnTo>
                  <a:cubicBezTo>
                    <a:pt x="8205" y="6381"/>
                    <a:pt x="8153" y="6430"/>
                    <a:pt x="8098" y="6477"/>
                  </a:cubicBezTo>
                  <a:cubicBezTo>
                    <a:pt x="7238" y="7222"/>
                    <a:pt x="6349" y="7929"/>
                    <a:pt x="5457" y="8636"/>
                  </a:cubicBezTo>
                  <a:cubicBezTo>
                    <a:pt x="5965" y="8085"/>
                    <a:pt x="6435" y="7496"/>
                    <a:pt x="6860" y="6878"/>
                  </a:cubicBezTo>
                  <a:cubicBezTo>
                    <a:pt x="6949" y="6751"/>
                    <a:pt x="6829" y="6628"/>
                    <a:pt x="6705" y="6628"/>
                  </a:cubicBezTo>
                  <a:cubicBezTo>
                    <a:pt x="6665" y="6628"/>
                    <a:pt x="6625" y="6641"/>
                    <a:pt x="6591" y="6670"/>
                  </a:cubicBezTo>
                  <a:cubicBezTo>
                    <a:pt x="5590" y="7548"/>
                    <a:pt x="4152" y="8483"/>
                    <a:pt x="3378" y="9453"/>
                  </a:cubicBezTo>
                  <a:cubicBezTo>
                    <a:pt x="4160" y="8472"/>
                    <a:pt x="5041" y="7600"/>
                    <a:pt x="5754" y="6560"/>
                  </a:cubicBezTo>
                  <a:cubicBezTo>
                    <a:pt x="5840" y="6436"/>
                    <a:pt x="5722" y="6316"/>
                    <a:pt x="5601" y="6316"/>
                  </a:cubicBezTo>
                  <a:cubicBezTo>
                    <a:pt x="5575" y="6316"/>
                    <a:pt x="5550" y="6321"/>
                    <a:pt x="5526" y="6332"/>
                  </a:cubicBezTo>
                  <a:cubicBezTo>
                    <a:pt x="4588" y="6783"/>
                    <a:pt x="3736" y="7320"/>
                    <a:pt x="2882" y="7912"/>
                  </a:cubicBezTo>
                  <a:cubicBezTo>
                    <a:pt x="3566" y="7438"/>
                    <a:pt x="4464" y="6298"/>
                    <a:pt x="5096" y="5489"/>
                  </a:cubicBezTo>
                  <a:cubicBezTo>
                    <a:pt x="5169" y="5403"/>
                    <a:pt x="5138" y="5270"/>
                    <a:pt x="5037" y="5222"/>
                  </a:cubicBezTo>
                  <a:close/>
                  <a:moveTo>
                    <a:pt x="15593" y="4398"/>
                  </a:moveTo>
                  <a:cubicBezTo>
                    <a:pt x="13604" y="6070"/>
                    <a:pt x="11756" y="7903"/>
                    <a:pt x="10070" y="9878"/>
                  </a:cubicBezTo>
                  <a:cubicBezTo>
                    <a:pt x="9909" y="9690"/>
                    <a:pt x="9738" y="9511"/>
                    <a:pt x="9559" y="9341"/>
                  </a:cubicBezTo>
                  <a:lnTo>
                    <a:pt x="9556" y="9338"/>
                  </a:lnTo>
                  <a:cubicBezTo>
                    <a:pt x="11545" y="7663"/>
                    <a:pt x="13601" y="6070"/>
                    <a:pt x="15593" y="4398"/>
                  </a:cubicBezTo>
                  <a:close/>
                  <a:moveTo>
                    <a:pt x="12492" y="3160"/>
                  </a:moveTo>
                  <a:cubicBezTo>
                    <a:pt x="11614" y="3801"/>
                    <a:pt x="10818" y="5233"/>
                    <a:pt x="10015" y="6136"/>
                  </a:cubicBezTo>
                  <a:cubicBezTo>
                    <a:pt x="9429" y="6794"/>
                    <a:pt x="8814" y="7421"/>
                    <a:pt x="8191" y="8044"/>
                  </a:cubicBezTo>
                  <a:cubicBezTo>
                    <a:pt x="8018" y="8128"/>
                    <a:pt x="7922" y="8223"/>
                    <a:pt x="7905" y="8333"/>
                  </a:cubicBezTo>
                  <a:cubicBezTo>
                    <a:pt x="7818" y="8420"/>
                    <a:pt x="7732" y="8506"/>
                    <a:pt x="7645" y="8593"/>
                  </a:cubicBezTo>
                  <a:cubicBezTo>
                    <a:pt x="6684" y="8795"/>
                    <a:pt x="5858" y="9159"/>
                    <a:pt x="5090" y="9846"/>
                  </a:cubicBezTo>
                  <a:lnTo>
                    <a:pt x="5090" y="9843"/>
                  </a:lnTo>
                  <a:cubicBezTo>
                    <a:pt x="4868" y="10045"/>
                    <a:pt x="4459" y="10686"/>
                    <a:pt x="4042" y="10686"/>
                  </a:cubicBezTo>
                  <a:cubicBezTo>
                    <a:pt x="3934" y="10686"/>
                    <a:pt x="3825" y="10643"/>
                    <a:pt x="3719" y="10539"/>
                  </a:cubicBezTo>
                  <a:cubicBezTo>
                    <a:pt x="3520" y="10345"/>
                    <a:pt x="3346" y="10103"/>
                    <a:pt x="3185" y="9849"/>
                  </a:cubicBezTo>
                  <a:cubicBezTo>
                    <a:pt x="4005" y="9263"/>
                    <a:pt x="4793" y="8653"/>
                    <a:pt x="5566" y="8010"/>
                  </a:cubicBezTo>
                  <a:cubicBezTo>
                    <a:pt x="6045" y="7611"/>
                    <a:pt x="6224" y="7466"/>
                    <a:pt x="6233" y="7466"/>
                  </a:cubicBezTo>
                  <a:lnTo>
                    <a:pt x="6233" y="7466"/>
                  </a:lnTo>
                  <a:cubicBezTo>
                    <a:pt x="6256" y="7466"/>
                    <a:pt x="5306" y="8296"/>
                    <a:pt x="5154" y="8463"/>
                  </a:cubicBezTo>
                  <a:cubicBezTo>
                    <a:pt x="4643" y="9029"/>
                    <a:pt x="4109" y="9569"/>
                    <a:pt x="3598" y="10134"/>
                  </a:cubicBezTo>
                  <a:cubicBezTo>
                    <a:pt x="3481" y="10265"/>
                    <a:pt x="3591" y="10424"/>
                    <a:pt x="3724" y="10424"/>
                  </a:cubicBezTo>
                  <a:cubicBezTo>
                    <a:pt x="3762" y="10424"/>
                    <a:pt x="3803" y="10411"/>
                    <a:pt x="3840" y="10380"/>
                  </a:cubicBezTo>
                  <a:cubicBezTo>
                    <a:pt x="5084" y="9346"/>
                    <a:pt x="6363" y="8356"/>
                    <a:pt x="7608" y="7323"/>
                  </a:cubicBezTo>
                  <a:lnTo>
                    <a:pt x="7608" y="7323"/>
                  </a:lnTo>
                  <a:cubicBezTo>
                    <a:pt x="7319" y="7698"/>
                    <a:pt x="7039" y="8076"/>
                    <a:pt x="6785" y="8474"/>
                  </a:cubicBezTo>
                  <a:cubicBezTo>
                    <a:pt x="6739" y="8550"/>
                    <a:pt x="6803" y="8618"/>
                    <a:pt x="6872" y="8618"/>
                  </a:cubicBezTo>
                  <a:cubicBezTo>
                    <a:pt x="6902" y="8618"/>
                    <a:pt x="6933" y="8605"/>
                    <a:pt x="6955" y="8573"/>
                  </a:cubicBezTo>
                  <a:cubicBezTo>
                    <a:pt x="7590" y="7631"/>
                    <a:pt x="8344" y="6780"/>
                    <a:pt x="9152" y="5980"/>
                  </a:cubicBezTo>
                  <a:cubicBezTo>
                    <a:pt x="9452" y="5706"/>
                    <a:pt x="9753" y="5429"/>
                    <a:pt x="10041" y="5143"/>
                  </a:cubicBezTo>
                  <a:cubicBezTo>
                    <a:pt x="10829" y="4444"/>
                    <a:pt x="11646" y="3778"/>
                    <a:pt x="12492" y="3160"/>
                  </a:cubicBezTo>
                  <a:close/>
                  <a:moveTo>
                    <a:pt x="14857" y="6000"/>
                  </a:moveTo>
                  <a:cubicBezTo>
                    <a:pt x="13595" y="7551"/>
                    <a:pt x="12235" y="9009"/>
                    <a:pt x="10824" y="10432"/>
                  </a:cubicBezTo>
                  <a:cubicBezTo>
                    <a:pt x="10683" y="10573"/>
                    <a:pt x="10816" y="10767"/>
                    <a:pt x="10970" y="10767"/>
                  </a:cubicBezTo>
                  <a:cubicBezTo>
                    <a:pt x="11015" y="10767"/>
                    <a:pt x="11061" y="10751"/>
                    <a:pt x="11104" y="10712"/>
                  </a:cubicBezTo>
                  <a:cubicBezTo>
                    <a:pt x="12394" y="9522"/>
                    <a:pt x="13630" y="8284"/>
                    <a:pt x="14961" y="7149"/>
                  </a:cubicBezTo>
                  <a:lnTo>
                    <a:pt x="14961" y="7149"/>
                  </a:lnTo>
                  <a:cubicBezTo>
                    <a:pt x="14040" y="8209"/>
                    <a:pt x="13139" y="9286"/>
                    <a:pt x="12322" y="10429"/>
                  </a:cubicBezTo>
                  <a:cubicBezTo>
                    <a:pt x="12291" y="10413"/>
                    <a:pt x="12256" y="10405"/>
                    <a:pt x="12220" y="10405"/>
                  </a:cubicBezTo>
                  <a:cubicBezTo>
                    <a:pt x="12150" y="10405"/>
                    <a:pt x="12079" y="10439"/>
                    <a:pt x="12045" y="10521"/>
                  </a:cubicBezTo>
                  <a:cubicBezTo>
                    <a:pt x="11935" y="10784"/>
                    <a:pt x="11828" y="11044"/>
                    <a:pt x="11719" y="11307"/>
                  </a:cubicBezTo>
                  <a:cubicBezTo>
                    <a:pt x="11710" y="11324"/>
                    <a:pt x="11722" y="11338"/>
                    <a:pt x="11719" y="11356"/>
                  </a:cubicBezTo>
                  <a:cubicBezTo>
                    <a:pt x="11237" y="11211"/>
                    <a:pt x="10795" y="10723"/>
                    <a:pt x="10356" y="10210"/>
                  </a:cubicBezTo>
                  <a:cubicBezTo>
                    <a:pt x="11820" y="8766"/>
                    <a:pt x="13324" y="7369"/>
                    <a:pt x="14857" y="6000"/>
                  </a:cubicBezTo>
                  <a:close/>
                  <a:moveTo>
                    <a:pt x="15108" y="7579"/>
                  </a:moveTo>
                  <a:lnTo>
                    <a:pt x="15108" y="7579"/>
                  </a:lnTo>
                  <a:cubicBezTo>
                    <a:pt x="14519" y="8653"/>
                    <a:pt x="13919" y="9725"/>
                    <a:pt x="13142" y="10683"/>
                  </a:cubicBezTo>
                  <a:cubicBezTo>
                    <a:pt x="12778" y="11133"/>
                    <a:pt x="12446" y="11333"/>
                    <a:pt x="12134" y="11382"/>
                  </a:cubicBezTo>
                  <a:cubicBezTo>
                    <a:pt x="13018" y="10025"/>
                    <a:pt x="14051" y="8795"/>
                    <a:pt x="15108" y="7579"/>
                  </a:cubicBezTo>
                  <a:close/>
                  <a:moveTo>
                    <a:pt x="13168" y="1"/>
                  </a:moveTo>
                  <a:cubicBezTo>
                    <a:pt x="13140" y="1"/>
                    <a:pt x="13112" y="9"/>
                    <a:pt x="13084" y="27"/>
                  </a:cubicBezTo>
                  <a:cubicBezTo>
                    <a:pt x="12920" y="140"/>
                    <a:pt x="12888" y="166"/>
                    <a:pt x="12810" y="281"/>
                  </a:cubicBezTo>
                  <a:cubicBezTo>
                    <a:pt x="12736" y="254"/>
                    <a:pt x="12656" y="239"/>
                    <a:pt x="12568" y="239"/>
                  </a:cubicBezTo>
                  <a:cubicBezTo>
                    <a:pt x="12299" y="239"/>
                    <a:pt x="11965" y="378"/>
                    <a:pt x="11548" y="706"/>
                  </a:cubicBezTo>
                  <a:cubicBezTo>
                    <a:pt x="10232" y="1736"/>
                    <a:pt x="9068" y="3341"/>
                    <a:pt x="8503" y="4921"/>
                  </a:cubicBezTo>
                  <a:cubicBezTo>
                    <a:pt x="8384" y="5250"/>
                    <a:pt x="8292" y="5553"/>
                    <a:pt x="8240" y="5899"/>
                  </a:cubicBezTo>
                  <a:cubicBezTo>
                    <a:pt x="8223" y="6011"/>
                    <a:pt x="8118" y="6056"/>
                    <a:pt x="7959" y="6056"/>
                  </a:cubicBezTo>
                  <a:cubicBezTo>
                    <a:pt x="7318" y="6056"/>
                    <a:pt x="5804" y="5321"/>
                    <a:pt x="5774" y="5307"/>
                  </a:cubicBezTo>
                  <a:cubicBezTo>
                    <a:pt x="4824" y="4857"/>
                    <a:pt x="3970" y="4499"/>
                    <a:pt x="2916" y="4410"/>
                  </a:cubicBezTo>
                  <a:cubicBezTo>
                    <a:pt x="2872" y="4406"/>
                    <a:pt x="2819" y="4404"/>
                    <a:pt x="2758" y="4404"/>
                  </a:cubicBezTo>
                  <a:cubicBezTo>
                    <a:pt x="1977" y="4404"/>
                    <a:pt x="0" y="4727"/>
                    <a:pt x="0" y="5628"/>
                  </a:cubicBezTo>
                  <a:cubicBezTo>
                    <a:pt x="0" y="6009"/>
                    <a:pt x="393" y="6347"/>
                    <a:pt x="624" y="6592"/>
                  </a:cubicBezTo>
                  <a:cubicBezTo>
                    <a:pt x="910" y="6904"/>
                    <a:pt x="1175" y="7236"/>
                    <a:pt x="1418" y="7585"/>
                  </a:cubicBezTo>
                  <a:cubicBezTo>
                    <a:pt x="1360" y="7652"/>
                    <a:pt x="1302" y="7715"/>
                    <a:pt x="1245" y="7779"/>
                  </a:cubicBezTo>
                  <a:cubicBezTo>
                    <a:pt x="1131" y="7894"/>
                    <a:pt x="1237" y="8052"/>
                    <a:pt x="1360" y="8052"/>
                  </a:cubicBezTo>
                  <a:cubicBezTo>
                    <a:pt x="1397" y="8052"/>
                    <a:pt x="1435" y="8038"/>
                    <a:pt x="1470" y="8004"/>
                  </a:cubicBezTo>
                  <a:cubicBezTo>
                    <a:pt x="1510" y="7969"/>
                    <a:pt x="1568" y="7926"/>
                    <a:pt x="1623" y="7888"/>
                  </a:cubicBezTo>
                  <a:cubicBezTo>
                    <a:pt x="2013" y="8477"/>
                    <a:pt x="2362" y="9089"/>
                    <a:pt x="2729" y="9722"/>
                  </a:cubicBezTo>
                  <a:cubicBezTo>
                    <a:pt x="2705" y="9753"/>
                    <a:pt x="2677" y="9791"/>
                    <a:pt x="2656" y="9820"/>
                  </a:cubicBezTo>
                  <a:cubicBezTo>
                    <a:pt x="2567" y="9933"/>
                    <a:pt x="2646" y="10117"/>
                    <a:pt x="2771" y="10117"/>
                  </a:cubicBezTo>
                  <a:cubicBezTo>
                    <a:pt x="2799" y="10117"/>
                    <a:pt x="2830" y="10107"/>
                    <a:pt x="2861" y="10085"/>
                  </a:cubicBezTo>
                  <a:cubicBezTo>
                    <a:pt x="2882" y="10071"/>
                    <a:pt x="2899" y="10057"/>
                    <a:pt x="2916" y="10045"/>
                  </a:cubicBezTo>
                  <a:cubicBezTo>
                    <a:pt x="3152" y="10454"/>
                    <a:pt x="3578" y="11155"/>
                    <a:pt x="4053" y="11155"/>
                  </a:cubicBezTo>
                  <a:cubicBezTo>
                    <a:pt x="4118" y="11155"/>
                    <a:pt x="4184" y="11142"/>
                    <a:pt x="4250" y="11113"/>
                  </a:cubicBezTo>
                  <a:cubicBezTo>
                    <a:pt x="4622" y="10949"/>
                    <a:pt x="4871" y="10585"/>
                    <a:pt x="5136" y="10290"/>
                  </a:cubicBezTo>
                  <a:cubicBezTo>
                    <a:pt x="5754" y="9606"/>
                    <a:pt x="6513" y="9190"/>
                    <a:pt x="7351" y="8919"/>
                  </a:cubicBezTo>
                  <a:lnTo>
                    <a:pt x="7351" y="8919"/>
                  </a:lnTo>
                  <a:cubicBezTo>
                    <a:pt x="7292" y="9038"/>
                    <a:pt x="7391" y="9172"/>
                    <a:pt x="7510" y="9172"/>
                  </a:cubicBezTo>
                  <a:cubicBezTo>
                    <a:pt x="7550" y="9172"/>
                    <a:pt x="7592" y="9157"/>
                    <a:pt x="7631" y="9121"/>
                  </a:cubicBezTo>
                  <a:cubicBezTo>
                    <a:pt x="7787" y="8983"/>
                    <a:pt x="7951" y="8858"/>
                    <a:pt x="8110" y="8720"/>
                  </a:cubicBezTo>
                  <a:cubicBezTo>
                    <a:pt x="8147" y="8711"/>
                    <a:pt x="8185" y="8700"/>
                    <a:pt x="8222" y="8691"/>
                  </a:cubicBezTo>
                  <a:cubicBezTo>
                    <a:pt x="8283" y="8682"/>
                    <a:pt x="8315" y="8619"/>
                    <a:pt x="8292" y="8567"/>
                  </a:cubicBezTo>
                  <a:cubicBezTo>
                    <a:pt x="9757" y="7295"/>
                    <a:pt x="11283" y="6097"/>
                    <a:pt x="12864" y="4975"/>
                  </a:cubicBezTo>
                  <a:lnTo>
                    <a:pt x="12864" y="4975"/>
                  </a:lnTo>
                  <a:cubicBezTo>
                    <a:pt x="11733" y="5779"/>
                    <a:pt x="10326" y="7595"/>
                    <a:pt x="9167" y="9023"/>
                  </a:cubicBezTo>
                  <a:cubicBezTo>
                    <a:pt x="9091" y="8974"/>
                    <a:pt x="9014" y="8931"/>
                    <a:pt x="8930" y="8893"/>
                  </a:cubicBezTo>
                  <a:cubicBezTo>
                    <a:pt x="8905" y="8882"/>
                    <a:pt x="8881" y="8878"/>
                    <a:pt x="8859" y="8878"/>
                  </a:cubicBezTo>
                  <a:cubicBezTo>
                    <a:pt x="8716" y="8878"/>
                    <a:pt x="8624" y="9067"/>
                    <a:pt x="8774" y="9162"/>
                  </a:cubicBezTo>
                  <a:cubicBezTo>
                    <a:pt x="8835" y="9199"/>
                    <a:pt x="8892" y="9245"/>
                    <a:pt x="8947" y="9291"/>
                  </a:cubicBezTo>
                  <a:cubicBezTo>
                    <a:pt x="8895" y="9358"/>
                    <a:pt x="8837" y="9427"/>
                    <a:pt x="8785" y="9491"/>
                  </a:cubicBezTo>
                  <a:cubicBezTo>
                    <a:pt x="8654" y="9626"/>
                    <a:pt x="8778" y="9812"/>
                    <a:pt x="8923" y="9812"/>
                  </a:cubicBezTo>
                  <a:cubicBezTo>
                    <a:pt x="8966" y="9812"/>
                    <a:pt x="9011" y="9795"/>
                    <a:pt x="9051" y="9756"/>
                  </a:cubicBezTo>
                  <a:cubicBezTo>
                    <a:pt x="9117" y="9701"/>
                    <a:pt x="9187" y="9649"/>
                    <a:pt x="9250" y="9592"/>
                  </a:cubicBezTo>
                  <a:cubicBezTo>
                    <a:pt x="9418" y="9777"/>
                    <a:pt x="9594" y="9990"/>
                    <a:pt x="9779" y="10212"/>
                  </a:cubicBezTo>
                  <a:cubicBezTo>
                    <a:pt x="9761" y="10233"/>
                    <a:pt x="9744" y="10253"/>
                    <a:pt x="9727" y="10273"/>
                  </a:cubicBezTo>
                  <a:cubicBezTo>
                    <a:pt x="9607" y="10419"/>
                    <a:pt x="9726" y="10608"/>
                    <a:pt x="9869" y="10608"/>
                  </a:cubicBezTo>
                  <a:cubicBezTo>
                    <a:pt x="9913" y="10608"/>
                    <a:pt x="9959" y="10590"/>
                    <a:pt x="10001" y="10547"/>
                  </a:cubicBezTo>
                  <a:cubicBezTo>
                    <a:pt x="10012" y="10539"/>
                    <a:pt x="10024" y="10527"/>
                    <a:pt x="10033" y="10518"/>
                  </a:cubicBezTo>
                  <a:cubicBezTo>
                    <a:pt x="10608" y="11204"/>
                    <a:pt x="11251" y="11871"/>
                    <a:pt x="11924" y="11871"/>
                  </a:cubicBezTo>
                  <a:cubicBezTo>
                    <a:pt x="12081" y="11871"/>
                    <a:pt x="12240" y="11835"/>
                    <a:pt x="12400" y="11754"/>
                  </a:cubicBezTo>
                  <a:cubicBezTo>
                    <a:pt x="14031" y="10931"/>
                    <a:pt x="14961" y="8590"/>
                    <a:pt x="15778" y="7077"/>
                  </a:cubicBezTo>
                  <a:cubicBezTo>
                    <a:pt x="15957" y="6742"/>
                    <a:pt x="16165" y="6430"/>
                    <a:pt x="16370" y="6119"/>
                  </a:cubicBezTo>
                  <a:cubicBezTo>
                    <a:pt x="16453" y="6021"/>
                    <a:pt x="16537" y="5925"/>
                    <a:pt x="16621" y="5827"/>
                  </a:cubicBezTo>
                  <a:cubicBezTo>
                    <a:pt x="16655" y="5784"/>
                    <a:pt x="16673" y="5729"/>
                    <a:pt x="16664" y="5674"/>
                  </a:cubicBezTo>
                  <a:cubicBezTo>
                    <a:pt x="16924" y="5310"/>
                    <a:pt x="17192" y="4955"/>
                    <a:pt x="17490" y="4609"/>
                  </a:cubicBezTo>
                  <a:cubicBezTo>
                    <a:pt x="17631" y="4438"/>
                    <a:pt x="17845" y="4213"/>
                    <a:pt x="17703" y="3985"/>
                  </a:cubicBezTo>
                  <a:cubicBezTo>
                    <a:pt x="17607" y="3829"/>
                    <a:pt x="17341" y="3791"/>
                    <a:pt x="17072" y="3791"/>
                  </a:cubicBezTo>
                  <a:cubicBezTo>
                    <a:pt x="16818" y="3791"/>
                    <a:pt x="16561" y="3825"/>
                    <a:pt x="16439" y="3826"/>
                  </a:cubicBezTo>
                  <a:lnTo>
                    <a:pt x="16188" y="3826"/>
                  </a:lnTo>
                  <a:cubicBezTo>
                    <a:pt x="16213" y="3713"/>
                    <a:pt x="16105" y="3617"/>
                    <a:pt x="15993" y="3617"/>
                  </a:cubicBezTo>
                  <a:cubicBezTo>
                    <a:pt x="15950" y="3617"/>
                    <a:pt x="15907" y="3630"/>
                    <a:pt x="15870" y="3662"/>
                  </a:cubicBezTo>
                  <a:cubicBezTo>
                    <a:pt x="15795" y="3725"/>
                    <a:pt x="15717" y="3786"/>
                    <a:pt x="15642" y="3849"/>
                  </a:cubicBezTo>
                  <a:cubicBezTo>
                    <a:pt x="15417" y="3867"/>
                    <a:pt x="15195" y="3919"/>
                    <a:pt x="14984" y="4002"/>
                  </a:cubicBezTo>
                  <a:cubicBezTo>
                    <a:pt x="14492" y="4206"/>
                    <a:pt x="14345" y="4586"/>
                    <a:pt x="13932" y="4586"/>
                  </a:cubicBezTo>
                  <a:cubicBezTo>
                    <a:pt x="13842" y="4586"/>
                    <a:pt x="13738" y="4568"/>
                    <a:pt x="13615" y="4525"/>
                  </a:cubicBezTo>
                  <a:cubicBezTo>
                    <a:pt x="13662" y="3217"/>
                    <a:pt x="13725" y="1156"/>
                    <a:pt x="13084" y="472"/>
                  </a:cubicBezTo>
                  <a:cubicBezTo>
                    <a:pt x="13151" y="411"/>
                    <a:pt x="13223" y="353"/>
                    <a:pt x="13289" y="293"/>
                  </a:cubicBezTo>
                  <a:cubicBezTo>
                    <a:pt x="13406" y="187"/>
                    <a:pt x="13300" y="1"/>
                    <a:pt x="131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65"/>
            <p:cNvSpPr/>
            <p:nvPr/>
          </p:nvSpPr>
          <p:spPr>
            <a:xfrm>
              <a:off x="5432550" y="952075"/>
              <a:ext cx="328650" cy="322675"/>
            </a:xfrm>
            <a:custGeom>
              <a:avLst/>
              <a:gdLst/>
              <a:ahLst/>
              <a:cxnLst/>
              <a:rect l="l" t="t" r="r" b="b"/>
              <a:pathLst>
                <a:path w="13146" h="12907" extrusionOk="0">
                  <a:moveTo>
                    <a:pt x="3747" y="539"/>
                  </a:moveTo>
                  <a:cubicBezTo>
                    <a:pt x="4006" y="539"/>
                    <a:pt x="4243" y="605"/>
                    <a:pt x="4435" y="731"/>
                  </a:cubicBezTo>
                  <a:cubicBezTo>
                    <a:pt x="3436" y="1638"/>
                    <a:pt x="2536" y="2640"/>
                    <a:pt x="1537" y="3549"/>
                  </a:cubicBezTo>
                  <a:lnTo>
                    <a:pt x="1467" y="3613"/>
                  </a:lnTo>
                  <a:cubicBezTo>
                    <a:pt x="1467" y="3601"/>
                    <a:pt x="1470" y="3590"/>
                    <a:pt x="1470" y="3578"/>
                  </a:cubicBezTo>
                  <a:cubicBezTo>
                    <a:pt x="1811" y="3255"/>
                    <a:pt x="2261" y="2833"/>
                    <a:pt x="2305" y="2790"/>
                  </a:cubicBezTo>
                  <a:cubicBezTo>
                    <a:pt x="2911" y="2161"/>
                    <a:pt x="3477" y="1511"/>
                    <a:pt x="4028" y="832"/>
                  </a:cubicBezTo>
                  <a:cubicBezTo>
                    <a:pt x="4132" y="726"/>
                    <a:pt x="4035" y="580"/>
                    <a:pt x="3922" y="580"/>
                  </a:cubicBezTo>
                  <a:cubicBezTo>
                    <a:pt x="3888" y="580"/>
                    <a:pt x="3852" y="593"/>
                    <a:pt x="3820" y="625"/>
                  </a:cubicBezTo>
                  <a:cubicBezTo>
                    <a:pt x="3327" y="1055"/>
                    <a:pt x="1583" y="2397"/>
                    <a:pt x="1306" y="3399"/>
                  </a:cubicBezTo>
                  <a:cubicBezTo>
                    <a:pt x="1081" y="3630"/>
                    <a:pt x="852" y="3855"/>
                    <a:pt x="630" y="4092"/>
                  </a:cubicBezTo>
                  <a:cubicBezTo>
                    <a:pt x="884" y="3125"/>
                    <a:pt x="1381" y="2262"/>
                    <a:pt x="2013" y="1488"/>
                  </a:cubicBezTo>
                  <a:cubicBezTo>
                    <a:pt x="2545" y="838"/>
                    <a:pt x="3196" y="539"/>
                    <a:pt x="3747" y="539"/>
                  </a:cubicBezTo>
                  <a:close/>
                  <a:moveTo>
                    <a:pt x="4764" y="1089"/>
                  </a:moveTo>
                  <a:cubicBezTo>
                    <a:pt x="4909" y="1349"/>
                    <a:pt x="4955" y="1696"/>
                    <a:pt x="4865" y="2117"/>
                  </a:cubicBezTo>
                  <a:cubicBezTo>
                    <a:pt x="4271" y="2533"/>
                    <a:pt x="3685" y="2954"/>
                    <a:pt x="3113" y="3405"/>
                  </a:cubicBezTo>
                  <a:cubicBezTo>
                    <a:pt x="2847" y="3613"/>
                    <a:pt x="2169" y="4233"/>
                    <a:pt x="1690" y="4681"/>
                  </a:cubicBezTo>
                  <a:cubicBezTo>
                    <a:pt x="2862" y="3575"/>
                    <a:pt x="3970" y="2478"/>
                    <a:pt x="4764" y="1089"/>
                  </a:cubicBezTo>
                  <a:close/>
                  <a:moveTo>
                    <a:pt x="4424" y="1188"/>
                  </a:moveTo>
                  <a:lnTo>
                    <a:pt x="4424" y="1188"/>
                  </a:lnTo>
                  <a:cubicBezTo>
                    <a:pt x="3269" y="2308"/>
                    <a:pt x="1898" y="3922"/>
                    <a:pt x="567" y="5247"/>
                  </a:cubicBezTo>
                  <a:cubicBezTo>
                    <a:pt x="518" y="5056"/>
                    <a:pt x="500" y="4857"/>
                    <a:pt x="518" y="4658"/>
                  </a:cubicBezTo>
                  <a:lnTo>
                    <a:pt x="518" y="4658"/>
                  </a:lnTo>
                  <a:lnTo>
                    <a:pt x="518" y="4661"/>
                  </a:lnTo>
                  <a:cubicBezTo>
                    <a:pt x="522" y="4658"/>
                    <a:pt x="526" y="4658"/>
                    <a:pt x="531" y="4658"/>
                  </a:cubicBezTo>
                  <a:cubicBezTo>
                    <a:pt x="535" y="4658"/>
                    <a:pt x="539" y="4658"/>
                    <a:pt x="544" y="4655"/>
                  </a:cubicBezTo>
                  <a:cubicBezTo>
                    <a:pt x="2051" y="3722"/>
                    <a:pt x="3159" y="2412"/>
                    <a:pt x="4424" y="1188"/>
                  </a:cubicBezTo>
                  <a:close/>
                  <a:moveTo>
                    <a:pt x="4747" y="3116"/>
                  </a:moveTo>
                  <a:cubicBezTo>
                    <a:pt x="4897" y="3249"/>
                    <a:pt x="5039" y="3393"/>
                    <a:pt x="5174" y="3543"/>
                  </a:cubicBezTo>
                  <a:lnTo>
                    <a:pt x="5171" y="3546"/>
                  </a:lnTo>
                  <a:cubicBezTo>
                    <a:pt x="5145" y="3546"/>
                    <a:pt x="5117" y="3552"/>
                    <a:pt x="5093" y="3566"/>
                  </a:cubicBezTo>
                  <a:cubicBezTo>
                    <a:pt x="4034" y="4320"/>
                    <a:pt x="3061" y="5172"/>
                    <a:pt x="2235" y="6176"/>
                  </a:cubicBezTo>
                  <a:cubicBezTo>
                    <a:pt x="3078" y="5149"/>
                    <a:pt x="3947" y="4164"/>
                    <a:pt x="4747" y="3116"/>
                  </a:cubicBezTo>
                  <a:close/>
                  <a:moveTo>
                    <a:pt x="4695" y="2643"/>
                  </a:moveTo>
                  <a:cubicBezTo>
                    <a:pt x="3584" y="3474"/>
                    <a:pt x="2449" y="5322"/>
                    <a:pt x="1516" y="6482"/>
                  </a:cubicBezTo>
                  <a:cubicBezTo>
                    <a:pt x="1177" y="6200"/>
                    <a:pt x="909" y="5935"/>
                    <a:pt x="732" y="5636"/>
                  </a:cubicBezTo>
                  <a:lnTo>
                    <a:pt x="732" y="5636"/>
                  </a:lnTo>
                  <a:cubicBezTo>
                    <a:pt x="2100" y="4695"/>
                    <a:pt x="3365" y="3633"/>
                    <a:pt x="4695" y="2643"/>
                  </a:cubicBezTo>
                  <a:close/>
                  <a:moveTo>
                    <a:pt x="4670" y="4324"/>
                  </a:moveTo>
                  <a:cubicBezTo>
                    <a:pt x="4733" y="4324"/>
                    <a:pt x="4598" y="4547"/>
                    <a:pt x="4268" y="4996"/>
                  </a:cubicBezTo>
                  <a:cubicBezTo>
                    <a:pt x="3777" y="5792"/>
                    <a:pt x="3119" y="6520"/>
                    <a:pt x="2504" y="7233"/>
                  </a:cubicBezTo>
                  <a:cubicBezTo>
                    <a:pt x="2328" y="7022"/>
                    <a:pt x="2149" y="6817"/>
                    <a:pt x="1973" y="6618"/>
                  </a:cubicBezTo>
                  <a:cubicBezTo>
                    <a:pt x="2715" y="6052"/>
                    <a:pt x="3402" y="5437"/>
                    <a:pt x="4095" y="4799"/>
                  </a:cubicBezTo>
                  <a:cubicBezTo>
                    <a:pt x="4426" y="4482"/>
                    <a:pt x="4618" y="4324"/>
                    <a:pt x="4670" y="4324"/>
                  </a:cubicBezTo>
                  <a:close/>
                  <a:moveTo>
                    <a:pt x="5024" y="5828"/>
                  </a:moveTo>
                  <a:lnTo>
                    <a:pt x="5024" y="5828"/>
                  </a:lnTo>
                  <a:cubicBezTo>
                    <a:pt x="4428" y="6609"/>
                    <a:pt x="3863" y="7399"/>
                    <a:pt x="3327" y="8215"/>
                  </a:cubicBezTo>
                  <a:cubicBezTo>
                    <a:pt x="3139" y="7992"/>
                    <a:pt x="2954" y="7773"/>
                    <a:pt x="2769" y="7551"/>
                  </a:cubicBezTo>
                  <a:lnTo>
                    <a:pt x="2772" y="7551"/>
                  </a:lnTo>
                  <a:cubicBezTo>
                    <a:pt x="3579" y="7055"/>
                    <a:pt x="4570" y="6421"/>
                    <a:pt x="5024" y="5828"/>
                  </a:cubicBezTo>
                  <a:close/>
                  <a:moveTo>
                    <a:pt x="6222" y="6976"/>
                  </a:moveTo>
                  <a:lnTo>
                    <a:pt x="6222" y="6976"/>
                  </a:lnTo>
                  <a:cubicBezTo>
                    <a:pt x="5558" y="7452"/>
                    <a:pt x="4932" y="8601"/>
                    <a:pt x="4403" y="9378"/>
                  </a:cubicBezTo>
                  <a:cubicBezTo>
                    <a:pt x="4190" y="9173"/>
                    <a:pt x="3985" y="8957"/>
                    <a:pt x="3783" y="8737"/>
                  </a:cubicBezTo>
                  <a:cubicBezTo>
                    <a:pt x="4603" y="8157"/>
                    <a:pt x="5405" y="7559"/>
                    <a:pt x="6222" y="6976"/>
                  </a:cubicBezTo>
                  <a:close/>
                  <a:moveTo>
                    <a:pt x="8913" y="7588"/>
                  </a:moveTo>
                  <a:cubicBezTo>
                    <a:pt x="9124" y="7637"/>
                    <a:pt x="9340" y="7669"/>
                    <a:pt x="9557" y="7678"/>
                  </a:cubicBezTo>
                  <a:cubicBezTo>
                    <a:pt x="8668" y="8316"/>
                    <a:pt x="7738" y="9150"/>
                    <a:pt x="7143" y="9748"/>
                  </a:cubicBezTo>
                  <a:cubicBezTo>
                    <a:pt x="7799" y="9084"/>
                    <a:pt x="8390" y="8362"/>
                    <a:pt x="8913" y="7588"/>
                  </a:cubicBezTo>
                  <a:close/>
                  <a:moveTo>
                    <a:pt x="5345" y="3751"/>
                  </a:moveTo>
                  <a:lnTo>
                    <a:pt x="5345" y="3751"/>
                  </a:lnTo>
                  <a:cubicBezTo>
                    <a:pt x="6381" y="5042"/>
                    <a:pt x="6956" y="6745"/>
                    <a:pt x="8388" y="7406"/>
                  </a:cubicBezTo>
                  <a:cubicBezTo>
                    <a:pt x="7396" y="8199"/>
                    <a:pt x="6419" y="9005"/>
                    <a:pt x="5434" y="9804"/>
                  </a:cubicBezTo>
                  <a:lnTo>
                    <a:pt x="5434" y="9804"/>
                  </a:lnTo>
                  <a:cubicBezTo>
                    <a:pt x="6262" y="9132"/>
                    <a:pt x="6821" y="8340"/>
                    <a:pt x="7394" y="7441"/>
                  </a:cubicBezTo>
                  <a:cubicBezTo>
                    <a:pt x="7477" y="7312"/>
                    <a:pt x="7358" y="7154"/>
                    <a:pt x="7226" y="7154"/>
                  </a:cubicBezTo>
                  <a:cubicBezTo>
                    <a:pt x="7195" y="7154"/>
                    <a:pt x="7164" y="7162"/>
                    <a:pt x="7135" y="7181"/>
                  </a:cubicBezTo>
                  <a:cubicBezTo>
                    <a:pt x="6644" y="7501"/>
                    <a:pt x="6170" y="7854"/>
                    <a:pt x="5723" y="8235"/>
                  </a:cubicBezTo>
                  <a:cubicBezTo>
                    <a:pt x="6141" y="7666"/>
                    <a:pt x="6543" y="7094"/>
                    <a:pt x="6918" y="6494"/>
                  </a:cubicBezTo>
                  <a:cubicBezTo>
                    <a:pt x="6995" y="6370"/>
                    <a:pt x="6882" y="6213"/>
                    <a:pt x="6753" y="6213"/>
                  </a:cubicBezTo>
                  <a:cubicBezTo>
                    <a:pt x="6724" y="6213"/>
                    <a:pt x="6693" y="6221"/>
                    <a:pt x="6664" y="6240"/>
                  </a:cubicBezTo>
                  <a:cubicBezTo>
                    <a:pt x="5599" y="6947"/>
                    <a:pt x="4588" y="7730"/>
                    <a:pt x="3552" y="8474"/>
                  </a:cubicBezTo>
                  <a:lnTo>
                    <a:pt x="3549" y="8472"/>
                  </a:lnTo>
                  <a:cubicBezTo>
                    <a:pt x="4383" y="7845"/>
                    <a:pt x="5171" y="6231"/>
                    <a:pt x="5812" y="5388"/>
                  </a:cubicBezTo>
                  <a:cubicBezTo>
                    <a:pt x="5899" y="5271"/>
                    <a:pt x="5775" y="5111"/>
                    <a:pt x="5650" y="5111"/>
                  </a:cubicBezTo>
                  <a:cubicBezTo>
                    <a:pt x="5620" y="5111"/>
                    <a:pt x="5591" y="5120"/>
                    <a:pt x="5564" y="5140"/>
                  </a:cubicBezTo>
                  <a:cubicBezTo>
                    <a:pt x="4767" y="5723"/>
                    <a:pt x="3656" y="6430"/>
                    <a:pt x="3113" y="7063"/>
                  </a:cubicBezTo>
                  <a:cubicBezTo>
                    <a:pt x="3979" y="6049"/>
                    <a:pt x="4733" y="5007"/>
                    <a:pt x="5339" y="3812"/>
                  </a:cubicBezTo>
                  <a:cubicBezTo>
                    <a:pt x="5345" y="3792"/>
                    <a:pt x="5348" y="3771"/>
                    <a:pt x="5345" y="3751"/>
                  </a:cubicBezTo>
                  <a:close/>
                  <a:moveTo>
                    <a:pt x="6653" y="7898"/>
                  </a:moveTo>
                  <a:lnTo>
                    <a:pt x="6653" y="7898"/>
                  </a:lnTo>
                  <a:cubicBezTo>
                    <a:pt x="6197" y="8610"/>
                    <a:pt x="5606" y="9275"/>
                    <a:pt x="5062" y="9947"/>
                  </a:cubicBezTo>
                  <a:cubicBezTo>
                    <a:pt x="4943" y="9857"/>
                    <a:pt x="4831" y="9759"/>
                    <a:pt x="4718" y="9661"/>
                  </a:cubicBezTo>
                  <a:cubicBezTo>
                    <a:pt x="5331" y="9111"/>
                    <a:pt x="6341" y="8383"/>
                    <a:pt x="6653" y="7898"/>
                  </a:cubicBezTo>
                  <a:close/>
                  <a:moveTo>
                    <a:pt x="10397" y="7672"/>
                  </a:moveTo>
                  <a:cubicBezTo>
                    <a:pt x="10976" y="7672"/>
                    <a:pt x="11410" y="7774"/>
                    <a:pt x="11578" y="8581"/>
                  </a:cubicBezTo>
                  <a:cubicBezTo>
                    <a:pt x="11563" y="8584"/>
                    <a:pt x="11552" y="8581"/>
                    <a:pt x="11540" y="8587"/>
                  </a:cubicBezTo>
                  <a:cubicBezTo>
                    <a:pt x="10550" y="9216"/>
                    <a:pt x="9724" y="9973"/>
                    <a:pt x="8875" y="10775"/>
                  </a:cubicBezTo>
                  <a:cubicBezTo>
                    <a:pt x="9057" y="10585"/>
                    <a:pt x="9254" y="10371"/>
                    <a:pt x="9421" y="10160"/>
                  </a:cubicBezTo>
                  <a:cubicBezTo>
                    <a:pt x="9929" y="9531"/>
                    <a:pt x="10414" y="8902"/>
                    <a:pt x="10870" y="8229"/>
                  </a:cubicBezTo>
                  <a:cubicBezTo>
                    <a:pt x="10962" y="8095"/>
                    <a:pt x="10831" y="7930"/>
                    <a:pt x="10691" y="7930"/>
                  </a:cubicBezTo>
                  <a:cubicBezTo>
                    <a:pt x="10659" y="7930"/>
                    <a:pt x="10626" y="7938"/>
                    <a:pt x="10596" y="7958"/>
                  </a:cubicBezTo>
                  <a:cubicBezTo>
                    <a:pt x="9964" y="8353"/>
                    <a:pt x="9384" y="8801"/>
                    <a:pt x="8818" y="9268"/>
                  </a:cubicBezTo>
                  <a:cubicBezTo>
                    <a:pt x="9239" y="8786"/>
                    <a:pt x="9652" y="8301"/>
                    <a:pt x="10048" y="7796"/>
                  </a:cubicBezTo>
                  <a:cubicBezTo>
                    <a:pt x="10071" y="7761"/>
                    <a:pt x="10085" y="7721"/>
                    <a:pt x="10085" y="7678"/>
                  </a:cubicBezTo>
                  <a:cubicBezTo>
                    <a:pt x="10193" y="7675"/>
                    <a:pt x="10297" y="7672"/>
                    <a:pt x="10397" y="7672"/>
                  </a:cubicBezTo>
                  <a:close/>
                  <a:moveTo>
                    <a:pt x="8434" y="7894"/>
                  </a:moveTo>
                  <a:cubicBezTo>
                    <a:pt x="8558" y="7894"/>
                    <a:pt x="6647" y="9702"/>
                    <a:pt x="6309" y="10045"/>
                  </a:cubicBezTo>
                  <a:cubicBezTo>
                    <a:pt x="6183" y="10168"/>
                    <a:pt x="6295" y="10378"/>
                    <a:pt x="6442" y="10378"/>
                  </a:cubicBezTo>
                  <a:cubicBezTo>
                    <a:pt x="6474" y="10378"/>
                    <a:pt x="6507" y="10368"/>
                    <a:pt x="6540" y="10345"/>
                  </a:cubicBezTo>
                  <a:cubicBezTo>
                    <a:pt x="7452" y="9730"/>
                    <a:pt x="8664" y="8934"/>
                    <a:pt x="9288" y="8140"/>
                  </a:cubicBezTo>
                  <a:lnTo>
                    <a:pt x="9288" y="8140"/>
                  </a:lnTo>
                  <a:cubicBezTo>
                    <a:pt x="8696" y="8893"/>
                    <a:pt x="8041" y="9598"/>
                    <a:pt x="7392" y="10305"/>
                  </a:cubicBezTo>
                  <a:cubicBezTo>
                    <a:pt x="7384" y="10305"/>
                    <a:pt x="7378" y="10296"/>
                    <a:pt x="7369" y="10296"/>
                  </a:cubicBezTo>
                  <a:cubicBezTo>
                    <a:pt x="7368" y="10296"/>
                    <a:pt x="7367" y="10296"/>
                    <a:pt x="7366" y="10296"/>
                  </a:cubicBezTo>
                  <a:cubicBezTo>
                    <a:pt x="7008" y="10464"/>
                    <a:pt x="6765" y="10643"/>
                    <a:pt x="6606" y="10824"/>
                  </a:cubicBezTo>
                  <a:cubicBezTo>
                    <a:pt x="6203" y="10677"/>
                    <a:pt x="5834" y="10473"/>
                    <a:pt x="5485" y="10243"/>
                  </a:cubicBezTo>
                  <a:lnTo>
                    <a:pt x="5485" y="10243"/>
                  </a:lnTo>
                  <a:cubicBezTo>
                    <a:pt x="6235" y="9640"/>
                    <a:pt x="6982" y="9037"/>
                    <a:pt x="7726" y="8428"/>
                  </a:cubicBezTo>
                  <a:cubicBezTo>
                    <a:pt x="8191" y="8046"/>
                    <a:pt x="8398" y="7894"/>
                    <a:pt x="8434" y="7894"/>
                  </a:cubicBezTo>
                  <a:close/>
                  <a:moveTo>
                    <a:pt x="11618" y="9883"/>
                  </a:moveTo>
                  <a:lnTo>
                    <a:pt x="11618" y="9883"/>
                  </a:lnTo>
                  <a:cubicBezTo>
                    <a:pt x="11468" y="10989"/>
                    <a:pt x="10827" y="11907"/>
                    <a:pt x="9742" y="12329"/>
                  </a:cubicBezTo>
                  <a:lnTo>
                    <a:pt x="9742" y="12331"/>
                  </a:lnTo>
                  <a:cubicBezTo>
                    <a:pt x="9594" y="12386"/>
                    <a:pt x="9441" y="12421"/>
                    <a:pt x="9285" y="12438"/>
                  </a:cubicBezTo>
                  <a:cubicBezTo>
                    <a:pt x="9707" y="11930"/>
                    <a:pt x="10143" y="11442"/>
                    <a:pt x="10605" y="10960"/>
                  </a:cubicBezTo>
                  <a:cubicBezTo>
                    <a:pt x="10735" y="10807"/>
                    <a:pt x="10853" y="10645"/>
                    <a:pt x="10957" y="10478"/>
                  </a:cubicBezTo>
                  <a:cubicBezTo>
                    <a:pt x="10969" y="10472"/>
                    <a:pt x="10977" y="10478"/>
                    <a:pt x="10986" y="10469"/>
                  </a:cubicBezTo>
                  <a:cubicBezTo>
                    <a:pt x="11220" y="10299"/>
                    <a:pt x="11430" y="10103"/>
                    <a:pt x="11618" y="9883"/>
                  </a:cubicBezTo>
                  <a:close/>
                  <a:moveTo>
                    <a:pt x="10091" y="8670"/>
                  </a:moveTo>
                  <a:cubicBezTo>
                    <a:pt x="9347" y="9758"/>
                    <a:pt x="8435" y="10723"/>
                    <a:pt x="7689" y="11812"/>
                  </a:cubicBezTo>
                  <a:cubicBezTo>
                    <a:pt x="7586" y="11965"/>
                    <a:pt x="7725" y="12101"/>
                    <a:pt x="7869" y="12101"/>
                  </a:cubicBezTo>
                  <a:cubicBezTo>
                    <a:pt x="7916" y="12101"/>
                    <a:pt x="7963" y="12087"/>
                    <a:pt x="8004" y="12054"/>
                  </a:cubicBezTo>
                  <a:cubicBezTo>
                    <a:pt x="9087" y="11178"/>
                    <a:pt x="10041" y="10167"/>
                    <a:pt x="11148" y="9313"/>
                  </a:cubicBezTo>
                  <a:lnTo>
                    <a:pt x="11148" y="9313"/>
                  </a:lnTo>
                  <a:cubicBezTo>
                    <a:pt x="10512" y="9805"/>
                    <a:pt x="9954" y="10668"/>
                    <a:pt x="9418" y="11480"/>
                  </a:cubicBezTo>
                  <a:cubicBezTo>
                    <a:pt x="9257" y="11598"/>
                    <a:pt x="9181" y="11716"/>
                    <a:pt x="9184" y="11835"/>
                  </a:cubicBezTo>
                  <a:cubicBezTo>
                    <a:pt x="9037" y="12054"/>
                    <a:pt x="8890" y="12262"/>
                    <a:pt x="8746" y="12453"/>
                  </a:cubicBezTo>
                  <a:cubicBezTo>
                    <a:pt x="7703" y="12404"/>
                    <a:pt x="6520" y="11921"/>
                    <a:pt x="6745" y="11185"/>
                  </a:cubicBezTo>
                  <a:lnTo>
                    <a:pt x="6745" y="11185"/>
                  </a:lnTo>
                  <a:cubicBezTo>
                    <a:pt x="6774" y="11268"/>
                    <a:pt x="6850" y="11314"/>
                    <a:pt x="6928" y="11314"/>
                  </a:cubicBezTo>
                  <a:cubicBezTo>
                    <a:pt x="6973" y="11314"/>
                    <a:pt x="7019" y="11299"/>
                    <a:pt x="7057" y="11266"/>
                  </a:cubicBezTo>
                  <a:cubicBezTo>
                    <a:pt x="7952" y="10550"/>
                    <a:pt x="9498" y="9535"/>
                    <a:pt x="10091" y="8670"/>
                  </a:cubicBezTo>
                  <a:close/>
                  <a:moveTo>
                    <a:pt x="4438" y="0"/>
                  </a:moveTo>
                  <a:cubicBezTo>
                    <a:pt x="4048" y="0"/>
                    <a:pt x="3634" y="102"/>
                    <a:pt x="3361" y="192"/>
                  </a:cubicBezTo>
                  <a:cubicBezTo>
                    <a:pt x="1179" y="913"/>
                    <a:pt x="330" y="3465"/>
                    <a:pt x="12" y="5489"/>
                  </a:cubicBezTo>
                  <a:cubicBezTo>
                    <a:pt x="1" y="5561"/>
                    <a:pt x="18" y="5634"/>
                    <a:pt x="87" y="5674"/>
                  </a:cubicBezTo>
                  <a:cubicBezTo>
                    <a:pt x="604" y="5954"/>
                    <a:pt x="942" y="6381"/>
                    <a:pt x="1395" y="6725"/>
                  </a:cubicBezTo>
                  <a:cubicBezTo>
                    <a:pt x="1404" y="6817"/>
                    <a:pt x="1470" y="6903"/>
                    <a:pt x="1557" y="6903"/>
                  </a:cubicBezTo>
                  <a:cubicBezTo>
                    <a:pt x="1586" y="6903"/>
                    <a:pt x="1619" y="6893"/>
                    <a:pt x="1652" y="6869"/>
                  </a:cubicBezTo>
                  <a:cubicBezTo>
                    <a:pt x="1721" y="6820"/>
                    <a:pt x="1782" y="6760"/>
                    <a:pt x="1851" y="6710"/>
                  </a:cubicBezTo>
                  <a:cubicBezTo>
                    <a:pt x="2019" y="6936"/>
                    <a:pt x="2192" y="7167"/>
                    <a:pt x="2368" y="7406"/>
                  </a:cubicBezTo>
                  <a:cubicBezTo>
                    <a:pt x="2297" y="7525"/>
                    <a:pt x="2377" y="7673"/>
                    <a:pt x="2503" y="7673"/>
                  </a:cubicBezTo>
                  <a:cubicBezTo>
                    <a:pt x="2520" y="7673"/>
                    <a:pt x="2539" y="7670"/>
                    <a:pt x="2559" y="7663"/>
                  </a:cubicBezTo>
                  <a:cubicBezTo>
                    <a:pt x="2755" y="7926"/>
                    <a:pt x="2954" y="8191"/>
                    <a:pt x="3168" y="8454"/>
                  </a:cubicBezTo>
                  <a:cubicBezTo>
                    <a:pt x="3055" y="8633"/>
                    <a:pt x="2928" y="8801"/>
                    <a:pt x="2821" y="8983"/>
                  </a:cubicBezTo>
                  <a:cubicBezTo>
                    <a:pt x="2747" y="9106"/>
                    <a:pt x="2853" y="9262"/>
                    <a:pt x="2979" y="9262"/>
                  </a:cubicBezTo>
                  <a:cubicBezTo>
                    <a:pt x="3009" y="9262"/>
                    <a:pt x="3040" y="9254"/>
                    <a:pt x="3070" y="9234"/>
                  </a:cubicBezTo>
                  <a:cubicBezTo>
                    <a:pt x="3228" y="9130"/>
                    <a:pt x="3387" y="9008"/>
                    <a:pt x="3546" y="8899"/>
                  </a:cubicBezTo>
                  <a:cubicBezTo>
                    <a:pt x="3765" y="9156"/>
                    <a:pt x="3993" y="9401"/>
                    <a:pt x="4230" y="9632"/>
                  </a:cubicBezTo>
                  <a:cubicBezTo>
                    <a:pt x="4161" y="9756"/>
                    <a:pt x="4277" y="9874"/>
                    <a:pt x="4399" y="9874"/>
                  </a:cubicBezTo>
                  <a:cubicBezTo>
                    <a:pt x="4425" y="9874"/>
                    <a:pt x="4451" y="9869"/>
                    <a:pt x="4476" y="9857"/>
                  </a:cubicBezTo>
                  <a:cubicBezTo>
                    <a:pt x="4603" y="9973"/>
                    <a:pt x="4735" y="10082"/>
                    <a:pt x="4868" y="10186"/>
                  </a:cubicBezTo>
                  <a:cubicBezTo>
                    <a:pt x="4813" y="10256"/>
                    <a:pt x="4756" y="10325"/>
                    <a:pt x="4701" y="10397"/>
                  </a:cubicBezTo>
                  <a:cubicBezTo>
                    <a:pt x="4593" y="10540"/>
                    <a:pt x="4734" y="10671"/>
                    <a:pt x="4877" y="10671"/>
                  </a:cubicBezTo>
                  <a:cubicBezTo>
                    <a:pt x="4922" y="10671"/>
                    <a:pt x="4967" y="10658"/>
                    <a:pt x="5004" y="10628"/>
                  </a:cubicBezTo>
                  <a:cubicBezTo>
                    <a:pt x="5082" y="10567"/>
                    <a:pt x="5157" y="10504"/>
                    <a:pt x="5235" y="10443"/>
                  </a:cubicBezTo>
                  <a:cubicBezTo>
                    <a:pt x="5619" y="10697"/>
                    <a:pt x="6020" y="10914"/>
                    <a:pt x="6456" y="11041"/>
                  </a:cubicBezTo>
                  <a:cubicBezTo>
                    <a:pt x="6055" y="11864"/>
                    <a:pt x="7288" y="12701"/>
                    <a:pt x="8491" y="12828"/>
                  </a:cubicBezTo>
                  <a:cubicBezTo>
                    <a:pt x="8515" y="12830"/>
                    <a:pt x="8538" y="12831"/>
                    <a:pt x="8561" y="12831"/>
                  </a:cubicBezTo>
                  <a:cubicBezTo>
                    <a:pt x="8586" y="12831"/>
                    <a:pt x="8611" y="12830"/>
                    <a:pt x="8636" y="12830"/>
                  </a:cubicBezTo>
                  <a:cubicBezTo>
                    <a:pt x="8650" y="12830"/>
                    <a:pt x="8665" y="12830"/>
                    <a:pt x="8679" y="12831"/>
                  </a:cubicBezTo>
                  <a:cubicBezTo>
                    <a:pt x="8718" y="12876"/>
                    <a:pt x="8770" y="12907"/>
                    <a:pt x="8822" y="12907"/>
                  </a:cubicBezTo>
                  <a:cubicBezTo>
                    <a:pt x="8865" y="12907"/>
                    <a:pt x="8908" y="12887"/>
                    <a:pt x="8945" y="12840"/>
                  </a:cubicBezTo>
                  <a:lnTo>
                    <a:pt x="8948" y="12837"/>
                  </a:lnTo>
                  <a:cubicBezTo>
                    <a:pt x="11254" y="12684"/>
                    <a:pt x="13145" y="9612"/>
                    <a:pt x="11540" y="7652"/>
                  </a:cubicBezTo>
                  <a:cubicBezTo>
                    <a:pt x="11355" y="7424"/>
                    <a:pt x="10919" y="7340"/>
                    <a:pt x="10657" y="7334"/>
                  </a:cubicBezTo>
                  <a:cubicBezTo>
                    <a:pt x="10082" y="7320"/>
                    <a:pt x="9589" y="7317"/>
                    <a:pt x="9141" y="7242"/>
                  </a:cubicBezTo>
                  <a:cubicBezTo>
                    <a:pt x="9188" y="7110"/>
                    <a:pt x="9076" y="7004"/>
                    <a:pt x="8954" y="7004"/>
                  </a:cubicBezTo>
                  <a:cubicBezTo>
                    <a:pt x="8911" y="7004"/>
                    <a:pt x="8866" y="7018"/>
                    <a:pt x="8826" y="7048"/>
                  </a:cubicBezTo>
                  <a:cubicBezTo>
                    <a:pt x="8789" y="7080"/>
                    <a:pt x="8751" y="7112"/>
                    <a:pt x="8714" y="7141"/>
                  </a:cubicBezTo>
                  <a:cubicBezTo>
                    <a:pt x="8174" y="6970"/>
                    <a:pt x="7680" y="6638"/>
                    <a:pt x="7163" y="5957"/>
                  </a:cubicBezTo>
                  <a:cubicBezTo>
                    <a:pt x="6577" y="5186"/>
                    <a:pt x="6251" y="4225"/>
                    <a:pt x="5610" y="3491"/>
                  </a:cubicBezTo>
                  <a:cubicBezTo>
                    <a:pt x="5287" y="3119"/>
                    <a:pt x="5235" y="2761"/>
                    <a:pt x="5267" y="2394"/>
                  </a:cubicBezTo>
                  <a:cubicBezTo>
                    <a:pt x="5342" y="2288"/>
                    <a:pt x="5423" y="2186"/>
                    <a:pt x="5495" y="2080"/>
                  </a:cubicBezTo>
                  <a:cubicBezTo>
                    <a:pt x="5570" y="1970"/>
                    <a:pt x="5480" y="1831"/>
                    <a:pt x="5368" y="1811"/>
                  </a:cubicBezTo>
                  <a:cubicBezTo>
                    <a:pt x="5440" y="1488"/>
                    <a:pt x="5512" y="1150"/>
                    <a:pt x="5477" y="786"/>
                  </a:cubicBezTo>
                  <a:cubicBezTo>
                    <a:pt x="5423" y="176"/>
                    <a:pt x="4952" y="0"/>
                    <a:pt x="44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65"/>
            <p:cNvSpPr/>
            <p:nvPr/>
          </p:nvSpPr>
          <p:spPr>
            <a:xfrm>
              <a:off x="6326800" y="1440800"/>
              <a:ext cx="161475" cy="100175"/>
            </a:xfrm>
            <a:custGeom>
              <a:avLst/>
              <a:gdLst/>
              <a:ahLst/>
              <a:cxnLst/>
              <a:rect l="l" t="t" r="r" b="b"/>
              <a:pathLst>
                <a:path w="6459" h="4007" extrusionOk="0">
                  <a:moveTo>
                    <a:pt x="6014" y="1169"/>
                  </a:moveTo>
                  <a:cubicBezTo>
                    <a:pt x="6055" y="1299"/>
                    <a:pt x="6072" y="1432"/>
                    <a:pt x="6066" y="1565"/>
                  </a:cubicBezTo>
                  <a:cubicBezTo>
                    <a:pt x="6058" y="1949"/>
                    <a:pt x="5844" y="2298"/>
                    <a:pt x="5558" y="2546"/>
                  </a:cubicBezTo>
                  <a:cubicBezTo>
                    <a:pt x="5512" y="2581"/>
                    <a:pt x="5463" y="2613"/>
                    <a:pt x="5411" y="2639"/>
                  </a:cubicBezTo>
                  <a:cubicBezTo>
                    <a:pt x="5387" y="2619"/>
                    <a:pt x="5359" y="2607"/>
                    <a:pt x="5329" y="2607"/>
                  </a:cubicBezTo>
                  <a:cubicBezTo>
                    <a:pt x="5316" y="2607"/>
                    <a:pt x="5304" y="2609"/>
                    <a:pt x="5292" y="2614"/>
                  </a:cubicBezTo>
                  <a:lnTo>
                    <a:pt x="5292" y="2614"/>
                  </a:lnTo>
                  <a:cubicBezTo>
                    <a:pt x="5458" y="2544"/>
                    <a:pt x="5826" y="1681"/>
                    <a:pt x="6014" y="1169"/>
                  </a:cubicBezTo>
                  <a:close/>
                  <a:moveTo>
                    <a:pt x="5024" y="1429"/>
                  </a:moveTo>
                  <a:cubicBezTo>
                    <a:pt x="4718" y="1998"/>
                    <a:pt x="4360" y="2532"/>
                    <a:pt x="3988" y="3075"/>
                  </a:cubicBezTo>
                  <a:cubicBezTo>
                    <a:pt x="3843" y="3132"/>
                    <a:pt x="3699" y="3187"/>
                    <a:pt x="3555" y="3242"/>
                  </a:cubicBezTo>
                  <a:cubicBezTo>
                    <a:pt x="4054" y="2644"/>
                    <a:pt x="4542" y="2041"/>
                    <a:pt x="5024" y="1429"/>
                  </a:cubicBezTo>
                  <a:close/>
                  <a:moveTo>
                    <a:pt x="4592" y="353"/>
                  </a:moveTo>
                  <a:cubicBezTo>
                    <a:pt x="4866" y="353"/>
                    <a:pt x="5140" y="398"/>
                    <a:pt x="5376" y="499"/>
                  </a:cubicBezTo>
                  <a:cubicBezTo>
                    <a:pt x="4966" y="1059"/>
                    <a:pt x="4536" y="1605"/>
                    <a:pt x="4100" y="2142"/>
                  </a:cubicBezTo>
                  <a:cubicBezTo>
                    <a:pt x="4311" y="1755"/>
                    <a:pt x="4499" y="1351"/>
                    <a:pt x="4658" y="938"/>
                  </a:cubicBezTo>
                  <a:cubicBezTo>
                    <a:pt x="4663" y="927"/>
                    <a:pt x="4666" y="915"/>
                    <a:pt x="4672" y="904"/>
                  </a:cubicBezTo>
                  <a:cubicBezTo>
                    <a:pt x="4710" y="802"/>
                    <a:pt x="4626" y="737"/>
                    <a:pt x="4540" y="737"/>
                  </a:cubicBezTo>
                  <a:cubicBezTo>
                    <a:pt x="4495" y="737"/>
                    <a:pt x="4449" y="756"/>
                    <a:pt x="4421" y="797"/>
                  </a:cubicBezTo>
                  <a:cubicBezTo>
                    <a:pt x="3814" y="1657"/>
                    <a:pt x="3240" y="2526"/>
                    <a:pt x="2492" y="3254"/>
                  </a:cubicBezTo>
                  <a:cubicBezTo>
                    <a:pt x="2882" y="2503"/>
                    <a:pt x="3249" y="1752"/>
                    <a:pt x="3410" y="904"/>
                  </a:cubicBezTo>
                  <a:cubicBezTo>
                    <a:pt x="3427" y="816"/>
                    <a:pt x="3350" y="725"/>
                    <a:pt x="3270" y="725"/>
                  </a:cubicBezTo>
                  <a:cubicBezTo>
                    <a:pt x="3240" y="725"/>
                    <a:pt x="3209" y="739"/>
                    <a:pt x="3182" y="771"/>
                  </a:cubicBezTo>
                  <a:cubicBezTo>
                    <a:pt x="2538" y="1553"/>
                    <a:pt x="1909" y="2347"/>
                    <a:pt x="1242" y="3109"/>
                  </a:cubicBezTo>
                  <a:cubicBezTo>
                    <a:pt x="1514" y="2529"/>
                    <a:pt x="1805" y="1957"/>
                    <a:pt x="2126" y="1400"/>
                  </a:cubicBezTo>
                  <a:cubicBezTo>
                    <a:pt x="2169" y="1322"/>
                    <a:pt x="2120" y="1256"/>
                    <a:pt x="2053" y="1233"/>
                  </a:cubicBezTo>
                  <a:cubicBezTo>
                    <a:pt x="2680" y="849"/>
                    <a:pt x="3364" y="548"/>
                    <a:pt x="4083" y="404"/>
                  </a:cubicBezTo>
                  <a:cubicBezTo>
                    <a:pt x="4247" y="371"/>
                    <a:pt x="4419" y="353"/>
                    <a:pt x="4592" y="353"/>
                  </a:cubicBezTo>
                  <a:close/>
                  <a:moveTo>
                    <a:pt x="1756" y="1432"/>
                  </a:moveTo>
                  <a:lnTo>
                    <a:pt x="1756" y="1432"/>
                  </a:lnTo>
                  <a:cubicBezTo>
                    <a:pt x="1196" y="1975"/>
                    <a:pt x="757" y="2627"/>
                    <a:pt x="466" y="3352"/>
                  </a:cubicBezTo>
                  <a:cubicBezTo>
                    <a:pt x="405" y="3280"/>
                    <a:pt x="370" y="3190"/>
                    <a:pt x="359" y="3095"/>
                  </a:cubicBezTo>
                  <a:cubicBezTo>
                    <a:pt x="304" y="2471"/>
                    <a:pt x="1109" y="1888"/>
                    <a:pt x="1537" y="1576"/>
                  </a:cubicBezTo>
                  <a:cubicBezTo>
                    <a:pt x="1609" y="1524"/>
                    <a:pt x="1681" y="1481"/>
                    <a:pt x="1756" y="1432"/>
                  </a:cubicBezTo>
                  <a:close/>
                  <a:moveTo>
                    <a:pt x="1508" y="2021"/>
                  </a:moveTo>
                  <a:lnTo>
                    <a:pt x="1508" y="2021"/>
                  </a:lnTo>
                  <a:cubicBezTo>
                    <a:pt x="1236" y="2523"/>
                    <a:pt x="982" y="3034"/>
                    <a:pt x="757" y="3560"/>
                  </a:cubicBezTo>
                  <a:cubicBezTo>
                    <a:pt x="685" y="3531"/>
                    <a:pt x="621" y="3493"/>
                    <a:pt x="561" y="3447"/>
                  </a:cubicBezTo>
                  <a:cubicBezTo>
                    <a:pt x="812" y="2933"/>
                    <a:pt x="1130" y="2451"/>
                    <a:pt x="1508" y="2021"/>
                  </a:cubicBezTo>
                  <a:close/>
                  <a:moveTo>
                    <a:pt x="2977" y="1455"/>
                  </a:moveTo>
                  <a:cubicBezTo>
                    <a:pt x="2735" y="2220"/>
                    <a:pt x="2354" y="2919"/>
                    <a:pt x="1981" y="3638"/>
                  </a:cubicBezTo>
                  <a:cubicBezTo>
                    <a:pt x="1848" y="3652"/>
                    <a:pt x="1716" y="3675"/>
                    <a:pt x="1580" y="3678"/>
                  </a:cubicBezTo>
                  <a:cubicBezTo>
                    <a:pt x="1549" y="3679"/>
                    <a:pt x="1518" y="3680"/>
                    <a:pt x="1486" y="3680"/>
                  </a:cubicBezTo>
                  <a:cubicBezTo>
                    <a:pt x="1362" y="3680"/>
                    <a:pt x="1238" y="3670"/>
                    <a:pt x="1115" y="3652"/>
                  </a:cubicBezTo>
                  <a:cubicBezTo>
                    <a:pt x="1768" y="2948"/>
                    <a:pt x="2374" y="2203"/>
                    <a:pt x="2977" y="1455"/>
                  </a:cubicBezTo>
                  <a:close/>
                  <a:moveTo>
                    <a:pt x="4571" y="1"/>
                  </a:moveTo>
                  <a:cubicBezTo>
                    <a:pt x="4443" y="1"/>
                    <a:pt x="4316" y="10"/>
                    <a:pt x="4193" y="29"/>
                  </a:cubicBezTo>
                  <a:cubicBezTo>
                    <a:pt x="3073" y="196"/>
                    <a:pt x="2027" y="756"/>
                    <a:pt x="1132" y="1435"/>
                  </a:cubicBezTo>
                  <a:cubicBezTo>
                    <a:pt x="624" y="1822"/>
                    <a:pt x="1" y="2399"/>
                    <a:pt x="9" y="3095"/>
                  </a:cubicBezTo>
                  <a:cubicBezTo>
                    <a:pt x="15" y="3490"/>
                    <a:pt x="301" y="3727"/>
                    <a:pt x="633" y="3863"/>
                  </a:cubicBezTo>
                  <a:cubicBezTo>
                    <a:pt x="629" y="3935"/>
                    <a:pt x="699" y="3989"/>
                    <a:pt x="767" y="3989"/>
                  </a:cubicBezTo>
                  <a:cubicBezTo>
                    <a:pt x="797" y="3989"/>
                    <a:pt x="827" y="3979"/>
                    <a:pt x="850" y="3955"/>
                  </a:cubicBezTo>
                  <a:cubicBezTo>
                    <a:pt x="855" y="3949"/>
                    <a:pt x="861" y="3941"/>
                    <a:pt x="867" y="3935"/>
                  </a:cubicBezTo>
                  <a:cubicBezTo>
                    <a:pt x="933" y="3949"/>
                    <a:pt x="997" y="3970"/>
                    <a:pt x="1060" y="3981"/>
                  </a:cubicBezTo>
                  <a:cubicBezTo>
                    <a:pt x="1189" y="3996"/>
                    <a:pt x="1319" y="4004"/>
                    <a:pt x="1449" y="4004"/>
                  </a:cubicBezTo>
                  <a:cubicBezTo>
                    <a:pt x="1612" y="4004"/>
                    <a:pt x="1775" y="3992"/>
                    <a:pt x="1938" y="3970"/>
                  </a:cubicBezTo>
                  <a:cubicBezTo>
                    <a:pt x="1959" y="3994"/>
                    <a:pt x="1988" y="4006"/>
                    <a:pt x="2018" y="4006"/>
                  </a:cubicBezTo>
                  <a:cubicBezTo>
                    <a:pt x="2043" y="4006"/>
                    <a:pt x="2067" y="3998"/>
                    <a:pt x="2088" y="3981"/>
                  </a:cubicBezTo>
                  <a:cubicBezTo>
                    <a:pt x="2108" y="3967"/>
                    <a:pt x="2123" y="3949"/>
                    <a:pt x="2140" y="3932"/>
                  </a:cubicBezTo>
                  <a:cubicBezTo>
                    <a:pt x="2469" y="3877"/>
                    <a:pt x="2792" y="3791"/>
                    <a:pt x="3107" y="3681"/>
                  </a:cubicBezTo>
                  <a:cubicBezTo>
                    <a:pt x="3116" y="3684"/>
                    <a:pt x="3126" y="3685"/>
                    <a:pt x="3135" y="3685"/>
                  </a:cubicBezTo>
                  <a:cubicBezTo>
                    <a:pt x="3167" y="3685"/>
                    <a:pt x="3197" y="3670"/>
                    <a:pt x="3220" y="3643"/>
                  </a:cubicBezTo>
                  <a:cubicBezTo>
                    <a:pt x="3436" y="3563"/>
                    <a:pt x="3650" y="3476"/>
                    <a:pt x="3855" y="3389"/>
                  </a:cubicBezTo>
                  <a:cubicBezTo>
                    <a:pt x="3890" y="3372"/>
                    <a:pt x="3927" y="3355"/>
                    <a:pt x="3962" y="3334"/>
                  </a:cubicBezTo>
                  <a:cubicBezTo>
                    <a:pt x="3995" y="3366"/>
                    <a:pt x="4038" y="3388"/>
                    <a:pt x="4079" y="3388"/>
                  </a:cubicBezTo>
                  <a:cubicBezTo>
                    <a:pt x="4113" y="3388"/>
                    <a:pt x="4145" y="3374"/>
                    <a:pt x="4172" y="3340"/>
                  </a:cubicBezTo>
                  <a:lnTo>
                    <a:pt x="4274" y="3216"/>
                  </a:lnTo>
                  <a:cubicBezTo>
                    <a:pt x="4395" y="3247"/>
                    <a:pt x="4516" y="3261"/>
                    <a:pt x="4637" y="3261"/>
                  </a:cubicBezTo>
                  <a:cubicBezTo>
                    <a:pt x="5535" y="3261"/>
                    <a:pt x="6357" y="2453"/>
                    <a:pt x="6416" y="1565"/>
                  </a:cubicBezTo>
                  <a:cubicBezTo>
                    <a:pt x="6459" y="950"/>
                    <a:pt x="6159" y="528"/>
                    <a:pt x="5720" y="280"/>
                  </a:cubicBezTo>
                  <a:cubicBezTo>
                    <a:pt x="5711" y="274"/>
                    <a:pt x="5700" y="268"/>
                    <a:pt x="5691" y="266"/>
                  </a:cubicBezTo>
                  <a:cubicBezTo>
                    <a:pt x="5361" y="87"/>
                    <a:pt x="4960" y="1"/>
                    <a:pt x="4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65"/>
            <p:cNvSpPr/>
            <p:nvPr/>
          </p:nvSpPr>
          <p:spPr>
            <a:xfrm>
              <a:off x="6512725" y="1459400"/>
              <a:ext cx="130525" cy="109825"/>
            </a:xfrm>
            <a:custGeom>
              <a:avLst/>
              <a:gdLst/>
              <a:ahLst/>
              <a:cxnLst/>
              <a:rect l="l" t="t" r="r" b="b"/>
              <a:pathLst>
                <a:path w="5221" h="4393" extrusionOk="0">
                  <a:moveTo>
                    <a:pt x="3659" y="2908"/>
                  </a:moveTo>
                  <a:cubicBezTo>
                    <a:pt x="3543" y="3272"/>
                    <a:pt x="3404" y="3627"/>
                    <a:pt x="3249" y="3973"/>
                  </a:cubicBezTo>
                  <a:cubicBezTo>
                    <a:pt x="3240" y="3996"/>
                    <a:pt x="3240" y="4022"/>
                    <a:pt x="3243" y="4045"/>
                  </a:cubicBezTo>
                  <a:cubicBezTo>
                    <a:pt x="2940" y="3965"/>
                    <a:pt x="2663" y="3780"/>
                    <a:pt x="2411" y="3563"/>
                  </a:cubicBezTo>
                  <a:cubicBezTo>
                    <a:pt x="2414" y="3558"/>
                    <a:pt x="2420" y="3560"/>
                    <a:pt x="2423" y="3558"/>
                  </a:cubicBezTo>
                  <a:cubicBezTo>
                    <a:pt x="2599" y="3341"/>
                    <a:pt x="2790" y="3136"/>
                    <a:pt x="2992" y="2943"/>
                  </a:cubicBezTo>
                  <a:lnTo>
                    <a:pt x="2992" y="2946"/>
                  </a:lnTo>
                  <a:cubicBezTo>
                    <a:pt x="2925" y="3081"/>
                    <a:pt x="2856" y="3214"/>
                    <a:pt x="2778" y="3344"/>
                  </a:cubicBezTo>
                  <a:cubicBezTo>
                    <a:pt x="2696" y="3482"/>
                    <a:pt x="2809" y="3597"/>
                    <a:pt x="2930" y="3597"/>
                  </a:cubicBezTo>
                  <a:cubicBezTo>
                    <a:pt x="2984" y="3597"/>
                    <a:pt x="3040" y="3574"/>
                    <a:pt x="3081" y="3520"/>
                  </a:cubicBezTo>
                  <a:cubicBezTo>
                    <a:pt x="3254" y="3301"/>
                    <a:pt x="3448" y="3093"/>
                    <a:pt x="3659" y="2908"/>
                  </a:cubicBezTo>
                  <a:close/>
                  <a:moveTo>
                    <a:pt x="362" y="1"/>
                  </a:moveTo>
                  <a:cubicBezTo>
                    <a:pt x="354" y="1"/>
                    <a:pt x="346" y="1"/>
                    <a:pt x="338" y="1"/>
                  </a:cubicBezTo>
                  <a:cubicBezTo>
                    <a:pt x="185" y="1"/>
                    <a:pt x="145" y="238"/>
                    <a:pt x="301" y="269"/>
                  </a:cubicBezTo>
                  <a:cubicBezTo>
                    <a:pt x="951" y="399"/>
                    <a:pt x="1629" y="714"/>
                    <a:pt x="2227" y="982"/>
                  </a:cubicBezTo>
                  <a:cubicBezTo>
                    <a:pt x="2668" y="1182"/>
                    <a:pt x="3280" y="1470"/>
                    <a:pt x="3757" y="1854"/>
                  </a:cubicBezTo>
                  <a:cubicBezTo>
                    <a:pt x="3740" y="1848"/>
                    <a:pt x="3723" y="1845"/>
                    <a:pt x="3706" y="1845"/>
                  </a:cubicBezTo>
                  <a:cubicBezTo>
                    <a:pt x="3666" y="1845"/>
                    <a:pt x="3625" y="1861"/>
                    <a:pt x="3595" y="1892"/>
                  </a:cubicBezTo>
                  <a:cubicBezTo>
                    <a:pt x="3298" y="2178"/>
                    <a:pt x="3000" y="2455"/>
                    <a:pt x="2712" y="2741"/>
                  </a:cubicBezTo>
                  <a:cubicBezTo>
                    <a:pt x="2787" y="2515"/>
                    <a:pt x="2862" y="2287"/>
                    <a:pt x="2937" y="2059"/>
                  </a:cubicBezTo>
                  <a:cubicBezTo>
                    <a:pt x="2976" y="1943"/>
                    <a:pt x="2871" y="1845"/>
                    <a:pt x="2766" y="1845"/>
                  </a:cubicBezTo>
                  <a:cubicBezTo>
                    <a:pt x="2725" y="1845"/>
                    <a:pt x="2683" y="1860"/>
                    <a:pt x="2651" y="1895"/>
                  </a:cubicBezTo>
                  <a:cubicBezTo>
                    <a:pt x="2579" y="1973"/>
                    <a:pt x="2518" y="2059"/>
                    <a:pt x="2452" y="2140"/>
                  </a:cubicBezTo>
                  <a:cubicBezTo>
                    <a:pt x="2510" y="1955"/>
                    <a:pt x="2556" y="1768"/>
                    <a:pt x="2616" y="1586"/>
                  </a:cubicBezTo>
                  <a:cubicBezTo>
                    <a:pt x="2657" y="1461"/>
                    <a:pt x="2564" y="1387"/>
                    <a:pt x="2465" y="1387"/>
                  </a:cubicBezTo>
                  <a:cubicBezTo>
                    <a:pt x="2410" y="1387"/>
                    <a:pt x="2353" y="1409"/>
                    <a:pt x="2316" y="1459"/>
                  </a:cubicBezTo>
                  <a:cubicBezTo>
                    <a:pt x="2100" y="1747"/>
                    <a:pt x="1848" y="2010"/>
                    <a:pt x="1603" y="2276"/>
                  </a:cubicBezTo>
                  <a:cubicBezTo>
                    <a:pt x="1646" y="1926"/>
                    <a:pt x="1669" y="1577"/>
                    <a:pt x="1669" y="1228"/>
                  </a:cubicBezTo>
                  <a:cubicBezTo>
                    <a:pt x="1669" y="1130"/>
                    <a:pt x="1593" y="1074"/>
                    <a:pt x="1514" y="1074"/>
                  </a:cubicBezTo>
                  <a:cubicBezTo>
                    <a:pt x="1463" y="1074"/>
                    <a:pt x="1411" y="1097"/>
                    <a:pt x="1378" y="1147"/>
                  </a:cubicBezTo>
                  <a:cubicBezTo>
                    <a:pt x="1222" y="1387"/>
                    <a:pt x="1005" y="1554"/>
                    <a:pt x="774" y="1704"/>
                  </a:cubicBezTo>
                  <a:cubicBezTo>
                    <a:pt x="757" y="1678"/>
                    <a:pt x="740" y="1649"/>
                    <a:pt x="722" y="1620"/>
                  </a:cubicBezTo>
                  <a:cubicBezTo>
                    <a:pt x="731" y="1340"/>
                    <a:pt x="751" y="1060"/>
                    <a:pt x="847" y="789"/>
                  </a:cubicBezTo>
                  <a:cubicBezTo>
                    <a:pt x="879" y="695"/>
                    <a:pt x="804" y="634"/>
                    <a:pt x="727" y="634"/>
                  </a:cubicBezTo>
                  <a:cubicBezTo>
                    <a:pt x="685" y="634"/>
                    <a:pt x="643" y="652"/>
                    <a:pt x="616" y="691"/>
                  </a:cubicBezTo>
                  <a:cubicBezTo>
                    <a:pt x="538" y="809"/>
                    <a:pt x="471" y="939"/>
                    <a:pt x="416" y="1075"/>
                  </a:cubicBezTo>
                  <a:cubicBezTo>
                    <a:pt x="336" y="899"/>
                    <a:pt x="252" y="725"/>
                    <a:pt x="206" y="552"/>
                  </a:cubicBezTo>
                  <a:cubicBezTo>
                    <a:pt x="194" y="507"/>
                    <a:pt x="162" y="488"/>
                    <a:pt x="128" y="488"/>
                  </a:cubicBezTo>
                  <a:cubicBezTo>
                    <a:pt x="84" y="488"/>
                    <a:pt x="36" y="521"/>
                    <a:pt x="30" y="575"/>
                  </a:cubicBezTo>
                  <a:cubicBezTo>
                    <a:pt x="1" y="847"/>
                    <a:pt x="139" y="1135"/>
                    <a:pt x="289" y="1398"/>
                  </a:cubicBezTo>
                  <a:cubicBezTo>
                    <a:pt x="261" y="1493"/>
                    <a:pt x="229" y="1583"/>
                    <a:pt x="194" y="1684"/>
                  </a:cubicBezTo>
                  <a:cubicBezTo>
                    <a:pt x="181" y="1726"/>
                    <a:pt x="221" y="1759"/>
                    <a:pt x="257" y="1759"/>
                  </a:cubicBezTo>
                  <a:cubicBezTo>
                    <a:pt x="276" y="1759"/>
                    <a:pt x="294" y="1751"/>
                    <a:pt x="304" y="1730"/>
                  </a:cubicBezTo>
                  <a:cubicBezTo>
                    <a:pt x="330" y="1675"/>
                    <a:pt x="359" y="1620"/>
                    <a:pt x="385" y="1563"/>
                  </a:cubicBezTo>
                  <a:lnTo>
                    <a:pt x="431" y="1641"/>
                  </a:lnTo>
                  <a:cubicBezTo>
                    <a:pt x="425" y="1765"/>
                    <a:pt x="422" y="1889"/>
                    <a:pt x="419" y="2013"/>
                  </a:cubicBezTo>
                  <a:cubicBezTo>
                    <a:pt x="417" y="2102"/>
                    <a:pt x="489" y="2159"/>
                    <a:pt x="566" y="2159"/>
                  </a:cubicBezTo>
                  <a:cubicBezTo>
                    <a:pt x="592" y="2159"/>
                    <a:pt x="618" y="2153"/>
                    <a:pt x="642" y="2140"/>
                  </a:cubicBezTo>
                  <a:cubicBezTo>
                    <a:pt x="673" y="2123"/>
                    <a:pt x="699" y="2103"/>
                    <a:pt x="731" y="2085"/>
                  </a:cubicBezTo>
                  <a:cubicBezTo>
                    <a:pt x="881" y="2313"/>
                    <a:pt x="1028" y="2541"/>
                    <a:pt x="1199" y="2755"/>
                  </a:cubicBezTo>
                  <a:cubicBezTo>
                    <a:pt x="1199" y="2758"/>
                    <a:pt x="1199" y="2758"/>
                    <a:pt x="1199" y="2758"/>
                  </a:cubicBezTo>
                  <a:cubicBezTo>
                    <a:pt x="1167" y="2878"/>
                    <a:pt x="1254" y="2947"/>
                    <a:pt x="1347" y="2947"/>
                  </a:cubicBezTo>
                  <a:cubicBezTo>
                    <a:pt x="1355" y="2947"/>
                    <a:pt x="1362" y="2946"/>
                    <a:pt x="1369" y="2946"/>
                  </a:cubicBezTo>
                  <a:cubicBezTo>
                    <a:pt x="1577" y="3200"/>
                    <a:pt x="1799" y="3439"/>
                    <a:pt x="2033" y="3667"/>
                  </a:cubicBezTo>
                  <a:cubicBezTo>
                    <a:pt x="2493" y="4099"/>
                    <a:pt x="3030" y="4392"/>
                    <a:pt x="3525" y="4392"/>
                  </a:cubicBezTo>
                  <a:cubicBezTo>
                    <a:pt x="3981" y="4392"/>
                    <a:pt x="4403" y="4143"/>
                    <a:pt x="4698" y="3523"/>
                  </a:cubicBezTo>
                  <a:cubicBezTo>
                    <a:pt x="5220" y="2429"/>
                    <a:pt x="3950" y="1531"/>
                    <a:pt x="3150" y="1069"/>
                  </a:cubicBezTo>
                  <a:cubicBezTo>
                    <a:pt x="2406" y="640"/>
                    <a:pt x="1257" y="1"/>
                    <a:pt x="3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65"/>
            <p:cNvSpPr/>
            <p:nvPr/>
          </p:nvSpPr>
          <p:spPr>
            <a:xfrm>
              <a:off x="6382025" y="1568650"/>
              <a:ext cx="133400" cy="76300"/>
            </a:xfrm>
            <a:custGeom>
              <a:avLst/>
              <a:gdLst/>
              <a:ahLst/>
              <a:cxnLst/>
              <a:rect l="l" t="t" r="r" b="b"/>
              <a:pathLst>
                <a:path w="5336" h="3052" extrusionOk="0">
                  <a:moveTo>
                    <a:pt x="1828" y="975"/>
                  </a:moveTo>
                  <a:cubicBezTo>
                    <a:pt x="1793" y="1321"/>
                    <a:pt x="1802" y="1670"/>
                    <a:pt x="1718" y="2014"/>
                  </a:cubicBezTo>
                  <a:cubicBezTo>
                    <a:pt x="1718" y="2031"/>
                    <a:pt x="1718" y="2049"/>
                    <a:pt x="1724" y="2063"/>
                  </a:cubicBezTo>
                  <a:cubicBezTo>
                    <a:pt x="1582" y="2000"/>
                    <a:pt x="1452" y="1919"/>
                    <a:pt x="1334" y="1818"/>
                  </a:cubicBezTo>
                  <a:cubicBezTo>
                    <a:pt x="1464" y="1500"/>
                    <a:pt x="1603" y="1217"/>
                    <a:pt x="1828" y="975"/>
                  </a:cubicBezTo>
                  <a:close/>
                  <a:moveTo>
                    <a:pt x="2916" y="943"/>
                  </a:moveTo>
                  <a:cubicBezTo>
                    <a:pt x="3505" y="1107"/>
                    <a:pt x="4033" y="1442"/>
                    <a:pt x="4429" y="1910"/>
                  </a:cubicBezTo>
                  <a:cubicBezTo>
                    <a:pt x="4409" y="1899"/>
                    <a:pt x="4388" y="1894"/>
                    <a:pt x="4368" y="1894"/>
                  </a:cubicBezTo>
                  <a:cubicBezTo>
                    <a:pt x="4343" y="1894"/>
                    <a:pt x="4318" y="1902"/>
                    <a:pt x="4296" y="1916"/>
                  </a:cubicBezTo>
                  <a:cubicBezTo>
                    <a:pt x="4166" y="2005"/>
                    <a:pt x="4071" y="2121"/>
                    <a:pt x="3976" y="2239"/>
                  </a:cubicBezTo>
                  <a:cubicBezTo>
                    <a:pt x="3984" y="2092"/>
                    <a:pt x="3953" y="1945"/>
                    <a:pt x="3883" y="1818"/>
                  </a:cubicBezTo>
                  <a:cubicBezTo>
                    <a:pt x="3856" y="1768"/>
                    <a:pt x="3796" y="1737"/>
                    <a:pt x="3738" y="1737"/>
                  </a:cubicBezTo>
                  <a:cubicBezTo>
                    <a:pt x="3699" y="1737"/>
                    <a:pt x="3661" y="1751"/>
                    <a:pt x="3635" y="1783"/>
                  </a:cubicBezTo>
                  <a:cubicBezTo>
                    <a:pt x="3554" y="1884"/>
                    <a:pt x="3479" y="2023"/>
                    <a:pt x="3390" y="2141"/>
                  </a:cubicBezTo>
                  <a:cubicBezTo>
                    <a:pt x="3445" y="1913"/>
                    <a:pt x="3494" y="1685"/>
                    <a:pt x="3580" y="1465"/>
                  </a:cubicBezTo>
                  <a:cubicBezTo>
                    <a:pt x="3624" y="1355"/>
                    <a:pt x="3525" y="1273"/>
                    <a:pt x="3427" y="1273"/>
                  </a:cubicBezTo>
                  <a:cubicBezTo>
                    <a:pt x="3389" y="1273"/>
                    <a:pt x="3352" y="1285"/>
                    <a:pt x="3323" y="1312"/>
                  </a:cubicBezTo>
                  <a:cubicBezTo>
                    <a:pt x="3089" y="1538"/>
                    <a:pt x="2853" y="1751"/>
                    <a:pt x="2627" y="1974"/>
                  </a:cubicBezTo>
                  <a:cubicBezTo>
                    <a:pt x="2714" y="1627"/>
                    <a:pt x="2809" y="1284"/>
                    <a:pt x="2916" y="943"/>
                  </a:cubicBezTo>
                  <a:close/>
                  <a:moveTo>
                    <a:pt x="2713" y="1"/>
                  </a:moveTo>
                  <a:cubicBezTo>
                    <a:pt x="2702" y="1"/>
                    <a:pt x="2691" y="2"/>
                    <a:pt x="2679" y="5"/>
                  </a:cubicBezTo>
                  <a:cubicBezTo>
                    <a:pt x="1871" y="186"/>
                    <a:pt x="0" y="1139"/>
                    <a:pt x="1126" y="2109"/>
                  </a:cubicBezTo>
                  <a:cubicBezTo>
                    <a:pt x="1865" y="2741"/>
                    <a:pt x="3084" y="2961"/>
                    <a:pt x="4158" y="2981"/>
                  </a:cubicBezTo>
                  <a:cubicBezTo>
                    <a:pt x="4175" y="3001"/>
                    <a:pt x="4192" y="3019"/>
                    <a:pt x="4212" y="3030"/>
                  </a:cubicBezTo>
                  <a:cubicBezTo>
                    <a:pt x="4236" y="3045"/>
                    <a:pt x="4261" y="3052"/>
                    <a:pt x="4286" y="3052"/>
                  </a:cubicBezTo>
                  <a:cubicBezTo>
                    <a:pt x="4311" y="3052"/>
                    <a:pt x="4337" y="3045"/>
                    <a:pt x="4360" y="3030"/>
                  </a:cubicBezTo>
                  <a:cubicBezTo>
                    <a:pt x="4377" y="3019"/>
                    <a:pt x="4383" y="2996"/>
                    <a:pt x="4397" y="2978"/>
                  </a:cubicBezTo>
                  <a:cubicBezTo>
                    <a:pt x="4654" y="2975"/>
                    <a:pt x="4902" y="2967"/>
                    <a:pt x="5128" y="2946"/>
                  </a:cubicBezTo>
                  <a:cubicBezTo>
                    <a:pt x="5226" y="2935"/>
                    <a:pt x="5336" y="2843"/>
                    <a:pt x="5289" y="2733"/>
                  </a:cubicBezTo>
                  <a:cubicBezTo>
                    <a:pt x="4926" y="1812"/>
                    <a:pt x="3976" y="897"/>
                    <a:pt x="2939" y="732"/>
                  </a:cubicBezTo>
                  <a:cubicBezTo>
                    <a:pt x="2911" y="680"/>
                    <a:pt x="2857" y="652"/>
                    <a:pt x="2804" y="652"/>
                  </a:cubicBezTo>
                  <a:cubicBezTo>
                    <a:pt x="2760" y="652"/>
                    <a:pt x="2716" y="670"/>
                    <a:pt x="2685" y="709"/>
                  </a:cubicBezTo>
                  <a:cubicBezTo>
                    <a:pt x="2657" y="708"/>
                    <a:pt x="2629" y="707"/>
                    <a:pt x="2601" y="707"/>
                  </a:cubicBezTo>
                  <a:cubicBezTo>
                    <a:pt x="2441" y="707"/>
                    <a:pt x="2280" y="728"/>
                    <a:pt x="2125" y="770"/>
                  </a:cubicBezTo>
                  <a:cubicBezTo>
                    <a:pt x="2131" y="738"/>
                    <a:pt x="2134" y="703"/>
                    <a:pt x="2140" y="671"/>
                  </a:cubicBezTo>
                  <a:cubicBezTo>
                    <a:pt x="2148" y="637"/>
                    <a:pt x="2142" y="599"/>
                    <a:pt x="2122" y="570"/>
                  </a:cubicBezTo>
                  <a:cubicBezTo>
                    <a:pt x="2382" y="458"/>
                    <a:pt x="2633" y="365"/>
                    <a:pt x="2795" y="276"/>
                  </a:cubicBezTo>
                  <a:cubicBezTo>
                    <a:pt x="2934" y="198"/>
                    <a:pt x="2855" y="1"/>
                    <a:pt x="27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65"/>
            <p:cNvSpPr/>
            <p:nvPr/>
          </p:nvSpPr>
          <p:spPr>
            <a:xfrm>
              <a:off x="7159050" y="1734200"/>
              <a:ext cx="125325" cy="71225"/>
            </a:xfrm>
            <a:custGeom>
              <a:avLst/>
              <a:gdLst/>
              <a:ahLst/>
              <a:cxnLst/>
              <a:rect l="l" t="t" r="r" b="b"/>
              <a:pathLst>
                <a:path w="5013" h="2849" extrusionOk="0">
                  <a:moveTo>
                    <a:pt x="4164" y="877"/>
                  </a:moveTo>
                  <a:cubicBezTo>
                    <a:pt x="4660" y="1273"/>
                    <a:pt x="4923" y="1856"/>
                    <a:pt x="4190" y="2327"/>
                  </a:cubicBezTo>
                  <a:cubicBezTo>
                    <a:pt x="4057" y="2404"/>
                    <a:pt x="3913" y="2462"/>
                    <a:pt x="3760" y="2491"/>
                  </a:cubicBezTo>
                  <a:cubicBezTo>
                    <a:pt x="3786" y="2480"/>
                    <a:pt x="3809" y="2462"/>
                    <a:pt x="3823" y="2436"/>
                  </a:cubicBezTo>
                  <a:cubicBezTo>
                    <a:pt x="3982" y="2133"/>
                    <a:pt x="4279" y="1986"/>
                    <a:pt x="4343" y="1622"/>
                  </a:cubicBezTo>
                  <a:cubicBezTo>
                    <a:pt x="4364" y="1502"/>
                    <a:pt x="4270" y="1393"/>
                    <a:pt x="4164" y="1393"/>
                  </a:cubicBezTo>
                  <a:cubicBezTo>
                    <a:pt x="4122" y="1393"/>
                    <a:pt x="4079" y="1410"/>
                    <a:pt x="4040" y="1449"/>
                  </a:cubicBezTo>
                  <a:lnTo>
                    <a:pt x="3875" y="1613"/>
                  </a:lnTo>
                  <a:cubicBezTo>
                    <a:pt x="3959" y="1414"/>
                    <a:pt x="4054" y="1221"/>
                    <a:pt x="4164" y="1036"/>
                  </a:cubicBezTo>
                  <a:cubicBezTo>
                    <a:pt x="4193" y="987"/>
                    <a:pt x="4193" y="926"/>
                    <a:pt x="4164" y="877"/>
                  </a:cubicBezTo>
                  <a:close/>
                  <a:moveTo>
                    <a:pt x="3063" y="1"/>
                  </a:moveTo>
                  <a:cubicBezTo>
                    <a:pt x="3020" y="1"/>
                    <a:pt x="2977" y="17"/>
                    <a:pt x="2946" y="52"/>
                  </a:cubicBezTo>
                  <a:cubicBezTo>
                    <a:pt x="2934" y="51"/>
                    <a:pt x="2922" y="51"/>
                    <a:pt x="2910" y="51"/>
                  </a:cubicBezTo>
                  <a:cubicBezTo>
                    <a:pt x="1862" y="51"/>
                    <a:pt x="782" y="563"/>
                    <a:pt x="642" y="1596"/>
                  </a:cubicBezTo>
                  <a:cubicBezTo>
                    <a:pt x="630" y="1687"/>
                    <a:pt x="714" y="1771"/>
                    <a:pt x="792" y="1771"/>
                  </a:cubicBezTo>
                  <a:cubicBezTo>
                    <a:pt x="830" y="1771"/>
                    <a:pt x="867" y="1751"/>
                    <a:pt x="890" y="1700"/>
                  </a:cubicBezTo>
                  <a:cubicBezTo>
                    <a:pt x="1268" y="877"/>
                    <a:pt x="1851" y="438"/>
                    <a:pt x="2654" y="410"/>
                  </a:cubicBezTo>
                  <a:lnTo>
                    <a:pt x="2654" y="410"/>
                  </a:lnTo>
                  <a:cubicBezTo>
                    <a:pt x="2492" y="620"/>
                    <a:pt x="2331" y="831"/>
                    <a:pt x="2163" y="1036"/>
                  </a:cubicBezTo>
                  <a:cubicBezTo>
                    <a:pt x="2195" y="981"/>
                    <a:pt x="2218" y="921"/>
                    <a:pt x="2253" y="866"/>
                  </a:cubicBezTo>
                  <a:cubicBezTo>
                    <a:pt x="2324" y="749"/>
                    <a:pt x="2223" y="638"/>
                    <a:pt x="2114" y="638"/>
                  </a:cubicBezTo>
                  <a:cubicBezTo>
                    <a:pt x="2079" y="638"/>
                    <a:pt x="2042" y="650"/>
                    <a:pt x="2010" y="678"/>
                  </a:cubicBezTo>
                  <a:cubicBezTo>
                    <a:pt x="1675" y="975"/>
                    <a:pt x="1306" y="1420"/>
                    <a:pt x="1378" y="1893"/>
                  </a:cubicBezTo>
                  <a:cubicBezTo>
                    <a:pt x="1366" y="1917"/>
                    <a:pt x="1355" y="1940"/>
                    <a:pt x="1346" y="1963"/>
                  </a:cubicBezTo>
                  <a:cubicBezTo>
                    <a:pt x="1286" y="2087"/>
                    <a:pt x="1382" y="2218"/>
                    <a:pt x="1493" y="2218"/>
                  </a:cubicBezTo>
                  <a:cubicBezTo>
                    <a:pt x="1532" y="2218"/>
                    <a:pt x="1572" y="2202"/>
                    <a:pt x="1609" y="2165"/>
                  </a:cubicBezTo>
                  <a:cubicBezTo>
                    <a:pt x="1817" y="1957"/>
                    <a:pt x="2004" y="1732"/>
                    <a:pt x="2195" y="1510"/>
                  </a:cubicBezTo>
                  <a:lnTo>
                    <a:pt x="2195" y="1510"/>
                  </a:lnTo>
                  <a:lnTo>
                    <a:pt x="1970" y="1960"/>
                  </a:lnTo>
                  <a:cubicBezTo>
                    <a:pt x="1905" y="2089"/>
                    <a:pt x="2008" y="2223"/>
                    <a:pt x="2125" y="2223"/>
                  </a:cubicBezTo>
                  <a:cubicBezTo>
                    <a:pt x="2165" y="2223"/>
                    <a:pt x="2207" y="2207"/>
                    <a:pt x="2244" y="2171"/>
                  </a:cubicBezTo>
                  <a:cubicBezTo>
                    <a:pt x="2351" y="2061"/>
                    <a:pt x="2461" y="1951"/>
                    <a:pt x="2570" y="1844"/>
                  </a:cubicBezTo>
                  <a:lnTo>
                    <a:pt x="2570" y="1844"/>
                  </a:lnTo>
                  <a:cubicBezTo>
                    <a:pt x="2475" y="1989"/>
                    <a:pt x="2385" y="2133"/>
                    <a:pt x="2282" y="2275"/>
                  </a:cubicBezTo>
                  <a:cubicBezTo>
                    <a:pt x="2244" y="2321"/>
                    <a:pt x="2244" y="2384"/>
                    <a:pt x="2279" y="2433"/>
                  </a:cubicBezTo>
                  <a:cubicBezTo>
                    <a:pt x="1961" y="2370"/>
                    <a:pt x="1658" y="2295"/>
                    <a:pt x="1413" y="2240"/>
                  </a:cubicBezTo>
                  <a:cubicBezTo>
                    <a:pt x="1069" y="2162"/>
                    <a:pt x="731" y="2061"/>
                    <a:pt x="388" y="1989"/>
                  </a:cubicBezTo>
                  <a:cubicBezTo>
                    <a:pt x="362" y="1983"/>
                    <a:pt x="336" y="1983"/>
                    <a:pt x="310" y="1980"/>
                  </a:cubicBezTo>
                  <a:cubicBezTo>
                    <a:pt x="249" y="1957"/>
                    <a:pt x="186" y="1934"/>
                    <a:pt x="122" y="1917"/>
                  </a:cubicBezTo>
                  <a:cubicBezTo>
                    <a:pt x="114" y="1914"/>
                    <a:pt x="106" y="1913"/>
                    <a:pt x="98" y="1913"/>
                  </a:cubicBezTo>
                  <a:cubicBezTo>
                    <a:pt x="68" y="1913"/>
                    <a:pt x="40" y="1929"/>
                    <a:pt x="24" y="1954"/>
                  </a:cubicBezTo>
                  <a:cubicBezTo>
                    <a:pt x="1" y="1995"/>
                    <a:pt x="15" y="2049"/>
                    <a:pt x="56" y="2072"/>
                  </a:cubicBezTo>
                  <a:cubicBezTo>
                    <a:pt x="621" y="2362"/>
                    <a:pt x="2084" y="2849"/>
                    <a:pt x="3268" y="2849"/>
                  </a:cubicBezTo>
                  <a:cubicBezTo>
                    <a:pt x="4187" y="2849"/>
                    <a:pt x="4938" y="2555"/>
                    <a:pt x="4972" y="1648"/>
                  </a:cubicBezTo>
                  <a:cubicBezTo>
                    <a:pt x="5013" y="684"/>
                    <a:pt x="4158" y="158"/>
                    <a:pt x="3197" y="72"/>
                  </a:cubicBezTo>
                  <a:cubicBezTo>
                    <a:pt x="3165" y="25"/>
                    <a:pt x="3114" y="1"/>
                    <a:pt x="30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65"/>
            <p:cNvSpPr/>
            <p:nvPr/>
          </p:nvSpPr>
          <p:spPr>
            <a:xfrm>
              <a:off x="5991550" y="3413900"/>
              <a:ext cx="83825" cy="164550"/>
            </a:xfrm>
            <a:custGeom>
              <a:avLst/>
              <a:gdLst/>
              <a:ahLst/>
              <a:cxnLst/>
              <a:rect l="l" t="t" r="r" b="b"/>
              <a:pathLst>
                <a:path w="3353" h="6582" extrusionOk="0">
                  <a:moveTo>
                    <a:pt x="1886" y="674"/>
                  </a:moveTo>
                  <a:cubicBezTo>
                    <a:pt x="1542" y="1225"/>
                    <a:pt x="1294" y="1802"/>
                    <a:pt x="1034" y="2394"/>
                  </a:cubicBezTo>
                  <a:cubicBezTo>
                    <a:pt x="1009" y="2446"/>
                    <a:pt x="1050" y="2496"/>
                    <a:pt x="1098" y="2496"/>
                  </a:cubicBezTo>
                  <a:cubicBezTo>
                    <a:pt x="1111" y="2496"/>
                    <a:pt x="1125" y="2492"/>
                    <a:pt x="1138" y="2484"/>
                  </a:cubicBezTo>
                  <a:lnTo>
                    <a:pt x="1138" y="2484"/>
                  </a:lnTo>
                  <a:cubicBezTo>
                    <a:pt x="1023" y="2752"/>
                    <a:pt x="901" y="3021"/>
                    <a:pt x="789" y="3289"/>
                  </a:cubicBezTo>
                  <a:cubicBezTo>
                    <a:pt x="737" y="3411"/>
                    <a:pt x="839" y="3562"/>
                    <a:pt x="948" y="3562"/>
                  </a:cubicBezTo>
                  <a:cubicBezTo>
                    <a:pt x="987" y="3562"/>
                    <a:pt x="1026" y="3544"/>
                    <a:pt x="1060" y="3500"/>
                  </a:cubicBezTo>
                  <a:cubicBezTo>
                    <a:pt x="1493" y="2954"/>
                    <a:pt x="1889" y="2386"/>
                    <a:pt x="2270" y="1805"/>
                  </a:cubicBezTo>
                  <a:lnTo>
                    <a:pt x="2270" y="1805"/>
                  </a:lnTo>
                  <a:cubicBezTo>
                    <a:pt x="2013" y="2683"/>
                    <a:pt x="1632" y="3520"/>
                    <a:pt x="1259" y="4369"/>
                  </a:cubicBezTo>
                  <a:cubicBezTo>
                    <a:pt x="373" y="3252"/>
                    <a:pt x="188" y="1854"/>
                    <a:pt x="1658" y="818"/>
                  </a:cubicBezTo>
                  <a:cubicBezTo>
                    <a:pt x="1704" y="786"/>
                    <a:pt x="1788" y="731"/>
                    <a:pt x="1886" y="674"/>
                  </a:cubicBezTo>
                  <a:close/>
                  <a:moveTo>
                    <a:pt x="3004" y="1"/>
                  </a:moveTo>
                  <a:cubicBezTo>
                    <a:pt x="2989" y="1"/>
                    <a:pt x="2975" y="3"/>
                    <a:pt x="2960" y="7"/>
                  </a:cubicBezTo>
                  <a:cubicBezTo>
                    <a:pt x="1606" y="243"/>
                    <a:pt x="477" y="1017"/>
                    <a:pt x="217" y="2426"/>
                  </a:cubicBezTo>
                  <a:cubicBezTo>
                    <a:pt x="1" y="3598"/>
                    <a:pt x="777" y="4865"/>
                    <a:pt x="1843" y="5316"/>
                  </a:cubicBezTo>
                  <a:cubicBezTo>
                    <a:pt x="1859" y="5322"/>
                    <a:pt x="1876" y="5325"/>
                    <a:pt x="1894" y="5325"/>
                  </a:cubicBezTo>
                  <a:cubicBezTo>
                    <a:pt x="1945" y="5325"/>
                    <a:pt x="1996" y="5298"/>
                    <a:pt x="2022" y="5252"/>
                  </a:cubicBezTo>
                  <a:lnTo>
                    <a:pt x="2022" y="5252"/>
                  </a:lnTo>
                  <a:cubicBezTo>
                    <a:pt x="2019" y="5360"/>
                    <a:pt x="2113" y="5459"/>
                    <a:pt x="2211" y="5459"/>
                  </a:cubicBezTo>
                  <a:cubicBezTo>
                    <a:pt x="2252" y="5459"/>
                    <a:pt x="2295" y="5441"/>
                    <a:pt x="2330" y="5400"/>
                  </a:cubicBezTo>
                  <a:cubicBezTo>
                    <a:pt x="2504" y="5192"/>
                    <a:pt x="2622" y="4923"/>
                    <a:pt x="2792" y="4721"/>
                  </a:cubicBezTo>
                  <a:cubicBezTo>
                    <a:pt x="2795" y="4718"/>
                    <a:pt x="2798" y="4718"/>
                    <a:pt x="2801" y="4715"/>
                  </a:cubicBezTo>
                  <a:lnTo>
                    <a:pt x="2844" y="4652"/>
                  </a:lnTo>
                  <a:cubicBezTo>
                    <a:pt x="2920" y="4534"/>
                    <a:pt x="2814" y="4406"/>
                    <a:pt x="2697" y="4406"/>
                  </a:cubicBezTo>
                  <a:cubicBezTo>
                    <a:pt x="2671" y="4406"/>
                    <a:pt x="2644" y="4412"/>
                    <a:pt x="2619" y="4427"/>
                  </a:cubicBezTo>
                  <a:cubicBezTo>
                    <a:pt x="2556" y="4464"/>
                    <a:pt x="2501" y="4510"/>
                    <a:pt x="2455" y="4565"/>
                  </a:cubicBezTo>
                  <a:cubicBezTo>
                    <a:pt x="2466" y="4291"/>
                    <a:pt x="2475" y="4017"/>
                    <a:pt x="2535" y="3742"/>
                  </a:cubicBezTo>
                  <a:cubicBezTo>
                    <a:pt x="2562" y="3622"/>
                    <a:pt x="2459" y="3510"/>
                    <a:pt x="2350" y="3510"/>
                  </a:cubicBezTo>
                  <a:cubicBezTo>
                    <a:pt x="2331" y="3510"/>
                    <a:pt x="2312" y="3513"/>
                    <a:pt x="2293" y="3520"/>
                  </a:cubicBezTo>
                  <a:cubicBezTo>
                    <a:pt x="2463" y="3026"/>
                    <a:pt x="2596" y="2521"/>
                    <a:pt x="2691" y="2010"/>
                  </a:cubicBezTo>
                  <a:cubicBezTo>
                    <a:pt x="2706" y="1947"/>
                    <a:pt x="2683" y="1883"/>
                    <a:pt x="2636" y="1840"/>
                  </a:cubicBezTo>
                  <a:cubicBezTo>
                    <a:pt x="2723" y="1534"/>
                    <a:pt x="2792" y="1219"/>
                    <a:pt x="2841" y="904"/>
                  </a:cubicBezTo>
                  <a:cubicBezTo>
                    <a:pt x="2862" y="778"/>
                    <a:pt x="2762" y="679"/>
                    <a:pt x="2660" y="679"/>
                  </a:cubicBezTo>
                  <a:cubicBezTo>
                    <a:pt x="2608" y="679"/>
                    <a:pt x="2555" y="705"/>
                    <a:pt x="2518" y="766"/>
                  </a:cubicBezTo>
                  <a:cubicBezTo>
                    <a:pt x="2247" y="1216"/>
                    <a:pt x="1961" y="1655"/>
                    <a:pt x="1666" y="2085"/>
                  </a:cubicBezTo>
                  <a:cubicBezTo>
                    <a:pt x="1854" y="1644"/>
                    <a:pt x="2033" y="1199"/>
                    <a:pt x="2183" y="740"/>
                  </a:cubicBezTo>
                  <a:cubicBezTo>
                    <a:pt x="2212" y="650"/>
                    <a:pt x="2157" y="590"/>
                    <a:pt x="2088" y="570"/>
                  </a:cubicBezTo>
                  <a:cubicBezTo>
                    <a:pt x="2270" y="480"/>
                    <a:pt x="2471" y="404"/>
                    <a:pt x="2626" y="404"/>
                  </a:cubicBezTo>
                  <a:cubicBezTo>
                    <a:pt x="2766" y="404"/>
                    <a:pt x="2868" y="466"/>
                    <a:pt x="2885" y="636"/>
                  </a:cubicBezTo>
                  <a:cubicBezTo>
                    <a:pt x="2945" y="1257"/>
                    <a:pt x="2971" y="1880"/>
                    <a:pt x="2986" y="2504"/>
                  </a:cubicBezTo>
                  <a:cubicBezTo>
                    <a:pt x="3015" y="3852"/>
                    <a:pt x="2853" y="5197"/>
                    <a:pt x="2504" y="6502"/>
                  </a:cubicBezTo>
                  <a:cubicBezTo>
                    <a:pt x="2490" y="6550"/>
                    <a:pt x="2527" y="6581"/>
                    <a:pt x="2565" y="6581"/>
                  </a:cubicBezTo>
                  <a:cubicBezTo>
                    <a:pt x="2591" y="6581"/>
                    <a:pt x="2617" y="6567"/>
                    <a:pt x="2628" y="6534"/>
                  </a:cubicBezTo>
                  <a:cubicBezTo>
                    <a:pt x="3350" y="4461"/>
                    <a:pt x="3352" y="2331"/>
                    <a:pt x="3171" y="165"/>
                  </a:cubicBezTo>
                  <a:cubicBezTo>
                    <a:pt x="3168" y="71"/>
                    <a:pt x="3091" y="1"/>
                    <a:pt x="30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65"/>
            <p:cNvSpPr/>
            <p:nvPr/>
          </p:nvSpPr>
          <p:spPr>
            <a:xfrm>
              <a:off x="5981225" y="3763550"/>
              <a:ext cx="150150" cy="137775"/>
            </a:xfrm>
            <a:custGeom>
              <a:avLst/>
              <a:gdLst/>
              <a:ahLst/>
              <a:cxnLst/>
              <a:rect l="l" t="t" r="r" b="b"/>
              <a:pathLst>
                <a:path w="6006" h="5511" extrusionOk="0">
                  <a:moveTo>
                    <a:pt x="4571" y="248"/>
                  </a:moveTo>
                  <a:lnTo>
                    <a:pt x="4571" y="248"/>
                  </a:lnTo>
                  <a:cubicBezTo>
                    <a:pt x="5010" y="268"/>
                    <a:pt x="5391" y="493"/>
                    <a:pt x="5622" y="1047"/>
                  </a:cubicBezTo>
                  <a:cubicBezTo>
                    <a:pt x="5437" y="1169"/>
                    <a:pt x="5267" y="1313"/>
                    <a:pt x="5111" y="1472"/>
                  </a:cubicBezTo>
                  <a:cubicBezTo>
                    <a:pt x="5189" y="1299"/>
                    <a:pt x="5255" y="1120"/>
                    <a:pt x="5310" y="938"/>
                  </a:cubicBezTo>
                  <a:cubicBezTo>
                    <a:pt x="5349" y="822"/>
                    <a:pt x="5240" y="698"/>
                    <a:pt x="5126" y="698"/>
                  </a:cubicBezTo>
                  <a:cubicBezTo>
                    <a:pt x="5095" y="698"/>
                    <a:pt x="5064" y="707"/>
                    <a:pt x="5036" y="727"/>
                  </a:cubicBezTo>
                  <a:cubicBezTo>
                    <a:pt x="4828" y="883"/>
                    <a:pt x="4629" y="1053"/>
                    <a:pt x="4444" y="1238"/>
                  </a:cubicBezTo>
                  <a:cubicBezTo>
                    <a:pt x="4548" y="990"/>
                    <a:pt x="4629" y="730"/>
                    <a:pt x="4684" y="467"/>
                  </a:cubicBezTo>
                  <a:cubicBezTo>
                    <a:pt x="4695" y="378"/>
                    <a:pt x="4652" y="288"/>
                    <a:pt x="4571" y="248"/>
                  </a:cubicBezTo>
                  <a:close/>
                  <a:moveTo>
                    <a:pt x="3607" y="461"/>
                  </a:moveTo>
                  <a:cubicBezTo>
                    <a:pt x="2833" y="1429"/>
                    <a:pt x="2235" y="2540"/>
                    <a:pt x="1404" y="3449"/>
                  </a:cubicBezTo>
                  <a:cubicBezTo>
                    <a:pt x="1837" y="2560"/>
                    <a:pt x="2365" y="1726"/>
                    <a:pt x="2862" y="869"/>
                  </a:cubicBezTo>
                  <a:cubicBezTo>
                    <a:pt x="3096" y="710"/>
                    <a:pt x="3344" y="574"/>
                    <a:pt x="3607" y="461"/>
                  </a:cubicBezTo>
                  <a:close/>
                  <a:moveTo>
                    <a:pt x="4149" y="952"/>
                  </a:moveTo>
                  <a:cubicBezTo>
                    <a:pt x="3809" y="1876"/>
                    <a:pt x="3159" y="2661"/>
                    <a:pt x="2605" y="3473"/>
                  </a:cubicBezTo>
                  <a:cubicBezTo>
                    <a:pt x="2516" y="3604"/>
                    <a:pt x="2651" y="3760"/>
                    <a:pt x="2781" y="3760"/>
                  </a:cubicBezTo>
                  <a:cubicBezTo>
                    <a:pt x="2825" y="3760"/>
                    <a:pt x="2868" y="3743"/>
                    <a:pt x="2902" y="3701"/>
                  </a:cubicBezTo>
                  <a:cubicBezTo>
                    <a:pt x="2914" y="3689"/>
                    <a:pt x="2922" y="3675"/>
                    <a:pt x="2931" y="3663"/>
                  </a:cubicBezTo>
                  <a:cubicBezTo>
                    <a:pt x="3494" y="2964"/>
                    <a:pt x="3996" y="2199"/>
                    <a:pt x="4634" y="1570"/>
                  </a:cubicBezTo>
                  <a:lnTo>
                    <a:pt x="4634" y="1570"/>
                  </a:lnTo>
                  <a:cubicBezTo>
                    <a:pt x="4562" y="1706"/>
                    <a:pt x="4484" y="1839"/>
                    <a:pt x="4398" y="1966"/>
                  </a:cubicBezTo>
                  <a:cubicBezTo>
                    <a:pt x="4346" y="2038"/>
                    <a:pt x="4297" y="2095"/>
                    <a:pt x="4326" y="2188"/>
                  </a:cubicBezTo>
                  <a:cubicBezTo>
                    <a:pt x="4337" y="2231"/>
                    <a:pt x="4372" y="2269"/>
                    <a:pt x="4415" y="2286"/>
                  </a:cubicBezTo>
                  <a:cubicBezTo>
                    <a:pt x="4253" y="2491"/>
                    <a:pt x="4097" y="2693"/>
                    <a:pt x="3947" y="2866"/>
                  </a:cubicBezTo>
                  <a:cubicBezTo>
                    <a:pt x="3243" y="3672"/>
                    <a:pt x="2388" y="4838"/>
                    <a:pt x="1340" y="5208"/>
                  </a:cubicBezTo>
                  <a:cubicBezTo>
                    <a:pt x="1275" y="5231"/>
                    <a:pt x="1216" y="5241"/>
                    <a:pt x="1164" y="5241"/>
                  </a:cubicBezTo>
                  <a:cubicBezTo>
                    <a:pt x="733" y="5241"/>
                    <a:pt x="696" y="4536"/>
                    <a:pt x="691" y="4119"/>
                  </a:cubicBezTo>
                  <a:lnTo>
                    <a:pt x="691" y="4119"/>
                  </a:lnTo>
                  <a:cubicBezTo>
                    <a:pt x="702" y="4122"/>
                    <a:pt x="711" y="4122"/>
                    <a:pt x="720" y="4122"/>
                  </a:cubicBezTo>
                  <a:cubicBezTo>
                    <a:pt x="717" y="4131"/>
                    <a:pt x="711" y="4139"/>
                    <a:pt x="708" y="4151"/>
                  </a:cubicBezTo>
                  <a:cubicBezTo>
                    <a:pt x="654" y="4281"/>
                    <a:pt x="766" y="4361"/>
                    <a:pt x="879" y="4361"/>
                  </a:cubicBezTo>
                  <a:cubicBezTo>
                    <a:pt x="923" y="4361"/>
                    <a:pt x="968" y="4348"/>
                    <a:pt x="1003" y="4321"/>
                  </a:cubicBezTo>
                  <a:cubicBezTo>
                    <a:pt x="1467" y="3955"/>
                    <a:pt x="1851" y="3519"/>
                    <a:pt x="2204" y="3054"/>
                  </a:cubicBezTo>
                  <a:lnTo>
                    <a:pt x="2204" y="3054"/>
                  </a:lnTo>
                  <a:cubicBezTo>
                    <a:pt x="1932" y="3519"/>
                    <a:pt x="1661" y="3984"/>
                    <a:pt x="1346" y="4417"/>
                  </a:cubicBezTo>
                  <a:cubicBezTo>
                    <a:pt x="1245" y="4557"/>
                    <a:pt x="1374" y="4686"/>
                    <a:pt x="1510" y="4686"/>
                  </a:cubicBezTo>
                  <a:cubicBezTo>
                    <a:pt x="1568" y="4686"/>
                    <a:pt x="1626" y="4663"/>
                    <a:pt x="1669" y="4607"/>
                  </a:cubicBezTo>
                  <a:cubicBezTo>
                    <a:pt x="2449" y="3574"/>
                    <a:pt x="3266" y="2563"/>
                    <a:pt x="3751" y="1374"/>
                  </a:cubicBezTo>
                  <a:cubicBezTo>
                    <a:pt x="3875" y="1226"/>
                    <a:pt x="4008" y="1085"/>
                    <a:pt x="4149" y="952"/>
                  </a:cubicBezTo>
                  <a:close/>
                  <a:moveTo>
                    <a:pt x="4508" y="1"/>
                  </a:moveTo>
                  <a:cubicBezTo>
                    <a:pt x="3949" y="1"/>
                    <a:pt x="3318" y="250"/>
                    <a:pt x="2767" y="588"/>
                  </a:cubicBezTo>
                  <a:cubicBezTo>
                    <a:pt x="2763" y="588"/>
                    <a:pt x="2760" y="588"/>
                    <a:pt x="2757" y="588"/>
                  </a:cubicBezTo>
                  <a:cubicBezTo>
                    <a:pt x="2723" y="588"/>
                    <a:pt x="2689" y="602"/>
                    <a:pt x="2663" y="626"/>
                  </a:cubicBezTo>
                  <a:cubicBezTo>
                    <a:pt x="2642" y="646"/>
                    <a:pt x="2625" y="669"/>
                    <a:pt x="2605" y="690"/>
                  </a:cubicBezTo>
                  <a:cubicBezTo>
                    <a:pt x="2582" y="710"/>
                    <a:pt x="2547" y="721"/>
                    <a:pt x="2521" y="739"/>
                  </a:cubicBezTo>
                  <a:cubicBezTo>
                    <a:pt x="1118" y="1709"/>
                    <a:pt x="1" y="3204"/>
                    <a:pt x="494" y="4977"/>
                  </a:cubicBezTo>
                  <a:cubicBezTo>
                    <a:pt x="599" y="5353"/>
                    <a:pt x="800" y="5511"/>
                    <a:pt x="1067" y="5511"/>
                  </a:cubicBezTo>
                  <a:cubicBezTo>
                    <a:pt x="2301" y="5511"/>
                    <a:pt x="4929" y="2122"/>
                    <a:pt x="5734" y="1336"/>
                  </a:cubicBezTo>
                  <a:cubicBezTo>
                    <a:pt x="5754" y="1378"/>
                    <a:pt x="5790" y="1396"/>
                    <a:pt x="5825" y="1396"/>
                  </a:cubicBezTo>
                  <a:cubicBezTo>
                    <a:pt x="5888" y="1396"/>
                    <a:pt x="5950" y="1341"/>
                    <a:pt x="5928" y="1264"/>
                  </a:cubicBezTo>
                  <a:cubicBezTo>
                    <a:pt x="5919" y="1235"/>
                    <a:pt x="5910" y="1212"/>
                    <a:pt x="5905" y="1186"/>
                  </a:cubicBezTo>
                  <a:cubicBezTo>
                    <a:pt x="6006" y="1111"/>
                    <a:pt x="5957" y="949"/>
                    <a:pt x="5830" y="944"/>
                  </a:cubicBezTo>
                  <a:cubicBezTo>
                    <a:pt x="5569" y="258"/>
                    <a:pt x="5076" y="1"/>
                    <a:pt x="45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65"/>
            <p:cNvSpPr/>
            <p:nvPr/>
          </p:nvSpPr>
          <p:spPr>
            <a:xfrm>
              <a:off x="6073900" y="3620300"/>
              <a:ext cx="92475" cy="102900"/>
            </a:xfrm>
            <a:custGeom>
              <a:avLst/>
              <a:gdLst/>
              <a:ahLst/>
              <a:cxnLst/>
              <a:rect l="l" t="t" r="r" b="b"/>
              <a:pathLst>
                <a:path w="3699" h="4116" extrusionOk="0">
                  <a:moveTo>
                    <a:pt x="1898" y="334"/>
                  </a:moveTo>
                  <a:cubicBezTo>
                    <a:pt x="2336" y="334"/>
                    <a:pt x="2717" y="589"/>
                    <a:pt x="2980" y="931"/>
                  </a:cubicBezTo>
                  <a:cubicBezTo>
                    <a:pt x="2922" y="934"/>
                    <a:pt x="2870" y="963"/>
                    <a:pt x="2836" y="1009"/>
                  </a:cubicBezTo>
                  <a:cubicBezTo>
                    <a:pt x="2645" y="1269"/>
                    <a:pt x="2469" y="1538"/>
                    <a:pt x="2293" y="1809"/>
                  </a:cubicBezTo>
                  <a:cubicBezTo>
                    <a:pt x="2388" y="1489"/>
                    <a:pt x="2484" y="1168"/>
                    <a:pt x="2553" y="842"/>
                  </a:cubicBezTo>
                  <a:cubicBezTo>
                    <a:pt x="2583" y="699"/>
                    <a:pt x="2480" y="606"/>
                    <a:pt x="2370" y="606"/>
                  </a:cubicBezTo>
                  <a:cubicBezTo>
                    <a:pt x="2310" y="606"/>
                    <a:pt x="2248" y="633"/>
                    <a:pt x="2203" y="695"/>
                  </a:cubicBezTo>
                  <a:cubicBezTo>
                    <a:pt x="1981" y="1009"/>
                    <a:pt x="1782" y="1338"/>
                    <a:pt x="1603" y="1679"/>
                  </a:cubicBezTo>
                  <a:cubicBezTo>
                    <a:pt x="1692" y="1240"/>
                    <a:pt x="1747" y="793"/>
                    <a:pt x="1768" y="345"/>
                  </a:cubicBezTo>
                  <a:cubicBezTo>
                    <a:pt x="1805" y="342"/>
                    <a:pt x="1840" y="334"/>
                    <a:pt x="1883" y="334"/>
                  </a:cubicBezTo>
                  <a:cubicBezTo>
                    <a:pt x="1888" y="334"/>
                    <a:pt x="1893" y="334"/>
                    <a:pt x="1898" y="334"/>
                  </a:cubicBezTo>
                  <a:close/>
                  <a:moveTo>
                    <a:pt x="1288" y="1263"/>
                  </a:moveTo>
                  <a:cubicBezTo>
                    <a:pt x="1193" y="1849"/>
                    <a:pt x="1052" y="2430"/>
                    <a:pt x="942" y="3019"/>
                  </a:cubicBezTo>
                  <a:cubicBezTo>
                    <a:pt x="858" y="2929"/>
                    <a:pt x="783" y="2834"/>
                    <a:pt x="714" y="2736"/>
                  </a:cubicBezTo>
                  <a:cubicBezTo>
                    <a:pt x="653" y="2638"/>
                    <a:pt x="601" y="2536"/>
                    <a:pt x="561" y="2433"/>
                  </a:cubicBezTo>
                  <a:cubicBezTo>
                    <a:pt x="564" y="2427"/>
                    <a:pt x="569" y="2427"/>
                    <a:pt x="572" y="2421"/>
                  </a:cubicBezTo>
                  <a:cubicBezTo>
                    <a:pt x="613" y="2332"/>
                    <a:pt x="653" y="2245"/>
                    <a:pt x="694" y="2155"/>
                  </a:cubicBezTo>
                  <a:cubicBezTo>
                    <a:pt x="907" y="1867"/>
                    <a:pt x="1106" y="1566"/>
                    <a:pt x="1288" y="1263"/>
                  </a:cubicBezTo>
                  <a:close/>
                  <a:moveTo>
                    <a:pt x="1845" y="2008"/>
                  </a:moveTo>
                  <a:lnTo>
                    <a:pt x="1845" y="2008"/>
                  </a:lnTo>
                  <a:cubicBezTo>
                    <a:pt x="1710" y="2430"/>
                    <a:pt x="1560" y="2845"/>
                    <a:pt x="1398" y="3258"/>
                  </a:cubicBezTo>
                  <a:cubicBezTo>
                    <a:pt x="1343" y="3395"/>
                    <a:pt x="1464" y="3494"/>
                    <a:pt x="1585" y="3494"/>
                  </a:cubicBezTo>
                  <a:cubicBezTo>
                    <a:pt x="1647" y="3494"/>
                    <a:pt x="1710" y="3468"/>
                    <a:pt x="1747" y="3405"/>
                  </a:cubicBezTo>
                  <a:cubicBezTo>
                    <a:pt x="2007" y="2970"/>
                    <a:pt x="2273" y="2539"/>
                    <a:pt x="2547" y="2112"/>
                  </a:cubicBezTo>
                  <a:lnTo>
                    <a:pt x="2547" y="2112"/>
                  </a:lnTo>
                  <a:cubicBezTo>
                    <a:pt x="2446" y="2499"/>
                    <a:pt x="2325" y="2883"/>
                    <a:pt x="2186" y="3258"/>
                  </a:cubicBezTo>
                  <a:cubicBezTo>
                    <a:pt x="2135" y="3394"/>
                    <a:pt x="2260" y="3498"/>
                    <a:pt x="2379" y="3498"/>
                  </a:cubicBezTo>
                  <a:cubicBezTo>
                    <a:pt x="2440" y="3498"/>
                    <a:pt x="2499" y="3470"/>
                    <a:pt x="2533" y="3405"/>
                  </a:cubicBezTo>
                  <a:cubicBezTo>
                    <a:pt x="2570" y="3333"/>
                    <a:pt x="2611" y="3264"/>
                    <a:pt x="2651" y="3195"/>
                  </a:cubicBezTo>
                  <a:cubicBezTo>
                    <a:pt x="2665" y="3224"/>
                    <a:pt x="2683" y="3252"/>
                    <a:pt x="2703" y="3281"/>
                  </a:cubicBezTo>
                  <a:cubicBezTo>
                    <a:pt x="2544" y="3449"/>
                    <a:pt x="2368" y="3599"/>
                    <a:pt x="2178" y="3735"/>
                  </a:cubicBezTo>
                  <a:cubicBezTo>
                    <a:pt x="2131" y="3769"/>
                    <a:pt x="2077" y="3784"/>
                    <a:pt x="2017" y="3784"/>
                  </a:cubicBezTo>
                  <a:cubicBezTo>
                    <a:pt x="1785" y="3784"/>
                    <a:pt x="1473" y="3549"/>
                    <a:pt x="1210" y="3296"/>
                  </a:cubicBezTo>
                  <a:cubicBezTo>
                    <a:pt x="1248" y="3276"/>
                    <a:pt x="1277" y="3244"/>
                    <a:pt x="1294" y="3203"/>
                  </a:cubicBezTo>
                  <a:cubicBezTo>
                    <a:pt x="1459" y="2796"/>
                    <a:pt x="1641" y="2395"/>
                    <a:pt x="1845" y="2008"/>
                  </a:cubicBezTo>
                  <a:close/>
                  <a:moveTo>
                    <a:pt x="1401" y="0"/>
                  </a:moveTo>
                  <a:cubicBezTo>
                    <a:pt x="1357" y="0"/>
                    <a:pt x="1314" y="23"/>
                    <a:pt x="1285" y="80"/>
                  </a:cubicBezTo>
                  <a:cubicBezTo>
                    <a:pt x="1268" y="109"/>
                    <a:pt x="1254" y="140"/>
                    <a:pt x="1236" y="172"/>
                  </a:cubicBezTo>
                  <a:cubicBezTo>
                    <a:pt x="823" y="360"/>
                    <a:pt x="477" y="723"/>
                    <a:pt x="252" y="1136"/>
                  </a:cubicBezTo>
                  <a:cubicBezTo>
                    <a:pt x="252" y="1128"/>
                    <a:pt x="249" y="1119"/>
                    <a:pt x="249" y="1107"/>
                  </a:cubicBezTo>
                  <a:cubicBezTo>
                    <a:pt x="245" y="1042"/>
                    <a:pt x="194" y="1010"/>
                    <a:pt x="144" y="1010"/>
                  </a:cubicBezTo>
                  <a:cubicBezTo>
                    <a:pt x="95" y="1010"/>
                    <a:pt x="45" y="1042"/>
                    <a:pt x="44" y="1107"/>
                  </a:cubicBezTo>
                  <a:cubicBezTo>
                    <a:pt x="41" y="1263"/>
                    <a:pt x="50" y="1419"/>
                    <a:pt x="67" y="1572"/>
                  </a:cubicBezTo>
                  <a:cubicBezTo>
                    <a:pt x="53" y="1624"/>
                    <a:pt x="30" y="1679"/>
                    <a:pt x="18" y="1731"/>
                  </a:cubicBezTo>
                  <a:cubicBezTo>
                    <a:pt x="1" y="1803"/>
                    <a:pt x="50" y="1875"/>
                    <a:pt x="125" y="1890"/>
                  </a:cubicBezTo>
                  <a:cubicBezTo>
                    <a:pt x="145" y="1985"/>
                    <a:pt x="191" y="2069"/>
                    <a:pt x="220" y="2158"/>
                  </a:cubicBezTo>
                  <a:cubicBezTo>
                    <a:pt x="200" y="2196"/>
                    <a:pt x="183" y="2236"/>
                    <a:pt x="162" y="2274"/>
                  </a:cubicBezTo>
                  <a:cubicBezTo>
                    <a:pt x="85" y="2420"/>
                    <a:pt x="197" y="2539"/>
                    <a:pt x="321" y="2539"/>
                  </a:cubicBezTo>
                  <a:cubicBezTo>
                    <a:pt x="331" y="2539"/>
                    <a:pt x="342" y="2538"/>
                    <a:pt x="353" y="2536"/>
                  </a:cubicBezTo>
                  <a:cubicBezTo>
                    <a:pt x="682" y="3247"/>
                    <a:pt x="1271" y="3801"/>
                    <a:pt x="2079" y="4104"/>
                  </a:cubicBezTo>
                  <a:cubicBezTo>
                    <a:pt x="2100" y="4112"/>
                    <a:pt x="2122" y="4115"/>
                    <a:pt x="2145" y="4115"/>
                  </a:cubicBezTo>
                  <a:cubicBezTo>
                    <a:pt x="2495" y="4115"/>
                    <a:pt x="3131" y="3299"/>
                    <a:pt x="3280" y="3085"/>
                  </a:cubicBezTo>
                  <a:cubicBezTo>
                    <a:pt x="3557" y="2692"/>
                    <a:pt x="3699" y="2176"/>
                    <a:pt x="3633" y="1696"/>
                  </a:cubicBezTo>
                  <a:cubicBezTo>
                    <a:pt x="3520" y="885"/>
                    <a:pt x="2911" y="186"/>
                    <a:pt x="2088" y="51"/>
                  </a:cubicBezTo>
                  <a:cubicBezTo>
                    <a:pt x="2010" y="37"/>
                    <a:pt x="1931" y="31"/>
                    <a:pt x="1851" y="31"/>
                  </a:cubicBezTo>
                  <a:cubicBezTo>
                    <a:pt x="1744" y="31"/>
                    <a:pt x="1636" y="43"/>
                    <a:pt x="1531" y="68"/>
                  </a:cubicBezTo>
                  <a:cubicBezTo>
                    <a:pt x="1498" y="27"/>
                    <a:pt x="1449" y="0"/>
                    <a:pt x="1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65"/>
            <p:cNvSpPr/>
            <p:nvPr/>
          </p:nvSpPr>
          <p:spPr>
            <a:xfrm>
              <a:off x="5776700" y="3655450"/>
              <a:ext cx="255650" cy="229725"/>
            </a:xfrm>
            <a:custGeom>
              <a:avLst/>
              <a:gdLst/>
              <a:ahLst/>
              <a:cxnLst/>
              <a:rect l="l" t="t" r="r" b="b"/>
              <a:pathLst>
                <a:path w="10226" h="9189" extrusionOk="0">
                  <a:moveTo>
                    <a:pt x="7218" y="594"/>
                  </a:moveTo>
                  <a:cubicBezTo>
                    <a:pt x="7145" y="654"/>
                    <a:pt x="7070" y="715"/>
                    <a:pt x="6998" y="775"/>
                  </a:cubicBezTo>
                  <a:cubicBezTo>
                    <a:pt x="6305" y="1258"/>
                    <a:pt x="5736" y="1835"/>
                    <a:pt x="5283" y="2600"/>
                  </a:cubicBezTo>
                  <a:cubicBezTo>
                    <a:pt x="5208" y="2727"/>
                    <a:pt x="5327" y="2872"/>
                    <a:pt x="5447" y="2872"/>
                  </a:cubicBezTo>
                  <a:cubicBezTo>
                    <a:pt x="5487" y="2872"/>
                    <a:pt x="5528" y="2856"/>
                    <a:pt x="5560" y="2816"/>
                  </a:cubicBezTo>
                  <a:cubicBezTo>
                    <a:pt x="6144" y="2121"/>
                    <a:pt x="6730" y="1468"/>
                    <a:pt x="7417" y="888"/>
                  </a:cubicBezTo>
                  <a:lnTo>
                    <a:pt x="7417" y="888"/>
                  </a:lnTo>
                  <a:cubicBezTo>
                    <a:pt x="7345" y="1102"/>
                    <a:pt x="6929" y="1693"/>
                    <a:pt x="6779" y="1933"/>
                  </a:cubicBezTo>
                  <a:cubicBezTo>
                    <a:pt x="6435" y="2473"/>
                    <a:pt x="6060" y="2998"/>
                    <a:pt x="5690" y="3521"/>
                  </a:cubicBezTo>
                  <a:cubicBezTo>
                    <a:pt x="5627" y="3567"/>
                    <a:pt x="5583" y="3634"/>
                    <a:pt x="5560" y="3706"/>
                  </a:cubicBezTo>
                  <a:cubicBezTo>
                    <a:pt x="5413" y="3914"/>
                    <a:pt x="5266" y="4121"/>
                    <a:pt x="5127" y="4332"/>
                  </a:cubicBezTo>
                  <a:cubicBezTo>
                    <a:pt x="5084" y="4401"/>
                    <a:pt x="5107" y="4468"/>
                    <a:pt x="5150" y="4523"/>
                  </a:cubicBezTo>
                  <a:cubicBezTo>
                    <a:pt x="5003" y="4448"/>
                    <a:pt x="4853" y="4373"/>
                    <a:pt x="4703" y="4300"/>
                  </a:cubicBezTo>
                  <a:cubicBezTo>
                    <a:pt x="4726" y="3388"/>
                    <a:pt x="4798" y="2404"/>
                    <a:pt x="5367" y="1705"/>
                  </a:cubicBezTo>
                  <a:cubicBezTo>
                    <a:pt x="5630" y="1379"/>
                    <a:pt x="6409" y="905"/>
                    <a:pt x="7218" y="594"/>
                  </a:cubicBezTo>
                  <a:close/>
                  <a:moveTo>
                    <a:pt x="2142" y="3823"/>
                  </a:moveTo>
                  <a:cubicBezTo>
                    <a:pt x="2505" y="3823"/>
                    <a:pt x="2867" y="3881"/>
                    <a:pt x="3213" y="3997"/>
                  </a:cubicBezTo>
                  <a:lnTo>
                    <a:pt x="3216" y="3997"/>
                  </a:lnTo>
                  <a:cubicBezTo>
                    <a:pt x="3646" y="4110"/>
                    <a:pt x="4062" y="4306"/>
                    <a:pt x="4472" y="4514"/>
                  </a:cubicBezTo>
                  <a:cubicBezTo>
                    <a:pt x="4475" y="4586"/>
                    <a:pt x="4475" y="4650"/>
                    <a:pt x="4478" y="4722"/>
                  </a:cubicBezTo>
                  <a:cubicBezTo>
                    <a:pt x="4473" y="4721"/>
                    <a:pt x="4469" y="4721"/>
                    <a:pt x="4465" y="4721"/>
                  </a:cubicBezTo>
                  <a:cubicBezTo>
                    <a:pt x="4442" y="4721"/>
                    <a:pt x="4419" y="4727"/>
                    <a:pt x="4400" y="4739"/>
                  </a:cubicBezTo>
                  <a:cubicBezTo>
                    <a:pt x="3782" y="5172"/>
                    <a:pt x="3288" y="5672"/>
                    <a:pt x="2798" y="6238"/>
                  </a:cubicBezTo>
                  <a:cubicBezTo>
                    <a:pt x="2803" y="6183"/>
                    <a:pt x="2812" y="6142"/>
                    <a:pt x="2818" y="6070"/>
                  </a:cubicBezTo>
                  <a:cubicBezTo>
                    <a:pt x="2919" y="5579"/>
                    <a:pt x="3063" y="5097"/>
                    <a:pt x="3251" y="4630"/>
                  </a:cubicBezTo>
                  <a:cubicBezTo>
                    <a:pt x="3299" y="4509"/>
                    <a:pt x="3178" y="4400"/>
                    <a:pt x="3064" y="4400"/>
                  </a:cubicBezTo>
                  <a:cubicBezTo>
                    <a:pt x="3020" y="4400"/>
                    <a:pt x="2977" y="4416"/>
                    <a:pt x="2945" y="4453"/>
                  </a:cubicBezTo>
                  <a:cubicBezTo>
                    <a:pt x="2630" y="4835"/>
                    <a:pt x="2269" y="5158"/>
                    <a:pt x="1943" y="5513"/>
                  </a:cubicBezTo>
                  <a:cubicBezTo>
                    <a:pt x="2006" y="5115"/>
                    <a:pt x="2070" y="4713"/>
                    <a:pt x="2142" y="4315"/>
                  </a:cubicBezTo>
                  <a:cubicBezTo>
                    <a:pt x="2165" y="4182"/>
                    <a:pt x="2073" y="4098"/>
                    <a:pt x="1973" y="4098"/>
                  </a:cubicBezTo>
                  <a:cubicBezTo>
                    <a:pt x="1919" y="4098"/>
                    <a:pt x="1862" y="4123"/>
                    <a:pt x="1819" y="4179"/>
                  </a:cubicBezTo>
                  <a:cubicBezTo>
                    <a:pt x="1706" y="4228"/>
                    <a:pt x="1597" y="4286"/>
                    <a:pt x="1493" y="4352"/>
                  </a:cubicBezTo>
                  <a:cubicBezTo>
                    <a:pt x="1519" y="4191"/>
                    <a:pt x="1553" y="4035"/>
                    <a:pt x="1576" y="3870"/>
                  </a:cubicBezTo>
                  <a:cubicBezTo>
                    <a:pt x="1764" y="3839"/>
                    <a:pt x="1953" y="3823"/>
                    <a:pt x="2142" y="3823"/>
                  </a:cubicBezTo>
                  <a:close/>
                  <a:moveTo>
                    <a:pt x="8594" y="289"/>
                  </a:moveTo>
                  <a:cubicBezTo>
                    <a:pt x="9159" y="289"/>
                    <a:pt x="9534" y="547"/>
                    <a:pt x="9415" y="1266"/>
                  </a:cubicBezTo>
                  <a:lnTo>
                    <a:pt x="9415" y="1269"/>
                  </a:lnTo>
                  <a:cubicBezTo>
                    <a:pt x="9094" y="3200"/>
                    <a:pt x="8834" y="4803"/>
                    <a:pt x="7804" y="6547"/>
                  </a:cubicBezTo>
                  <a:cubicBezTo>
                    <a:pt x="7945" y="6125"/>
                    <a:pt x="8058" y="5698"/>
                    <a:pt x="8144" y="5265"/>
                  </a:cubicBezTo>
                  <a:cubicBezTo>
                    <a:pt x="8174" y="5146"/>
                    <a:pt x="8083" y="5035"/>
                    <a:pt x="7965" y="5035"/>
                  </a:cubicBezTo>
                  <a:cubicBezTo>
                    <a:pt x="7956" y="5035"/>
                    <a:pt x="7948" y="5035"/>
                    <a:pt x="7939" y="5037"/>
                  </a:cubicBezTo>
                  <a:cubicBezTo>
                    <a:pt x="8277" y="4560"/>
                    <a:pt x="8606" y="4078"/>
                    <a:pt x="8909" y="3579"/>
                  </a:cubicBezTo>
                  <a:cubicBezTo>
                    <a:pt x="8996" y="3438"/>
                    <a:pt x="8870" y="3289"/>
                    <a:pt x="8737" y="3289"/>
                  </a:cubicBezTo>
                  <a:cubicBezTo>
                    <a:pt x="8693" y="3289"/>
                    <a:pt x="8647" y="3306"/>
                    <a:pt x="8609" y="3345"/>
                  </a:cubicBezTo>
                  <a:cubicBezTo>
                    <a:pt x="8499" y="3460"/>
                    <a:pt x="8398" y="3587"/>
                    <a:pt x="8291" y="3706"/>
                  </a:cubicBezTo>
                  <a:cubicBezTo>
                    <a:pt x="8765" y="2871"/>
                    <a:pt x="9166" y="1988"/>
                    <a:pt x="9397" y="1012"/>
                  </a:cubicBezTo>
                  <a:cubicBezTo>
                    <a:pt x="9428" y="890"/>
                    <a:pt x="9321" y="772"/>
                    <a:pt x="9210" y="772"/>
                  </a:cubicBezTo>
                  <a:cubicBezTo>
                    <a:pt x="9166" y="772"/>
                    <a:pt x="9122" y="790"/>
                    <a:pt x="9085" y="833"/>
                  </a:cubicBezTo>
                  <a:cubicBezTo>
                    <a:pt x="8557" y="1448"/>
                    <a:pt x="8040" y="2075"/>
                    <a:pt x="7524" y="2704"/>
                  </a:cubicBezTo>
                  <a:cubicBezTo>
                    <a:pt x="7714" y="2308"/>
                    <a:pt x="7873" y="1901"/>
                    <a:pt x="8006" y="1486"/>
                  </a:cubicBezTo>
                  <a:cubicBezTo>
                    <a:pt x="8092" y="1341"/>
                    <a:pt x="8185" y="1200"/>
                    <a:pt x="8271" y="1055"/>
                  </a:cubicBezTo>
                  <a:cubicBezTo>
                    <a:pt x="8343" y="934"/>
                    <a:pt x="8268" y="839"/>
                    <a:pt x="8164" y="813"/>
                  </a:cubicBezTo>
                  <a:cubicBezTo>
                    <a:pt x="8202" y="645"/>
                    <a:pt x="8242" y="481"/>
                    <a:pt x="8266" y="313"/>
                  </a:cubicBezTo>
                  <a:cubicBezTo>
                    <a:pt x="8380" y="297"/>
                    <a:pt x="8490" y="289"/>
                    <a:pt x="8594" y="289"/>
                  </a:cubicBezTo>
                  <a:close/>
                  <a:moveTo>
                    <a:pt x="2604" y="5343"/>
                  </a:moveTo>
                  <a:cubicBezTo>
                    <a:pt x="2474" y="5790"/>
                    <a:pt x="2399" y="6266"/>
                    <a:pt x="2304" y="6720"/>
                  </a:cubicBezTo>
                  <a:cubicBezTo>
                    <a:pt x="2174" y="6503"/>
                    <a:pt x="2047" y="6295"/>
                    <a:pt x="1923" y="6102"/>
                  </a:cubicBezTo>
                  <a:cubicBezTo>
                    <a:pt x="2119" y="5822"/>
                    <a:pt x="2347" y="5568"/>
                    <a:pt x="2601" y="5343"/>
                  </a:cubicBezTo>
                  <a:close/>
                  <a:moveTo>
                    <a:pt x="6262" y="3530"/>
                  </a:moveTo>
                  <a:cubicBezTo>
                    <a:pt x="5901" y="4075"/>
                    <a:pt x="5540" y="4621"/>
                    <a:pt x="5159" y="5155"/>
                  </a:cubicBezTo>
                  <a:cubicBezTo>
                    <a:pt x="4691" y="5815"/>
                    <a:pt x="3979" y="6646"/>
                    <a:pt x="3774" y="7200"/>
                  </a:cubicBezTo>
                  <a:lnTo>
                    <a:pt x="3774" y="7200"/>
                  </a:lnTo>
                  <a:cubicBezTo>
                    <a:pt x="4039" y="6473"/>
                    <a:pt x="4361" y="5766"/>
                    <a:pt x="4628" y="5039"/>
                  </a:cubicBezTo>
                  <a:cubicBezTo>
                    <a:pt x="4663" y="5028"/>
                    <a:pt x="4686" y="4993"/>
                    <a:pt x="4689" y="4959"/>
                  </a:cubicBezTo>
                  <a:cubicBezTo>
                    <a:pt x="4691" y="4852"/>
                    <a:pt x="4691" y="4739"/>
                    <a:pt x="4694" y="4627"/>
                  </a:cubicBezTo>
                  <a:cubicBezTo>
                    <a:pt x="4853" y="4710"/>
                    <a:pt x="5012" y="4794"/>
                    <a:pt x="5168" y="4875"/>
                  </a:cubicBezTo>
                  <a:cubicBezTo>
                    <a:pt x="5192" y="4887"/>
                    <a:pt x="5215" y="4892"/>
                    <a:pt x="5238" y="4892"/>
                  </a:cubicBezTo>
                  <a:cubicBezTo>
                    <a:pt x="5378" y="4892"/>
                    <a:pt x="5473" y="4686"/>
                    <a:pt x="5321" y="4609"/>
                  </a:cubicBezTo>
                  <a:lnTo>
                    <a:pt x="5301" y="4601"/>
                  </a:lnTo>
                  <a:cubicBezTo>
                    <a:pt x="5338" y="4598"/>
                    <a:pt x="5379" y="4580"/>
                    <a:pt x="5404" y="4549"/>
                  </a:cubicBezTo>
                  <a:cubicBezTo>
                    <a:pt x="5693" y="4211"/>
                    <a:pt x="5976" y="3870"/>
                    <a:pt x="6262" y="3530"/>
                  </a:cubicBezTo>
                  <a:close/>
                  <a:moveTo>
                    <a:pt x="4111" y="5415"/>
                  </a:moveTo>
                  <a:cubicBezTo>
                    <a:pt x="3834" y="6180"/>
                    <a:pt x="3490" y="6919"/>
                    <a:pt x="3213" y="7684"/>
                  </a:cubicBezTo>
                  <a:cubicBezTo>
                    <a:pt x="3184" y="7762"/>
                    <a:pt x="3228" y="7834"/>
                    <a:pt x="3288" y="7877"/>
                  </a:cubicBezTo>
                  <a:lnTo>
                    <a:pt x="3257" y="7915"/>
                  </a:lnTo>
                  <a:cubicBezTo>
                    <a:pt x="3245" y="7926"/>
                    <a:pt x="3251" y="7941"/>
                    <a:pt x="3245" y="7955"/>
                  </a:cubicBezTo>
                  <a:cubicBezTo>
                    <a:pt x="2977" y="7710"/>
                    <a:pt x="2748" y="7407"/>
                    <a:pt x="2541" y="7092"/>
                  </a:cubicBezTo>
                  <a:cubicBezTo>
                    <a:pt x="2552" y="7083"/>
                    <a:pt x="2564" y="7086"/>
                    <a:pt x="2572" y="7072"/>
                  </a:cubicBezTo>
                  <a:cubicBezTo>
                    <a:pt x="2913" y="6653"/>
                    <a:pt x="3944" y="5874"/>
                    <a:pt x="4111" y="5415"/>
                  </a:cubicBezTo>
                  <a:close/>
                  <a:moveTo>
                    <a:pt x="7547" y="6085"/>
                  </a:moveTo>
                  <a:lnTo>
                    <a:pt x="7547" y="6085"/>
                  </a:lnTo>
                  <a:cubicBezTo>
                    <a:pt x="7394" y="6607"/>
                    <a:pt x="7206" y="7121"/>
                    <a:pt x="6984" y="7620"/>
                  </a:cubicBezTo>
                  <a:cubicBezTo>
                    <a:pt x="6608" y="8004"/>
                    <a:pt x="6178" y="8302"/>
                    <a:pt x="5699" y="8461"/>
                  </a:cubicBezTo>
                  <a:cubicBezTo>
                    <a:pt x="6337" y="7687"/>
                    <a:pt x="6952" y="6893"/>
                    <a:pt x="7547" y="6085"/>
                  </a:cubicBezTo>
                  <a:close/>
                  <a:moveTo>
                    <a:pt x="8839" y="1488"/>
                  </a:moveTo>
                  <a:cubicBezTo>
                    <a:pt x="8874" y="1488"/>
                    <a:pt x="8858" y="1610"/>
                    <a:pt x="8756" y="1933"/>
                  </a:cubicBezTo>
                  <a:cubicBezTo>
                    <a:pt x="7971" y="4442"/>
                    <a:pt x="5907" y="6393"/>
                    <a:pt x="4426" y="8533"/>
                  </a:cubicBezTo>
                  <a:cubicBezTo>
                    <a:pt x="4224" y="8492"/>
                    <a:pt x="4024" y="8429"/>
                    <a:pt x="3834" y="8348"/>
                  </a:cubicBezTo>
                  <a:cubicBezTo>
                    <a:pt x="3727" y="8302"/>
                    <a:pt x="3623" y="8244"/>
                    <a:pt x="3525" y="8178"/>
                  </a:cubicBezTo>
                  <a:cubicBezTo>
                    <a:pt x="4296" y="7265"/>
                    <a:pt x="5148" y="6298"/>
                    <a:pt x="5921" y="5276"/>
                  </a:cubicBezTo>
                  <a:cubicBezTo>
                    <a:pt x="6092" y="5063"/>
                    <a:pt x="6265" y="4852"/>
                    <a:pt x="6438" y="4638"/>
                  </a:cubicBezTo>
                  <a:cubicBezTo>
                    <a:pt x="6978" y="3960"/>
                    <a:pt x="7524" y="3284"/>
                    <a:pt x="8072" y="2612"/>
                  </a:cubicBezTo>
                  <a:cubicBezTo>
                    <a:pt x="8286" y="2347"/>
                    <a:pt x="8745" y="1488"/>
                    <a:pt x="8839" y="1488"/>
                  </a:cubicBezTo>
                  <a:close/>
                  <a:moveTo>
                    <a:pt x="8108" y="0"/>
                  </a:moveTo>
                  <a:cubicBezTo>
                    <a:pt x="8095" y="0"/>
                    <a:pt x="8082" y="2"/>
                    <a:pt x="8069" y="5"/>
                  </a:cubicBezTo>
                  <a:cubicBezTo>
                    <a:pt x="8060" y="4"/>
                    <a:pt x="8050" y="4"/>
                    <a:pt x="8040" y="4"/>
                  </a:cubicBezTo>
                  <a:cubicBezTo>
                    <a:pt x="6835" y="4"/>
                    <a:pt x="5647" y="892"/>
                    <a:pt x="4919" y="1789"/>
                  </a:cubicBezTo>
                  <a:cubicBezTo>
                    <a:pt x="4455" y="2360"/>
                    <a:pt x="4432" y="3348"/>
                    <a:pt x="4458" y="4185"/>
                  </a:cubicBezTo>
                  <a:cubicBezTo>
                    <a:pt x="3680" y="3827"/>
                    <a:pt x="2901" y="3552"/>
                    <a:pt x="2138" y="3552"/>
                  </a:cubicBezTo>
                  <a:cubicBezTo>
                    <a:pt x="1965" y="3552"/>
                    <a:pt x="1793" y="3566"/>
                    <a:pt x="1623" y="3596"/>
                  </a:cubicBezTo>
                  <a:cubicBezTo>
                    <a:pt x="1625" y="3570"/>
                    <a:pt x="1628" y="3541"/>
                    <a:pt x="1634" y="3515"/>
                  </a:cubicBezTo>
                  <a:cubicBezTo>
                    <a:pt x="1652" y="3431"/>
                    <a:pt x="1580" y="3331"/>
                    <a:pt x="1496" y="3331"/>
                  </a:cubicBezTo>
                  <a:cubicBezTo>
                    <a:pt x="1473" y="3331"/>
                    <a:pt x="1449" y="3339"/>
                    <a:pt x="1426" y="3356"/>
                  </a:cubicBezTo>
                  <a:cubicBezTo>
                    <a:pt x="1224" y="3504"/>
                    <a:pt x="1036" y="3674"/>
                    <a:pt x="866" y="3859"/>
                  </a:cubicBezTo>
                  <a:cubicBezTo>
                    <a:pt x="580" y="4000"/>
                    <a:pt x="318" y="4182"/>
                    <a:pt x="84" y="4401"/>
                  </a:cubicBezTo>
                  <a:cubicBezTo>
                    <a:pt x="0" y="4482"/>
                    <a:pt x="32" y="4609"/>
                    <a:pt x="121" y="4670"/>
                  </a:cubicBezTo>
                  <a:cubicBezTo>
                    <a:pt x="286" y="4788"/>
                    <a:pt x="442" y="4918"/>
                    <a:pt x="586" y="5063"/>
                  </a:cubicBezTo>
                  <a:cubicBezTo>
                    <a:pt x="601" y="5120"/>
                    <a:pt x="609" y="5175"/>
                    <a:pt x="629" y="5236"/>
                  </a:cubicBezTo>
                  <a:cubicBezTo>
                    <a:pt x="643" y="5273"/>
                    <a:pt x="677" y="5293"/>
                    <a:pt x="712" y="5293"/>
                  </a:cubicBezTo>
                  <a:cubicBezTo>
                    <a:pt x="737" y="5293"/>
                    <a:pt x="762" y="5283"/>
                    <a:pt x="780" y="5262"/>
                  </a:cubicBezTo>
                  <a:cubicBezTo>
                    <a:pt x="808" y="5294"/>
                    <a:pt x="837" y="5331"/>
                    <a:pt x="866" y="5366"/>
                  </a:cubicBezTo>
                  <a:cubicBezTo>
                    <a:pt x="866" y="5447"/>
                    <a:pt x="927" y="5516"/>
                    <a:pt x="1008" y="5527"/>
                  </a:cubicBezTo>
                  <a:cubicBezTo>
                    <a:pt x="1175" y="5732"/>
                    <a:pt x="1337" y="5955"/>
                    <a:pt x="1495" y="6180"/>
                  </a:cubicBezTo>
                  <a:cubicBezTo>
                    <a:pt x="1501" y="6240"/>
                    <a:pt x="1539" y="6292"/>
                    <a:pt x="1591" y="6318"/>
                  </a:cubicBezTo>
                  <a:cubicBezTo>
                    <a:pt x="2333" y="7390"/>
                    <a:pt x="3052" y="8533"/>
                    <a:pt x="4201" y="8850"/>
                  </a:cubicBezTo>
                  <a:cubicBezTo>
                    <a:pt x="4192" y="8868"/>
                    <a:pt x="4180" y="8882"/>
                    <a:pt x="4172" y="8897"/>
                  </a:cubicBezTo>
                  <a:cubicBezTo>
                    <a:pt x="4083" y="9030"/>
                    <a:pt x="4217" y="9188"/>
                    <a:pt x="4348" y="9188"/>
                  </a:cubicBezTo>
                  <a:cubicBezTo>
                    <a:pt x="4391" y="9188"/>
                    <a:pt x="4435" y="9170"/>
                    <a:pt x="4469" y="9127"/>
                  </a:cubicBezTo>
                  <a:cubicBezTo>
                    <a:pt x="4481" y="9113"/>
                    <a:pt x="4489" y="9102"/>
                    <a:pt x="4498" y="9087"/>
                  </a:cubicBezTo>
                  <a:cubicBezTo>
                    <a:pt x="4541" y="9035"/>
                    <a:pt x="4582" y="8980"/>
                    <a:pt x="4625" y="8925"/>
                  </a:cubicBezTo>
                  <a:cubicBezTo>
                    <a:pt x="4713" y="8935"/>
                    <a:pt x="4801" y="8940"/>
                    <a:pt x="4890" y="8940"/>
                  </a:cubicBezTo>
                  <a:cubicBezTo>
                    <a:pt x="5013" y="8940"/>
                    <a:pt x="5136" y="8931"/>
                    <a:pt x="5257" y="8914"/>
                  </a:cubicBezTo>
                  <a:cubicBezTo>
                    <a:pt x="5788" y="8836"/>
                    <a:pt x="6262" y="8625"/>
                    <a:pt x="6686" y="8328"/>
                  </a:cubicBezTo>
                  <a:lnTo>
                    <a:pt x="6686" y="8328"/>
                  </a:lnTo>
                  <a:cubicBezTo>
                    <a:pt x="6671" y="8455"/>
                    <a:pt x="6779" y="8558"/>
                    <a:pt x="6882" y="8558"/>
                  </a:cubicBezTo>
                  <a:cubicBezTo>
                    <a:pt x="6936" y="8558"/>
                    <a:pt x="6988" y="8529"/>
                    <a:pt x="7021" y="8461"/>
                  </a:cubicBezTo>
                  <a:cubicBezTo>
                    <a:pt x="7131" y="8230"/>
                    <a:pt x="7238" y="7999"/>
                    <a:pt x="7339" y="7771"/>
                  </a:cubicBezTo>
                  <a:cubicBezTo>
                    <a:pt x="8514" y="6552"/>
                    <a:pt x="9198" y="4627"/>
                    <a:pt x="9495" y="3154"/>
                  </a:cubicBezTo>
                  <a:cubicBezTo>
                    <a:pt x="9848" y="1419"/>
                    <a:pt x="10226" y="146"/>
                    <a:pt x="8205" y="5"/>
                  </a:cubicBezTo>
                  <a:lnTo>
                    <a:pt x="8147" y="5"/>
                  </a:lnTo>
                  <a:cubicBezTo>
                    <a:pt x="8134" y="2"/>
                    <a:pt x="8121" y="0"/>
                    <a:pt x="81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65"/>
            <p:cNvSpPr/>
            <p:nvPr/>
          </p:nvSpPr>
          <p:spPr>
            <a:xfrm>
              <a:off x="6225900" y="3825325"/>
              <a:ext cx="398875" cy="192375"/>
            </a:xfrm>
            <a:custGeom>
              <a:avLst/>
              <a:gdLst/>
              <a:ahLst/>
              <a:cxnLst/>
              <a:rect l="l" t="t" r="r" b="b"/>
              <a:pathLst>
                <a:path w="15955" h="7695" extrusionOk="0">
                  <a:moveTo>
                    <a:pt x="1482" y="889"/>
                  </a:moveTo>
                  <a:cubicBezTo>
                    <a:pt x="1467" y="915"/>
                    <a:pt x="1453" y="944"/>
                    <a:pt x="1462" y="967"/>
                  </a:cubicBezTo>
                  <a:cubicBezTo>
                    <a:pt x="1586" y="1313"/>
                    <a:pt x="1568" y="1273"/>
                    <a:pt x="1730" y="1611"/>
                  </a:cubicBezTo>
                  <a:cubicBezTo>
                    <a:pt x="1742" y="1633"/>
                    <a:pt x="1765" y="1647"/>
                    <a:pt x="1789" y="1647"/>
                  </a:cubicBezTo>
                  <a:cubicBezTo>
                    <a:pt x="1794" y="1647"/>
                    <a:pt x="1798" y="1646"/>
                    <a:pt x="1802" y="1645"/>
                  </a:cubicBezTo>
                  <a:cubicBezTo>
                    <a:pt x="1808" y="1677"/>
                    <a:pt x="1811" y="1715"/>
                    <a:pt x="1814" y="1749"/>
                  </a:cubicBezTo>
                  <a:cubicBezTo>
                    <a:pt x="1516" y="1539"/>
                    <a:pt x="1219" y="1331"/>
                    <a:pt x="922" y="1120"/>
                  </a:cubicBezTo>
                  <a:lnTo>
                    <a:pt x="1482" y="889"/>
                  </a:lnTo>
                  <a:close/>
                  <a:moveTo>
                    <a:pt x="2667" y="1481"/>
                  </a:moveTo>
                  <a:cubicBezTo>
                    <a:pt x="2752" y="1481"/>
                    <a:pt x="2647" y="1773"/>
                    <a:pt x="2616" y="2318"/>
                  </a:cubicBezTo>
                  <a:cubicBezTo>
                    <a:pt x="2536" y="2257"/>
                    <a:pt x="2452" y="2200"/>
                    <a:pt x="2368" y="2142"/>
                  </a:cubicBezTo>
                  <a:cubicBezTo>
                    <a:pt x="2276" y="2078"/>
                    <a:pt x="2183" y="2012"/>
                    <a:pt x="2091" y="1946"/>
                  </a:cubicBezTo>
                  <a:cubicBezTo>
                    <a:pt x="2446" y="1631"/>
                    <a:pt x="2606" y="1481"/>
                    <a:pt x="2667" y="1481"/>
                  </a:cubicBezTo>
                  <a:close/>
                  <a:moveTo>
                    <a:pt x="3643" y="1612"/>
                  </a:moveTo>
                  <a:cubicBezTo>
                    <a:pt x="3764" y="1612"/>
                    <a:pt x="3545" y="2219"/>
                    <a:pt x="3295" y="2806"/>
                  </a:cubicBezTo>
                  <a:cubicBezTo>
                    <a:pt x="3168" y="2711"/>
                    <a:pt x="3038" y="2618"/>
                    <a:pt x="2908" y="2526"/>
                  </a:cubicBezTo>
                  <a:cubicBezTo>
                    <a:pt x="3348" y="1861"/>
                    <a:pt x="3566" y="1612"/>
                    <a:pt x="3643" y="1612"/>
                  </a:cubicBezTo>
                  <a:close/>
                  <a:moveTo>
                    <a:pt x="2567" y="439"/>
                  </a:moveTo>
                  <a:cubicBezTo>
                    <a:pt x="3586" y="658"/>
                    <a:pt x="4435" y="1146"/>
                    <a:pt x="5117" y="1902"/>
                  </a:cubicBezTo>
                  <a:cubicBezTo>
                    <a:pt x="5148" y="1940"/>
                    <a:pt x="5194" y="1992"/>
                    <a:pt x="5235" y="2038"/>
                  </a:cubicBezTo>
                  <a:cubicBezTo>
                    <a:pt x="4840" y="2537"/>
                    <a:pt x="4569" y="3038"/>
                    <a:pt x="4480" y="3038"/>
                  </a:cubicBezTo>
                  <a:cubicBezTo>
                    <a:pt x="4411" y="3038"/>
                    <a:pt x="4449" y="2742"/>
                    <a:pt x="4620" y="1923"/>
                  </a:cubicBezTo>
                  <a:cubicBezTo>
                    <a:pt x="4641" y="1827"/>
                    <a:pt x="4556" y="1731"/>
                    <a:pt x="4469" y="1731"/>
                  </a:cubicBezTo>
                  <a:cubicBezTo>
                    <a:pt x="4436" y="1731"/>
                    <a:pt x="4403" y="1745"/>
                    <a:pt x="4375" y="1778"/>
                  </a:cubicBezTo>
                  <a:cubicBezTo>
                    <a:pt x="3960" y="2275"/>
                    <a:pt x="3763" y="2482"/>
                    <a:pt x="3693" y="2482"/>
                  </a:cubicBezTo>
                  <a:cubicBezTo>
                    <a:pt x="3576" y="2482"/>
                    <a:pt x="3816" y="1901"/>
                    <a:pt x="3988" y="1134"/>
                  </a:cubicBezTo>
                  <a:cubicBezTo>
                    <a:pt x="4006" y="1040"/>
                    <a:pt x="3923" y="946"/>
                    <a:pt x="3839" y="946"/>
                  </a:cubicBezTo>
                  <a:cubicBezTo>
                    <a:pt x="3807" y="946"/>
                    <a:pt x="3774" y="960"/>
                    <a:pt x="3748" y="993"/>
                  </a:cubicBezTo>
                  <a:cubicBezTo>
                    <a:pt x="3446" y="1365"/>
                    <a:pt x="3084" y="1946"/>
                    <a:pt x="2945" y="1946"/>
                  </a:cubicBezTo>
                  <a:cubicBezTo>
                    <a:pt x="2853" y="1946"/>
                    <a:pt x="2857" y="1697"/>
                    <a:pt x="3035" y="976"/>
                  </a:cubicBezTo>
                  <a:cubicBezTo>
                    <a:pt x="3058" y="884"/>
                    <a:pt x="2977" y="797"/>
                    <a:pt x="2894" y="797"/>
                  </a:cubicBezTo>
                  <a:cubicBezTo>
                    <a:pt x="2862" y="797"/>
                    <a:pt x="2830" y="809"/>
                    <a:pt x="2804" y="840"/>
                  </a:cubicBezTo>
                  <a:cubicBezTo>
                    <a:pt x="2547" y="1135"/>
                    <a:pt x="2352" y="1310"/>
                    <a:pt x="2228" y="1310"/>
                  </a:cubicBezTo>
                  <a:cubicBezTo>
                    <a:pt x="2096" y="1310"/>
                    <a:pt x="2044" y="1110"/>
                    <a:pt x="2082" y="641"/>
                  </a:cubicBezTo>
                  <a:lnTo>
                    <a:pt x="2567" y="439"/>
                  </a:lnTo>
                  <a:close/>
                  <a:moveTo>
                    <a:pt x="4183" y="2425"/>
                  </a:moveTo>
                  <a:cubicBezTo>
                    <a:pt x="4257" y="2425"/>
                    <a:pt x="4209" y="2679"/>
                    <a:pt x="4063" y="3372"/>
                  </a:cubicBezTo>
                  <a:lnTo>
                    <a:pt x="4063" y="3375"/>
                  </a:lnTo>
                  <a:cubicBezTo>
                    <a:pt x="3898" y="3248"/>
                    <a:pt x="3734" y="3126"/>
                    <a:pt x="3569" y="3005"/>
                  </a:cubicBezTo>
                  <a:cubicBezTo>
                    <a:pt x="3911" y="2682"/>
                    <a:pt x="4108" y="2425"/>
                    <a:pt x="4183" y="2425"/>
                  </a:cubicBezTo>
                  <a:close/>
                  <a:moveTo>
                    <a:pt x="5506" y="2338"/>
                  </a:moveTo>
                  <a:cubicBezTo>
                    <a:pt x="5625" y="2465"/>
                    <a:pt x="5766" y="2572"/>
                    <a:pt x="5925" y="2650"/>
                  </a:cubicBezTo>
                  <a:cubicBezTo>
                    <a:pt x="5587" y="3054"/>
                    <a:pt x="5267" y="3464"/>
                    <a:pt x="4952" y="3897"/>
                  </a:cubicBezTo>
                  <a:cubicBezTo>
                    <a:pt x="5119" y="3666"/>
                    <a:pt x="5356" y="2916"/>
                    <a:pt x="5506" y="2338"/>
                  </a:cubicBezTo>
                  <a:close/>
                  <a:moveTo>
                    <a:pt x="5153" y="2627"/>
                  </a:moveTo>
                  <a:cubicBezTo>
                    <a:pt x="5278" y="2627"/>
                    <a:pt x="4986" y="3335"/>
                    <a:pt x="4738" y="3923"/>
                  </a:cubicBezTo>
                  <a:cubicBezTo>
                    <a:pt x="4611" y="3816"/>
                    <a:pt x="4481" y="3710"/>
                    <a:pt x="4351" y="3606"/>
                  </a:cubicBezTo>
                  <a:lnTo>
                    <a:pt x="4354" y="3606"/>
                  </a:lnTo>
                  <a:cubicBezTo>
                    <a:pt x="4845" y="2890"/>
                    <a:pt x="5077" y="2627"/>
                    <a:pt x="5153" y="2627"/>
                  </a:cubicBezTo>
                  <a:close/>
                  <a:moveTo>
                    <a:pt x="6852" y="2699"/>
                  </a:moveTo>
                  <a:lnTo>
                    <a:pt x="6852" y="2699"/>
                  </a:lnTo>
                  <a:cubicBezTo>
                    <a:pt x="6435" y="3207"/>
                    <a:pt x="6033" y="3727"/>
                    <a:pt x="5620" y="4252"/>
                  </a:cubicBezTo>
                  <a:lnTo>
                    <a:pt x="5620" y="4252"/>
                  </a:lnTo>
                  <a:cubicBezTo>
                    <a:pt x="5872" y="3929"/>
                    <a:pt x="6152" y="3300"/>
                    <a:pt x="6390" y="2716"/>
                  </a:cubicBezTo>
                  <a:cubicBezTo>
                    <a:pt x="6554" y="2714"/>
                    <a:pt x="6710" y="2711"/>
                    <a:pt x="6852" y="2699"/>
                  </a:cubicBezTo>
                  <a:close/>
                  <a:moveTo>
                    <a:pt x="6051" y="2982"/>
                  </a:moveTo>
                  <a:cubicBezTo>
                    <a:pt x="6137" y="2982"/>
                    <a:pt x="5623" y="3913"/>
                    <a:pt x="5321" y="4460"/>
                  </a:cubicBezTo>
                  <a:cubicBezTo>
                    <a:pt x="5238" y="4379"/>
                    <a:pt x="5160" y="4301"/>
                    <a:pt x="5076" y="4223"/>
                  </a:cubicBezTo>
                  <a:cubicBezTo>
                    <a:pt x="5267" y="3975"/>
                    <a:pt x="5454" y="3730"/>
                    <a:pt x="5636" y="3476"/>
                  </a:cubicBezTo>
                  <a:cubicBezTo>
                    <a:pt x="5895" y="3121"/>
                    <a:pt x="6018" y="2982"/>
                    <a:pt x="6051" y="2982"/>
                  </a:cubicBezTo>
                  <a:close/>
                  <a:moveTo>
                    <a:pt x="7894" y="2566"/>
                  </a:moveTo>
                  <a:lnTo>
                    <a:pt x="7894" y="2566"/>
                  </a:lnTo>
                  <a:cubicBezTo>
                    <a:pt x="7426" y="3199"/>
                    <a:pt x="6976" y="3845"/>
                    <a:pt x="6546" y="4512"/>
                  </a:cubicBezTo>
                  <a:cubicBezTo>
                    <a:pt x="6791" y="4128"/>
                    <a:pt x="7192" y="3363"/>
                    <a:pt x="7478" y="2621"/>
                  </a:cubicBezTo>
                  <a:lnTo>
                    <a:pt x="7478" y="2624"/>
                  </a:lnTo>
                  <a:cubicBezTo>
                    <a:pt x="7620" y="2601"/>
                    <a:pt x="7758" y="2584"/>
                    <a:pt x="7894" y="2566"/>
                  </a:cubicBezTo>
                  <a:close/>
                  <a:moveTo>
                    <a:pt x="7155" y="2898"/>
                  </a:moveTo>
                  <a:cubicBezTo>
                    <a:pt x="7326" y="2898"/>
                    <a:pt x="6364" y="4611"/>
                    <a:pt x="6075" y="5269"/>
                  </a:cubicBezTo>
                  <a:cubicBezTo>
                    <a:pt x="6072" y="5274"/>
                    <a:pt x="6075" y="5280"/>
                    <a:pt x="6075" y="5289"/>
                  </a:cubicBezTo>
                  <a:cubicBezTo>
                    <a:pt x="5922" y="5098"/>
                    <a:pt x="5763" y="4916"/>
                    <a:pt x="5596" y="4737"/>
                  </a:cubicBezTo>
                  <a:cubicBezTo>
                    <a:pt x="5835" y="4469"/>
                    <a:pt x="6055" y="4212"/>
                    <a:pt x="6292" y="3897"/>
                  </a:cubicBezTo>
                  <a:cubicBezTo>
                    <a:pt x="6838" y="3172"/>
                    <a:pt x="7087" y="2898"/>
                    <a:pt x="7155" y="2898"/>
                  </a:cubicBezTo>
                  <a:close/>
                  <a:moveTo>
                    <a:pt x="8618" y="2546"/>
                  </a:moveTo>
                  <a:cubicBezTo>
                    <a:pt x="8800" y="2563"/>
                    <a:pt x="8985" y="2595"/>
                    <a:pt x="9164" y="2644"/>
                  </a:cubicBezTo>
                  <a:cubicBezTo>
                    <a:pt x="8323" y="3574"/>
                    <a:pt x="7627" y="4577"/>
                    <a:pt x="6921" y="5613"/>
                  </a:cubicBezTo>
                  <a:lnTo>
                    <a:pt x="6921" y="5613"/>
                  </a:lnTo>
                  <a:cubicBezTo>
                    <a:pt x="7533" y="4712"/>
                    <a:pt x="8175" y="3695"/>
                    <a:pt x="8618" y="2546"/>
                  </a:cubicBezTo>
                  <a:close/>
                  <a:moveTo>
                    <a:pt x="9513" y="2754"/>
                  </a:moveTo>
                  <a:cubicBezTo>
                    <a:pt x="9788" y="2849"/>
                    <a:pt x="10050" y="2962"/>
                    <a:pt x="10307" y="3092"/>
                  </a:cubicBezTo>
                  <a:cubicBezTo>
                    <a:pt x="10440" y="3158"/>
                    <a:pt x="10570" y="3236"/>
                    <a:pt x="10703" y="3308"/>
                  </a:cubicBezTo>
                  <a:lnTo>
                    <a:pt x="10703" y="3311"/>
                  </a:lnTo>
                  <a:cubicBezTo>
                    <a:pt x="10686" y="3317"/>
                    <a:pt x="10668" y="3317"/>
                    <a:pt x="10654" y="3334"/>
                  </a:cubicBezTo>
                  <a:cubicBezTo>
                    <a:pt x="9931" y="4126"/>
                    <a:pt x="9334" y="4954"/>
                    <a:pt x="8735" y="5842"/>
                  </a:cubicBezTo>
                  <a:lnTo>
                    <a:pt x="8735" y="5842"/>
                  </a:lnTo>
                  <a:cubicBezTo>
                    <a:pt x="9040" y="5388"/>
                    <a:pt x="9546" y="4495"/>
                    <a:pt x="9843" y="3663"/>
                  </a:cubicBezTo>
                  <a:cubicBezTo>
                    <a:pt x="9884" y="3549"/>
                    <a:pt x="9770" y="3440"/>
                    <a:pt x="9664" y="3440"/>
                  </a:cubicBezTo>
                  <a:cubicBezTo>
                    <a:pt x="9623" y="3440"/>
                    <a:pt x="9583" y="3456"/>
                    <a:pt x="9554" y="3493"/>
                  </a:cubicBezTo>
                  <a:cubicBezTo>
                    <a:pt x="9360" y="3747"/>
                    <a:pt x="9184" y="4007"/>
                    <a:pt x="9002" y="4264"/>
                  </a:cubicBezTo>
                  <a:cubicBezTo>
                    <a:pt x="9233" y="3741"/>
                    <a:pt x="9352" y="3317"/>
                    <a:pt x="9513" y="2754"/>
                  </a:cubicBezTo>
                  <a:close/>
                  <a:moveTo>
                    <a:pt x="8333" y="2535"/>
                  </a:moveTo>
                  <a:cubicBezTo>
                    <a:pt x="7998" y="3689"/>
                    <a:pt x="7250" y="4821"/>
                    <a:pt x="6641" y="5898"/>
                  </a:cubicBezTo>
                  <a:cubicBezTo>
                    <a:pt x="6616" y="5883"/>
                    <a:pt x="6588" y="5875"/>
                    <a:pt x="6561" y="5875"/>
                  </a:cubicBezTo>
                  <a:cubicBezTo>
                    <a:pt x="6541" y="5875"/>
                    <a:pt x="6521" y="5879"/>
                    <a:pt x="6502" y="5886"/>
                  </a:cubicBezTo>
                  <a:lnTo>
                    <a:pt x="6502" y="5884"/>
                  </a:lnTo>
                  <a:cubicBezTo>
                    <a:pt x="6419" y="5751"/>
                    <a:pt x="6323" y="5624"/>
                    <a:pt x="6228" y="5497"/>
                  </a:cubicBezTo>
                  <a:cubicBezTo>
                    <a:pt x="6280" y="5497"/>
                    <a:pt x="6326" y="5468"/>
                    <a:pt x="6349" y="5424"/>
                  </a:cubicBezTo>
                  <a:cubicBezTo>
                    <a:pt x="6852" y="4631"/>
                    <a:pt x="8041" y="3424"/>
                    <a:pt x="8330" y="2535"/>
                  </a:cubicBezTo>
                  <a:close/>
                  <a:moveTo>
                    <a:pt x="10948" y="3447"/>
                  </a:moveTo>
                  <a:lnTo>
                    <a:pt x="10948" y="3447"/>
                  </a:lnTo>
                  <a:cubicBezTo>
                    <a:pt x="11373" y="3684"/>
                    <a:pt x="11788" y="3935"/>
                    <a:pt x="12201" y="4197"/>
                  </a:cubicBezTo>
                  <a:cubicBezTo>
                    <a:pt x="11884" y="4584"/>
                    <a:pt x="11575" y="4977"/>
                    <a:pt x="11263" y="5367"/>
                  </a:cubicBezTo>
                  <a:cubicBezTo>
                    <a:pt x="11404" y="5015"/>
                    <a:pt x="11477" y="4703"/>
                    <a:pt x="11581" y="4293"/>
                  </a:cubicBezTo>
                  <a:cubicBezTo>
                    <a:pt x="11612" y="4172"/>
                    <a:pt x="11510" y="4066"/>
                    <a:pt x="11403" y="4066"/>
                  </a:cubicBezTo>
                  <a:cubicBezTo>
                    <a:pt x="11361" y="4066"/>
                    <a:pt x="11319" y="4082"/>
                    <a:pt x="11283" y="4120"/>
                  </a:cubicBezTo>
                  <a:cubicBezTo>
                    <a:pt x="10719" y="4716"/>
                    <a:pt x="10186" y="5341"/>
                    <a:pt x="9687" y="5992"/>
                  </a:cubicBezTo>
                  <a:lnTo>
                    <a:pt x="9687" y="5992"/>
                  </a:lnTo>
                  <a:cubicBezTo>
                    <a:pt x="10151" y="5385"/>
                    <a:pt x="10631" y="4423"/>
                    <a:pt x="10951" y="3505"/>
                  </a:cubicBezTo>
                  <a:cubicBezTo>
                    <a:pt x="10954" y="3484"/>
                    <a:pt x="10954" y="3464"/>
                    <a:pt x="10948" y="3447"/>
                  </a:cubicBezTo>
                  <a:close/>
                  <a:moveTo>
                    <a:pt x="12594" y="4443"/>
                  </a:moveTo>
                  <a:lnTo>
                    <a:pt x="12594" y="4446"/>
                  </a:lnTo>
                  <a:cubicBezTo>
                    <a:pt x="12744" y="4541"/>
                    <a:pt x="12894" y="4639"/>
                    <a:pt x="13047" y="4737"/>
                  </a:cubicBezTo>
                  <a:cubicBezTo>
                    <a:pt x="13036" y="4743"/>
                    <a:pt x="13027" y="4740"/>
                    <a:pt x="13018" y="4752"/>
                  </a:cubicBezTo>
                  <a:cubicBezTo>
                    <a:pt x="12603" y="5199"/>
                    <a:pt x="12262" y="5563"/>
                    <a:pt x="11895" y="6048"/>
                  </a:cubicBezTo>
                  <a:cubicBezTo>
                    <a:pt x="12028" y="5869"/>
                    <a:pt x="12389" y="5090"/>
                    <a:pt x="12594" y="4443"/>
                  </a:cubicBezTo>
                  <a:close/>
                  <a:moveTo>
                    <a:pt x="8956" y="3363"/>
                  </a:moveTo>
                  <a:cubicBezTo>
                    <a:pt x="8486" y="3961"/>
                    <a:pt x="8018" y="5413"/>
                    <a:pt x="7628" y="6354"/>
                  </a:cubicBezTo>
                  <a:cubicBezTo>
                    <a:pt x="7415" y="6267"/>
                    <a:pt x="7204" y="6169"/>
                    <a:pt x="6999" y="6068"/>
                  </a:cubicBezTo>
                  <a:cubicBezTo>
                    <a:pt x="7640" y="5162"/>
                    <a:pt x="8260" y="4238"/>
                    <a:pt x="8953" y="3366"/>
                  </a:cubicBezTo>
                  <a:lnTo>
                    <a:pt x="8956" y="3363"/>
                  </a:lnTo>
                  <a:close/>
                  <a:moveTo>
                    <a:pt x="9332" y="4353"/>
                  </a:moveTo>
                  <a:cubicBezTo>
                    <a:pt x="9409" y="4353"/>
                    <a:pt x="8430" y="6183"/>
                    <a:pt x="8269" y="6519"/>
                  </a:cubicBezTo>
                  <a:cubicBezTo>
                    <a:pt x="8260" y="6542"/>
                    <a:pt x="8258" y="6565"/>
                    <a:pt x="8263" y="6591"/>
                  </a:cubicBezTo>
                  <a:cubicBezTo>
                    <a:pt x="8171" y="6559"/>
                    <a:pt x="8084" y="6522"/>
                    <a:pt x="7995" y="6490"/>
                  </a:cubicBezTo>
                  <a:cubicBezTo>
                    <a:pt x="8304" y="5959"/>
                    <a:pt x="8616" y="5427"/>
                    <a:pt x="8948" y="4902"/>
                  </a:cubicBezTo>
                  <a:lnTo>
                    <a:pt x="8950" y="4899"/>
                  </a:lnTo>
                  <a:cubicBezTo>
                    <a:pt x="9198" y="4507"/>
                    <a:pt x="9309" y="4353"/>
                    <a:pt x="9332" y="4353"/>
                  </a:cubicBezTo>
                  <a:close/>
                  <a:moveTo>
                    <a:pt x="10362" y="4180"/>
                  </a:moveTo>
                  <a:lnTo>
                    <a:pt x="10362" y="4180"/>
                  </a:lnTo>
                  <a:cubicBezTo>
                    <a:pt x="9862" y="4826"/>
                    <a:pt x="9546" y="5934"/>
                    <a:pt x="9210" y="6677"/>
                  </a:cubicBezTo>
                  <a:cubicBezTo>
                    <a:pt x="9181" y="6735"/>
                    <a:pt x="9190" y="6804"/>
                    <a:pt x="9230" y="6856"/>
                  </a:cubicBezTo>
                  <a:cubicBezTo>
                    <a:pt x="9011" y="6807"/>
                    <a:pt x="8795" y="6750"/>
                    <a:pt x="8578" y="6683"/>
                  </a:cubicBezTo>
                  <a:cubicBezTo>
                    <a:pt x="9164" y="5838"/>
                    <a:pt x="9730" y="4991"/>
                    <a:pt x="10362" y="4180"/>
                  </a:cubicBezTo>
                  <a:close/>
                  <a:moveTo>
                    <a:pt x="11109" y="4843"/>
                  </a:moveTo>
                  <a:cubicBezTo>
                    <a:pt x="11250" y="4843"/>
                    <a:pt x="10183" y="6783"/>
                    <a:pt x="10157" y="6833"/>
                  </a:cubicBezTo>
                  <a:cubicBezTo>
                    <a:pt x="10117" y="6903"/>
                    <a:pt x="10134" y="6992"/>
                    <a:pt x="10198" y="7041"/>
                  </a:cubicBezTo>
                  <a:cubicBezTo>
                    <a:pt x="10111" y="7027"/>
                    <a:pt x="10022" y="7012"/>
                    <a:pt x="9935" y="7001"/>
                  </a:cubicBezTo>
                  <a:cubicBezTo>
                    <a:pt x="9773" y="6972"/>
                    <a:pt x="9612" y="6934"/>
                    <a:pt x="9450" y="6900"/>
                  </a:cubicBezTo>
                  <a:lnTo>
                    <a:pt x="9453" y="6900"/>
                  </a:lnTo>
                  <a:cubicBezTo>
                    <a:pt x="9476" y="6888"/>
                    <a:pt x="9499" y="6874"/>
                    <a:pt x="9519" y="6854"/>
                  </a:cubicBezTo>
                  <a:cubicBezTo>
                    <a:pt x="9955" y="6190"/>
                    <a:pt x="10443" y="5557"/>
                    <a:pt x="10974" y="4965"/>
                  </a:cubicBezTo>
                  <a:cubicBezTo>
                    <a:pt x="11046" y="4881"/>
                    <a:pt x="11089" y="4843"/>
                    <a:pt x="11109" y="4843"/>
                  </a:cubicBezTo>
                  <a:close/>
                  <a:moveTo>
                    <a:pt x="12727" y="7223"/>
                  </a:moveTo>
                  <a:cubicBezTo>
                    <a:pt x="12727" y="7223"/>
                    <a:pt x="12727" y="7223"/>
                    <a:pt x="12728" y="7223"/>
                  </a:cubicBezTo>
                  <a:lnTo>
                    <a:pt x="12728" y="7223"/>
                  </a:lnTo>
                  <a:cubicBezTo>
                    <a:pt x="12728" y="7223"/>
                    <a:pt x="12729" y="7223"/>
                    <a:pt x="12730" y="7223"/>
                  </a:cubicBezTo>
                  <a:close/>
                  <a:moveTo>
                    <a:pt x="12175" y="4749"/>
                  </a:moveTo>
                  <a:lnTo>
                    <a:pt x="12175" y="4749"/>
                  </a:lnTo>
                  <a:cubicBezTo>
                    <a:pt x="12014" y="5422"/>
                    <a:pt x="11667" y="6083"/>
                    <a:pt x="11399" y="6721"/>
                  </a:cubicBezTo>
                  <a:cubicBezTo>
                    <a:pt x="11346" y="6848"/>
                    <a:pt x="11451" y="6926"/>
                    <a:pt x="11560" y="6926"/>
                  </a:cubicBezTo>
                  <a:cubicBezTo>
                    <a:pt x="11619" y="6926"/>
                    <a:pt x="11679" y="6903"/>
                    <a:pt x="11716" y="6854"/>
                  </a:cubicBezTo>
                  <a:cubicBezTo>
                    <a:pt x="12453" y="5887"/>
                    <a:pt x="12726" y="5550"/>
                    <a:pt x="12755" y="5550"/>
                  </a:cubicBezTo>
                  <a:cubicBezTo>
                    <a:pt x="12802" y="5550"/>
                    <a:pt x="12179" y="6475"/>
                    <a:pt x="11884" y="6992"/>
                  </a:cubicBezTo>
                  <a:cubicBezTo>
                    <a:pt x="11823" y="7099"/>
                    <a:pt x="11898" y="7206"/>
                    <a:pt x="11990" y="7240"/>
                  </a:cubicBezTo>
                  <a:lnTo>
                    <a:pt x="11990" y="7243"/>
                  </a:lnTo>
                  <a:cubicBezTo>
                    <a:pt x="11451" y="7226"/>
                    <a:pt x="10902" y="7154"/>
                    <a:pt x="10374" y="7070"/>
                  </a:cubicBezTo>
                  <a:cubicBezTo>
                    <a:pt x="10408" y="7059"/>
                    <a:pt x="10437" y="7041"/>
                    <a:pt x="10460" y="7012"/>
                  </a:cubicBezTo>
                  <a:cubicBezTo>
                    <a:pt x="10931" y="6343"/>
                    <a:pt x="12008" y="5445"/>
                    <a:pt x="12175" y="4749"/>
                  </a:cubicBezTo>
                  <a:close/>
                  <a:moveTo>
                    <a:pt x="14268" y="5491"/>
                  </a:moveTo>
                  <a:lnTo>
                    <a:pt x="14268" y="5491"/>
                  </a:lnTo>
                  <a:cubicBezTo>
                    <a:pt x="14416" y="5580"/>
                    <a:pt x="14560" y="5673"/>
                    <a:pt x="14710" y="5756"/>
                  </a:cubicBezTo>
                  <a:cubicBezTo>
                    <a:pt x="14527" y="6757"/>
                    <a:pt x="14007" y="7259"/>
                    <a:pt x="13148" y="7259"/>
                  </a:cubicBezTo>
                  <a:cubicBezTo>
                    <a:pt x="13016" y="7259"/>
                    <a:pt x="12876" y="7247"/>
                    <a:pt x="12728" y="7223"/>
                  </a:cubicBezTo>
                  <a:lnTo>
                    <a:pt x="12728" y="7223"/>
                  </a:lnTo>
                  <a:cubicBezTo>
                    <a:pt x="12552" y="7238"/>
                    <a:pt x="12376" y="7244"/>
                    <a:pt x="12198" y="7244"/>
                  </a:cubicBezTo>
                  <a:cubicBezTo>
                    <a:pt x="12164" y="7244"/>
                    <a:pt x="12129" y="7244"/>
                    <a:pt x="12094" y="7243"/>
                  </a:cubicBezTo>
                  <a:cubicBezTo>
                    <a:pt x="12123" y="7238"/>
                    <a:pt x="12146" y="7226"/>
                    <a:pt x="12167" y="7206"/>
                  </a:cubicBezTo>
                  <a:cubicBezTo>
                    <a:pt x="12686" y="6625"/>
                    <a:pt x="13125" y="5550"/>
                    <a:pt x="13251" y="5550"/>
                  </a:cubicBezTo>
                  <a:cubicBezTo>
                    <a:pt x="13323" y="5550"/>
                    <a:pt x="13295" y="5896"/>
                    <a:pt x="13125" y="6874"/>
                  </a:cubicBezTo>
                  <a:cubicBezTo>
                    <a:pt x="13102" y="7001"/>
                    <a:pt x="13213" y="7108"/>
                    <a:pt x="13320" y="7108"/>
                  </a:cubicBezTo>
                  <a:cubicBezTo>
                    <a:pt x="13374" y="7108"/>
                    <a:pt x="13426" y="7081"/>
                    <a:pt x="13460" y="7015"/>
                  </a:cubicBezTo>
                  <a:cubicBezTo>
                    <a:pt x="13552" y="6833"/>
                    <a:pt x="13630" y="6646"/>
                    <a:pt x="13697" y="6452"/>
                  </a:cubicBezTo>
                  <a:lnTo>
                    <a:pt x="13697" y="6452"/>
                  </a:lnTo>
                  <a:cubicBezTo>
                    <a:pt x="13682" y="6530"/>
                    <a:pt x="13665" y="6617"/>
                    <a:pt x="13648" y="6732"/>
                  </a:cubicBezTo>
                  <a:cubicBezTo>
                    <a:pt x="13627" y="6864"/>
                    <a:pt x="13732" y="6967"/>
                    <a:pt x="13839" y="6967"/>
                  </a:cubicBezTo>
                  <a:cubicBezTo>
                    <a:pt x="13894" y="6967"/>
                    <a:pt x="13949" y="6940"/>
                    <a:pt x="13988" y="6877"/>
                  </a:cubicBezTo>
                  <a:cubicBezTo>
                    <a:pt x="14023" y="6819"/>
                    <a:pt x="14058" y="6761"/>
                    <a:pt x="14092" y="6703"/>
                  </a:cubicBezTo>
                  <a:cubicBezTo>
                    <a:pt x="14121" y="6657"/>
                    <a:pt x="14127" y="6602"/>
                    <a:pt x="14110" y="6553"/>
                  </a:cubicBezTo>
                  <a:cubicBezTo>
                    <a:pt x="14121" y="6481"/>
                    <a:pt x="14124" y="6403"/>
                    <a:pt x="14121" y="6328"/>
                  </a:cubicBezTo>
                  <a:cubicBezTo>
                    <a:pt x="14216" y="5967"/>
                    <a:pt x="14228" y="5860"/>
                    <a:pt x="14274" y="5505"/>
                  </a:cubicBezTo>
                  <a:cubicBezTo>
                    <a:pt x="14274" y="5500"/>
                    <a:pt x="14268" y="5497"/>
                    <a:pt x="14268" y="5491"/>
                  </a:cubicBezTo>
                  <a:close/>
                  <a:moveTo>
                    <a:pt x="1796" y="0"/>
                  </a:moveTo>
                  <a:cubicBezTo>
                    <a:pt x="1272" y="0"/>
                    <a:pt x="775" y="193"/>
                    <a:pt x="113" y="649"/>
                  </a:cubicBezTo>
                  <a:cubicBezTo>
                    <a:pt x="1" y="727"/>
                    <a:pt x="7" y="866"/>
                    <a:pt x="113" y="944"/>
                  </a:cubicBezTo>
                  <a:cubicBezTo>
                    <a:pt x="1615" y="2067"/>
                    <a:pt x="3188" y="3069"/>
                    <a:pt x="4588" y="4275"/>
                  </a:cubicBezTo>
                  <a:cubicBezTo>
                    <a:pt x="4551" y="4371"/>
                    <a:pt x="4516" y="4457"/>
                    <a:pt x="4490" y="4521"/>
                  </a:cubicBezTo>
                  <a:cubicBezTo>
                    <a:pt x="4447" y="4635"/>
                    <a:pt x="4536" y="4703"/>
                    <a:pt x="4630" y="4703"/>
                  </a:cubicBezTo>
                  <a:cubicBezTo>
                    <a:pt x="4681" y="4703"/>
                    <a:pt x="4734" y="4683"/>
                    <a:pt x="4767" y="4639"/>
                  </a:cubicBezTo>
                  <a:cubicBezTo>
                    <a:pt x="4799" y="4599"/>
                    <a:pt x="4825" y="4558"/>
                    <a:pt x="4857" y="4518"/>
                  </a:cubicBezTo>
                  <a:cubicBezTo>
                    <a:pt x="4952" y="4605"/>
                    <a:pt x="5050" y="4688"/>
                    <a:pt x="5145" y="4778"/>
                  </a:cubicBezTo>
                  <a:cubicBezTo>
                    <a:pt x="5140" y="4784"/>
                    <a:pt x="5134" y="4795"/>
                    <a:pt x="5131" y="4801"/>
                  </a:cubicBezTo>
                  <a:cubicBezTo>
                    <a:pt x="5072" y="4911"/>
                    <a:pt x="5168" y="5032"/>
                    <a:pt x="5270" y="5032"/>
                  </a:cubicBezTo>
                  <a:cubicBezTo>
                    <a:pt x="5303" y="5032"/>
                    <a:pt x="5336" y="5020"/>
                    <a:pt x="5365" y="4991"/>
                  </a:cubicBezTo>
                  <a:cubicBezTo>
                    <a:pt x="5757" y="5375"/>
                    <a:pt x="6124" y="5785"/>
                    <a:pt x="6465" y="6218"/>
                  </a:cubicBezTo>
                  <a:cubicBezTo>
                    <a:pt x="6436" y="6267"/>
                    <a:pt x="6407" y="6319"/>
                    <a:pt x="6381" y="6369"/>
                  </a:cubicBezTo>
                  <a:cubicBezTo>
                    <a:pt x="6311" y="6502"/>
                    <a:pt x="6416" y="6612"/>
                    <a:pt x="6528" y="6612"/>
                  </a:cubicBezTo>
                  <a:cubicBezTo>
                    <a:pt x="6579" y="6612"/>
                    <a:pt x="6631" y="6589"/>
                    <a:pt x="6670" y="6536"/>
                  </a:cubicBezTo>
                  <a:cubicBezTo>
                    <a:pt x="6678" y="6524"/>
                    <a:pt x="6687" y="6513"/>
                    <a:pt x="6696" y="6498"/>
                  </a:cubicBezTo>
                  <a:cubicBezTo>
                    <a:pt x="6701" y="6507"/>
                    <a:pt x="6707" y="6516"/>
                    <a:pt x="6713" y="6524"/>
                  </a:cubicBezTo>
                  <a:cubicBezTo>
                    <a:pt x="6728" y="6545"/>
                    <a:pt x="6748" y="6554"/>
                    <a:pt x="6768" y="6554"/>
                  </a:cubicBezTo>
                  <a:cubicBezTo>
                    <a:pt x="6814" y="6554"/>
                    <a:pt x="6858" y="6507"/>
                    <a:pt x="6831" y="6455"/>
                  </a:cubicBezTo>
                  <a:cubicBezTo>
                    <a:pt x="6817" y="6426"/>
                    <a:pt x="6800" y="6400"/>
                    <a:pt x="6782" y="6374"/>
                  </a:cubicBezTo>
                  <a:cubicBezTo>
                    <a:pt x="6785" y="6371"/>
                    <a:pt x="6785" y="6369"/>
                    <a:pt x="6788" y="6369"/>
                  </a:cubicBezTo>
                  <a:cubicBezTo>
                    <a:pt x="7002" y="6475"/>
                    <a:pt x="7238" y="6579"/>
                    <a:pt x="7484" y="6683"/>
                  </a:cubicBezTo>
                  <a:cubicBezTo>
                    <a:pt x="7422" y="6816"/>
                    <a:pt x="7531" y="6935"/>
                    <a:pt x="7641" y="6935"/>
                  </a:cubicBezTo>
                  <a:cubicBezTo>
                    <a:pt x="7691" y="6935"/>
                    <a:pt x="7741" y="6910"/>
                    <a:pt x="7775" y="6851"/>
                  </a:cubicBezTo>
                  <a:cubicBezTo>
                    <a:pt x="7784" y="6836"/>
                    <a:pt x="7793" y="6825"/>
                    <a:pt x="7799" y="6813"/>
                  </a:cubicBezTo>
                  <a:cubicBezTo>
                    <a:pt x="9081" y="7310"/>
                    <a:pt x="10659" y="7694"/>
                    <a:pt x="12129" y="7694"/>
                  </a:cubicBezTo>
                  <a:cubicBezTo>
                    <a:pt x="13658" y="7694"/>
                    <a:pt x="15069" y="7278"/>
                    <a:pt x="15905" y="6140"/>
                  </a:cubicBezTo>
                  <a:cubicBezTo>
                    <a:pt x="15954" y="6057"/>
                    <a:pt x="15925" y="5950"/>
                    <a:pt x="15842" y="5904"/>
                  </a:cubicBezTo>
                  <a:cubicBezTo>
                    <a:pt x="13812" y="4954"/>
                    <a:pt x="11208" y="2347"/>
                    <a:pt x="8769" y="2113"/>
                  </a:cubicBezTo>
                  <a:cubicBezTo>
                    <a:pt x="8806" y="1998"/>
                    <a:pt x="8858" y="1891"/>
                    <a:pt x="8890" y="1770"/>
                  </a:cubicBezTo>
                  <a:cubicBezTo>
                    <a:pt x="8919" y="1662"/>
                    <a:pt x="8820" y="1557"/>
                    <a:pt x="8721" y="1557"/>
                  </a:cubicBezTo>
                  <a:cubicBezTo>
                    <a:pt x="8682" y="1557"/>
                    <a:pt x="8643" y="1573"/>
                    <a:pt x="8613" y="1611"/>
                  </a:cubicBezTo>
                  <a:cubicBezTo>
                    <a:pt x="8483" y="1770"/>
                    <a:pt x="8367" y="1940"/>
                    <a:pt x="8240" y="2104"/>
                  </a:cubicBezTo>
                  <a:cubicBezTo>
                    <a:pt x="8032" y="2113"/>
                    <a:pt x="7822" y="2148"/>
                    <a:pt x="7620" y="2203"/>
                  </a:cubicBezTo>
                  <a:cubicBezTo>
                    <a:pt x="7622" y="2114"/>
                    <a:pt x="7542" y="2044"/>
                    <a:pt x="7461" y="2044"/>
                  </a:cubicBezTo>
                  <a:cubicBezTo>
                    <a:pt x="7425" y="2044"/>
                    <a:pt x="7389" y="2058"/>
                    <a:pt x="7360" y="2090"/>
                  </a:cubicBezTo>
                  <a:cubicBezTo>
                    <a:pt x="7308" y="2148"/>
                    <a:pt x="7262" y="2208"/>
                    <a:pt x="7212" y="2269"/>
                  </a:cubicBezTo>
                  <a:cubicBezTo>
                    <a:pt x="7179" y="2272"/>
                    <a:pt x="7144" y="2273"/>
                    <a:pt x="7109" y="2273"/>
                  </a:cubicBezTo>
                  <a:cubicBezTo>
                    <a:pt x="6015" y="2273"/>
                    <a:pt x="4457" y="822"/>
                    <a:pt x="3511" y="450"/>
                  </a:cubicBezTo>
                  <a:cubicBezTo>
                    <a:pt x="2808" y="170"/>
                    <a:pt x="229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65"/>
            <p:cNvSpPr/>
            <p:nvPr/>
          </p:nvSpPr>
          <p:spPr>
            <a:xfrm>
              <a:off x="6167800" y="4229200"/>
              <a:ext cx="43975" cy="65425"/>
            </a:xfrm>
            <a:custGeom>
              <a:avLst/>
              <a:gdLst/>
              <a:ahLst/>
              <a:cxnLst/>
              <a:rect l="l" t="t" r="r" b="b"/>
              <a:pathLst>
                <a:path w="1759" h="2617" extrusionOk="0">
                  <a:moveTo>
                    <a:pt x="1759" y="0"/>
                  </a:moveTo>
                  <a:cubicBezTo>
                    <a:pt x="1236" y="792"/>
                    <a:pt x="702" y="1574"/>
                    <a:pt x="168" y="2359"/>
                  </a:cubicBezTo>
                  <a:cubicBezTo>
                    <a:pt x="113" y="2446"/>
                    <a:pt x="56" y="2529"/>
                    <a:pt x="1" y="2616"/>
                  </a:cubicBezTo>
                  <a:cubicBezTo>
                    <a:pt x="598" y="1750"/>
                    <a:pt x="1190" y="881"/>
                    <a:pt x="17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65"/>
            <p:cNvSpPr/>
            <p:nvPr/>
          </p:nvSpPr>
          <p:spPr>
            <a:xfrm>
              <a:off x="6091225" y="4333200"/>
              <a:ext cx="12375" cy="16700"/>
            </a:xfrm>
            <a:custGeom>
              <a:avLst/>
              <a:gdLst/>
              <a:ahLst/>
              <a:cxnLst/>
              <a:rect l="l" t="t" r="r" b="b"/>
              <a:pathLst>
                <a:path w="495" h="668" extrusionOk="0">
                  <a:moveTo>
                    <a:pt x="494" y="1"/>
                  </a:moveTo>
                  <a:lnTo>
                    <a:pt x="494" y="1"/>
                  </a:lnTo>
                  <a:cubicBezTo>
                    <a:pt x="330" y="223"/>
                    <a:pt x="165" y="445"/>
                    <a:pt x="1" y="668"/>
                  </a:cubicBezTo>
                  <a:lnTo>
                    <a:pt x="451" y="73"/>
                  </a:lnTo>
                  <a:cubicBezTo>
                    <a:pt x="465" y="50"/>
                    <a:pt x="483" y="27"/>
                    <a:pt x="4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65"/>
            <p:cNvSpPr/>
            <p:nvPr/>
          </p:nvSpPr>
          <p:spPr>
            <a:xfrm>
              <a:off x="6144775" y="4219175"/>
              <a:ext cx="40950" cy="59275"/>
            </a:xfrm>
            <a:custGeom>
              <a:avLst/>
              <a:gdLst/>
              <a:ahLst/>
              <a:cxnLst/>
              <a:rect l="l" t="t" r="r" b="b"/>
              <a:pathLst>
                <a:path w="1638" h="2371" extrusionOk="0">
                  <a:moveTo>
                    <a:pt x="1638" y="0"/>
                  </a:moveTo>
                  <a:cubicBezTo>
                    <a:pt x="1147" y="736"/>
                    <a:pt x="639" y="1464"/>
                    <a:pt x="113" y="2180"/>
                  </a:cubicBezTo>
                  <a:lnTo>
                    <a:pt x="1" y="2370"/>
                  </a:lnTo>
                  <a:cubicBezTo>
                    <a:pt x="569" y="1591"/>
                    <a:pt x="1118" y="803"/>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65"/>
            <p:cNvSpPr/>
            <p:nvPr/>
          </p:nvSpPr>
          <p:spPr>
            <a:xfrm>
              <a:off x="5868925" y="3998175"/>
              <a:ext cx="673275" cy="683025"/>
            </a:xfrm>
            <a:custGeom>
              <a:avLst/>
              <a:gdLst/>
              <a:ahLst/>
              <a:cxnLst/>
              <a:rect l="l" t="t" r="r" b="b"/>
              <a:pathLst>
                <a:path w="26931" h="27321" extrusionOk="0">
                  <a:moveTo>
                    <a:pt x="16994" y="936"/>
                  </a:moveTo>
                  <a:lnTo>
                    <a:pt x="16994" y="936"/>
                  </a:lnTo>
                  <a:cubicBezTo>
                    <a:pt x="16693" y="1244"/>
                    <a:pt x="16407" y="1565"/>
                    <a:pt x="16133" y="1903"/>
                  </a:cubicBezTo>
                  <a:cubicBezTo>
                    <a:pt x="16217" y="1628"/>
                    <a:pt x="16286" y="1348"/>
                    <a:pt x="16358" y="1065"/>
                  </a:cubicBezTo>
                  <a:cubicBezTo>
                    <a:pt x="16569" y="1022"/>
                    <a:pt x="16783" y="976"/>
                    <a:pt x="16994" y="936"/>
                  </a:cubicBezTo>
                  <a:close/>
                  <a:moveTo>
                    <a:pt x="19886" y="684"/>
                  </a:moveTo>
                  <a:cubicBezTo>
                    <a:pt x="20394" y="693"/>
                    <a:pt x="20905" y="742"/>
                    <a:pt x="21408" y="835"/>
                  </a:cubicBezTo>
                  <a:cubicBezTo>
                    <a:pt x="20911" y="1571"/>
                    <a:pt x="20409" y="2316"/>
                    <a:pt x="19901" y="3063"/>
                  </a:cubicBezTo>
                  <a:cubicBezTo>
                    <a:pt x="20227" y="2388"/>
                    <a:pt x="20533" y="1703"/>
                    <a:pt x="20804" y="996"/>
                  </a:cubicBezTo>
                  <a:cubicBezTo>
                    <a:pt x="20846" y="888"/>
                    <a:pt x="20740" y="793"/>
                    <a:pt x="20639" y="793"/>
                  </a:cubicBezTo>
                  <a:cubicBezTo>
                    <a:pt x="20600" y="793"/>
                    <a:pt x="20562" y="807"/>
                    <a:pt x="20533" y="840"/>
                  </a:cubicBezTo>
                  <a:cubicBezTo>
                    <a:pt x="19941" y="1527"/>
                    <a:pt x="19361" y="2240"/>
                    <a:pt x="18789" y="2971"/>
                  </a:cubicBezTo>
                  <a:cubicBezTo>
                    <a:pt x="19182" y="2217"/>
                    <a:pt x="19549" y="1455"/>
                    <a:pt x="19886" y="684"/>
                  </a:cubicBezTo>
                  <a:close/>
                  <a:moveTo>
                    <a:pt x="8844" y="4002"/>
                  </a:moveTo>
                  <a:cubicBezTo>
                    <a:pt x="8220" y="4807"/>
                    <a:pt x="7602" y="5615"/>
                    <a:pt x="7002" y="6432"/>
                  </a:cubicBezTo>
                  <a:cubicBezTo>
                    <a:pt x="7253" y="5887"/>
                    <a:pt x="7489" y="5335"/>
                    <a:pt x="7706" y="4769"/>
                  </a:cubicBezTo>
                  <a:lnTo>
                    <a:pt x="7706" y="4764"/>
                  </a:lnTo>
                  <a:cubicBezTo>
                    <a:pt x="7937" y="4602"/>
                    <a:pt x="8171" y="4437"/>
                    <a:pt x="8399" y="4282"/>
                  </a:cubicBezTo>
                  <a:cubicBezTo>
                    <a:pt x="8532" y="4189"/>
                    <a:pt x="8693" y="4094"/>
                    <a:pt x="8844" y="4002"/>
                  </a:cubicBezTo>
                  <a:close/>
                  <a:moveTo>
                    <a:pt x="7071" y="5676"/>
                  </a:moveTo>
                  <a:cubicBezTo>
                    <a:pt x="7267" y="5676"/>
                    <a:pt x="6872" y="6451"/>
                    <a:pt x="6447" y="7206"/>
                  </a:cubicBezTo>
                  <a:cubicBezTo>
                    <a:pt x="5535" y="8468"/>
                    <a:pt x="4649" y="9747"/>
                    <a:pt x="3785" y="11040"/>
                  </a:cubicBezTo>
                  <a:lnTo>
                    <a:pt x="3785" y="11037"/>
                  </a:lnTo>
                  <a:cubicBezTo>
                    <a:pt x="4735" y="9360"/>
                    <a:pt x="5824" y="7755"/>
                    <a:pt x="6739" y="6057"/>
                  </a:cubicBezTo>
                  <a:cubicBezTo>
                    <a:pt x="6762" y="6008"/>
                    <a:pt x="6750" y="5950"/>
                    <a:pt x="6713" y="5913"/>
                  </a:cubicBezTo>
                  <a:cubicBezTo>
                    <a:pt x="6897" y="5747"/>
                    <a:pt x="7011" y="5676"/>
                    <a:pt x="7071" y="5676"/>
                  </a:cubicBezTo>
                  <a:close/>
                  <a:moveTo>
                    <a:pt x="4123" y="7529"/>
                  </a:moveTo>
                  <a:cubicBezTo>
                    <a:pt x="4016" y="7662"/>
                    <a:pt x="3907" y="7789"/>
                    <a:pt x="3803" y="7925"/>
                  </a:cubicBezTo>
                  <a:cubicBezTo>
                    <a:pt x="3367" y="8491"/>
                    <a:pt x="2940" y="9065"/>
                    <a:pt x="2489" y="9623"/>
                  </a:cubicBezTo>
                  <a:cubicBezTo>
                    <a:pt x="2264" y="9897"/>
                    <a:pt x="2030" y="10160"/>
                    <a:pt x="1782" y="10414"/>
                  </a:cubicBezTo>
                  <a:cubicBezTo>
                    <a:pt x="1548" y="10529"/>
                    <a:pt x="1383" y="10754"/>
                    <a:pt x="1346" y="11011"/>
                  </a:cubicBezTo>
                  <a:cubicBezTo>
                    <a:pt x="1335" y="10978"/>
                    <a:pt x="1304" y="10955"/>
                    <a:pt x="1270" y="10955"/>
                  </a:cubicBezTo>
                  <a:cubicBezTo>
                    <a:pt x="1258" y="10955"/>
                    <a:pt x="1245" y="10958"/>
                    <a:pt x="1233" y="10965"/>
                  </a:cubicBezTo>
                  <a:lnTo>
                    <a:pt x="1066" y="11049"/>
                  </a:lnTo>
                  <a:cubicBezTo>
                    <a:pt x="1265" y="10630"/>
                    <a:pt x="1557" y="10186"/>
                    <a:pt x="1967" y="9698"/>
                  </a:cubicBezTo>
                  <a:cubicBezTo>
                    <a:pt x="2599" y="8947"/>
                    <a:pt x="3338" y="8222"/>
                    <a:pt x="4123" y="7529"/>
                  </a:cubicBezTo>
                  <a:close/>
                  <a:moveTo>
                    <a:pt x="2105" y="10339"/>
                  </a:moveTo>
                  <a:cubicBezTo>
                    <a:pt x="1753" y="10870"/>
                    <a:pt x="1404" y="11404"/>
                    <a:pt x="1037" y="11929"/>
                  </a:cubicBezTo>
                  <a:cubicBezTo>
                    <a:pt x="948" y="12059"/>
                    <a:pt x="872" y="12169"/>
                    <a:pt x="806" y="12270"/>
                  </a:cubicBezTo>
                  <a:cubicBezTo>
                    <a:pt x="774" y="12305"/>
                    <a:pt x="745" y="12345"/>
                    <a:pt x="714" y="12383"/>
                  </a:cubicBezTo>
                  <a:cubicBezTo>
                    <a:pt x="734" y="12056"/>
                    <a:pt x="800" y="11733"/>
                    <a:pt x="910" y="11424"/>
                  </a:cubicBezTo>
                  <a:cubicBezTo>
                    <a:pt x="1049" y="11317"/>
                    <a:pt x="1187" y="11210"/>
                    <a:pt x="1317" y="11098"/>
                  </a:cubicBezTo>
                  <a:lnTo>
                    <a:pt x="1317" y="11101"/>
                  </a:lnTo>
                  <a:cubicBezTo>
                    <a:pt x="1317" y="11101"/>
                    <a:pt x="1317" y="11101"/>
                    <a:pt x="1317" y="11101"/>
                  </a:cubicBezTo>
                  <a:cubicBezTo>
                    <a:pt x="1317" y="11101"/>
                    <a:pt x="1318" y="11097"/>
                    <a:pt x="1320" y="11095"/>
                  </a:cubicBezTo>
                  <a:cubicBezTo>
                    <a:pt x="1597" y="10855"/>
                    <a:pt x="1857" y="10601"/>
                    <a:pt x="2105" y="10339"/>
                  </a:cubicBezTo>
                  <a:close/>
                  <a:moveTo>
                    <a:pt x="15556" y="1250"/>
                  </a:moveTo>
                  <a:lnTo>
                    <a:pt x="15556" y="1250"/>
                  </a:lnTo>
                  <a:cubicBezTo>
                    <a:pt x="15461" y="1383"/>
                    <a:pt x="15365" y="1519"/>
                    <a:pt x="15270" y="1652"/>
                  </a:cubicBezTo>
                  <a:cubicBezTo>
                    <a:pt x="15311" y="1534"/>
                    <a:pt x="15215" y="1428"/>
                    <a:pt x="15122" y="1428"/>
                  </a:cubicBezTo>
                  <a:cubicBezTo>
                    <a:pt x="15078" y="1428"/>
                    <a:pt x="15035" y="1451"/>
                    <a:pt x="15007" y="1507"/>
                  </a:cubicBezTo>
                  <a:cubicBezTo>
                    <a:pt x="14566" y="2411"/>
                    <a:pt x="14081" y="3297"/>
                    <a:pt x="13578" y="4181"/>
                  </a:cubicBezTo>
                  <a:cubicBezTo>
                    <a:pt x="12900" y="5249"/>
                    <a:pt x="12242" y="6331"/>
                    <a:pt x="11595" y="7428"/>
                  </a:cubicBezTo>
                  <a:cubicBezTo>
                    <a:pt x="10381" y="9311"/>
                    <a:pt x="9103" y="11155"/>
                    <a:pt x="7840" y="12967"/>
                  </a:cubicBezTo>
                  <a:lnTo>
                    <a:pt x="7840" y="12967"/>
                  </a:lnTo>
                  <a:cubicBezTo>
                    <a:pt x="10239" y="9490"/>
                    <a:pt x="12558" y="5988"/>
                    <a:pt x="14023" y="1940"/>
                  </a:cubicBezTo>
                  <a:lnTo>
                    <a:pt x="14023" y="1937"/>
                  </a:lnTo>
                  <a:cubicBezTo>
                    <a:pt x="14060" y="1835"/>
                    <a:pt x="13964" y="1745"/>
                    <a:pt x="13871" y="1745"/>
                  </a:cubicBezTo>
                  <a:cubicBezTo>
                    <a:pt x="13835" y="1745"/>
                    <a:pt x="13799" y="1759"/>
                    <a:pt x="13772" y="1790"/>
                  </a:cubicBezTo>
                  <a:cubicBezTo>
                    <a:pt x="12132" y="3661"/>
                    <a:pt x="11029" y="5864"/>
                    <a:pt x="9609" y="7890"/>
                  </a:cubicBezTo>
                  <a:cubicBezTo>
                    <a:pt x="9305" y="8323"/>
                    <a:pt x="8991" y="8748"/>
                    <a:pt x="8682" y="9172"/>
                  </a:cubicBezTo>
                  <a:cubicBezTo>
                    <a:pt x="10146" y="7030"/>
                    <a:pt x="11534" y="4865"/>
                    <a:pt x="12591" y="2445"/>
                  </a:cubicBezTo>
                  <a:cubicBezTo>
                    <a:pt x="12625" y="2359"/>
                    <a:pt x="12579" y="2258"/>
                    <a:pt x="12487" y="2229"/>
                  </a:cubicBezTo>
                  <a:cubicBezTo>
                    <a:pt x="13489" y="1839"/>
                    <a:pt x="14514" y="1513"/>
                    <a:pt x="15556" y="1250"/>
                  </a:cubicBezTo>
                  <a:close/>
                  <a:moveTo>
                    <a:pt x="5163" y="9432"/>
                  </a:moveTo>
                  <a:lnTo>
                    <a:pt x="5163" y="9432"/>
                  </a:lnTo>
                  <a:cubicBezTo>
                    <a:pt x="4556" y="10442"/>
                    <a:pt x="3875" y="11418"/>
                    <a:pt x="3214" y="12391"/>
                  </a:cubicBezTo>
                  <a:cubicBezTo>
                    <a:pt x="3227" y="12372"/>
                    <a:pt x="3234" y="12363"/>
                    <a:pt x="3234" y="12363"/>
                  </a:cubicBezTo>
                  <a:lnTo>
                    <a:pt x="3234" y="12363"/>
                  </a:lnTo>
                  <a:cubicBezTo>
                    <a:pt x="3239" y="12363"/>
                    <a:pt x="2983" y="12764"/>
                    <a:pt x="2674" y="13243"/>
                  </a:cubicBezTo>
                  <a:cubicBezTo>
                    <a:pt x="2706" y="13168"/>
                    <a:pt x="2737" y="13096"/>
                    <a:pt x="2769" y="13021"/>
                  </a:cubicBezTo>
                  <a:cubicBezTo>
                    <a:pt x="3269" y="12247"/>
                    <a:pt x="3774" y="11479"/>
                    <a:pt x="4282" y="10711"/>
                  </a:cubicBezTo>
                  <a:cubicBezTo>
                    <a:pt x="4568" y="10278"/>
                    <a:pt x="4868" y="9856"/>
                    <a:pt x="5163" y="9432"/>
                  </a:cubicBezTo>
                  <a:close/>
                  <a:moveTo>
                    <a:pt x="8994" y="4166"/>
                  </a:moveTo>
                  <a:lnTo>
                    <a:pt x="8994" y="4166"/>
                  </a:lnTo>
                  <a:cubicBezTo>
                    <a:pt x="8523" y="4974"/>
                    <a:pt x="8021" y="5763"/>
                    <a:pt x="7492" y="6533"/>
                  </a:cubicBezTo>
                  <a:cubicBezTo>
                    <a:pt x="6101" y="8641"/>
                    <a:pt x="4750" y="10656"/>
                    <a:pt x="3549" y="12882"/>
                  </a:cubicBezTo>
                  <a:cubicBezTo>
                    <a:pt x="3269" y="13402"/>
                    <a:pt x="2752" y="13904"/>
                    <a:pt x="2299" y="14164"/>
                  </a:cubicBezTo>
                  <a:cubicBezTo>
                    <a:pt x="2316" y="14123"/>
                    <a:pt x="2330" y="14083"/>
                    <a:pt x="2348" y="14043"/>
                  </a:cubicBezTo>
                  <a:lnTo>
                    <a:pt x="2348" y="14040"/>
                  </a:lnTo>
                  <a:cubicBezTo>
                    <a:pt x="3823" y="12007"/>
                    <a:pt x="5226" y="9931"/>
                    <a:pt x="6378" y="7708"/>
                  </a:cubicBezTo>
                  <a:cubicBezTo>
                    <a:pt x="6589" y="7417"/>
                    <a:pt x="6797" y="7122"/>
                    <a:pt x="7007" y="6831"/>
                  </a:cubicBezTo>
                  <a:cubicBezTo>
                    <a:pt x="7668" y="5942"/>
                    <a:pt x="8330" y="5052"/>
                    <a:pt x="8994" y="4166"/>
                  </a:cubicBezTo>
                  <a:close/>
                  <a:moveTo>
                    <a:pt x="6263" y="6614"/>
                  </a:moveTo>
                  <a:cubicBezTo>
                    <a:pt x="5549" y="7460"/>
                    <a:pt x="5047" y="8523"/>
                    <a:pt x="4470" y="9461"/>
                  </a:cubicBezTo>
                  <a:cubicBezTo>
                    <a:pt x="3785" y="10575"/>
                    <a:pt x="3159" y="11667"/>
                    <a:pt x="2619" y="12792"/>
                  </a:cubicBezTo>
                  <a:cubicBezTo>
                    <a:pt x="2293" y="13298"/>
                    <a:pt x="1975" y="13812"/>
                    <a:pt x="1652" y="14323"/>
                  </a:cubicBezTo>
                  <a:cubicBezTo>
                    <a:pt x="1343" y="14227"/>
                    <a:pt x="1317" y="13685"/>
                    <a:pt x="1990" y="12377"/>
                  </a:cubicBezTo>
                  <a:cubicBezTo>
                    <a:pt x="2489" y="11407"/>
                    <a:pt x="3171" y="10520"/>
                    <a:pt x="3809" y="9643"/>
                  </a:cubicBezTo>
                  <a:cubicBezTo>
                    <a:pt x="4571" y="8595"/>
                    <a:pt x="5425" y="7605"/>
                    <a:pt x="6263" y="6614"/>
                  </a:cubicBezTo>
                  <a:close/>
                  <a:moveTo>
                    <a:pt x="12334" y="2287"/>
                  </a:moveTo>
                  <a:lnTo>
                    <a:pt x="12334" y="2287"/>
                  </a:lnTo>
                  <a:cubicBezTo>
                    <a:pt x="11475" y="3200"/>
                    <a:pt x="10664" y="4157"/>
                    <a:pt x="9905" y="5153"/>
                  </a:cubicBezTo>
                  <a:lnTo>
                    <a:pt x="9905" y="5153"/>
                  </a:lnTo>
                  <a:cubicBezTo>
                    <a:pt x="10232" y="4572"/>
                    <a:pt x="10558" y="3994"/>
                    <a:pt x="10859" y="3392"/>
                  </a:cubicBezTo>
                  <a:cubicBezTo>
                    <a:pt x="10920" y="3270"/>
                    <a:pt x="10826" y="3168"/>
                    <a:pt x="10725" y="3168"/>
                  </a:cubicBezTo>
                  <a:cubicBezTo>
                    <a:pt x="10679" y="3168"/>
                    <a:pt x="10631" y="3190"/>
                    <a:pt x="10596" y="3239"/>
                  </a:cubicBezTo>
                  <a:cubicBezTo>
                    <a:pt x="8217" y="6557"/>
                    <a:pt x="6248" y="10128"/>
                    <a:pt x="3990" y="13526"/>
                  </a:cubicBezTo>
                  <a:cubicBezTo>
                    <a:pt x="2786" y="15340"/>
                    <a:pt x="2185" y="16002"/>
                    <a:pt x="1960" y="16002"/>
                  </a:cubicBezTo>
                  <a:cubicBezTo>
                    <a:pt x="1854" y="16002"/>
                    <a:pt x="1831" y="15858"/>
                    <a:pt x="1866" y="15619"/>
                  </a:cubicBezTo>
                  <a:cubicBezTo>
                    <a:pt x="2902" y="14585"/>
                    <a:pt x="3606" y="13370"/>
                    <a:pt x="4340" y="12013"/>
                  </a:cubicBezTo>
                  <a:cubicBezTo>
                    <a:pt x="5925" y="9077"/>
                    <a:pt x="7983" y="6456"/>
                    <a:pt x="9617" y="3548"/>
                  </a:cubicBezTo>
                  <a:cubicBezTo>
                    <a:pt x="10498" y="3072"/>
                    <a:pt x="11404" y="2650"/>
                    <a:pt x="12334" y="2287"/>
                  </a:cubicBezTo>
                  <a:close/>
                  <a:moveTo>
                    <a:pt x="4579" y="13018"/>
                  </a:moveTo>
                  <a:cubicBezTo>
                    <a:pt x="3693" y="14519"/>
                    <a:pt x="2856" y="16037"/>
                    <a:pt x="2102" y="17568"/>
                  </a:cubicBezTo>
                  <a:cubicBezTo>
                    <a:pt x="2050" y="17264"/>
                    <a:pt x="1978" y="16967"/>
                    <a:pt x="1889" y="16673"/>
                  </a:cubicBezTo>
                  <a:cubicBezTo>
                    <a:pt x="1886" y="16661"/>
                    <a:pt x="1880" y="16650"/>
                    <a:pt x="1877" y="16635"/>
                  </a:cubicBezTo>
                  <a:cubicBezTo>
                    <a:pt x="2841" y="15472"/>
                    <a:pt x="3734" y="14262"/>
                    <a:pt x="4579" y="13018"/>
                  </a:cubicBezTo>
                  <a:close/>
                  <a:moveTo>
                    <a:pt x="8829" y="18663"/>
                  </a:moveTo>
                  <a:cubicBezTo>
                    <a:pt x="8810" y="18696"/>
                    <a:pt x="8792" y="18728"/>
                    <a:pt x="8774" y="18760"/>
                  </a:cubicBezTo>
                  <a:lnTo>
                    <a:pt x="8829" y="18663"/>
                  </a:lnTo>
                  <a:close/>
                  <a:moveTo>
                    <a:pt x="9352" y="11343"/>
                  </a:moveTo>
                  <a:lnTo>
                    <a:pt x="9352" y="11343"/>
                  </a:lnTo>
                  <a:cubicBezTo>
                    <a:pt x="7853" y="13988"/>
                    <a:pt x="6346" y="16618"/>
                    <a:pt x="4698" y="19109"/>
                  </a:cubicBezTo>
                  <a:cubicBezTo>
                    <a:pt x="5639" y="17599"/>
                    <a:pt x="7028" y="14874"/>
                    <a:pt x="8468" y="12562"/>
                  </a:cubicBezTo>
                  <a:cubicBezTo>
                    <a:pt x="8763" y="12157"/>
                    <a:pt x="9057" y="11750"/>
                    <a:pt x="9352" y="11343"/>
                  </a:cubicBezTo>
                  <a:close/>
                  <a:moveTo>
                    <a:pt x="19424" y="684"/>
                  </a:moveTo>
                  <a:cubicBezTo>
                    <a:pt x="17421" y="3805"/>
                    <a:pt x="15391" y="6912"/>
                    <a:pt x="13376" y="10027"/>
                  </a:cubicBezTo>
                  <a:cubicBezTo>
                    <a:pt x="12166" y="11898"/>
                    <a:pt x="10980" y="13783"/>
                    <a:pt x="9814" y="15679"/>
                  </a:cubicBezTo>
                  <a:cubicBezTo>
                    <a:pt x="9545" y="16113"/>
                    <a:pt x="7640" y="19711"/>
                    <a:pt x="7514" y="19711"/>
                  </a:cubicBezTo>
                  <a:cubicBezTo>
                    <a:pt x="7484" y="19711"/>
                    <a:pt x="7555" y="19507"/>
                    <a:pt x="7772" y="19008"/>
                  </a:cubicBezTo>
                  <a:cubicBezTo>
                    <a:pt x="8615" y="17083"/>
                    <a:pt x="9684" y="15293"/>
                    <a:pt x="10824" y="13549"/>
                  </a:cubicBezTo>
                  <a:cubicBezTo>
                    <a:pt x="11205" y="12989"/>
                    <a:pt x="11583" y="12423"/>
                    <a:pt x="11956" y="11857"/>
                  </a:cubicBezTo>
                  <a:lnTo>
                    <a:pt x="11956" y="11857"/>
                  </a:lnTo>
                  <a:cubicBezTo>
                    <a:pt x="11889" y="11953"/>
                    <a:pt x="11822" y="12050"/>
                    <a:pt x="11755" y="12146"/>
                  </a:cubicBezTo>
                  <a:lnTo>
                    <a:pt x="11755" y="12146"/>
                  </a:lnTo>
                  <a:cubicBezTo>
                    <a:pt x="11879" y="11964"/>
                    <a:pt x="12003" y="11782"/>
                    <a:pt x="12126" y="11600"/>
                  </a:cubicBezTo>
                  <a:cubicBezTo>
                    <a:pt x="13463" y="9556"/>
                    <a:pt x="14713" y="7466"/>
                    <a:pt x="15720" y="5312"/>
                  </a:cubicBezTo>
                  <a:cubicBezTo>
                    <a:pt x="16342" y="4233"/>
                    <a:pt x="16975" y="3076"/>
                    <a:pt x="17251" y="2211"/>
                  </a:cubicBezTo>
                  <a:lnTo>
                    <a:pt x="17251" y="2211"/>
                  </a:lnTo>
                  <a:cubicBezTo>
                    <a:pt x="16448" y="4737"/>
                    <a:pt x="15159" y="7024"/>
                    <a:pt x="13717" y="9241"/>
                  </a:cubicBezTo>
                  <a:cubicBezTo>
                    <a:pt x="15426" y="6666"/>
                    <a:pt x="17011" y="4019"/>
                    <a:pt x="17969" y="996"/>
                  </a:cubicBezTo>
                  <a:cubicBezTo>
                    <a:pt x="17995" y="915"/>
                    <a:pt x="17938" y="840"/>
                    <a:pt x="17865" y="809"/>
                  </a:cubicBezTo>
                  <a:cubicBezTo>
                    <a:pt x="18382" y="739"/>
                    <a:pt x="18902" y="699"/>
                    <a:pt x="19424" y="684"/>
                  </a:cubicBezTo>
                  <a:close/>
                  <a:moveTo>
                    <a:pt x="21422" y="1490"/>
                  </a:moveTo>
                  <a:cubicBezTo>
                    <a:pt x="20126" y="5232"/>
                    <a:pt x="17819" y="8667"/>
                    <a:pt x="15807" y="12048"/>
                  </a:cubicBezTo>
                  <a:cubicBezTo>
                    <a:pt x="14297" y="14580"/>
                    <a:pt x="13108" y="17371"/>
                    <a:pt x="11439" y="19799"/>
                  </a:cubicBezTo>
                  <a:cubicBezTo>
                    <a:pt x="9975" y="19909"/>
                    <a:pt x="8581" y="20492"/>
                    <a:pt x="7126" y="20911"/>
                  </a:cubicBezTo>
                  <a:cubicBezTo>
                    <a:pt x="10844" y="14392"/>
                    <a:pt x="15016" y="8159"/>
                    <a:pt x="19084" y="1857"/>
                  </a:cubicBezTo>
                  <a:lnTo>
                    <a:pt x="19084" y="1857"/>
                  </a:lnTo>
                  <a:cubicBezTo>
                    <a:pt x="17202" y="4773"/>
                    <a:pt x="15083" y="8086"/>
                    <a:pt x="13021" y="11473"/>
                  </a:cubicBezTo>
                  <a:cubicBezTo>
                    <a:pt x="12880" y="11707"/>
                    <a:pt x="12735" y="11941"/>
                    <a:pt x="12594" y="12175"/>
                  </a:cubicBezTo>
                  <a:cubicBezTo>
                    <a:pt x="11375" y="14190"/>
                    <a:pt x="10189" y="16219"/>
                    <a:pt x="9086" y="18211"/>
                  </a:cubicBezTo>
                  <a:lnTo>
                    <a:pt x="8829" y="18663"/>
                  </a:lnTo>
                  <a:lnTo>
                    <a:pt x="8829" y="18663"/>
                  </a:lnTo>
                  <a:cubicBezTo>
                    <a:pt x="8875" y="18585"/>
                    <a:pt x="8923" y="18506"/>
                    <a:pt x="8968" y="18428"/>
                  </a:cubicBezTo>
                  <a:lnTo>
                    <a:pt x="8968" y="18428"/>
                  </a:lnTo>
                  <a:cubicBezTo>
                    <a:pt x="8662" y="18985"/>
                    <a:pt x="8353" y="19542"/>
                    <a:pt x="8064" y="20088"/>
                  </a:cubicBezTo>
                  <a:cubicBezTo>
                    <a:pt x="7994" y="20217"/>
                    <a:pt x="8107" y="20335"/>
                    <a:pt x="8217" y="20335"/>
                  </a:cubicBezTo>
                  <a:cubicBezTo>
                    <a:pt x="8266" y="20335"/>
                    <a:pt x="8315" y="20311"/>
                    <a:pt x="8347" y="20253"/>
                  </a:cubicBezTo>
                  <a:cubicBezTo>
                    <a:pt x="11471" y="14398"/>
                    <a:pt x="15385" y="9013"/>
                    <a:pt x="18936" y="3418"/>
                  </a:cubicBezTo>
                  <a:cubicBezTo>
                    <a:pt x="18998" y="3321"/>
                    <a:pt x="19035" y="3278"/>
                    <a:pt x="19052" y="3278"/>
                  </a:cubicBezTo>
                  <a:cubicBezTo>
                    <a:pt x="19148" y="3278"/>
                    <a:pt x="18615" y="4646"/>
                    <a:pt x="18281" y="5465"/>
                  </a:cubicBezTo>
                  <a:cubicBezTo>
                    <a:pt x="16618" y="7948"/>
                    <a:pt x="14981" y="10480"/>
                    <a:pt x="13506" y="13052"/>
                  </a:cubicBezTo>
                  <a:cubicBezTo>
                    <a:pt x="12120" y="15206"/>
                    <a:pt x="10836" y="17403"/>
                    <a:pt x="9796" y="19773"/>
                  </a:cubicBezTo>
                  <a:cubicBezTo>
                    <a:pt x="9739" y="19902"/>
                    <a:pt x="9844" y="20021"/>
                    <a:pt x="9950" y="20021"/>
                  </a:cubicBezTo>
                  <a:cubicBezTo>
                    <a:pt x="9998" y="20021"/>
                    <a:pt x="10046" y="19996"/>
                    <a:pt x="10079" y="19938"/>
                  </a:cubicBezTo>
                  <a:cubicBezTo>
                    <a:pt x="12002" y="16592"/>
                    <a:pt x="13965" y="13272"/>
                    <a:pt x="15972" y="9978"/>
                  </a:cubicBezTo>
                  <a:cubicBezTo>
                    <a:pt x="17559" y="7377"/>
                    <a:pt x="20438" y="4331"/>
                    <a:pt x="21422" y="1490"/>
                  </a:cubicBezTo>
                  <a:close/>
                  <a:moveTo>
                    <a:pt x="9868" y="14938"/>
                  </a:moveTo>
                  <a:cubicBezTo>
                    <a:pt x="8598" y="16880"/>
                    <a:pt x="7440" y="18884"/>
                    <a:pt x="6606" y="21049"/>
                  </a:cubicBezTo>
                  <a:cubicBezTo>
                    <a:pt x="6303" y="21127"/>
                    <a:pt x="5994" y="21188"/>
                    <a:pt x="5679" y="21234"/>
                  </a:cubicBezTo>
                  <a:cubicBezTo>
                    <a:pt x="6929" y="19306"/>
                    <a:pt x="8208" y="17394"/>
                    <a:pt x="9490" y="15486"/>
                  </a:cubicBezTo>
                  <a:lnTo>
                    <a:pt x="9868" y="14938"/>
                  </a:lnTo>
                  <a:close/>
                  <a:moveTo>
                    <a:pt x="22067" y="0"/>
                  </a:moveTo>
                  <a:cubicBezTo>
                    <a:pt x="22010" y="0"/>
                    <a:pt x="21952" y="24"/>
                    <a:pt x="21916" y="78"/>
                  </a:cubicBezTo>
                  <a:cubicBezTo>
                    <a:pt x="21841" y="191"/>
                    <a:pt x="21763" y="306"/>
                    <a:pt x="21688" y="419"/>
                  </a:cubicBezTo>
                  <a:cubicBezTo>
                    <a:pt x="21131" y="306"/>
                    <a:pt x="20562" y="246"/>
                    <a:pt x="19993" y="246"/>
                  </a:cubicBezTo>
                  <a:cubicBezTo>
                    <a:pt x="19961" y="191"/>
                    <a:pt x="19905" y="155"/>
                    <a:pt x="19846" y="155"/>
                  </a:cubicBezTo>
                  <a:cubicBezTo>
                    <a:pt x="19799" y="155"/>
                    <a:pt x="19751" y="179"/>
                    <a:pt x="19713" y="237"/>
                  </a:cubicBezTo>
                  <a:cubicBezTo>
                    <a:pt x="19713" y="240"/>
                    <a:pt x="19710" y="240"/>
                    <a:pt x="19707" y="243"/>
                  </a:cubicBezTo>
                  <a:cubicBezTo>
                    <a:pt x="18668" y="257"/>
                    <a:pt x="17565" y="416"/>
                    <a:pt x="16459" y="667"/>
                  </a:cubicBezTo>
                  <a:cubicBezTo>
                    <a:pt x="16485" y="563"/>
                    <a:pt x="16517" y="465"/>
                    <a:pt x="16540" y="364"/>
                  </a:cubicBezTo>
                  <a:cubicBezTo>
                    <a:pt x="16563" y="252"/>
                    <a:pt x="16482" y="181"/>
                    <a:pt x="16396" y="181"/>
                  </a:cubicBezTo>
                  <a:cubicBezTo>
                    <a:pt x="16349" y="181"/>
                    <a:pt x="16301" y="202"/>
                    <a:pt x="16266" y="248"/>
                  </a:cubicBezTo>
                  <a:cubicBezTo>
                    <a:pt x="16127" y="430"/>
                    <a:pt x="16000" y="624"/>
                    <a:pt x="15868" y="809"/>
                  </a:cubicBezTo>
                  <a:cubicBezTo>
                    <a:pt x="13691" y="1363"/>
                    <a:pt x="11552" y="2240"/>
                    <a:pt x="9900" y="3058"/>
                  </a:cubicBezTo>
                  <a:cubicBezTo>
                    <a:pt x="9938" y="2962"/>
                    <a:pt x="9855" y="2858"/>
                    <a:pt x="9770" y="2858"/>
                  </a:cubicBezTo>
                  <a:cubicBezTo>
                    <a:pt x="9738" y="2858"/>
                    <a:pt x="9707" y="2871"/>
                    <a:pt x="9681" y="2904"/>
                  </a:cubicBezTo>
                  <a:cubicBezTo>
                    <a:pt x="9568" y="3049"/>
                    <a:pt x="9461" y="3193"/>
                    <a:pt x="9349" y="3338"/>
                  </a:cubicBezTo>
                  <a:cubicBezTo>
                    <a:pt x="8927" y="3557"/>
                    <a:pt x="8543" y="3771"/>
                    <a:pt x="8211" y="3964"/>
                  </a:cubicBezTo>
                  <a:cubicBezTo>
                    <a:pt x="5310" y="5688"/>
                    <a:pt x="1617" y="8606"/>
                    <a:pt x="200" y="11727"/>
                  </a:cubicBezTo>
                  <a:cubicBezTo>
                    <a:pt x="6" y="12160"/>
                    <a:pt x="1" y="12651"/>
                    <a:pt x="90" y="13148"/>
                  </a:cubicBezTo>
                  <a:cubicBezTo>
                    <a:pt x="87" y="13148"/>
                    <a:pt x="87" y="13150"/>
                    <a:pt x="84" y="13153"/>
                  </a:cubicBezTo>
                  <a:cubicBezTo>
                    <a:pt x="32" y="13220"/>
                    <a:pt x="58" y="13318"/>
                    <a:pt x="139" y="13350"/>
                  </a:cubicBezTo>
                  <a:cubicBezTo>
                    <a:pt x="217" y="13676"/>
                    <a:pt x="321" y="13996"/>
                    <a:pt x="448" y="14308"/>
                  </a:cubicBezTo>
                  <a:cubicBezTo>
                    <a:pt x="448" y="14372"/>
                    <a:pt x="437" y="14435"/>
                    <a:pt x="442" y="14499"/>
                  </a:cubicBezTo>
                  <a:cubicBezTo>
                    <a:pt x="442" y="14525"/>
                    <a:pt x="462" y="14539"/>
                    <a:pt x="483" y="14539"/>
                  </a:cubicBezTo>
                  <a:cubicBezTo>
                    <a:pt x="502" y="14539"/>
                    <a:pt x="522" y="14527"/>
                    <a:pt x="526" y="14502"/>
                  </a:cubicBezTo>
                  <a:cubicBezTo>
                    <a:pt x="592" y="14660"/>
                    <a:pt x="659" y="14813"/>
                    <a:pt x="725" y="14958"/>
                  </a:cubicBezTo>
                  <a:cubicBezTo>
                    <a:pt x="708" y="15223"/>
                    <a:pt x="717" y="15492"/>
                    <a:pt x="745" y="15755"/>
                  </a:cubicBezTo>
                  <a:cubicBezTo>
                    <a:pt x="725" y="15786"/>
                    <a:pt x="705" y="15818"/>
                    <a:pt x="688" y="15850"/>
                  </a:cubicBezTo>
                  <a:cubicBezTo>
                    <a:pt x="627" y="15948"/>
                    <a:pt x="702" y="16023"/>
                    <a:pt x="786" y="16032"/>
                  </a:cubicBezTo>
                  <a:cubicBezTo>
                    <a:pt x="800" y="16110"/>
                    <a:pt x="803" y="16188"/>
                    <a:pt x="823" y="16268"/>
                  </a:cubicBezTo>
                  <a:cubicBezTo>
                    <a:pt x="838" y="16325"/>
                    <a:pt x="904" y="16373"/>
                    <a:pt x="965" y="16373"/>
                  </a:cubicBezTo>
                  <a:cubicBezTo>
                    <a:pt x="988" y="16373"/>
                    <a:pt x="1010" y="16367"/>
                    <a:pt x="1028" y="16352"/>
                  </a:cubicBezTo>
                  <a:cubicBezTo>
                    <a:pt x="1101" y="16297"/>
                    <a:pt x="1158" y="16242"/>
                    <a:pt x="1222" y="16190"/>
                  </a:cubicBezTo>
                  <a:cubicBezTo>
                    <a:pt x="1254" y="16286"/>
                    <a:pt x="1280" y="16381"/>
                    <a:pt x="1306" y="16473"/>
                  </a:cubicBezTo>
                  <a:cubicBezTo>
                    <a:pt x="1254" y="16696"/>
                    <a:pt x="1199" y="16915"/>
                    <a:pt x="1158" y="17143"/>
                  </a:cubicBezTo>
                  <a:cubicBezTo>
                    <a:pt x="1144" y="17222"/>
                    <a:pt x="1210" y="17300"/>
                    <a:pt x="1280" y="17300"/>
                  </a:cubicBezTo>
                  <a:cubicBezTo>
                    <a:pt x="1307" y="17300"/>
                    <a:pt x="1334" y="17289"/>
                    <a:pt x="1357" y="17262"/>
                  </a:cubicBezTo>
                  <a:cubicBezTo>
                    <a:pt x="1395" y="17221"/>
                    <a:pt x="1424" y="17178"/>
                    <a:pt x="1459" y="17140"/>
                  </a:cubicBezTo>
                  <a:cubicBezTo>
                    <a:pt x="1811" y="18994"/>
                    <a:pt x="1554" y="20538"/>
                    <a:pt x="3003" y="22002"/>
                  </a:cubicBezTo>
                  <a:cubicBezTo>
                    <a:pt x="3029" y="22028"/>
                    <a:pt x="3057" y="22039"/>
                    <a:pt x="3084" y="22039"/>
                  </a:cubicBezTo>
                  <a:cubicBezTo>
                    <a:pt x="3172" y="22039"/>
                    <a:pt x="3246" y="21923"/>
                    <a:pt x="3171" y="21835"/>
                  </a:cubicBezTo>
                  <a:cubicBezTo>
                    <a:pt x="2590" y="21153"/>
                    <a:pt x="2414" y="19438"/>
                    <a:pt x="2186" y="18038"/>
                  </a:cubicBezTo>
                  <a:lnTo>
                    <a:pt x="2186" y="18035"/>
                  </a:lnTo>
                  <a:cubicBezTo>
                    <a:pt x="3580" y="15734"/>
                    <a:pt x="4917" y="13402"/>
                    <a:pt x="6297" y="11092"/>
                  </a:cubicBezTo>
                  <a:cubicBezTo>
                    <a:pt x="7689" y="8762"/>
                    <a:pt x="11000" y="5356"/>
                    <a:pt x="11779" y="3560"/>
                  </a:cubicBezTo>
                  <a:lnTo>
                    <a:pt x="11779" y="3560"/>
                  </a:lnTo>
                  <a:cubicBezTo>
                    <a:pt x="10099" y="7431"/>
                    <a:pt x="7357" y="10673"/>
                    <a:pt x="5067" y="14196"/>
                  </a:cubicBezTo>
                  <a:cubicBezTo>
                    <a:pt x="4553" y="14958"/>
                    <a:pt x="4054" y="15734"/>
                    <a:pt x="3589" y="16540"/>
                  </a:cubicBezTo>
                  <a:cubicBezTo>
                    <a:pt x="2837" y="17841"/>
                    <a:pt x="2609" y="18271"/>
                    <a:pt x="2640" y="18271"/>
                  </a:cubicBezTo>
                  <a:cubicBezTo>
                    <a:pt x="2665" y="18271"/>
                    <a:pt x="2844" y="18014"/>
                    <a:pt x="3055" y="17703"/>
                  </a:cubicBezTo>
                  <a:lnTo>
                    <a:pt x="3055" y="17703"/>
                  </a:lnTo>
                  <a:cubicBezTo>
                    <a:pt x="2818" y="18188"/>
                    <a:pt x="2593" y="18676"/>
                    <a:pt x="2391" y="19181"/>
                  </a:cubicBezTo>
                  <a:cubicBezTo>
                    <a:pt x="2347" y="19290"/>
                    <a:pt x="2436" y="19360"/>
                    <a:pt x="2528" y="19360"/>
                  </a:cubicBezTo>
                  <a:cubicBezTo>
                    <a:pt x="2588" y="19360"/>
                    <a:pt x="2650" y="19330"/>
                    <a:pt x="2677" y="19262"/>
                  </a:cubicBezTo>
                  <a:cubicBezTo>
                    <a:pt x="4978" y="13616"/>
                    <a:pt x="9305" y="8896"/>
                    <a:pt x="12570" y="3783"/>
                  </a:cubicBezTo>
                  <a:lnTo>
                    <a:pt x="12570" y="3783"/>
                  </a:lnTo>
                  <a:cubicBezTo>
                    <a:pt x="12206" y="4354"/>
                    <a:pt x="11788" y="6271"/>
                    <a:pt x="11332" y="7111"/>
                  </a:cubicBezTo>
                  <a:cubicBezTo>
                    <a:pt x="10610" y="8439"/>
                    <a:pt x="9753" y="9695"/>
                    <a:pt x="8921" y="10956"/>
                  </a:cubicBezTo>
                  <a:cubicBezTo>
                    <a:pt x="6993" y="13869"/>
                    <a:pt x="4897" y="16661"/>
                    <a:pt x="3032" y="19617"/>
                  </a:cubicBezTo>
                  <a:cubicBezTo>
                    <a:pt x="2960" y="19734"/>
                    <a:pt x="3062" y="19839"/>
                    <a:pt x="3168" y="19839"/>
                  </a:cubicBezTo>
                  <a:cubicBezTo>
                    <a:pt x="3214" y="19839"/>
                    <a:pt x="3261" y="19819"/>
                    <a:pt x="3295" y="19770"/>
                  </a:cubicBezTo>
                  <a:cubicBezTo>
                    <a:pt x="3895" y="18898"/>
                    <a:pt x="4519" y="18044"/>
                    <a:pt x="5137" y="17184"/>
                  </a:cubicBezTo>
                  <a:lnTo>
                    <a:pt x="5137" y="17184"/>
                  </a:lnTo>
                  <a:cubicBezTo>
                    <a:pt x="4493" y="18364"/>
                    <a:pt x="3924" y="19594"/>
                    <a:pt x="3488" y="20911"/>
                  </a:cubicBezTo>
                  <a:cubicBezTo>
                    <a:pt x="3450" y="21026"/>
                    <a:pt x="3543" y="21101"/>
                    <a:pt x="3638" y="21101"/>
                  </a:cubicBezTo>
                  <a:cubicBezTo>
                    <a:pt x="3688" y="21101"/>
                    <a:pt x="3739" y="21080"/>
                    <a:pt x="3771" y="21032"/>
                  </a:cubicBezTo>
                  <a:cubicBezTo>
                    <a:pt x="6289" y="17345"/>
                    <a:pt x="8705" y="13595"/>
                    <a:pt x="11020" y="9784"/>
                  </a:cubicBezTo>
                  <a:cubicBezTo>
                    <a:pt x="12088" y="8017"/>
                    <a:pt x="13064" y="6199"/>
                    <a:pt x="14150" y="4443"/>
                  </a:cubicBezTo>
                  <a:cubicBezTo>
                    <a:pt x="14439" y="3975"/>
                    <a:pt x="15635" y="1450"/>
                    <a:pt x="15865" y="1450"/>
                  </a:cubicBezTo>
                  <a:cubicBezTo>
                    <a:pt x="15942" y="1450"/>
                    <a:pt x="15909" y="1738"/>
                    <a:pt x="15694" y="2489"/>
                  </a:cubicBezTo>
                  <a:cubicBezTo>
                    <a:pt x="13962" y="4856"/>
                    <a:pt x="12738" y="7758"/>
                    <a:pt x="11280" y="10223"/>
                  </a:cubicBezTo>
                  <a:cubicBezTo>
                    <a:pt x="10657" y="11285"/>
                    <a:pt x="10024" y="12342"/>
                    <a:pt x="9389" y="13396"/>
                  </a:cubicBezTo>
                  <a:cubicBezTo>
                    <a:pt x="9978" y="12602"/>
                    <a:pt x="10567" y="11811"/>
                    <a:pt x="11147" y="11014"/>
                  </a:cubicBezTo>
                  <a:cubicBezTo>
                    <a:pt x="12556" y="8598"/>
                    <a:pt x="13928" y="6158"/>
                    <a:pt x="15290" y="3713"/>
                  </a:cubicBezTo>
                  <a:lnTo>
                    <a:pt x="15290" y="3713"/>
                  </a:lnTo>
                  <a:cubicBezTo>
                    <a:pt x="14638" y="5520"/>
                    <a:pt x="13725" y="7209"/>
                    <a:pt x="12672" y="8837"/>
                  </a:cubicBezTo>
                  <a:cubicBezTo>
                    <a:pt x="13959" y="6912"/>
                    <a:pt x="15088" y="4899"/>
                    <a:pt x="15868" y="2682"/>
                  </a:cubicBezTo>
                  <a:cubicBezTo>
                    <a:pt x="16099" y="2280"/>
                    <a:pt x="16224" y="2110"/>
                    <a:pt x="16269" y="2110"/>
                  </a:cubicBezTo>
                  <a:cubicBezTo>
                    <a:pt x="16390" y="2110"/>
                    <a:pt x="15953" y="3301"/>
                    <a:pt x="15455" y="4536"/>
                  </a:cubicBezTo>
                  <a:cubicBezTo>
                    <a:pt x="14799" y="5838"/>
                    <a:pt x="14193" y="7174"/>
                    <a:pt x="13518" y="8471"/>
                  </a:cubicBezTo>
                  <a:cubicBezTo>
                    <a:pt x="12732" y="9698"/>
                    <a:pt x="11878" y="10887"/>
                    <a:pt x="11046" y="12079"/>
                  </a:cubicBezTo>
                  <a:cubicBezTo>
                    <a:pt x="8962" y="15070"/>
                    <a:pt x="7209" y="18209"/>
                    <a:pt x="5275" y="21292"/>
                  </a:cubicBezTo>
                  <a:cubicBezTo>
                    <a:pt x="5070" y="21312"/>
                    <a:pt x="4865" y="21324"/>
                    <a:pt x="4654" y="21326"/>
                  </a:cubicBezTo>
                  <a:cubicBezTo>
                    <a:pt x="6929" y="18044"/>
                    <a:pt x="9025" y="14652"/>
                    <a:pt x="11038" y="11208"/>
                  </a:cubicBezTo>
                  <a:lnTo>
                    <a:pt x="11038" y="11208"/>
                  </a:lnTo>
                  <a:cubicBezTo>
                    <a:pt x="10483" y="11964"/>
                    <a:pt x="9917" y="12717"/>
                    <a:pt x="9346" y="13468"/>
                  </a:cubicBezTo>
                  <a:cubicBezTo>
                    <a:pt x="8607" y="14692"/>
                    <a:pt x="7862" y="15908"/>
                    <a:pt x="7108" y="17120"/>
                  </a:cubicBezTo>
                  <a:cubicBezTo>
                    <a:pt x="6815" y="17587"/>
                    <a:pt x="4598" y="21245"/>
                    <a:pt x="4452" y="21245"/>
                  </a:cubicBezTo>
                  <a:cubicBezTo>
                    <a:pt x="4413" y="21245"/>
                    <a:pt x="4523" y="20983"/>
                    <a:pt x="4857" y="20328"/>
                  </a:cubicBezTo>
                  <a:cubicBezTo>
                    <a:pt x="5991" y="18102"/>
                    <a:pt x="7420" y="16063"/>
                    <a:pt x="8898" y="14063"/>
                  </a:cubicBezTo>
                  <a:lnTo>
                    <a:pt x="8898" y="14063"/>
                  </a:lnTo>
                  <a:cubicBezTo>
                    <a:pt x="7120" y="16398"/>
                    <a:pt x="5368" y="18748"/>
                    <a:pt x="4063" y="21306"/>
                  </a:cubicBezTo>
                  <a:cubicBezTo>
                    <a:pt x="3742" y="21289"/>
                    <a:pt x="3427" y="21243"/>
                    <a:pt x="3116" y="21176"/>
                  </a:cubicBezTo>
                  <a:cubicBezTo>
                    <a:pt x="3108" y="21175"/>
                    <a:pt x="3101" y="21174"/>
                    <a:pt x="3094" y="21174"/>
                  </a:cubicBezTo>
                  <a:cubicBezTo>
                    <a:pt x="3001" y="21174"/>
                    <a:pt x="2970" y="21314"/>
                    <a:pt x="3069" y="21341"/>
                  </a:cubicBezTo>
                  <a:cubicBezTo>
                    <a:pt x="3358" y="21422"/>
                    <a:pt x="3653" y="21488"/>
                    <a:pt x="3950" y="21537"/>
                  </a:cubicBezTo>
                  <a:cubicBezTo>
                    <a:pt x="3800" y="21840"/>
                    <a:pt x="3647" y="22143"/>
                    <a:pt x="3511" y="22452"/>
                  </a:cubicBezTo>
                  <a:cubicBezTo>
                    <a:pt x="3456" y="22574"/>
                    <a:pt x="3546" y="22676"/>
                    <a:pt x="3645" y="22676"/>
                  </a:cubicBezTo>
                  <a:cubicBezTo>
                    <a:pt x="3690" y="22676"/>
                    <a:pt x="3736" y="22655"/>
                    <a:pt x="3771" y="22605"/>
                  </a:cubicBezTo>
                  <a:cubicBezTo>
                    <a:pt x="4008" y="22273"/>
                    <a:pt x="4236" y="21933"/>
                    <a:pt x="4470" y="21598"/>
                  </a:cubicBezTo>
                  <a:cubicBezTo>
                    <a:pt x="4694" y="21621"/>
                    <a:pt x="4919" y="21632"/>
                    <a:pt x="5143" y="21632"/>
                  </a:cubicBezTo>
                  <a:cubicBezTo>
                    <a:pt x="5593" y="21632"/>
                    <a:pt x="6041" y="21586"/>
                    <a:pt x="6482" y="21494"/>
                  </a:cubicBezTo>
                  <a:cubicBezTo>
                    <a:pt x="6511" y="21550"/>
                    <a:pt x="6576" y="21584"/>
                    <a:pt x="6640" y="21584"/>
                  </a:cubicBezTo>
                  <a:cubicBezTo>
                    <a:pt x="6693" y="21584"/>
                    <a:pt x="6744" y="21561"/>
                    <a:pt x="6774" y="21508"/>
                  </a:cubicBezTo>
                  <a:cubicBezTo>
                    <a:pt x="6794" y="21474"/>
                    <a:pt x="6814" y="21439"/>
                    <a:pt x="6834" y="21407"/>
                  </a:cubicBezTo>
                  <a:cubicBezTo>
                    <a:pt x="7784" y="21165"/>
                    <a:pt x="8745" y="20766"/>
                    <a:pt x="9923" y="20316"/>
                  </a:cubicBezTo>
                  <a:cubicBezTo>
                    <a:pt x="10379" y="20137"/>
                    <a:pt x="10862" y="20024"/>
                    <a:pt x="11352" y="19987"/>
                  </a:cubicBezTo>
                  <a:lnTo>
                    <a:pt x="11352" y="19987"/>
                  </a:lnTo>
                  <a:cubicBezTo>
                    <a:pt x="11335" y="20090"/>
                    <a:pt x="11430" y="20175"/>
                    <a:pt x="11528" y="20175"/>
                  </a:cubicBezTo>
                  <a:cubicBezTo>
                    <a:pt x="11579" y="20175"/>
                    <a:pt x="11631" y="20152"/>
                    <a:pt x="11670" y="20097"/>
                  </a:cubicBezTo>
                  <a:cubicBezTo>
                    <a:pt x="11693" y="20059"/>
                    <a:pt x="11716" y="20019"/>
                    <a:pt x="11742" y="19984"/>
                  </a:cubicBezTo>
                  <a:cubicBezTo>
                    <a:pt x="14212" y="20064"/>
                    <a:pt x="15408" y="22542"/>
                    <a:pt x="17853" y="22542"/>
                  </a:cubicBezTo>
                  <a:cubicBezTo>
                    <a:pt x="17969" y="22542"/>
                    <a:pt x="18087" y="22536"/>
                    <a:pt x="18209" y="22525"/>
                  </a:cubicBezTo>
                  <a:cubicBezTo>
                    <a:pt x="19004" y="22447"/>
                    <a:pt x="19748" y="22165"/>
                    <a:pt x="20413" y="22165"/>
                  </a:cubicBezTo>
                  <a:cubicBezTo>
                    <a:pt x="21091" y="22165"/>
                    <a:pt x="21686" y="22459"/>
                    <a:pt x="22167" y="23564"/>
                  </a:cubicBezTo>
                  <a:cubicBezTo>
                    <a:pt x="22892" y="25221"/>
                    <a:pt x="26267" y="26084"/>
                    <a:pt x="26607" y="27213"/>
                  </a:cubicBezTo>
                  <a:cubicBezTo>
                    <a:pt x="26629" y="27288"/>
                    <a:pt x="26688" y="27321"/>
                    <a:pt x="26748" y="27321"/>
                  </a:cubicBezTo>
                  <a:cubicBezTo>
                    <a:pt x="26838" y="27321"/>
                    <a:pt x="26930" y="27247"/>
                    <a:pt x="26899" y="27132"/>
                  </a:cubicBezTo>
                  <a:cubicBezTo>
                    <a:pt x="26573" y="25960"/>
                    <a:pt x="26396" y="25516"/>
                    <a:pt x="25123" y="25414"/>
                  </a:cubicBezTo>
                  <a:cubicBezTo>
                    <a:pt x="23098" y="25247"/>
                    <a:pt x="22452" y="21302"/>
                    <a:pt x="20729" y="21302"/>
                  </a:cubicBezTo>
                  <a:cubicBezTo>
                    <a:pt x="20666" y="21302"/>
                    <a:pt x="20602" y="21307"/>
                    <a:pt x="20536" y="21318"/>
                  </a:cubicBezTo>
                  <a:cubicBezTo>
                    <a:pt x="19880" y="21426"/>
                    <a:pt x="19307" y="21475"/>
                    <a:pt x="18785" y="21475"/>
                  </a:cubicBezTo>
                  <a:cubicBezTo>
                    <a:pt x="16999" y="21475"/>
                    <a:pt x="15812" y="20901"/>
                    <a:pt x="13954" y="20166"/>
                  </a:cubicBezTo>
                  <a:cubicBezTo>
                    <a:pt x="13313" y="19908"/>
                    <a:pt x="12628" y="19776"/>
                    <a:pt x="11938" y="19776"/>
                  </a:cubicBezTo>
                  <a:cubicBezTo>
                    <a:pt x="11916" y="19776"/>
                    <a:pt x="11894" y="19776"/>
                    <a:pt x="11872" y="19776"/>
                  </a:cubicBezTo>
                  <a:cubicBezTo>
                    <a:pt x="13749" y="16996"/>
                    <a:pt x="15154" y="13820"/>
                    <a:pt x="16872" y="10942"/>
                  </a:cubicBezTo>
                  <a:cubicBezTo>
                    <a:pt x="18801" y="7700"/>
                    <a:pt x="20651" y="4469"/>
                    <a:pt x="21965" y="938"/>
                  </a:cubicBezTo>
                  <a:cubicBezTo>
                    <a:pt x="23351" y="1296"/>
                    <a:pt x="24480" y="2047"/>
                    <a:pt x="25132" y="3349"/>
                  </a:cubicBezTo>
                  <a:cubicBezTo>
                    <a:pt x="25149" y="3383"/>
                    <a:pt x="25176" y="3397"/>
                    <a:pt x="25203" y="3397"/>
                  </a:cubicBezTo>
                  <a:cubicBezTo>
                    <a:pt x="25264" y="3397"/>
                    <a:pt x="25328" y="3327"/>
                    <a:pt x="25297" y="3251"/>
                  </a:cubicBezTo>
                  <a:cubicBezTo>
                    <a:pt x="24661" y="1761"/>
                    <a:pt x="23527" y="915"/>
                    <a:pt x="22121" y="520"/>
                  </a:cubicBezTo>
                  <a:cubicBezTo>
                    <a:pt x="22155" y="419"/>
                    <a:pt x="22199" y="318"/>
                    <a:pt x="22233" y="211"/>
                  </a:cubicBezTo>
                  <a:cubicBezTo>
                    <a:pt x="22279" y="85"/>
                    <a:pt x="22174" y="0"/>
                    <a:pt x="22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65"/>
            <p:cNvSpPr/>
            <p:nvPr/>
          </p:nvSpPr>
          <p:spPr>
            <a:xfrm>
              <a:off x="6158125" y="4021950"/>
              <a:ext cx="552250" cy="774725"/>
            </a:xfrm>
            <a:custGeom>
              <a:avLst/>
              <a:gdLst/>
              <a:ahLst/>
              <a:cxnLst/>
              <a:rect l="l" t="t" r="r" b="b"/>
              <a:pathLst>
                <a:path w="22090" h="30989" extrusionOk="0">
                  <a:moveTo>
                    <a:pt x="15989" y="6166"/>
                  </a:moveTo>
                  <a:cubicBezTo>
                    <a:pt x="16269" y="6541"/>
                    <a:pt x="16558" y="6913"/>
                    <a:pt x="16855" y="7280"/>
                  </a:cubicBezTo>
                  <a:cubicBezTo>
                    <a:pt x="16849" y="7283"/>
                    <a:pt x="16844" y="7280"/>
                    <a:pt x="16838" y="7286"/>
                  </a:cubicBezTo>
                  <a:cubicBezTo>
                    <a:pt x="16162" y="8045"/>
                    <a:pt x="15547" y="8845"/>
                    <a:pt x="14956" y="9659"/>
                  </a:cubicBezTo>
                  <a:lnTo>
                    <a:pt x="14956" y="9656"/>
                  </a:lnTo>
                  <a:cubicBezTo>
                    <a:pt x="15412" y="8495"/>
                    <a:pt x="15773" y="7326"/>
                    <a:pt x="15989" y="6166"/>
                  </a:cubicBezTo>
                  <a:close/>
                  <a:moveTo>
                    <a:pt x="12229" y="1494"/>
                  </a:moveTo>
                  <a:cubicBezTo>
                    <a:pt x="12401" y="1494"/>
                    <a:pt x="10586" y="5644"/>
                    <a:pt x="10598" y="5644"/>
                  </a:cubicBezTo>
                  <a:cubicBezTo>
                    <a:pt x="10598" y="5644"/>
                    <a:pt x="10601" y="5640"/>
                    <a:pt x="10605" y="5631"/>
                  </a:cubicBezTo>
                  <a:lnTo>
                    <a:pt x="10605" y="5631"/>
                  </a:lnTo>
                  <a:cubicBezTo>
                    <a:pt x="9737" y="7439"/>
                    <a:pt x="8644" y="9155"/>
                    <a:pt x="7605" y="10869"/>
                  </a:cubicBezTo>
                  <a:cubicBezTo>
                    <a:pt x="7195" y="11544"/>
                    <a:pt x="6794" y="12217"/>
                    <a:pt x="6401" y="12889"/>
                  </a:cubicBezTo>
                  <a:cubicBezTo>
                    <a:pt x="8252" y="9607"/>
                    <a:pt x="9753" y="6033"/>
                    <a:pt x="11416" y="2874"/>
                  </a:cubicBezTo>
                  <a:cubicBezTo>
                    <a:pt x="11941" y="1877"/>
                    <a:pt x="12177" y="1494"/>
                    <a:pt x="12229" y="1494"/>
                  </a:cubicBezTo>
                  <a:close/>
                  <a:moveTo>
                    <a:pt x="10980" y="1051"/>
                  </a:moveTo>
                  <a:cubicBezTo>
                    <a:pt x="11092" y="1051"/>
                    <a:pt x="8823" y="4849"/>
                    <a:pt x="8414" y="5646"/>
                  </a:cubicBezTo>
                  <a:cubicBezTo>
                    <a:pt x="6950" y="8493"/>
                    <a:pt x="5674" y="11385"/>
                    <a:pt x="4011" y="14036"/>
                  </a:cubicBezTo>
                  <a:cubicBezTo>
                    <a:pt x="4857" y="12292"/>
                    <a:pt x="5685" y="10545"/>
                    <a:pt x="6485" y="8767"/>
                  </a:cubicBezTo>
                  <a:cubicBezTo>
                    <a:pt x="7409" y="6717"/>
                    <a:pt x="8492" y="4742"/>
                    <a:pt x="9724" y="2860"/>
                  </a:cubicBezTo>
                  <a:cubicBezTo>
                    <a:pt x="10587" y="1547"/>
                    <a:pt x="10939" y="1051"/>
                    <a:pt x="10980" y="1051"/>
                  </a:cubicBezTo>
                  <a:close/>
                  <a:moveTo>
                    <a:pt x="19378" y="10386"/>
                  </a:moveTo>
                  <a:cubicBezTo>
                    <a:pt x="19549" y="10606"/>
                    <a:pt x="19719" y="10825"/>
                    <a:pt x="19884" y="11048"/>
                  </a:cubicBezTo>
                  <a:cubicBezTo>
                    <a:pt x="18937" y="12361"/>
                    <a:pt x="18022" y="13805"/>
                    <a:pt x="17167" y="15271"/>
                  </a:cubicBezTo>
                  <a:cubicBezTo>
                    <a:pt x="17987" y="13686"/>
                    <a:pt x="18758" y="12078"/>
                    <a:pt x="19378" y="10386"/>
                  </a:cubicBezTo>
                  <a:close/>
                  <a:moveTo>
                    <a:pt x="15325" y="5219"/>
                  </a:moveTo>
                  <a:cubicBezTo>
                    <a:pt x="15469" y="5432"/>
                    <a:pt x="15608" y="5652"/>
                    <a:pt x="15761" y="5860"/>
                  </a:cubicBezTo>
                  <a:cubicBezTo>
                    <a:pt x="15744" y="5874"/>
                    <a:pt x="15723" y="5880"/>
                    <a:pt x="15709" y="5903"/>
                  </a:cubicBezTo>
                  <a:cubicBezTo>
                    <a:pt x="14315" y="8207"/>
                    <a:pt x="13041" y="10568"/>
                    <a:pt x="11762" y="12936"/>
                  </a:cubicBezTo>
                  <a:cubicBezTo>
                    <a:pt x="10821" y="14682"/>
                    <a:pt x="8728" y="17041"/>
                    <a:pt x="8070" y="18427"/>
                  </a:cubicBezTo>
                  <a:cubicBezTo>
                    <a:pt x="10238" y="13857"/>
                    <a:pt x="13503" y="9979"/>
                    <a:pt x="15325" y="5219"/>
                  </a:cubicBezTo>
                  <a:close/>
                  <a:moveTo>
                    <a:pt x="21610" y="16456"/>
                  </a:moveTo>
                  <a:cubicBezTo>
                    <a:pt x="21523" y="17572"/>
                    <a:pt x="21127" y="18653"/>
                    <a:pt x="20331" y="19590"/>
                  </a:cubicBezTo>
                  <a:cubicBezTo>
                    <a:pt x="20851" y="18592"/>
                    <a:pt x="21289" y="17564"/>
                    <a:pt x="21610" y="16456"/>
                  </a:cubicBezTo>
                  <a:close/>
                  <a:moveTo>
                    <a:pt x="14419" y="3703"/>
                  </a:moveTo>
                  <a:cubicBezTo>
                    <a:pt x="14638" y="4125"/>
                    <a:pt x="14875" y="4532"/>
                    <a:pt x="15129" y="4930"/>
                  </a:cubicBezTo>
                  <a:cubicBezTo>
                    <a:pt x="15114" y="4942"/>
                    <a:pt x="15094" y="4944"/>
                    <a:pt x="15083" y="4962"/>
                  </a:cubicBezTo>
                  <a:cubicBezTo>
                    <a:pt x="11806" y="9624"/>
                    <a:pt x="9632" y="14922"/>
                    <a:pt x="6422" y="19625"/>
                  </a:cubicBezTo>
                  <a:cubicBezTo>
                    <a:pt x="7646" y="17832"/>
                    <a:pt x="8642" y="14477"/>
                    <a:pt x="9851" y="12312"/>
                  </a:cubicBezTo>
                  <a:cubicBezTo>
                    <a:pt x="11439" y="9468"/>
                    <a:pt x="13062" y="6671"/>
                    <a:pt x="14419" y="3706"/>
                  </a:cubicBezTo>
                  <a:lnTo>
                    <a:pt x="14419" y="3703"/>
                  </a:lnTo>
                  <a:close/>
                  <a:moveTo>
                    <a:pt x="20143" y="11423"/>
                  </a:moveTo>
                  <a:cubicBezTo>
                    <a:pt x="20914" y="12578"/>
                    <a:pt x="21454" y="13932"/>
                    <a:pt x="21593" y="15294"/>
                  </a:cubicBezTo>
                  <a:cubicBezTo>
                    <a:pt x="21564" y="15303"/>
                    <a:pt x="21541" y="15323"/>
                    <a:pt x="21521" y="15346"/>
                  </a:cubicBezTo>
                  <a:cubicBezTo>
                    <a:pt x="21056" y="16016"/>
                    <a:pt x="20620" y="16703"/>
                    <a:pt x="20198" y="17396"/>
                  </a:cubicBezTo>
                  <a:cubicBezTo>
                    <a:pt x="20458" y="16611"/>
                    <a:pt x="20704" y="15817"/>
                    <a:pt x="20903" y="15011"/>
                  </a:cubicBezTo>
                  <a:cubicBezTo>
                    <a:pt x="20934" y="14899"/>
                    <a:pt x="20828" y="14783"/>
                    <a:pt x="20725" y="14783"/>
                  </a:cubicBezTo>
                  <a:cubicBezTo>
                    <a:pt x="20685" y="14783"/>
                    <a:pt x="20645" y="14800"/>
                    <a:pt x="20614" y="14841"/>
                  </a:cubicBezTo>
                  <a:lnTo>
                    <a:pt x="20611" y="14841"/>
                  </a:lnTo>
                  <a:cubicBezTo>
                    <a:pt x="20418" y="15089"/>
                    <a:pt x="20227" y="15341"/>
                    <a:pt x="20037" y="15589"/>
                  </a:cubicBezTo>
                  <a:cubicBezTo>
                    <a:pt x="20377" y="14887"/>
                    <a:pt x="20721" y="14189"/>
                    <a:pt x="21038" y="13476"/>
                  </a:cubicBezTo>
                  <a:cubicBezTo>
                    <a:pt x="21096" y="13342"/>
                    <a:pt x="20989" y="13221"/>
                    <a:pt x="20881" y="13221"/>
                  </a:cubicBezTo>
                  <a:cubicBezTo>
                    <a:pt x="20833" y="13221"/>
                    <a:pt x="20784" y="13246"/>
                    <a:pt x="20750" y="13305"/>
                  </a:cubicBezTo>
                  <a:cubicBezTo>
                    <a:pt x="19312" y="15750"/>
                    <a:pt x="17635" y="18034"/>
                    <a:pt x="16116" y="20407"/>
                  </a:cubicBezTo>
                  <a:cubicBezTo>
                    <a:pt x="17583" y="17468"/>
                    <a:pt x="19075" y="14549"/>
                    <a:pt x="20143" y="11423"/>
                  </a:cubicBezTo>
                  <a:close/>
                  <a:moveTo>
                    <a:pt x="17077" y="7557"/>
                  </a:moveTo>
                  <a:cubicBezTo>
                    <a:pt x="17756" y="8389"/>
                    <a:pt x="18457" y="9209"/>
                    <a:pt x="19133" y="10063"/>
                  </a:cubicBezTo>
                  <a:cubicBezTo>
                    <a:pt x="16942" y="13802"/>
                    <a:pt x="14932" y="17639"/>
                    <a:pt x="12707" y="21351"/>
                  </a:cubicBezTo>
                  <a:cubicBezTo>
                    <a:pt x="14785" y="17754"/>
                    <a:pt x="16561" y="13819"/>
                    <a:pt x="18518" y="10167"/>
                  </a:cubicBezTo>
                  <a:cubicBezTo>
                    <a:pt x="18590" y="10034"/>
                    <a:pt x="18481" y="9918"/>
                    <a:pt x="18367" y="9918"/>
                  </a:cubicBezTo>
                  <a:cubicBezTo>
                    <a:pt x="18316" y="9918"/>
                    <a:pt x="18264" y="9941"/>
                    <a:pt x="18227" y="9997"/>
                  </a:cubicBezTo>
                  <a:cubicBezTo>
                    <a:pt x="16662" y="12301"/>
                    <a:pt x="15172" y="14651"/>
                    <a:pt x="13685" y="17006"/>
                  </a:cubicBezTo>
                  <a:cubicBezTo>
                    <a:pt x="13390" y="17477"/>
                    <a:pt x="11134" y="21307"/>
                    <a:pt x="11066" y="21307"/>
                  </a:cubicBezTo>
                  <a:cubicBezTo>
                    <a:pt x="11047" y="21307"/>
                    <a:pt x="11201" y="21005"/>
                    <a:pt x="11618" y="20243"/>
                  </a:cubicBezTo>
                  <a:cubicBezTo>
                    <a:pt x="13700" y="16449"/>
                    <a:pt x="16439" y="13213"/>
                    <a:pt x="17747" y="9024"/>
                  </a:cubicBezTo>
                  <a:cubicBezTo>
                    <a:pt x="17787" y="8898"/>
                    <a:pt x="17691" y="8821"/>
                    <a:pt x="17590" y="8821"/>
                  </a:cubicBezTo>
                  <a:cubicBezTo>
                    <a:pt x="17535" y="8821"/>
                    <a:pt x="17479" y="8844"/>
                    <a:pt x="17441" y="8894"/>
                  </a:cubicBezTo>
                  <a:cubicBezTo>
                    <a:pt x="16601" y="10028"/>
                    <a:pt x="15784" y="11175"/>
                    <a:pt x="14987" y="12332"/>
                  </a:cubicBezTo>
                  <a:lnTo>
                    <a:pt x="14987" y="12332"/>
                  </a:lnTo>
                  <a:cubicBezTo>
                    <a:pt x="15787" y="10793"/>
                    <a:pt x="16512" y="9217"/>
                    <a:pt x="17077" y="7557"/>
                  </a:cubicBezTo>
                  <a:close/>
                  <a:moveTo>
                    <a:pt x="21052" y="16721"/>
                  </a:moveTo>
                  <a:cubicBezTo>
                    <a:pt x="21243" y="16721"/>
                    <a:pt x="20090" y="19347"/>
                    <a:pt x="19612" y="20211"/>
                  </a:cubicBezTo>
                  <a:cubicBezTo>
                    <a:pt x="18865" y="21568"/>
                    <a:pt x="18013" y="22829"/>
                    <a:pt x="17190" y="24103"/>
                  </a:cubicBezTo>
                  <a:cubicBezTo>
                    <a:pt x="18091" y="22518"/>
                    <a:pt x="18882" y="20872"/>
                    <a:pt x="19552" y="19177"/>
                  </a:cubicBezTo>
                  <a:cubicBezTo>
                    <a:pt x="19734" y="18845"/>
                    <a:pt x="19907" y="18510"/>
                    <a:pt x="20094" y="18181"/>
                  </a:cubicBezTo>
                  <a:cubicBezTo>
                    <a:pt x="20698" y="17121"/>
                    <a:pt x="20977" y="16721"/>
                    <a:pt x="21052" y="16721"/>
                  </a:cubicBezTo>
                  <a:close/>
                  <a:moveTo>
                    <a:pt x="16702" y="25358"/>
                  </a:moveTo>
                  <a:lnTo>
                    <a:pt x="16702" y="25358"/>
                  </a:lnTo>
                  <a:cubicBezTo>
                    <a:pt x="16653" y="25604"/>
                    <a:pt x="16621" y="25852"/>
                    <a:pt x="16613" y="26100"/>
                  </a:cubicBezTo>
                  <a:cubicBezTo>
                    <a:pt x="16587" y="26796"/>
                    <a:pt x="16624" y="27475"/>
                    <a:pt x="16610" y="28153"/>
                  </a:cubicBezTo>
                  <a:cubicBezTo>
                    <a:pt x="16361" y="28597"/>
                    <a:pt x="16251" y="28779"/>
                    <a:pt x="16213" y="28779"/>
                  </a:cubicBezTo>
                  <a:cubicBezTo>
                    <a:pt x="16144" y="28779"/>
                    <a:pt x="16328" y="28151"/>
                    <a:pt x="16353" y="27408"/>
                  </a:cubicBezTo>
                  <a:cubicBezTo>
                    <a:pt x="16356" y="27292"/>
                    <a:pt x="16266" y="27229"/>
                    <a:pt x="16173" y="27229"/>
                  </a:cubicBezTo>
                  <a:cubicBezTo>
                    <a:pt x="16111" y="27229"/>
                    <a:pt x="16047" y="27257"/>
                    <a:pt x="16009" y="27316"/>
                  </a:cubicBezTo>
                  <a:cubicBezTo>
                    <a:pt x="15485" y="28108"/>
                    <a:pt x="15254" y="28401"/>
                    <a:pt x="15200" y="28401"/>
                  </a:cubicBezTo>
                  <a:cubicBezTo>
                    <a:pt x="15058" y="28401"/>
                    <a:pt x="16122" y="26395"/>
                    <a:pt x="16281" y="26095"/>
                  </a:cubicBezTo>
                  <a:cubicBezTo>
                    <a:pt x="16413" y="25846"/>
                    <a:pt x="16558" y="25601"/>
                    <a:pt x="16702" y="25358"/>
                  </a:cubicBezTo>
                  <a:close/>
                  <a:moveTo>
                    <a:pt x="15911" y="26207"/>
                  </a:moveTo>
                  <a:cubicBezTo>
                    <a:pt x="15348" y="27212"/>
                    <a:pt x="14852" y="28257"/>
                    <a:pt x="14479" y="29392"/>
                  </a:cubicBezTo>
                  <a:cubicBezTo>
                    <a:pt x="14320" y="29244"/>
                    <a:pt x="14170" y="29088"/>
                    <a:pt x="14032" y="28921"/>
                  </a:cubicBezTo>
                  <a:lnTo>
                    <a:pt x="14032" y="28918"/>
                  </a:lnTo>
                  <a:cubicBezTo>
                    <a:pt x="14687" y="28038"/>
                    <a:pt x="15316" y="27134"/>
                    <a:pt x="15911" y="26207"/>
                  </a:cubicBezTo>
                  <a:close/>
                  <a:moveTo>
                    <a:pt x="15552" y="28593"/>
                  </a:moveTo>
                  <a:cubicBezTo>
                    <a:pt x="15706" y="28593"/>
                    <a:pt x="15748" y="28968"/>
                    <a:pt x="15674" y="29721"/>
                  </a:cubicBezTo>
                  <a:cubicBezTo>
                    <a:pt x="15643" y="29855"/>
                    <a:pt x="15743" y="29945"/>
                    <a:pt x="15850" y="29945"/>
                  </a:cubicBezTo>
                  <a:cubicBezTo>
                    <a:pt x="15899" y="29945"/>
                    <a:pt x="15950" y="29925"/>
                    <a:pt x="15989" y="29882"/>
                  </a:cubicBezTo>
                  <a:lnTo>
                    <a:pt x="15989" y="29882"/>
                  </a:lnTo>
                  <a:lnTo>
                    <a:pt x="15931" y="30154"/>
                  </a:lnTo>
                  <a:cubicBezTo>
                    <a:pt x="15917" y="30217"/>
                    <a:pt x="15937" y="30281"/>
                    <a:pt x="15983" y="30324"/>
                  </a:cubicBezTo>
                  <a:cubicBezTo>
                    <a:pt x="15951" y="30333"/>
                    <a:pt x="15917" y="30338"/>
                    <a:pt x="15882" y="30338"/>
                  </a:cubicBezTo>
                  <a:cubicBezTo>
                    <a:pt x="15588" y="30338"/>
                    <a:pt x="15218" y="30024"/>
                    <a:pt x="14779" y="29660"/>
                  </a:cubicBezTo>
                  <a:lnTo>
                    <a:pt x="14779" y="29657"/>
                  </a:lnTo>
                  <a:cubicBezTo>
                    <a:pt x="15144" y="28948"/>
                    <a:pt x="15402" y="28593"/>
                    <a:pt x="15552" y="28593"/>
                  </a:cubicBezTo>
                  <a:close/>
                  <a:moveTo>
                    <a:pt x="11906" y="0"/>
                  </a:moveTo>
                  <a:cubicBezTo>
                    <a:pt x="11868" y="0"/>
                    <a:pt x="11829" y="13"/>
                    <a:pt x="11797" y="42"/>
                  </a:cubicBezTo>
                  <a:cubicBezTo>
                    <a:pt x="9228" y="2407"/>
                    <a:pt x="7680" y="5484"/>
                    <a:pt x="6214" y="8611"/>
                  </a:cubicBezTo>
                  <a:cubicBezTo>
                    <a:pt x="5082" y="11022"/>
                    <a:pt x="3774" y="13455"/>
                    <a:pt x="2706" y="15944"/>
                  </a:cubicBezTo>
                  <a:cubicBezTo>
                    <a:pt x="1918" y="16998"/>
                    <a:pt x="1029" y="17973"/>
                    <a:pt x="53" y="18857"/>
                  </a:cubicBezTo>
                  <a:cubicBezTo>
                    <a:pt x="1" y="18902"/>
                    <a:pt x="50" y="18970"/>
                    <a:pt x="105" y="18970"/>
                  </a:cubicBezTo>
                  <a:cubicBezTo>
                    <a:pt x="120" y="18970"/>
                    <a:pt x="136" y="18965"/>
                    <a:pt x="151" y="18952"/>
                  </a:cubicBezTo>
                  <a:cubicBezTo>
                    <a:pt x="971" y="18239"/>
                    <a:pt x="1730" y="17460"/>
                    <a:pt x="2426" y="16622"/>
                  </a:cubicBezTo>
                  <a:lnTo>
                    <a:pt x="2426" y="16622"/>
                  </a:lnTo>
                  <a:cubicBezTo>
                    <a:pt x="2100" y="17416"/>
                    <a:pt x="1799" y="18219"/>
                    <a:pt x="1548" y="19027"/>
                  </a:cubicBezTo>
                  <a:cubicBezTo>
                    <a:pt x="1517" y="19123"/>
                    <a:pt x="1599" y="19197"/>
                    <a:pt x="1684" y="19197"/>
                  </a:cubicBezTo>
                  <a:cubicBezTo>
                    <a:pt x="1716" y="19197"/>
                    <a:pt x="1750" y="19186"/>
                    <a:pt x="1776" y="19160"/>
                  </a:cubicBezTo>
                  <a:cubicBezTo>
                    <a:pt x="3433" y="17564"/>
                    <a:pt x="4802" y="15641"/>
                    <a:pt x="6012" y="13582"/>
                  </a:cubicBezTo>
                  <a:lnTo>
                    <a:pt x="6012" y="13582"/>
                  </a:lnTo>
                  <a:cubicBezTo>
                    <a:pt x="4782" y="15736"/>
                    <a:pt x="3653" y="17927"/>
                    <a:pt x="2784" y="20280"/>
                  </a:cubicBezTo>
                  <a:cubicBezTo>
                    <a:pt x="2742" y="20396"/>
                    <a:pt x="2841" y="20475"/>
                    <a:pt x="2940" y="20475"/>
                  </a:cubicBezTo>
                  <a:cubicBezTo>
                    <a:pt x="2992" y="20475"/>
                    <a:pt x="3044" y="20454"/>
                    <a:pt x="3075" y="20404"/>
                  </a:cubicBezTo>
                  <a:cubicBezTo>
                    <a:pt x="6471" y="15136"/>
                    <a:pt x="9687" y="9766"/>
                    <a:pt x="12678" y="4254"/>
                  </a:cubicBezTo>
                  <a:lnTo>
                    <a:pt x="12678" y="4254"/>
                  </a:lnTo>
                  <a:cubicBezTo>
                    <a:pt x="10045" y="9110"/>
                    <a:pt x="6621" y="15072"/>
                    <a:pt x="4216" y="20557"/>
                  </a:cubicBezTo>
                  <a:cubicBezTo>
                    <a:pt x="4160" y="20684"/>
                    <a:pt x="4262" y="20799"/>
                    <a:pt x="4366" y="20799"/>
                  </a:cubicBezTo>
                  <a:cubicBezTo>
                    <a:pt x="4414" y="20799"/>
                    <a:pt x="4462" y="20776"/>
                    <a:pt x="4496" y="20719"/>
                  </a:cubicBezTo>
                  <a:cubicBezTo>
                    <a:pt x="6055" y="18147"/>
                    <a:pt x="7703" y="15531"/>
                    <a:pt x="9268" y="12881"/>
                  </a:cubicBezTo>
                  <a:lnTo>
                    <a:pt x="9268" y="12881"/>
                  </a:lnTo>
                  <a:cubicBezTo>
                    <a:pt x="7828" y="15465"/>
                    <a:pt x="6448" y="18077"/>
                    <a:pt x="5460" y="20910"/>
                  </a:cubicBezTo>
                  <a:cubicBezTo>
                    <a:pt x="5417" y="21032"/>
                    <a:pt x="5510" y="21104"/>
                    <a:pt x="5609" y="21104"/>
                  </a:cubicBezTo>
                  <a:cubicBezTo>
                    <a:pt x="5663" y="21104"/>
                    <a:pt x="5720" y="21082"/>
                    <a:pt x="5758" y="21034"/>
                  </a:cubicBezTo>
                  <a:cubicBezTo>
                    <a:pt x="6615" y="19905"/>
                    <a:pt x="7397" y="18730"/>
                    <a:pt x="8134" y="17532"/>
                  </a:cubicBezTo>
                  <a:lnTo>
                    <a:pt x="8134" y="17532"/>
                  </a:lnTo>
                  <a:cubicBezTo>
                    <a:pt x="7562" y="18713"/>
                    <a:pt x="7028" y="19896"/>
                    <a:pt x="6560" y="21068"/>
                  </a:cubicBezTo>
                  <a:cubicBezTo>
                    <a:pt x="6516" y="21177"/>
                    <a:pt x="6627" y="21279"/>
                    <a:pt x="6730" y="21279"/>
                  </a:cubicBezTo>
                  <a:cubicBezTo>
                    <a:pt x="6770" y="21279"/>
                    <a:pt x="6809" y="21263"/>
                    <a:pt x="6837" y="21227"/>
                  </a:cubicBezTo>
                  <a:cubicBezTo>
                    <a:pt x="8838" y="18675"/>
                    <a:pt x="10489" y="15950"/>
                    <a:pt x="12051" y="13109"/>
                  </a:cubicBezTo>
                  <a:cubicBezTo>
                    <a:pt x="12828" y="11697"/>
                    <a:pt x="13584" y="10274"/>
                    <a:pt x="14361" y="8865"/>
                  </a:cubicBezTo>
                  <a:cubicBezTo>
                    <a:pt x="14969" y="7759"/>
                    <a:pt x="15248" y="7342"/>
                    <a:pt x="15319" y="7342"/>
                  </a:cubicBezTo>
                  <a:cubicBezTo>
                    <a:pt x="15504" y="7342"/>
                    <a:pt x="14303" y="10133"/>
                    <a:pt x="13818" y="11045"/>
                  </a:cubicBezTo>
                  <a:cubicBezTo>
                    <a:pt x="13463" y="11714"/>
                    <a:pt x="13096" y="12378"/>
                    <a:pt x="12727" y="13040"/>
                  </a:cubicBezTo>
                  <a:cubicBezTo>
                    <a:pt x="11122" y="15701"/>
                    <a:pt x="9704" y="18487"/>
                    <a:pt x="8148" y="21184"/>
                  </a:cubicBezTo>
                  <a:cubicBezTo>
                    <a:pt x="8072" y="21316"/>
                    <a:pt x="8187" y="21436"/>
                    <a:pt x="8301" y="21436"/>
                  </a:cubicBezTo>
                  <a:cubicBezTo>
                    <a:pt x="8352" y="21436"/>
                    <a:pt x="8403" y="21412"/>
                    <a:pt x="8437" y="21354"/>
                  </a:cubicBezTo>
                  <a:cubicBezTo>
                    <a:pt x="10287" y="18193"/>
                    <a:pt x="12727" y="14656"/>
                    <a:pt x="14375" y="11030"/>
                  </a:cubicBezTo>
                  <a:cubicBezTo>
                    <a:pt x="15112" y="9964"/>
                    <a:pt x="16126" y="8556"/>
                    <a:pt x="16320" y="8556"/>
                  </a:cubicBezTo>
                  <a:cubicBezTo>
                    <a:pt x="16366" y="8556"/>
                    <a:pt x="16365" y="8636"/>
                    <a:pt x="16304" y="8819"/>
                  </a:cubicBezTo>
                  <a:cubicBezTo>
                    <a:pt x="15475" y="11290"/>
                    <a:pt x="13980" y="13608"/>
                    <a:pt x="12660" y="15840"/>
                  </a:cubicBezTo>
                  <a:cubicBezTo>
                    <a:pt x="12432" y="16221"/>
                    <a:pt x="12219" y="16605"/>
                    <a:pt x="11993" y="16986"/>
                  </a:cubicBezTo>
                  <a:cubicBezTo>
                    <a:pt x="11607" y="17633"/>
                    <a:pt x="11228" y="18285"/>
                    <a:pt x="10859" y="18944"/>
                  </a:cubicBezTo>
                  <a:cubicBezTo>
                    <a:pt x="10663" y="19287"/>
                    <a:pt x="10458" y="19625"/>
                    <a:pt x="10264" y="19971"/>
                  </a:cubicBezTo>
                  <a:cubicBezTo>
                    <a:pt x="10339" y="19838"/>
                    <a:pt x="10452" y="19659"/>
                    <a:pt x="10579" y="19466"/>
                  </a:cubicBezTo>
                  <a:lnTo>
                    <a:pt x="10579" y="19466"/>
                  </a:lnTo>
                  <a:cubicBezTo>
                    <a:pt x="10238" y="20090"/>
                    <a:pt x="9886" y="20705"/>
                    <a:pt x="9565" y="21343"/>
                  </a:cubicBezTo>
                  <a:cubicBezTo>
                    <a:pt x="9498" y="21476"/>
                    <a:pt x="9614" y="21599"/>
                    <a:pt x="9725" y="21599"/>
                  </a:cubicBezTo>
                  <a:cubicBezTo>
                    <a:pt x="9776" y="21599"/>
                    <a:pt x="9826" y="21574"/>
                    <a:pt x="9857" y="21513"/>
                  </a:cubicBezTo>
                  <a:cubicBezTo>
                    <a:pt x="10873" y="19521"/>
                    <a:pt x="12022" y="17607"/>
                    <a:pt x="13140" y="15678"/>
                  </a:cubicBezTo>
                  <a:cubicBezTo>
                    <a:pt x="13988" y="14310"/>
                    <a:pt x="14909" y="12993"/>
                    <a:pt x="15830" y="11674"/>
                  </a:cubicBezTo>
                  <a:cubicBezTo>
                    <a:pt x="16516" y="10689"/>
                    <a:pt x="16835" y="10314"/>
                    <a:pt x="16922" y="10314"/>
                  </a:cubicBezTo>
                  <a:cubicBezTo>
                    <a:pt x="17161" y="10314"/>
                    <a:pt x="15654" y="13144"/>
                    <a:pt x="15178" y="13984"/>
                  </a:cubicBezTo>
                  <a:cubicBezTo>
                    <a:pt x="13518" y="16908"/>
                    <a:pt x="11488" y="19553"/>
                    <a:pt x="10039" y="22604"/>
                  </a:cubicBezTo>
                  <a:cubicBezTo>
                    <a:pt x="9971" y="22734"/>
                    <a:pt x="10079" y="22850"/>
                    <a:pt x="10190" y="22850"/>
                  </a:cubicBezTo>
                  <a:cubicBezTo>
                    <a:pt x="10240" y="22850"/>
                    <a:pt x="10291" y="22827"/>
                    <a:pt x="10328" y="22772"/>
                  </a:cubicBezTo>
                  <a:cubicBezTo>
                    <a:pt x="12824" y="19094"/>
                    <a:pt x="15126" y="15291"/>
                    <a:pt x="17567" y="11579"/>
                  </a:cubicBezTo>
                  <a:lnTo>
                    <a:pt x="17567" y="11579"/>
                  </a:lnTo>
                  <a:cubicBezTo>
                    <a:pt x="15017" y="15458"/>
                    <a:pt x="12826" y="20014"/>
                    <a:pt x="10824" y="24336"/>
                  </a:cubicBezTo>
                  <a:cubicBezTo>
                    <a:pt x="10761" y="24471"/>
                    <a:pt x="10865" y="24589"/>
                    <a:pt x="10976" y="24589"/>
                  </a:cubicBezTo>
                  <a:cubicBezTo>
                    <a:pt x="11026" y="24589"/>
                    <a:pt x="11078" y="24564"/>
                    <a:pt x="11116" y="24507"/>
                  </a:cubicBezTo>
                  <a:cubicBezTo>
                    <a:pt x="13877" y="20366"/>
                    <a:pt x="16156" y="15959"/>
                    <a:pt x="18608" y="11633"/>
                  </a:cubicBezTo>
                  <a:lnTo>
                    <a:pt x="18608" y="11633"/>
                  </a:lnTo>
                  <a:cubicBezTo>
                    <a:pt x="16584" y="15205"/>
                    <a:pt x="14306" y="19782"/>
                    <a:pt x="12556" y="23863"/>
                  </a:cubicBezTo>
                  <a:cubicBezTo>
                    <a:pt x="12497" y="23999"/>
                    <a:pt x="12615" y="24123"/>
                    <a:pt x="12723" y="24123"/>
                  </a:cubicBezTo>
                  <a:cubicBezTo>
                    <a:pt x="12773" y="24123"/>
                    <a:pt x="12821" y="24097"/>
                    <a:pt x="12848" y="24033"/>
                  </a:cubicBezTo>
                  <a:cubicBezTo>
                    <a:pt x="14465" y="20364"/>
                    <a:pt x="16382" y="16885"/>
                    <a:pt x="18561" y="13522"/>
                  </a:cubicBezTo>
                  <a:cubicBezTo>
                    <a:pt x="19072" y="12733"/>
                    <a:pt x="19325" y="12419"/>
                    <a:pt x="19404" y="12419"/>
                  </a:cubicBezTo>
                  <a:cubicBezTo>
                    <a:pt x="19679" y="12419"/>
                    <a:pt x="17844" y="16232"/>
                    <a:pt x="17435" y="17076"/>
                  </a:cubicBezTo>
                  <a:cubicBezTo>
                    <a:pt x="16246" y="19535"/>
                    <a:pt x="14921" y="21920"/>
                    <a:pt x="13789" y="24409"/>
                  </a:cubicBezTo>
                  <a:cubicBezTo>
                    <a:pt x="14113" y="23698"/>
                    <a:pt x="14531" y="22968"/>
                    <a:pt x="15005" y="22232"/>
                  </a:cubicBezTo>
                  <a:lnTo>
                    <a:pt x="15005" y="22232"/>
                  </a:lnTo>
                  <a:cubicBezTo>
                    <a:pt x="14315" y="23421"/>
                    <a:pt x="13682" y="24648"/>
                    <a:pt x="13166" y="25947"/>
                  </a:cubicBezTo>
                  <a:cubicBezTo>
                    <a:pt x="13117" y="26073"/>
                    <a:pt x="13219" y="26154"/>
                    <a:pt x="13325" y="26154"/>
                  </a:cubicBezTo>
                  <a:cubicBezTo>
                    <a:pt x="13394" y="26154"/>
                    <a:pt x="13466" y="26120"/>
                    <a:pt x="13498" y="26040"/>
                  </a:cubicBezTo>
                  <a:cubicBezTo>
                    <a:pt x="14190" y="24339"/>
                    <a:pt x="14984" y="22688"/>
                    <a:pt x="15799" y="21048"/>
                  </a:cubicBezTo>
                  <a:cubicBezTo>
                    <a:pt x="17014" y="19316"/>
                    <a:pt x="18408" y="17581"/>
                    <a:pt x="19494" y="15981"/>
                  </a:cubicBezTo>
                  <a:cubicBezTo>
                    <a:pt x="20062" y="15146"/>
                    <a:pt x="20292" y="14830"/>
                    <a:pt x="20316" y="14830"/>
                  </a:cubicBezTo>
                  <a:lnTo>
                    <a:pt x="20316" y="14830"/>
                  </a:lnTo>
                  <a:cubicBezTo>
                    <a:pt x="20359" y="14830"/>
                    <a:pt x="19789" y="15772"/>
                    <a:pt x="19286" y="16611"/>
                  </a:cubicBezTo>
                  <a:cubicBezTo>
                    <a:pt x="17389" y="19247"/>
                    <a:pt x="15781" y="22053"/>
                    <a:pt x="14733" y="25159"/>
                  </a:cubicBezTo>
                  <a:cubicBezTo>
                    <a:pt x="14691" y="25285"/>
                    <a:pt x="14810" y="25385"/>
                    <a:pt x="14921" y="25385"/>
                  </a:cubicBezTo>
                  <a:cubicBezTo>
                    <a:pt x="14978" y="25385"/>
                    <a:pt x="15032" y="25359"/>
                    <a:pt x="15062" y="25298"/>
                  </a:cubicBezTo>
                  <a:cubicBezTo>
                    <a:pt x="16399" y="22596"/>
                    <a:pt x="17848" y="19960"/>
                    <a:pt x="19211" y="17275"/>
                  </a:cubicBezTo>
                  <a:cubicBezTo>
                    <a:pt x="19689" y="16565"/>
                    <a:pt x="19946" y="16277"/>
                    <a:pt x="20051" y="16277"/>
                  </a:cubicBezTo>
                  <a:cubicBezTo>
                    <a:pt x="20292" y="16277"/>
                    <a:pt x="19713" y="17816"/>
                    <a:pt x="19130" y="19226"/>
                  </a:cubicBezTo>
                  <a:cubicBezTo>
                    <a:pt x="17375" y="22347"/>
                    <a:pt x="15813" y="25578"/>
                    <a:pt x="13812" y="28560"/>
                  </a:cubicBezTo>
                  <a:cubicBezTo>
                    <a:pt x="13746" y="28199"/>
                    <a:pt x="13679" y="27835"/>
                    <a:pt x="13613" y="27475"/>
                  </a:cubicBezTo>
                  <a:cubicBezTo>
                    <a:pt x="13663" y="26901"/>
                    <a:pt x="13917" y="26615"/>
                    <a:pt x="14371" y="26615"/>
                  </a:cubicBezTo>
                  <a:cubicBezTo>
                    <a:pt x="14472" y="26615"/>
                    <a:pt x="14583" y="26629"/>
                    <a:pt x="14704" y="26658"/>
                  </a:cubicBezTo>
                  <a:cubicBezTo>
                    <a:pt x="14697" y="26686"/>
                    <a:pt x="14721" y="26705"/>
                    <a:pt x="14744" y="26705"/>
                  </a:cubicBezTo>
                  <a:cubicBezTo>
                    <a:pt x="14758" y="26705"/>
                    <a:pt x="14772" y="26697"/>
                    <a:pt x="14777" y="26678"/>
                  </a:cubicBezTo>
                  <a:cubicBezTo>
                    <a:pt x="14916" y="26096"/>
                    <a:pt x="14838" y="25879"/>
                    <a:pt x="14660" y="25879"/>
                  </a:cubicBezTo>
                  <a:cubicBezTo>
                    <a:pt x="14439" y="25879"/>
                    <a:pt x="14063" y="26218"/>
                    <a:pt x="13766" y="26611"/>
                  </a:cubicBezTo>
                  <a:cubicBezTo>
                    <a:pt x="13131" y="27457"/>
                    <a:pt x="13212" y="28196"/>
                    <a:pt x="13619" y="28855"/>
                  </a:cubicBezTo>
                  <a:cubicBezTo>
                    <a:pt x="13576" y="28918"/>
                    <a:pt x="13535" y="28987"/>
                    <a:pt x="13489" y="29054"/>
                  </a:cubicBezTo>
                  <a:cubicBezTo>
                    <a:pt x="13394" y="29189"/>
                    <a:pt x="13518" y="29313"/>
                    <a:pt x="13649" y="29313"/>
                  </a:cubicBezTo>
                  <a:cubicBezTo>
                    <a:pt x="13705" y="29313"/>
                    <a:pt x="13762" y="29290"/>
                    <a:pt x="13804" y="29236"/>
                  </a:cubicBezTo>
                  <a:cubicBezTo>
                    <a:pt x="13818" y="29215"/>
                    <a:pt x="13832" y="29192"/>
                    <a:pt x="13850" y="29172"/>
                  </a:cubicBezTo>
                  <a:cubicBezTo>
                    <a:pt x="14410" y="29865"/>
                    <a:pt x="15290" y="30457"/>
                    <a:pt x="15975" y="30965"/>
                  </a:cubicBezTo>
                  <a:cubicBezTo>
                    <a:pt x="15996" y="30981"/>
                    <a:pt x="16021" y="30989"/>
                    <a:pt x="16047" y="30989"/>
                  </a:cubicBezTo>
                  <a:cubicBezTo>
                    <a:pt x="16102" y="30989"/>
                    <a:pt x="16161" y="30955"/>
                    <a:pt x="16188" y="30910"/>
                  </a:cubicBezTo>
                  <a:cubicBezTo>
                    <a:pt x="16627" y="30154"/>
                    <a:pt x="16821" y="29383"/>
                    <a:pt x="16898" y="28569"/>
                  </a:cubicBezTo>
                  <a:cubicBezTo>
                    <a:pt x="16922" y="28462"/>
                    <a:pt x="16956" y="28358"/>
                    <a:pt x="16974" y="28248"/>
                  </a:cubicBezTo>
                  <a:cubicBezTo>
                    <a:pt x="16985" y="28193"/>
                    <a:pt x="16971" y="28139"/>
                    <a:pt x="16936" y="28095"/>
                  </a:cubicBezTo>
                  <a:cubicBezTo>
                    <a:pt x="16945" y="27864"/>
                    <a:pt x="16953" y="27631"/>
                    <a:pt x="16950" y="27388"/>
                  </a:cubicBezTo>
                  <a:cubicBezTo>
                    <a:pt x="16913" y="25396"/>
                    <a:pt x="16976" y="24025"/>
                    <a:pt x="19159" y="23303"/>
                  </a:cubicBezTo>
                  <a:cubicBezTo>
                    <a:pt x="19320" y="23250"/>
                    <a:pt x="19273" y="23016"/>
                    <a:pt x="19125" y="23016"/>
                  </a:cubicBezTo>
                  <a:cubicBezTo>
                    <a:pt x="19111" y="23016"/>
                    <a:pt x="19097" y="23018"/>
                    <a:pt x="19081" y="23023"/>
                  </a:cubicBezTo>
                  <a:cubicBezTo>
                    <a:pt x="18654" y="23135"/>
                    <a:pt x="18247" y="23314"/>
                    <a:pt x="17877" y="23554"/>
                  </a:cubicBezTo>
                  <a:cubicBezTo>
                    <a:pt x="18076" y="23262"/>
                    <a:pt x="18276" y="22971"/>
                    <a:pt x="18472" y="22682"/>
                  </a:cubicBezTo>
                  <a:cubicBezTo>
                    <a:pt x="18810" y="22177"/>
                    <a:pt x="19133" y="21672"/>
                    <a:pt x="19442" y="21167"/>
                  </a:cubicBezTo>
                  <a:lnTo>
                    <a:pt x="19442" y="21167"/>
                  </a:lnTo>
                  <a:cubicBezTo>
                    <a:pt x="19352" y="21499"/>
                    <a:pt x="19300" y="21856"/>
                    <a:pt x="19249" y="22287"/>
                  </a:cubicBezTo>
                  <a:cubicBezTo>
                    <a:pt x="19242" y="22341"/>
                    <a:pt x="19293" y="22373"/>
                    <a:pt x="19342" y="22373"/>
                  </a:cubicBezTo>
                  <a:cubicBezTo>
                    <a:pt x="19381" y="22373"/>
                    <a:pt x="19418" y="22353"/>
                    <a:pt x="19425" y="22310"/>
                  </a:cubicBezTo>
                  <a:cubicBezTo>
                    <a:pt x="19739" y="20321"/>
                    <a:pt x="21645" y="19483"/>
                    <a:pt x="21887" y="17725"/>
                  </a:cubicBezTo>
                  <a:cubicBezTo>
                    <a:pt x="22089" y="16276"/>
                    <a:pt x="21861" y="15084"/>
                    <a:pt x="21474" y="13669"/>
                  </a:cubicBezTo>
                  <a:cubicBezTo>
                    <a:pt x="21209" y="12690"/>
                    <a:pt x="20782" y="11801"/>
                    <a:pt x="20265" y="10958"/>
                  </a:cubicBezTo>
                  <a:cubicBezTo>
                    <a:pt x="20262" y="10952"/>
                    <a:pt x="20259" y="10947"/>
                    <a:pt x="20256" y="10941"/>
                  </a:cubicBezTo>
                  <a:cubicBezTo>
                    <a:pt x="18391" y="7904"/>
                    <a:pt x="15319" y="5499"/>
                    <a:pt x="14003" y="2092"/>
                  </a:cubicBezTo>
                  <a:cubicBezTo>
                    <a:pt x="13976" y="2025"/>
                    <a:pt x="13917" y="1996"/>
                    <a:pt x="13859" y="1996"/>
                  </a:cubicBezTo>
                  <a:cubicBezTo>
                    <a:pt x="13772" y="1996"/>
                    <a:pt x="13687" y="2063"/>
                    <a:pt x="13726" y="2167"/>
                  </a:cubicBezTo>
                  <a:cubicBezTo>
                    <a:pt x="13890" y="2615"/>
                    <a:pt x="14081" y="3051"/>
                    <a:pt x="14292" y="3475"/>
                  </a:cubicBezTo>
                  <a:cubicBezTo>
                    <a:pt x="14280" y="3472"/>
                    <a:pt x="14269" y="3471"/>
                    <a:pt x="14258" y="3471"/>
                  </a:cubicBezTo>
                  <a:cubicBezTo>
                    <a:pt x="14209" y="3471"/>
                    <a:pt x="14162" y="3497"/>
                    <a:pt x="14138" y="3544"/>
                  </a:cubicBezTo>
                  <a:cubicBezTo>
                    <a:pt x="12343" y="6630"/>
                    <a:pt x="10573" y="9728"/>
                    <a:pt x="8789" y="12823"/>
                  </a:cubicBezTo>
                  <a:cubicBezTo>
                    <a:pt x="7894" y="14373"/>
                    <a:pt x="6990" y="15921"/>
                    <a:pt x="6078" y="17462"/>
                  </a:cubicBezTo>
                  <a:cubicBezTo>
                    <a:pt x="5916" y="17734"/>
                    <a:pt x="5089" y="19388"/>
                    <a:pt x="5080" y="19388"/>
                  </a:cubicBezTo>
                  <a:cubicBezTo>
                    <a:pt x="5076" y="19388"/>
                    <a:pt x="5258" y="19012"/>
                    <a:pt x="5786" y="17930"/>
                  </a:cubicBezTo>
                  <a:cubicBezTo>
                    <a:pt x="8304" y="12783"/>
                    <a:pt x="11690" y="8218"/>
                    <a:pt x="13486" y="2721"/>
                  </a:cubicBezTo>
                  <a:cubicBezTo>
                    <a:pt x="13524" y="2608"/>
                    <a:pt x="13424" y="2521"/>
                    <a:pt x="13326" y="2521"/>
                  </a:cubicBezTo>
                  <a:cubicBezTo>
                    <a:pt x="13275" y="2521"/>
                    <a:pt x="13224" y="2545"/>
                    <a:pt x="13194" y="2600"/>
                  </a:cubicBezTo>
                  <a:cubicBezTo>
                    <a:pt x="11604" y="5594"/>
                    <a:pt x="9949" y="8553"/>
                    <a:pt x="8235" y="11478"/>
                  </a:cubicBezTo>
                  <a:cubicBezTo>
                    <a:pt x="7368" y="12953"/>
                    <a:pt x="6474" y="14408"/>
                    <a:pt x="5576" y="15866"/>
                  </a:cubicBezTo>
                  <a:cubicBezTo>
                    <a:pt x="4969" y="16842"/>
                    <a:pt x="4357" y="17812"/>
                    <a:pt x="3740" y="18782"/>
                  </a:cubicBezTo>
                  <a:cubicBezTo>
                    <a:pt x="4037" y="17916"/>
                    <a:pt x="4406" y="17079"/>
                    <a:pt x="4848" y="16276"/>
                  </a:cubicBezTo>
                  <a:cubicBezTo>
                    <a:pt x="7527" y="10814"/>
                    <a:pt x="11355" y="6148"/>
                    <a:pt x="13013" y="204"/>
                  </a:cubicBezTo>
                  <a:cubicBezTo>
                    <a:pt x="13045" y="87"/>
                    <a:pt x="12952" y="7"/>
                    <a:pt x="12857" y="7"/>
                  </a:cubicBezTo>
                  <a:cubicBezTo>
                    <a:pt x="12807" y="7"/>
                    <a:pt x="12757" y="29"/>
                    <a:pt x="12724" y="80"/>
                  </a:cubicBezTo>
                  <a:cubicBezTo>
                    <a:pt x="9915" y="4483"/>
                    <a:pt x="7790" y="9289"/>
                    <a:pt x="5336" y="13888"/>
                  </a:cubicBezTo>
                  <a:cubicBezTo>
                    <a:pt x="4903" y="14682"/>
                    <a:pt x="4438" y="15456"/>
                    <a:pt x="3939" y="16207"/>
                  </a:cubicBezTo>
                  <a:cubicBezTo>
                    <a:pt x="2957" y="17756"/>
                    <a:pt x="2504" y="18300"/>
                    <a:pt x="2356" y="18300"/>
                  </a:cubicBezTo>
                  <a:cubicBezTo>
                    <a:pt x="2071" y="18300"/>
                    <a:pt x="2905" y="16302"/>
                    <a:pt x="3269" y="15566"/>
                  </a:cubicBezTo>
                  <a:cubicBezTo>
                    <a:pt x="3278" y="15548"/>
                    <a:pt x="3283" y="15531"/>
                    <a:pt x="3292" y="15514"/>
                  </a:cubicBezTo>
                  <a:cubicBezTo>
                    <a:pt x="6762" y="10822"/>
                    <a:pt x="8587" y="5002"/>
                    <a:pt x="12057" y="244"/>
                  </a:cubicBezTo>
                  <a:cubicBezTo>
                    <a:pt x="12145" y="124"/>
                    <a:pt x="12026" y="0"/>
                    <a:pt x="11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65"/>
            <p:cNvSpPr/>
            <p:nvPr/>
          </p:nvSpPr>
          <p:spPr>
            <a:xfrm>
              <a:off x="6920800" y="4536575"/>
              <a:ext cx="288650" cy="364500"/>
            </a:xfrm>
            <a:custGeom>
              <a:avLst/>
              <a:gdLst/>
              <a:ahLst/>
              <a:cxnLst/>
              <a:rect l="l" t="t" r="r" b="b"/>
              <a:pathLst>
                <a:path w="11546" h="14580" extrusionOk="0">
                  <a:moveTo>
                    <a:pt x="6419" y="882"/>
                  </a:moveTo>
                  <a:lnTo>
                    <a:pt x="6419" y="882"/>
                  </a:lnTo>
                  <a:cubicBezTo>
                    <a:pt x="6707" y="1162"/>
                    <a:pt x="6999" y="1436"/>
                    <a:pt x="7293" y="1707"/>
                  </a:cubicBezTo>
                  <a:cubicBezTo>
                    <a:pt x="7178" y="1898"/>
                    <a:pt x="7068" y="2094"/>
                    <a:pt x="6956" y="2288"/>
                  </a:cubicBezTo>
                  <a:cubicBezTo>
                    <a:pt x="7028" y="2074"/>
                    <a:pt x="7071" y="1855"/>
                    <a:pt x="7088" y="1629"/>
                  </a:cubicBezTo>
                  <a:cubicBezTo>
                    <a:pt x="7094" y="1529"/>
                    <a:pt x="7008" y="1467"/>
                    <a:pt x="6922" y="1467"/>
                  </a:cubicBezTo>
                  <a:cubicBezTo>
                    <a:pt x="6881" y="1467"/>
                    <a:pt x="6840" y="1481"/>
                    <a:pt x="6808" y="1511"/>
                  </a:cubicBezTo>
                  <a:lnTo>
                    <a:pt x="6808" y="1514"/>
                  </a:lnTo>
                  <a:cubicBezTo>
                    <a:pt x="6678" y="1644"/>
                    <a:pt x="6557" y="1777"/>
                    <a:pt x="6445" y="1918"/>
                  </a:cubicBezTo>
                  <a:cubicBezTo>
                    <a:pt x="6439" y="1572"/>
                    <a:pt x="6430" y="1228"/>
                    <a:pt x="6419" y="882"/>
                  </a:cubicBezTo>
                  <a:close/>
                  <a:moveTo>
                    <a:pt x="8951" y="2513"/>
                  </a:moveTo>
                  <a:cubicBezTo>
                    <a:pt x="9335" y="3044"/>
                    <a:pt x="9718" y="3572"/>
                    <a:pt x="10102" y="4101"/>
                  </a:cubicBezTo>
                  <a:cubicBezTo>
                    <a:pt x="9791" y="4378"/>
                    <a:pt x="9485" y="4658"/>
                    <a:pt x="9182" y="4944"/>
                  </a:cubicBezTo>
                  <a:lnTo>
                    <a:pt x="9182" y="4947"/>
                  </a:lnTo>
                  <a:cubicBezTo>
                    <a:pt x="9156" y="4970"/>
                    <a:pt x="9135" y="5004"/>
                    <a:pt x="9109" y="5027"/>
                  </a:cubicBezTo>
                  <a:cubicBezTo>
                    <a:pt x="9153" y="4886"/>
                    <a:pt x="9193" y="4745"/>
                    <a:pt x="9231" y="4600"/>
                  </a:cubicBezTo>
                  <a:cubicBezTo>
                    <a:pt x="9340" y="4447"/>
                    <a:pt x="9349" y="4384"/>
                    <a:pt x="9473" y="4043"/>
                  </a:cubicBezTo>
                  <a:cubicBezTo>
                    <a:pt x="9502" y="3962"/>
                    <a:pt x="9462" y="3899"/>
                    <a:pt x="9407" y="3858"/>
                  </a:cubicBezTo>
                  <a:cubicBezTo>
                    <a:pt x="9427" y="3760"/>
                    <a:pt x="9450" y="3668"/>
                    <a:pt x="9467" y="3570"/>
                  </a:cubicBezTo>
                  <a:cubicBezTo>
                    <a:pt x="9494" y="3435"/>
                    <a:pt x="9387" y="3330"/>
                    <a:pt x="9277" y="3330"/>
                  </a:cubicBezTo>
                  <a:cubicBezTo>
                    <a:pt x="9221" y="3330"/>
                    <a:pt x="9163" y="3358"/>
                    <a:pt x="9124" y="3425"/>
                  </a:cubicBezTo>
                  <a:cubicBezTo>
                    <a:pt x="8541" y="4407"/>
                    <a:pt x="7940" y="5377"/>
                    <a:pt x="7354" y="6358"/>
                  </a:cubicBezTo>
                  <a:cubicBezTo>
                    <a:pt x="7337" y="6393"/>
                    <a:pt x="7319" y="6428"/>
                    <a:pt x="7299" y="6459"/>
                  </a:cubicBezTo>
                  <a:cubicBezTo>
                    <a:pt x="7744" y="5204"/>
                    <a:pt x="8125" y="3933"/>
                    <a:pt x="8313" y="2594"/>
                  </a:cubicBezTo>
                  <a:cubicBezTo>
                    <a:pt x="8353" y="2628"/>
                    <a:pt x="8390" y="2663"/>
                    <a:pt x="8431" y="2698"/>
                  </a:cubicBezTo>
                  <a:cubicBezTo>
                    <a:pt x="8466" y="2725"/>
                    <a:pt x="8513" y="2747"/>
                    <a:pt x="8560" y="2747"/>
                  </a:cubicBezTo>
                  <a:cubicBezTo>
                    <a:pt x="8586" y="2747"/>
                    <a:pt x="8612" y="2740"/>
                    <a:pt x="8636" y="2724"/>
                  </a:cubicBezTo>
                  <a:cubicBezTo>
                    <a:pt x="8737" y="2649"/>
                    <a:pt x="8841" y="2576"/>
                    <a:pt x="8951" y="2513"/>
                  </a:cubicBezTo>
                  <a:close/>
                  <a:moveTo>
                    <a:pt x="8572" y="5068"/>
                  </a:moveTo>
                  <a:lnTo>
                    <a:pt x="8572" y="5068"/>
                  </a:lnTo>
                  <a:cubicBezTo>
                    <a:pt x="8419" y="5466"/>
                    <a:pt x="8295" y="5873"/>
                    <a:pt x="8203" y="6286"/>
                  </a:cubicBezTo>
                  <a:cubicBezTo>
                    <a:pt x="7949" y="6728"/>
                    <a:pt x="7715" y="7184"/>
                    <a:pt x="7452" y="7577"/>
                  </a:cubicBezTo>
                  <a:cubicBezTo>
                    <a:pt x="7132" y="8065"/>
                    <a:pt x="6780" y="8529"/>
                    <a:pt x="6419" y="8986"/>
                  </a:cubicBezTo>
                  <a:lnTo>
                    <a:pt x="6416" y="8988"/>
                  </a:lnTo>
                  <a:cubicBezTo>
                    <a:pt x="7042" y="7629"/>
                    <a:pt x="7787" y="6350"/>
                    <a:pt x="8572" y="5068"/>
                  </a:cubicBezTo>
                  <a:close/>
                  <a:moveTo>
                    <a:pt x="7959" y="3159"/>
                  </a:moveTo>
                  <a:cubicBezTo>
                    <a:pt x="8064" y="3159"/>
                    <a:pt x="7620" y="4366"/>
                    <a:pt x="7545" y="4649"/>
                  </a:cubicBezTo>
                  <a:cubicBezTo>
                    <a:pt x="7114" y="6292"/>
                    <a:pt x="6390" y="7865"/>
                    <a:pt x="5801" y="9456"/>
                  </a:cubicBezTo>
                  <a:cubicBezTo>
                    <a:pt x="5772" y="9537"/>
                    <a:pt x="5818" y="9603"/>
                    <a:pt x="5882" y="9644"/>
                  </a:cubicBezTo>
                  <a:cubicBezTo>
                    <a:pt x="5325" y="10295"/>
                    <a:pt x="4731" y="10915"/>
                    <a:pt x="4114" y="11518"/>
                  </a:cubicBezTo>
                  <a:lnTo>
                    <a:pt x="4114" y="11518"/>
                  </a:lnTo>
                  <a:cubicBezTo>
                    <a:pt x="5049" y="9493"/>
                    <a:pt x="5989" y="7480"/>
                    <a:pt x="6736" y="5394"/>
                  </a:cubicBezTo>
                  <a:cubicBezTo>
                    <a:pt x="6982" y="4912"/>
                    <a:pt x="7224" y="4427"/>
                    <a:pt x="7472" y="3948"/>
                  </a:cubicBezTo>
                  <a:cubicBezTo>
                    <a:pt x="7775" y="3370"/>
                    <a:pt x="7915" y="3159"/>
                    <a:pt x="7959" y="3159"/>
                  </a:cubicBezTo>
                  <a:close/>
                  <a:moveTo>
                    <a:pt x="5362" y="5264"/>
                  </a:moveTo>
                  <a:lnTo>
                    <a:pt x="5362" y="5264"/>
                  </a:lnTo>
                  <a:cubicBezTo>
                    <a:pt x="4857" y="6301"/>
                    <a:pt x="4369" y="7346"/>
                    <a:pt x="3884" y="8397"/>
                  </a:cubicBezTo>
                  <a:cubicBezTo>
                    <a:pt x="4011" y="8050"/>
                    <a:pt x="4129" y="7701"/>
                    <a:pt x="4225" y="7337"/>
                  </a:cubicBezTo>
                  <a:cubicBezTo>
                    <a:pt x="4254" y="7231"/>
                    <a:pt x="4177" y="7165"/>
                    <a:pt x="4093" y="7165"/>
                  </a:cubicBezTo>
                  <a:cubicBezTo>
                    <a:pt x="4047" y="7165"/>
                    <a:pt x="4000" y="7185"/>
                    <a:pt x="3968" y="7227"/>
                  </a:cubicBezTo>
                  <a:cubicBezTo>
                    <a:pt x="3332" y="8073"/>
                    <a:pt x="2749" y="8954"/>
                    <a:pt x="2221" y="9869"/>
                  </a:cubicBezTo>
                  <a:cubicBezTo>
                    <a:pt x="1955" y="10342"/>
                    <a:pt x="1707" y="10822"/>
                    <a:pt x="1473" y="11307"/>
                  </a:cubicBezTo>
                  <a:cubicBezTo>
                    <a:pt x="1215" y="11822"/>
                    <a:pt x="1100" y="12017"/>
                    <a:pt x="1073" y="12017"/>
                  </a:cubicBezTo>
                  <a:cubicBezTo>
                    <a:pt x="996" y="12017"/>
                    <a:pt x="1661" y="10382"/>
                    <a:pt x="1753" y="10152"/>
                  </a:cubicBezTo>
                  <a:cubicBezTo>
                    <a:pt x="2068" y="9762"/>
                    <a:pt x="2374" y="9367"/>
                    <a:pt x="2622" y="8936"/>
                  </a:cubicBezTo>
                  <a:cubicBezTo>
                    <a:pt x="2676" y="8846"/>
                    <a:pt x="2593" y="8744"/>
                    <a:pt x="2508" y="8744"/>
                  </a:cubicBezTo>
                  <a:cubicBezTo>
                    <a:pt x="2479" y="8744"/>
                    <a:pt x="2450" y="8756"/>
                    <a:pt x="2426" y="8783"/>
                  </a:cubicBezTo>
                  <a:cubicBezTo>
                    <a:pt x="2316" y="8913"/>
                    <a:pt x="2218" y="9043"/>
                    <a:pt x="2123" y="9176"/>
                  </a:cubicBezTo>
                  <a:cubicBezTo>
                    <a:pt x="2122" y="9171"/>
                    <a:pt x="2120" y="9169"/>
                    <a:pt x="2116" y="9169"/>
                  </a:cubicBezTo>
                  <a:cubicBezTo>
                    <a:pt x="2047" y="9169"/>
                    <a:pt x="1493" y="10194"/>
                    <a:pt x="1239" y="10533"/>
                  </a:cubicBezTo>
                  <a:cubicBezTo>
                    <a:pt x="1121" y="10692"/>
                    <a:pt x="994" y="10851"/>
                    <a:pt x="867" y="11006"/>
                  </a:cubicBezTo>
                  <a:cubicBezTo>
                    <a:pt x="956" y="10669"/>
                    <a:pt x="1031" y="10435"/>
                    <a:pt x="1034" y="10426"/>
                  </a:cubicBezTo>
                  <a:cubicBezTo>
                    <a:pt x="2114" y="8469"/>
                    <a:pt x="4086" y="7109"/>
                    <a:pt x="5362" y="5264"/>
                  </a:cubicBezTo>
                  <a:close/>
                  <a:moveTo>
                    <a:pt x="7418" y="2074"/>
                  </a:moveTo>
                  <a:cubicBezTo>
                    <a:pt x="6889" y="2960"/>
                    <a:pt x="6647" y="4280"/>
                    <a:pt x="6335" y="5432"/>
                  </a:cubicBezTo>
                  <a:cubicBezTo>
                    <a:pt x="5247" y="7606"/>
                    <a:pt x="4250" y="9823"/>
                    <a:pt x="3451" y="12130"/>
                  </a:cubicBezTo>
                  <a:lnTo>
                    <a:pt x="3451" y="12132"/>
                  </a:lnTo>
                  <a:cubicBezTo>
                    <a:pt x="2850" y="12649"/>
                    <a:pt x="2206" y="13111"/>
                    <a:pt x="1548" y="13547"/>
                  </a:cubicBezTo>
                  <a:cubicBezTo>
                    <a:pt x="3073" y="11027"/>
                    <a:pt x="4242" y="8333"/>
                    <a:pt x="5495" y="5674"/>
                  </a:cubicBezTo>
                  <a:cubicBezTo>
                    <a:pt x="6078" y="4441"/>
                    <a:pt x="6719" y="3243"/>
                    <a:pt x="7418" y="2074"/>
                  </a:cubicBezTo>
                  <a:close/>
                  <a:moveTo>
                    <a:pt x="3757" y="7993"/>
                  </a:moveTo>
                  <a:cubicBezTo>
                    <a:pt x="3214" y="9999"/>
                    <a:pt x="1877" y="11786"/>
                    <a:pt x="1109" y="13717"/>
                  </a:cubicBezTo>
                  <a:cubicBezTo>
                    <a:pt x="1095" y="13752"/>
                    <a:pt x="1098" y="13792"/>
                    <a:pt x="1118" y="13824"/>
                  </a:cubicBezTo>
                  <a:cubicBezTo>
                    <a:pt x="993" y="13901"/>
                    <a:pt x="889" y="13936"/>
                    <a:pt x="804" y="13936"/>
                  </a:cubicBezTo>
                  <a:cubicBezTo>
                    <a:pt x="251" y="13936"/>
                    <a:pt x="513" y="12438"/>
                    <a:pt x="766" y="11399"/>
                  </a:cubicBezTo>
                  <a:lnTo>
                    <a:pt x="766" y="11399"/>
                  </a:lnTo>
                  <a:lnTo>
                    <a:pt x="766" y="11402"/>
                  </a:lnTo>
                  <a:cubicBezTo>
                    <a:pt x="933" y="11174"/>
                    <a:pt x="1112" y="10955"/>
                    <a:pt x="1291" y="10732"/>
                  </a:cubicBezTo>
                  <a:lnTo>
                    <a:pt x="1291" y="10732"/>
                  </a:lnTo>
                  <a:cubicBezTo>
                    <a:pt x="1057" y="11376"/>
                    <a:pt x="913" y="12057"/>
                    <a:pt x="812" y="12811"/>
                  </a:cubicBezTo>
                  <a:cubicBezTo>
                    <a:pt x="801" y="12888"/>
                    <a:pt x="876" y="12937"/>
                    <a:pt x="946" y="12937"/>
                  </a:cubicBezTo>
                  <a:cubicBezTo>
                    <a:pt x="989" y="12937"/>
                    <a:pt x="1030" y="12919"/>
                    <a:pt x="1049" y="12877"/>
                  </a:cubicBezTo>
                  <a:cubicBezTo>
                    <a:pt x="1476" y="11896"/>
                    <a:pt x="1944" y="10946"/>
                    <a:pt x="2455" y="10005"/>
                  </a:cubicBezTo>
                  <a:cubicBezTo>
                    <a:pt x="2769" y="9427"/>
                    <a:pt x="3598" y="8579"/>
                    <a:pt x="3757" y="7993"/>
                  </a:cubicBezTo>
                  <a:close/>
                  <a:moveTo>
                    <a:pt x="5927" y="1"/>
                  </a:moveTo>
                  <a:cubicBezTo>
                    <a:pt x="5797" y="1"/>
                    <a:pt x="5683" y="169"/>
                    <a:pt x="5801" y="287"/>
                  </a:cubicBezTo>
                  <a:cubicBezTo>
                    <a:pt x="5954" y="440"/>
                    <a:pt x="6104" y="576"/>
                    <a:pt x="6254" y="723"/>
                  </a:cubicBezTo>
                  <a:cubicBezTo>
                    <a:pt x="6225" y="732"/>
                    <a:pt x="6202" y="752"/>
                    <a:pt x="6188" y="778"/>
                  </a:cubicBezTo>
                  <a:cubicBezTo>
                    <a:pt x="6049" y="1052"/>
                    <a:pt x="5879" y="1306"/>
                    <a:pt x="5740" y="1580"/>
                  </a:cubicBezTo>
                  <a:cubicBezTo>
                    <a:pt x="5702" y="1656"/>
                    <a:pt x="5764" y="1722"/>
                    <a:pt x="5826" y="1722"/>
                  </a:cubicBezTo>
                  <a:cubicBezTo>
                    <a:pt x="5855" y="1722"/>
                    <a:pt x="5883" y="1708"/>
                    <a:pt x="5902" y="1676"/>
                  </a:cubicBezTo>
                  <a:cubicBezTo>
                    <a:pt x="5983" y="1537"/>
                    <a:pt x="6072" y="1407"/>
                    <a:pt x="6159" y="1277"/>
                  </a:cubicBezTo>
                  <a:lnTo>
                    <a:pt x="6159" y="1277"/>
                  </a:lnTo>
                  <a:cubicBezTo>
                    <a:pt x="6147" y="1655"/>
                    <a:pt x="6133" y="2037"/>
                    <a:pt x="6130" y="2415"/>
                  </a:cubicBezTo>
                  <a:cubicBezTo>
                    <a:pt x="6133" y="2516"/>
                    <a:pt x="6215" y="2576"/>
                    <a:pt x="6297" y="2576"/>
                  </a:cubicBezTo>
                  <a:cubicBezTo>
                    <a:pt x="6349" y="2576"/>
                    <a:pt x="6401" y="2552"/>
                    <a:pt x="6433" y="2498"/>
                  </a:cubicBezTo>
                  <a:cubicBezTo>
                    <a:pt x="6497" y="2392"/>
                    <a:pt x="6569" y="2291"/>
                    <a:pt x="6647" y="2195"/>
                  </a:cubicBezTo>
                  <a:lnTo>
                    <a:pt x="6647" y="2195"/>
                  </a:lnTo>
                  <a:cubicBezTo>
                    <a:pt x="6471" y="2741"/>
                    <a:pt x="6141" y="3249"/>
                    <a:pt x="6014" y="3801"/>
                  </a:cubicBezTo>
                  <a:cubicBezTo>
                    <a:pt x="6009" y="3838"/>
                    <a:pt x="6020" y="3878"/>
                    <a:pt x="6046" y="3907"/>
                  </a:cubicBezTo>
                  <a:cubicBezTo>
                    <a:pt x="5986" y="4029"/>
                    <a:pt x="5925" y="4150"/>
                    <a:pt x="5864" y="4271"/>
                  </a:cubicBezTo>
                  <a:cubicBezTo>
                    <a:pt x="6170" y="3038"/>
                    <a:pt x="5570" y="1468"/>
                    <a:pt x="5365" y="359"/>
                  </a:cubicBezTo>
                  <a:cubicBezTo>
                    <a:pt x="5356" y="308"/>
                    <a:pt x="5311" y="285"/>
                    <a:pt x="5266" y="285"/>
                  </a:cubicBezTo>
                  <a:cubicBezTo>
                    <a:pt x="5208" y="285"/>
                    <a:pt x="5149" y="322"/>
                    <a:pt x="5157" y="388"/>
                  </a:cubicBezTo>
                  <a:cubicBezTo>
                    <a:pt x="5336" y="1806"/>
                    <a:pt x="5925" y="3336"/>
                    <a:pt x="5342" y="4716"/>
                  </a:cubicBezTo>
                  <a:cubicBezTo>
                    <a:pt x="4741" y="6130"/>
                    <a:pt x="3127" y="7435"/>
                    <a:pt x="2077" y="8558"/>
                  </a:cubicBezTo>
                  <a:cubicBezTo>
                    <a:pt x="1034" y="9670"/>
                    <a:pt x="316" y="10796"/>
                    <a:pt x="105" y="12080"/>
                  </a:cubicBezTo>
                  <a:cubicBezTo>
                    <a:pt x="96" y="12101"/>
                    <a:pt x="82" y="12118"/>
                    <a:pt x="73" y="12135"/>
                  </a:cubicBezTo>
                  <a:cubicBezTo>
                    <a:pt x="53" y="12170"/>
                    <a:pt x="61" y="12213"/>
                    <a:pt x="90" y="12239"/>
                  </a:cubicBezTo>
                  <a:cubicBezTo>
                    <a:pt x="1" y="12923"/>
                    <a:pt x="44" y="13654"/>
                    <a:pt x="278" y="14454"/>
                  </a:cubicBezTo>
                  <a:cubicBezTo>
                    <a:pt x="301" y="14531"/>
                    <a:pt x="373" y="14580"/>
                    <a:pt x="448" y="14580"/>
                  </a:cubicBezTo>
                  <a:cubicBezTo>
                    <a:pt x="476" y="14580"/>
                    <a:pt x="505" y="14573"/>
                    <a:pt x="532" y="14557"/>
                  </a:cubicBezTo>
                  <a:cubicBezTo>
                    <a:pt x="1638" y="13922"/>
                    <a:pt x="2680" y="13183"/>
                    <a:pt x="3644" y="12349"/>
                  </a:cubicBezTo>
                  <a:cubicBezTo>
                    <a:pt x="3696" y="12349"/>
                    <a:pt x="3745" y="12320"/>
                    <a:pt x="3768" y="12271"/>
                  </a:cubicBezTo>
                  <a:lnTo>
                    <a:pt x="3783" y="12239"/>
                  </a:lnTo>
                  <a:cubicBezTo>
                    <a:pt x="4825" y="11318"/>
                    <a:pt x="5789" y="10314"/>
                    <a:pt x="6661" y="9231"/>
                  </a:cubicBezTo>
                  <a:cubicBezTo>
                    <a:pt x="7316" y="8428"/>
                    <a:pt x="7882" y="7557"/>
                    <a:pt x="8434" y="6676"/>
                  </a:cubicBezTo>
                  <a:cubicBezTo>
                    <a:pt x="8466" y="6664"/>
                    <a:pt x="8489" y="6638"/>
                    <a:pt x="8506" y="6610"/>
                  </a:cubicBezTo>
                  <a:cubicBezTo>
                    <a:pt x="8526" y="6563"/>
                    <a:pt x="8543" y="6517"/>
                    <a:pt x="8564" y="6471"/>
                  </a:cubicBezTo>
                  <a:cubicBezTo>
                    <a:pt x="8607" y="6399"/>
                    <a:pt x="8653" y="6332"/>
                    <a:pt x="8696" y="6263"/>
                  </a:cubicBezTo>
                  <a:cubicBezTo>
                    <a:pt x="9372" y="5172"/>
                    <a:pt x="10362" y="4502"/>
                    <a:pt x="11064" y="3463"/>
                  </a:cubicBezTo>
                  <a:cubicBezTo>
                    <a:pt x="11546" y="2750"/>
                    <a:pt x="10613" y="1996"/>
                    <a:pt x="10050" y="1849"/>
                  </a:cubicBezTo>
                  <a:cubicBezTo>
                    <a:pt x="10013" y="1839"/>
                    <a:pt x="9970" y="1835"/>
                    <a:pt x="9922" y="1835"/>
                  </a:cubicBezTo>
                  <a:cubicBezTo>
                    <a:pt x="9665" y="1835"/>
                    <a:pt x="9283" y="1963"/>
                    <a:pt x="9112" y="2051"/>
                  </a:cubicBezTo>
                  <a:cubicBezTo>
                    <a:pt x="8957" y="2131"/>
                    <a:pt x="8802" y="2167"/>
                    <a:pt x="8648" y="2167"/>
                  </a:cubicBezTo>
                  <a:cubicBezTo>
                    <a:pt x="8348" y="2167"/>
                    <a:pt x="8052" y="2031"/>
                    <a:pt x="7764" y="1823"/>
                  </a:cubicBezTo>
                  <a:cubicBezTo>
                    <a:pt x="7799" y="1667"/>
                    <a:pt x="7839" y="1514"/>
                    <a:pt x="7868" y="1355"/>
                  </a:cubicBezTo>
                  <a:cubicBezTo>
                    <a:pt x="7893" y="1238"/>
                    <a:pt x="7802" y="1152"/>
                    <a:pt x="7707" y="1152"/>
                  </a:cubicBezTo>
                  <a:cubicBezTo>
                    <a:pt x="7657" y="1152"/>
                    <a:pt x="7606" y="1175"/>
                    <a:pt x="7571" y="1231"/>
                  </a:cubicBezTo>
                  <a:cubicBezTo>
                    <a:pt x="7510" y="1326"/>
                    <a:pt x="7461" y="1427"/>
                    <a:pt x="7400" y="1523"/>
                  </a:cubicBezTo>
                  <a:cubicBezTo>
                    <a:pt x="6898" y="1052"/>
                    <a:pt x="6433" y="440"/>
                    <a:pt x="6040" y="50"/>
                  </a:cubicBezTo>
                  <a:cubicBezTo>
                    <a:pt x="6005" y="15"/>
                    <a:pt x="5965" y="1"/>
                    <a:pt x="5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65"/>
            <p:cNvSpPr/>
            <p:nvPr/>
          </p:nvSpPr>
          <p:spPr>
            <a:xfrm>
              <a:off x="4490450" y="4030275"/>
              <a:ext cx="166950" cy="327500"/>
            </a:xfrm>
            <a:custGeom>
              <a:avLst/>
              <a:gdLst/>
              <a:ahLst/>
              <a:cxnLst/>
              <a:rect l="l" t="t" r="r" b="b"/>
              <a:pathLst>
                <a:path w="6678" h="13100" extrusionOk="0">
                  <a:moveTo>
                    <a:pt x="5313" y="627"/>
                  </a:moveTo>
                  <a:cubicBezTo>
                    <a:pt x="5708" y="988"/>
                    <a:pt x="5962" y="1620"/>
                    <a:pt x="6066" y="2212"/>
                  </a:cubicBezTo>
                  <a:cubicBezTo>
                    <a:pt x="6045" y="2201"/>
                    <a:pt x="6022" y="2196"/>
                    <a:pt x="5999" y="2196"/>
                  </a:cubicBezTo>
                  <a:cubicBezTo>
                    <a:pt x="5963" y="2196"/>
                    <a:pt x="5927" y="2209"/>
                    <a:pt x="5899" y="2235"/>
                  </a:cubicBezTo>
                  <a:cubicBezTo>
                    <a:pt x="5437" y="2692"/>
                    <a:pt x="4998" y="3174"/>
                    <a:pt x="4582" y="3673"/>
                  </a:cubicBezTo>
                  <a:cubicBezTo>
                    <a:pt x="4929" y="3000"/>
                    <a:pt x="5246" y="2310"/>
                    <a:pt x="5529" y="1600"/>
                  </a:cubicBezTo>
                  <a:cubicBezTo>
                    <a:pt x="5573" y="1492"/>
                    <a:pt x="5473" y="1411"/>
                    <a:pt x="5375" y="1411"/>
                  </a:cubicBezTo>
                  <a:cubicBezTo>
                    <a:pt x="5338" y="1411"/>
                    <a:pt x="5301" y="1423"/>
                    <a:pt x="5272" y="1450"/>
                  </a:cubicBezTo>
                  <a:cubicBezTo>
                    <a:pt x="5024" y="1693"/>
                    <a:pt x="4802" y="1955"/>
                    <a:pt x="4571" y="2212"/>
                  </a:cubicBezTo>
                  <a:cubicBezTo>
                    <a:pt x="4836" y="1693"/>
                    <a:pt x="5085" y="1167"/>
                    <a:pt x="5313" y="627"/>
                  </a:cubicBezTo>
                  <a:close/>
                  <a:moveTo>
                    <a:pt x="4610" y="335"/>
                  </a:moveTo>
                  <a:cubicBezTo>
                    <a:pt x="4766" y="335"/>
                    <a:pt x="4909" y="371"/>
                    <a:pt x="5041" y="437"/>
                  </a:cubicBezTo>
                  <a:cubicBezTo>
                    <a:pt x="4002" y="1577"/>
                    <a:pt x="3145" y="2842"/>
                    <a:pt x="2172" y="4037"/>
                  </a:cubicBezTo>
                  <a:cubicBezTo>
                    <a:pt x="2966" y="3061"/>
                    <a:pt x="3462" y="1600"/>
                    <a:pt x="4126" y="443"/>
                  </a:cubicBezTo>
                  <a:cubicBezTo>
                    <a:pt x="4298" y="369"/>
                    <a:pt x="4460" y="335"/>
                    <a:pt x="4610" y="335"/>
                  </a:cubicBezTo>
                  <a:close/>
                  <a:moveTo>
                    <a:pt x="6107" y="2495"/>
                  </a:moveTo>
                  <a:cubicBezTo>
                    <a:pt x="6121" y="2648"/>
                    <a:pt x="6127" y="2801"/>
                    <a:pt x="6121" y="2957"/>
                  </a:cubicBezTo>
                  <a:cubicBezTo>
                    <a:pt x="6115" y="3078"/>
                    <a:pt x="6084" y="3203"/>
                    <a:pt x="6069" y="3324"/>
                  </a:cubicBezTo>
                  <a:cubicBezTo>
                    <a:pt x="5411" y="4066"/>
                    <a:pt x="4799" y="4837"/>
                    <a:pt x="4210" y="5628"/>
                  </a:cubicBezTo>
                  <a:cubicBezTo>
                    <a:pt x="4834" y="4580"/>
                    <a:pt x="5457" y="3532"/>
                    <a:pt x="6107" y="2495"/>
                  </a:cubicBezTo>
                  <a:close/>
                  <a:moveTo>
                    <a:pt x="5806" y="4611"/>
                  </a:moveTo>
                  <a:lnTo>
                    <a:pt x="5806" y="4611"/>
                  </a:lnTo>
                  <a:cubicBezTo>
                    <a:pt x="5711" y="4941"/>
                    <a:pt x="5604" y="5267"/>
                    <a:pt x="5486" y="5587"/>
                  </a:cubicBezTo>
                  <a:cubicBezTo>
                    <a:pt x="5076" y="6173"/>
                    <a:pt x="4675" y="6759"/>
                    <a:pt x="4285" y="7354"/>
                  </a:cubicBezTo>
                  <a:cubicBezTo>
                    <a:pt x="4793" y="6442"/>
                    <a:pt x="5304" y="5529"/>
                    <a:pt x="5806" y="4611"/>
                  </a:cubicBezTo>
                  <a:close/>
                  <a:moveTo>
                    <a:pt x="3494" y="879"/>
                  </a:moveTo>
                  <a:lnTo>
                    <a:pt x="3494" y="879"/>
                  </a:lnTo>
                  <a:cubicBezTo>
                    <a:pt x="3456" y="939"/>
                    <a:pt x="3428" y="1003"/>
                    <a:pt x="3396" y="1063"/>
                  </a:cubicBezTo>
                  <a:cubicBezTo>
                    <a:pt x="2449" y="2668"/>
                    <a:pt x="1638" y="4314"/>
                    <a:pt x="1063" y="6110"/>
                  </a:cubicBezTo>
                  <a:cubicBezTo>
                    <a:pt x="1047" y="6160"/>
                    <a:pt x="1087" y="6192"/>
                    <a:pt x="1128" y="6192"/>
                  </a:cubicBezTo>
                  <a:cubicBezTo>
                    <a:pt x="1155" y="6192"/>
                    <a:pt x="1182" y="6178"/>
                    <a:pt x="1193" y="6147"/>
                  </a:cubicBezTo>
                  <a:cubicBezTo>
                    <a:pt x="1349" y="5703"/>
                    <a:pt x="1519" y="5270"/>
                    <a:pt x="1701" y="4842"/>
                  </a:cubicBezTo>
                  <a:cubicBezTo>
                    <a:pt x="1722" y="4856"/>
                    <a:pt x="1747" y="4863"/>
                    <a:pt x="1771" y="4863"/>
                  </a:cubicBezTo>
                  <a:cubicBezTo>
                    <a:pt x="1806" y="4863"/>
                    <a:pt x="1842" y="4848"/>
                    <a:pt x="1866" y="4819"/>
                  </a:cubicBezTo>
                  <a:cubicBezTo>
                    <a:pt x="2411" y="4227"/>
                    <a:pt x="2902" y="3621"/>
                    <a:pt x="3387" y="2983"/>
                  </a:cubicBezTo>
                  <a:cubicBezTo>
                    <a:pt x="3840" y="2351"/>
                    <a:pt x="4317" y="1733"/>
                    <a:pt x="4808" y="1130"/>
                  </a:cubicBezTo>
                  <a:lnTo>
                    <a:pt x="4808" y="1130"/>
                  </a:lnTo>
                  <a:cubicBezTo>
                    <a:pt x="4556" y="1641"/>
                    <a:pt x="4297" y="2149"/>
                    <a:pt x="4031" y="2648"/>
                  </a:cubicBezTo>
                  <a:cubicBezTo>
                    <a:pt x="3933" y="2836"/>
                    <a:pt x="3820" y="3018"/>
                    <a:pt x="3719" y="3200"/>
                  </a:cubicBezTo>
                  <a:cubicBezTo>
                    <a:pt x="2576" y="4649"/>
                    <a:pt x="1652" y="6260"/>
                    <a:pt x="982" y="7978"/>
                  </a:cubicBezTo>
                  <a:cubicBezTo>
                    <a:pt x="940" y="8085"/>
                    <a:pt x="1042" y="8168"/>
                    <a:pt x="1137" y="8168"/>
                  </a:cubicBezTo>
                  <a:cubicBezTo>
                    <a:pt x="1186" y="8168"/>
                    <a:pt x="1233" y="8147"/>
                    <a:pt x="1259" y="8096"/>
                  </a:cubicBezTo>
                  <a:cubicBezTo>
                    <a:pt x="2105" y="6476"/>
                    <a:pt x="3087" y="4932"/>
                    <a:pt x="3973" y="3338"/>
                  </a:cubicBezTo>
                  <a:cubicBezTo>
                    <a:pt x="4135" y="3133"/>
                    <a:pt x="4294" y="2931"/>
                    <a:pt x="4458" y="2732"/>
                  </a:cubicBezTo>
                  <a:cubicBezTo>
                    <a:pt x="4733" y="2399"/>
                    <a:pt x="4873" y="2266"/>
                    <a:pt x="4922" y="2266"/>
                  </a:cubicBezTo>
                  <a:cubicBezTo>
                    <a:pt x="5102" y="2266"/>
                    <a:pt x="4032" y="4082"/>
                    <a:pt x="3887" y="4346"/>
                  </a:cubicBezTo>
                  <a:cubicBezTo>
                    <a:pt x="3690" y="4710"/>
                    <a:pt x="3480" y="5068"/>
                    <a:pt x="3269" y="5426"/>
                  </a:cubicBezTo>
                  <a:cubicBezTo>
                    <a:pt x="2455" y="6615"/>
                    <a:pt x="1733" y="7871"/>
                    <a:pt x="1037" y="9156"/>
                  </a:cubicBezTo>
                  <a:lnTo>
                    <a:pt x="1049" y="9164"/>
                  </a:lnTo>
                  <a:cubicBezTo>
                    <a:pt x="925" y="9384"/>
                    <a:pt x="798" y="9603"/>
                    <a:pt x="679" y="9828"/>
                  </a:cubicBezTo>
                  <a:cubicBezTo>
                    <a:pt x="653" y="8639"/>
                    <a:pt x="806" y="7377"/>
                    <a:pt x="901" y="6780"/>
                  </a:cubicBezTo>
                  <a:cubicBezTo>
                    <a:pt x="1219" y="4828"/>
                    <a:pt x="1883" y="2227"/>
                    <a:pt x="3494" y="879"/>
                  </a:cubicBezTo>
                  <a:close/>
                  <a:moveTo>
                    <a:pt x="5381" y="3053"/>
                  </a:moveTo>
                  <a:lnTo>
                    <a:pt x="5381" y="3053"/>
                  </a:lnTo>
                  <a:cubicBezTo>
                    <a:pt x="3828" y="5524"/>
                    <a:pt x="2378" y="8054"/>
                    <a:pt x="959" y="10602"/>
                  </a:cubicBezTo>
                  <a:cubicBezTo>
                    <a:pt x="945" y="10631"/>
                    <a:pt x="927" y="10657"/>
                    <a:pt x="910" y="10686"/>
                  </a:cubicBezTo>
                  <a:lnTo>
                    <a:pt x="913" y="10686"/>
                  </a:lnTo>
                  <a:cubicBezTo>
                    <a:pt x="867" y="10769"/>
                    <a:pt x="818" y="10850"/>
                    <a:pt x="772" y="10934"/>
                  </a:cubicBezTo>
                  <a:cubicBezTo>
                    <a:pt x="722" y="10614"/>
                    <a:pt x="694" y="10293"/>
                    <a:pt x="682" y="9973"/>
                  </a:cubicBezTo>
                  <a:lnTo>
                    <a:pt x="682" y="9973"/>
                  </a:lnTo>
                  <a:cubicBezTo>
                    <a:pt x="713" y="10026"/>
                    <a:pt x="772" y="10063"/>
                    <a:pt x="830" y="10063"/>
                  </a:cubicBezTo>
                  <a:cubicBezTo>
                    <a:pt x="875" y="10063"/>
                    <a:pt x="919" y="10041"/>
                    <a:pt x="948" y="9987"/>
                  </a:cubicBezTo>
                  <a:cubicBezTo>
                    <a:pt x="2203" y="7633"/>
                    <a:pt x="4248" y="4853"/>
                    <a:pt x="5381" y="3053"/>
                  </a:cubicBezTo>
                  <a:close/>
                  <a:moveTo>
                    <a:pt x="4758" y="7299"/>
                  </a:moveTo>
                  <a:lnTo>
                    <a:pt x="4758" y="7299"/>
                  </a:lnTo>
                  <a:cubicBezTo>
                    <a:pt x="4138" y="8671"/>
                    <a:pt x="3462" y="10166"/>
                    <a:pt x="2472" y="10989"/>
                  </a:cubicBezTo>
                  <a:cubicBezTo>
                    <a:pt x="3122" y="9883"/>
                    <a:pt x="3786" y="8783"/>
                    <a:pt x="4481" y="7706"/>
                  </a:cubicBezTo>
                  <a:cubicBezTo>
                    <a:pt x="4571" y="7568"/>
                    <a:pt x="4666" y="7438"/>
                    <a:pt x="4758" y="7299"/>
                  </a:cubicBezTo>
                  <a:close/>
                  <a:moveTo>
                    <a:pt x="4111" y="0"/>
                  </a:moveTo>
                  <a:cubicBezTo>
                    <a:pt x="4067" y="0"/>
                    <a:pt x="4024" y="20"/>
                    <a:pt x="3993" y="67"/>
                  </a:cubicBezTo>
                  <a:cubicBezTo>
                    <a:pt x="3976" y="96"/>
                    <a:pt x="3962" y="125"/>
                    <a:pt x="3944" y="151"/>
                  </a:cubicBezTo>
                  <a:cubicBezTo>
                    <a:pt x="1880" y="688"/>
                    <a:pt x="1008" y="4577"/>
                    <a:pt x="659" y="6173"/>
                  </a:cubicBezTo>
                  <a:cubicBezTo>
                    <a:pt x="359" y="7550"/>
                    <a:pt x="1" y="9762"/>
                    <a:pt x="509" y="11416"/>
                  </a:cubicBezTo>
                  <a:cubicBezTo>
                    <a:pt x="474" y="11494"/>
                    <a:pt x="503" y="11584"/>
                    <a:pt x="578" y="11624"/>
                  </a:cubicBezTo>
                  <a:cubicBezTo>
                    <a:pt x="795" y="12219"/>
                    <a:pt x="1132" y="12730"/>
                    <a:pt x="1643" y="13082"/>
                  </a:cubicBezTo>
                  <a:cubicBezTo>
                    <a:pt x="1664" y="13093"/>
                    <a:pt x="1686" y="13099"/>
                    <a:pt x="1708" y="13099"/>
                  </a:cubicBezTo>
                  <a:cubicBezTo>
                    <a:pt x="1731" y="13099"/>
                    <a:pt x="1753" y="13093"/>
                    <a:pt x="1773" y="13082"/>
                  </a:cubicBezTo>
                  <a:cubicBezTo>
                    <a:pt x="2111" y="12816"/>
                    <a:pt x="2463" y="12577"/>
                    <a:pt x="2833" y="12360"/>
                  </a:cubicBezTo>
                  <a:cubicBezTo>
                    <a:pt x="2884" y="12328"/>
                    <a:pt x="2853" y="12257"/>
                    <a:pt x="2805" y="12257"/>
                  </a:cubicBezTo>
                  <a:cubicBezTo>
                    <a:pt x="2796" y="12257"/>
                    <a:pt x="2787" y="12260"/>
                    <a:pt x="2778" y="12265"/>
                  </a:cubicBezTo>
                  <a:cubicBezTo>
                    <a:pt x="2454" y="12449"/>
                    <a:pt x="2177" y="12532"/>
                    <a:pt x="1941" y="12532"/>
                  </a:cubicBezTo>
                  <a:cubicBezTo>
                    <a:pt x="1391" y="12532"/>
                    <a:pt x="1065" y="12082"/>
                    <a:pt x="881" y="11431"/>
                  </a:cubicBezTo>
                  <a:cubicBezTo>
                    <a:pt x="2357" y="8825"/>
                    <a:pt x="3954" y="6320"/>
                    <a:pt x="5898" y="4031"/>
                  </a:cubicBezTo>
                  <a:lnTo>
                    <a:pt x="5898" y="4031"/>
                  </a:lnTo>
                  <a:cubicBezTo>
                    <a:pt x="4387" y="5812"/>
                    <a:pt x="3160" y="8413"/>
                    <a:pt x="2053" y="10743"/>
                  </a:cubicBezTo>
                  <a:cubicBezTo>
                    <a:pt x="1874" y="10922"/>
                    <a:pt x="1808" y="11064"/>
                    <a:pt x="1845" y="11176"/>
                  </a:cubicBezTo>
                  <a:cubicBezTo>
                    <a:pt x="1710" y="11462"/>
                    <a:pt x="1577" y="11748"/>
                    <a:pt x="1444" y="12019"/>
                  </a:cubicBezTo>
                  <a:cubicBezTo>
                    <a:pt x="1373" y="12165"/>
                    <a:pt x="1493" y="12296"/>
                    <a:pt x="1613" y="12296"/>
                  </a:cubicBezTo>
                  <a:cubicBezTo>
                    <a:pt x="1667" y="12296"/>
                    <a:pt x="1722" y="12269"/>
                    <a:pt x="1759" y="12204"/>
                  </a:cubicBezTo>
                  <a:cubicBezTo>
                    <a:pt x="1958" y="11858"/>
                    <a:pt x="2163" y="11520"/>
                    <a:pt x="2365" y="11176"/>
                  </a:cubicBezTo>
                  <a:cubicBezTo>
                    <a:pt x="2383" y="11272"/>
                    <a:pt x="2467" y="11332"/>
                    <a:pt x="2556" y="11332"/>
                  </a:cubicBezTo>
                  <a:cubicBezTo>
                    <a:pt x="2593" y="11332"/>
                    <a:pt x="2631" y="11321"/>
                    <a:pt x="2665" y="11298"/>
                  </a:cubicBezTo>
                  <a:lnTo>
                    <a:pt x="2665" y="11298"/>
                  </a:lnTo>
                  <a:cubicBezTo>
                    <a:pt x="2512" y="11532"/>
                    <a:pt x="2365" y="11771"/>
                    <a:pt x="2206" y="11999"/>
                  </a:cubicBezTo>
                  <a:cubicBezTo>
                    <a:pt x="2111" y="12137"/>
                    <a:pt x="2240" y="12268"/>
                    <a:pt x="2372" y="12268"/>
                  </a:cubicBezTo>
                  <a:cubicBezTo>
                    <a:pt x="2428" y="12268"/>
                    <a:pt x="2484" y="12244"/>
                    <a:pt x="2524" y="12187"/>
                  </a:cubicBezTo>
                  <a:cubicBezTo>
                    <a:pt x="2746" y="11864"/>
                    <a:pt x="3188" y="11127"/>
                    <a:pt x="3696" y="10172"/>
                  </a:cubicBezTo>
                  <a:cubicBezTo>
                    <a:pt x="4831" y="8581"/>
                    <a:pt x="5538" y="6300"/>
                    <a:pt x="6485" y="4802"/>
                  </a:cubicBezTo>
                  <a:cubicBezTo>
                    <a:pt x="6575" y="4660"/>
                    <a:pt x="6453" y="4534"/>
                    <a:pt x="6324" y="4534"/>
                  </a:cubicBezTo>
                  <a:cubicBezTo>
                    <a:pt x="6267" y="4534"/>
                    <a:pt x="6209" y="4559"/>
                    <a:pt x="6167" y="4617"/>
                  </a:cubicBezTo>
                  <a:cubicBezTo>
                    <a:pt x="6110" y="4695"/>
                    <a:pt x="6058" y="4773"/>
                    <a:pt x="6003" y="4851"/>
                  </a:cubicBezTo>
                  <a:cubicBezTo>
                    <a:pt x="6121" y="4458"/>
                    <a:pt x="6225" y="4072"/>
                    <a:pt x="6303" y="3702"/>
                  </a:cubicBezTo>
                  <a:cubicBezTo>
                    <a:pt x="6361" y="3592"/>
                    <a:pt x="6421" y="3488"/>
                    <a:pt x="6479" y="3382"/>
                  </a:cubicBezTo>
                  <a:cubicBezTo>
                    <a:pt x="6520" y="3295"/>
                    <a:pt x="6488" y="3191"/>
                    <a:pt x="6407" y="3145"/>
                  </a:cubicBezTo>
                  <a:cubicBezTo>
                    <a:pt x="6678" y="1384"/>
                    <a:pt x="6301" y="73"/>
                    <a:pt x="4607" y="73"/>
                  </a:cubicBezTo>
                  <a:cubicBezTo>
                    <a:pt x="4496" y="73"/>
                    <a:pt x="4379" y="79"/>
                    <a:pt x="4256" y="90"/>
                  </a:cubicBezTo>
                  <a:cubicBezTo>
                    <a:pt x="4229" y="37"/>
                    <a:pt x="4170" y="0"/>
                    <a:pt x="4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65"/>
            <p:cNvSpPr/>
            <p:nvPr/>
          </p:nvSpPr>
          <p:spPr>
            <a:xfrm>
              <a:off x="2233550" y="2129125"/>
              <a:ext cx="18850" cy="19225"/>
            </a:xfrm>
            <a:custGeom>
              <a:avLst/>
              <a:gdLst/>
              <a:ahLst/>
              <a:cxnLst/>
              <a:rect l="l" t="t" r="r" b="b"/>
              <a:pathLst>
                <a:path w="754" h="769" extrusionOk="0">
                  <a:moveTo>
                    <a:pt x="754" y="0"/>
                  </a:moveTo>
                  <a:lnTo>
                    <a:pt x="754" y="0"/>
                  </a:lnTo>
                  <a:cubicBezTo>
                    <a:pt x="658" y="93"/>
                    <a:pt x="563" y="188"/>
                    <a:pt x="471" y="280"/>
                  </a:cubicBezTo>
                  <a:cubicBezTo>
                    <a:pt x="312" y="442"/>
                    <a:pt x="162" y="609"/>
                    <a:pt x="0" y="768"/>
                  </a:cubicBezTo>
                  <a:cubicBezTo>
                    <a:pt x="245" y="529"/>
                    <a:pt x="497" y="272"/>
                    <a:pt x="7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65"/>
            <p:cNvSpPr/>
            <p:nvPr/>
          </p:nvSpPr>
          <p:spPr>
            <a:xfrm>
              <a:off x="1535825" y="2847850"/>
              <a:ext cx="14525" cy="17925"/>
            </a:xfrm>
            <a:custGeom>
              <a:avLst/>
              <a:gdLst/>
              <a:ahLst/>
              <a:cxnLst/>
              <a:rect l="l" t="t" r="r" b="b"/>
              <a:pathLst>
                <a:path w="581" h="717" extrusionOk="0">
                  <a:moveTo>
                    <a:pt x="581" y="0"/>
                  </a:moveTo>
                  <a:cubicBezTo>
                    <a:pt x="387" y="234"/>
                    <a:pt x="194" y="474"/>
                    <a:pt x="0" y="716"/>
                  </a:cubicBezTo>
                  <a:lnTo>
                    <a:pt x="5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65"/>
            <p:cNvSpPr/>
            <p:nvPr/>
          </p:nvSpPr>
          <p:spPr>
            <a:xfrm>
              <a:off x="1637725" y="3318000"/>
              <a:ext cx="22850" cy="21675"/>
            </a:xfrm>
            <a:custGeom>
              <a:avLst/>
              <a:gdLst/>
              <a:ahLst/>
              <a:cxnLst/>
              <a:rect l="l" t="t" r="r" b="b"/>
              <a:pathLst>
                <a:path w="914" h="867" extrusionOk="0">
                  <a:moveTo>
                    <a:pt x="913" y="0"/>
                  </a:moveTo>
                  <a:cubicBezTo>
                    <a:pt x="598" y="286"/>
                    <a:pt x="292" y="575"/>
                    <a:pt x="1" y="866"/>
                  </a:cubicBezTo>
                  <a:cubicBezTo>
                    <a:pt x="177" y="716"/>
                    <a:pt x="356" y="563"/>
                    <a:pt x="535" y="413"/>
                  </a:cubicBezTo>
                  <a:cubicBezTo>
                    <a:pt x="659" y="274"/>
                    <a:pt x="786" y="139"/>
                    <a:pt x="9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65"/>
            <p:cNvSpPr/>
            <p:nvPr/>
          </p:nvSpPr>
          <p:spPr>
            <a:xfrm>
              <a:off x="1580550" y="3339650"/>
              <a:ext cx="57200" cy="68650"/>
            </a:xfrm>
            <a:custGeom>
              <a:avLst/>
              <a:gdLst/>
              <a:ahLst/>
              <a:cxnLst/>
              <a:rect l="l" t="t" r="r" b="b"/>
              <a:pathLst>
                <a:path w="2288" h="2746" extrusionOk="0">
                  <a:moveTo>
                    <a:pt x="2288" y="0"/>
                  </a:moveTo>
                  <a:cubicBezTo>
                    <a:pt x="1404" y="748"/>
                    <a:pt x="570" y="1519"/>
                    <a:pt x="39" y="2598"/>
                  </a:cubicBezTo>
                  <a:cubicBezTo>
                    <a:pt x="1" y="2674"/>
                    <a:pt x="69" y="2746"/>
                    <a:pt x="134" y="2746"/>
                  </a:cubicBezTo>
                  <a:cubicBezTo>
                    <a:pt x="163" y="2746"/>
                    <a:pt x="191" y="2731"/>
                    <a:pt x="209" y="2697"/>
                  </a:cubicBezTo>
                  <a:cubicBezTo>
                    <a:pt x="697" y="1755"/>
                    <a:pt x="1433" y="858"/>
                    <a:pt x="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65"/>
            <p:cNvSpPr/>
            <p:nvPr/>
          </p:nvSpPr>
          <p:spPr>
            <a:xfrm>
              <a:off x="1583350" y="3416000"/>
              <a:ext cx="9150" cy="13450"/>
            </a:xfrm>
            <a:custGeom>
              <a:avLst/>
              <a:gdLst/>
              <a:ahLst/>
              <a:cxnLst/>
              <a:rect l="l" t="t" r="r" b="b"/>
              <a:pathLst>
                <a:path w="366" h="538" extrusionOk="0">
                  <a:moveTo>
                    <a:pt x="348" y="1"/>
                  </a:moveTo>
                  <a:cubicBezTo>
                    <a:pt x="247" y="139"/>
                    <a:pt x="140" y="269"/>
                    <a:pt x="45" y="411"/>
                  </a:cubicBezTo>
                  <a:cubicBezTo>
                    <a:pt x="1" y="475"/>
                    <a:pt x="62" y="538"/>
                    <a:pt x="123" y="538"/>
                  </a:cubicBezTo>
                  <a:cubicBezTo>
                    <a:pt x="150" y="538"/>
                    <a:pt x="177" y="526"/>
                    <a:pt x="195" y="497"/>
                  </a:cubicBezTo>
                  <a:cubicBezTo>
                    <a:pt x="366" y="237"/>
                    <a:pt x="314" y="364"/>
                    <a:pt x="366" y="32"/>
                  </a:cubicBezTo>
                  <a:cubicBezTo>
                    <a:pt x="366" y="18"/>
                    <a:pt x="360" y="6"/>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65"/>
            <p:cNvSpPr/>
            <p:nvPr/>
          </p:nvSpPr>
          <p:spPr>
            <a:xfrm>
              <a:off x="989675" y="1551075"/>
              <a:ext cx="1615425" cy="1865375"/>
            </a:xfrm>
            <a:custGeom>
              <a:avLst/>
              <a:gdLst/>
              <a:ahLst/>
              <a:cxnLst/>
              <a:rect l="l" t="t" r="r" b="b"/>
              <a:pathLst>
                <a:path w="64617" h="74615" extrusionOk="0">
                  <a:moveTo>
                    <a:pt x="11291" y="720"/>
                  </a:moveTo>
                  <a:cubicBezTo>
                    <a:pt x="11481" y="783"/>
                    <a:pt x="11676" y="855"/>
                    <a:pt x="11883" y="944"/>
                  </a:cubicBezTo>
                  <a:cubicBezTo>
                    <a:pt x="11901" y="950"/>
                    <a:pt x="11918" y="962"/>
                    <a:pt x="11938" y="970"/>
                  </a:cubicBezTo>
                  <a:cubicBezTo>
                    <a:pt x="11525" y="1198"/>
                    <a:pt x="11136" y="1467"/>
                    <a:pt x="10775" y="1773"/>
                  </a:cubicBezTo>
                  <a:cubicBezTo>
                    <a:pt x="10997" y="1447"/>
                    <a:pt x="11170" y="1092"/>
                    <a:pt x="11291" y="720"/>
                  </a:cubicBezTo>
                  <a:close/>
                  <a:moveTo>
                    <a:pt x="8786" y="696"/>
                  </a:moveTo>
                  <a:lnTo>
                    <a:pt x="8783" y="699"/>
                  </a:lnTo>
                  <a:cubicBezTo>
                    <a:pt x="8277" y="1253"/>
                    <a:pt x="7841" y="1845"/>
                    <a:pt x="7426" y="2466"/>
                  </a:cubicBezTo>
                  <a:cubicBezTo>
                    <a:pt x="7680" y="1657"/>
                    <a:pt x="8116" y="1022"/>
                    <a:pt x="8786" y="696"/>
                  </a:cubicBezTo>
                  <a:close/>
                  <a:moveTo>
                    <a:pt x="13024" y="1504"/>
                  </a:moveTo>
                  <a:cubicBezTo>
                    <a:pt x="13182" y="1591"/>
                    <a:pt x="13341" y="1683"/>
                    <a:pt x="13497" y="1776"/>
                  </a:cubicBezTo>
                  <a:cubicBezTo>
                    <a:pt x="13122" y="2085"/>
                    <a:pt x="12755" y="2405"/>
                    <a:pt x="12406" y="2734"/>
                  </a:cubicBezTo>
                  <a:cubicBezTo>
                    <a:pt x="12648" y="2345"/>
                    <a:pt x="12856" y="1932"/>
                    <a:pt x="13024" y="1504"/>
                  </a:cubicBezTo>
                  <a:close/>
                  <a:moveTo>
                    <a:pt x="9998" y="1502"/>
                  </a:moveTo>
                  <a:lnTo>
                    <a:pt x="9998" y="1502"/>
                  </a:lnTo>
                  <a:cubicBezTo>
                    <a:pt x="9470" y="2137"/>
                    <a:pt x="8973" y="2798"/>
                    <a:pt x="8511" y="3485"/>
                  </a:cubicBezTo>
                  <a:cubicBezTo>
                    <a:pt x="8454" y="3537"/>
                    <a:pt x="8404" y="3592"/>
                    <a:pt x="8341" y="3647"/>
                  </a:cubicBezTo>
                  <a:lnTo>
                    <a:pt x="8303" y="3675"/>
                  </a:lnTo>
                  <a:cubicBezTo>
                    <a:pt x="8598" y="3147"/>
                    <a:pt x="8884" y="2610"/>
                    <a:pt x="9195" y="2093"/>
                  </a:cubicBezTo>
                  <a:cubicBezTo>
                    <a:pt x="9588" y="1747"/>
                    <a:pt x="9845" y="1559"/>
                    <a:pt x="9998" y="1502"/>
                  </a:cubicBezTo>
                  <a:close/>
                  <a:moveTo>
                    <a:pt x="34203" y="2004"/>
                  </a:moveTo>
                  <a:lnTo>
                    <a:pt x="34206" y="2007"/>
                  </a:lnTo>
                  <a:cubicBezTo>
                    <a:pt x="33493" y="2766"/>
                    <a:pt x="32751" y="3494"/>
                    <a:pt x="32006" y="4224"/>
                  </a:cubicBezTo>
                  <a:cubicBezTo>
                    <a:pt x="32603" y="3569"/>
                    <a:pt x="33181" y="2899"/>
                    <a:pt x="33677" y="2154"/>
                  </a:cubicBezTo>
                  <a:cubicBezTo>
                    <a:pt x="33706" y="2114"/>
                    <a:pt x="33700" y="2056"/>
                    <a:pt x="33666" y="2021"/>
                  </a:cubicBezTo>
                  <a:cubicBezTo>
                    <a:pt x="33845" y="2015"/>
                    <a:pt x="34021" y="2007"/>
                    <a:pt x="34203" y="2004"/>
                  </a:cubicBezTo>
                  <a:close/>
                  <a:moveTo>
                    <a:pt x="8898" y="1049"/>
                  </a:moveTo>
                  <a:cubicBezTo>
                    <a:pt x="8960" y="1049"/>
                    <a:pt x="8863" y="1315"/>
                    <a:pt x="8503" y="2013"/>
                  </a:cubicBezTo>
                  <a:cubicBezTo>
                    <a:pt x="8090" y="2815"/>
                    <a:pt x="7605" y="3589"/>
                    <a:pt x="7143" y="4371"/>
                  </a:cubicBezTo>
                  <a:lnTo>
                    <a:pt x="7143" y="4371"/>
                  </a:lnTo>
                  <a:cubicBezTo>
                    <a:pt x="7149" y="3988"/>
                    <a:pt x="7183" y="3608"/>
                    <a:pt x="7244" y="3234"/>
                  </a:cubicBezTo>
                  <a:cubicBezTo>
                    <a:pt x="7777" y="2451"/>
                    <a:pt x="8756" y="1049"/>
                    <a:pt x="8898" y="1049"/>
                  </a:cubicBezTo>
                  <a:close/>
                  <a:moveTo>
                    <a:pt x="9878" y="464"/>
                  </a:moveTo>
                  <a:cubicBezTo>
                    <a:pt x="9987" y="464"/>
                    <a:pt x="10095" y="469"/>
                    <a:pt x="10203" y="480"/>
                  </a:cubicBezTo>
                  <a:cubicBezTo>
                    <a:pt x="9129" y="1608"/>
                    <a:pt x="8407" y="2928"/>
                    <a:pt x="7625" y="4244"/>
                  </a:cubicBezTo>
                  <a:cubicBezTo>
                    <a:pt x="7508" y="4340"/>
                    <a:pt x="7445" y="4387"/>
                    <a:pt x="7426" y="4387"/>
                  </a:cubicBezTo>
                  <a:cubicBezTo>
                    <a:pt x="7369" y="4387"/>
                    <a:pt x="7716" y="3958"/>
                    <a:pt x="8208" y="3138"/>
                  </a:cubicBezTo>
                  <a:cubicBezTo>
                    <a:pt x="8719" y="2284"/>
                    <a:pt x="9167" y="1395"/>
                    <a:pt x="9553" y="480"/>
                  </a:cubicBezTo>
                  <a:cubicBezTo>
                    <a:pt x="9662" y="469"/>
                    <a:pt x="9770" y="464"/>
                    <a:pt x="9878" y="464"/>
                  </a:cubicBezTo>
                  <a:close/>
                  <a:moveTo>
                    <a:pt x="33455" y="2027"/>
                  </a:moveTo>
                  <a:cubicBezTo>
                    <a:pt x="32557" y="2847"/>
                    <a:pt x="31726" y="3730"/>
                    <a:pt x="30891" y="4614"/>
                  </a:cubicBezTo>
                  <a:cubicBezTo>
                    <a:pt x="31584" y="3831"/>
                    <a:pt x="32240" y="2994"/>
                    <a:pt x="32719" y="2163"/>
                  </a:cubicBezTo>
                  <a:cubicBezTo>
                    <a:pt x="32739" y="2128"/>
                    <a:pt x="32742" y="2085"/>
                    <a:pt x="32725" y="2047"/>
                  </a:cubicBezTo>
                  <a:lnTo>
                    <a:pt x="32725" y="2047"/>
                  </a:lnTo>
                  <a:lnTo>
                    <a:pt x="32727" y="2050"/>
                  </a:lnTo>
                  <a:cubicBezTo>
                    <a:pt x="32970" y="2041"/>
                    <a:pt x="33210" y="2033"/>
                    <a:pt x="33455" y="2027"/>
                  </a:cubicBezTo>
                  <a:close/>
                  <a:moveTo>
                    <a:pt x="11814" y="1320"/>
                  </a:moveTo>
                  <a:cubicBezTo>
                    <a:pt x="11199" y="1767"/>
                    <a:pt x="10500" y="3075"/>
                    <a:pt x="9834" y="3661"/>
                  </a:cubicBezTo>
                  <a:cubicBezTo>
                    <a:pt x="9548" y="3912"/>
                    <a:pt x="9066" y="4426"/>
                    <a:pt x="8653" y="4865"/>
                  </a:cubicBezTo>
                  <a:cubicBezTo>
                    <a:pt x="9224" y="4039"/>
                    <a:pt x="9851" y="3211"/>
                    <a:pt x="10001" y="3017"/>
                  </a:cubicBezTo>
                  <a:cubicBezTo>
                    <a:pt x="10521" y="2365"/>
                    <a:pt x="11130" y="1793"/>
                    <a:pt x="11814" y="1320"/>
                  </a:cubicBezTo>
                  <a:close/>
                  <a:moveTo>
                    <a:pt x="13729" y="2767"/>
                  </a:moveTo>
                  <a:cubicBezTo>
                    <a:pt x="13890" y="2767"/>
                    <a:pt x="13580" y="3384"/>
                    <a:pt x="12983" y="3981"/>
                  </a:cubicBezTo>
                  <a:cubicBezTo>
                    <a:pt x="12605" y="4360"/>
                    <a:pt x="12218" y="4723"/>
                    <a:pt x="11831" y="5090"/>
                  </a:cubicBezTo>
                  <a:cubicBezTo>
                    <a:pt x="12129" y="4599"/>
                    <a:pt x="12455" y="4129"/>
                    <a:pt x="12810" y="3675"/>
                  </a:cubicBezTo>
                  <a:cubicBezTo>
                    <a:pt x="13337" y="3015"/>
                    <a:pt x="13628" y="2767"/>
                    <a:pt x="13729" y="2767"/>
                  </a:cubicBezTo>
                  <a:close/>
                  <a:moveTo>
                    <a:pt x="27687" y="3751"/>
                  </a:moveTo>
                  <a:lnTo>
                    <a:pt x="27687" y="3751"/>
                  </a:lnTo>
                  <a:cubicBezTo>
                    <a:pt x="27514" y="3840"/>
                    <a:pt x="27346" y="3938"/>
                    <a:pt x="27184" y="4045"/>
                  </a:cubicBezTo>
                  <a:cubicBezTo>
                    <a:pt x="27164" y="4014"/>
                    <a:pt x="27132" y="3999"/>
                    <a:pt x="27098" y="3999"/>
                  </a:cubicBezTo>
                  <a:cubicBezTo>
                    <a:pt x="27075" y="3999"/>
                    <a:pt x="27052" y="4006"/>
                    <a:pt x="27031" y="4022"/>
                  </a:cubicBezTo>
                  <a:cubicBezTo>
                    <a:pt x="26538" y="4377"/>
                    <a:pt x="26157" y="4781"/>
                    <a:pt x="25781" y="5252"/>
                  </a:cubicBezTo>
                  <a:cubicBezTo>
                    <a:pt x="25582" y="4758"/>
                    <a:pt x="25848" y="4236"/>
                    <a:pt x="27254" y="3837"/>
                  </a:cubicBezTo>
                  <a:cubicBezTo>
                    <a:pt x="27395" y="3800"/>
                    <a:pt x="27540" y="3771"/>
                    <a:pt x="27687" y="3751"/>
                  </a:cubicBezTo>
                  <a:close/>
                  <a:moveTo>
                    <a:pt x="35086" y="1998"/>
                  </a:moveTo>
                  <a:cubicBezTo>
                    <a:pt x="34073" y="3098"/>
                    <a:pt x="33019" y="4181"/>
                    <a:pt x="31994" y="5275"/>
                  </a:cubicBezTo>
                  <a:cubicBezTo>
                    <a:pt x="32944" y="4250"/>
                    <a:pt x="33868" y="3219"/>
                    <a:pt x="34633" y="2001"/>
                  </a:cubicBezTo>
                  <a:cubicBezTo>
                    <a:pt x="34780" y="1998"/>
                    <a:pt x="34933" y="1998"/>
                    <a:pt x="35083" y="1998"/>
                  </a:cubicBezTo>
                  <a:close/>
                  <a:moveTo>
                    <a:pt x="29197" y="3658"/>
                  </a:moveTo>
                  <a:cubicBezTo>
                    <a:pt x="28844" y="4033"/>
                    <a:pt x="28484" y="4400"/>
                    <a:pt x="28126" y="4770"/>
                  </a:cubicBezTo>
                  <a:cubicBezTo>
                    <a:pt x="28336" y="4484"/>
                    <a:pt x="28536" y="4192"/>
                    <a:pt x="28723" y="3880"/>
                  </a:cubicBezTo>
                  <a:cubicBezTo>
                    <a:pt x="28784" y="3783"/>
                    <a:pt x="28696" y="3682"/>
                    <a:pt x="28604" y="3682"/>
                  </a:cubicBezTo>
                  <a:cubicBezTo>
                    <a:pt x="28573" y="3682"/>
                    <a:pt x="28542" y="3693"/>
                    <a:pt x="28515" y="3719"/>
                  </a:cubicBezTo>
                  <a:cubicBezTo>
                    <a:pt x="27931" y="4300"/>
                    <a:pt x="27352" y="4854"/>
                    <a:pt x="26696" y="5355"/>
                  </a:cubicBezTo>
                  <a:lnTo>
                    <a:pt x="26696" y="5355"/>
                  </a:lnTo>
                  <a:cubicBezTo>
                    <a:pt x="27239" y="4939"/>
                    <a:pt x="27685" y="4292"/>
                    <a:pt x="28169" y="3805"/>
                  </a:cubicBezTo>
                  <a:cubicBezTo>
                    <a:pt x="28198" y="3776"/>
                    <a:pt x="28212" y="3730"/>
                    <a:pt x="28201" y="3690"/>
                  </a:cubicBezTo>
                  <a:cubicBezTo>
                    <a:pt x="28533" y="3664"/>
                    <a:pt x="28868" y="3658"/>
                    <a:pt x="29197" y="3658"/>
                  </a:cubicBezTo>
                  <a:close/>
                  <a:moveTo>
                    <a:pt x="32430" y="2059"/>
                  </a:moveTo>
                  <a:cubicBezTo>
                    <a:pt x="31229" y="3086"/>
                    <a:pt x="30196" y="4273"/>
                    <a:pt x="29148" y="5451"/>
                  </a:cubicBezTo>
                  <a:cubicBezTo>
                    <a:pt x="29482" y="5012"/>
                    <a:pt x="29835" y="4588"/>
                    <a:pt x="30187" y="4166"/>
                  </a:cubicBezTo>
                  <a:lnTo>
                    <a:pt x="30187" y="4169"/>
                  </a:lnTo>
                  <a:cubicBezTo>
                    <a:pt x="30767" y="3473"/>
                    <a:pt x="31350" y="2783"/>
                    <a:pt x="31910" y="2076"/>
                  </a:cubicBezTo>
                  <a:cubicBezTo>
                    <a:pt x="32081" y="2067"/>
                    <a:pt x="32257" y="2064"/>
                    <a:pt x="32430" y="2059"/>
                  </a:cubicBezTo>
                  <a:close/>
                  <a:moveTo>
                    <a:pt x="21419" y="3285"/>
                  </a:moveTo>
                  <a:cubicBezTo>
                    <a:pt x="21443" y="3285"/>
                    <a:pt x="21467" y="3289"/>
                    <a:pt x="21491" y="3294"/>
                  </a:cubicBezTo>
                  <a:cubicBezTo>
                    <a:pt x="20847" y="4051"/>
                    <a:pt x="20227" y="4822"/>
                    <a:pt x="19615" y="5601"/>
                  </a:cubicBezTo>
                  <a:cubicBezTo>
                    <a:pt x="19583" y="5581"/>
                    <a:pt x="19554" y="5561"/>
                    <a:pt x="19522" y="5540"/>
                  </a:cubicBezTo>
                  <a:cubicBezTo>
                    <a:pt x="20028" y="4796"/>
                    <a:pt x="20530" y="4036"/>
                    <a:pt x="21168" y="3407"/>
                  </a:cubicBezTo>
                  <a:cubicBezTo>
                    <a:pt x="21253" y="3322"/>
                    <a:pt x="21336" y="3285"/>
                    <a:pt x="21419" y="3285"/>
                  </a:cubicBezTo>
                  <a:close/>
                  <a:moveTo>
                    <a:pt x="9126" y="3450"/>
                  </a:moveTo>
                  <a:cubicBezTo>
                    <a:pt x="9112" y="3473"/>
                    <a:pt x="9103" y="3491"/>
                    <a:pt x="9086" y="3517"/>
                  </a:cubicBezTo>
                  <a:cubicBezTo>
                    <a:pt x="8543" y="4371"/>
                    <a:pt x="7914" y="5171"/>
                    <a:pt x="7209" y="5901"/>
                  </a:cubicBezTo>
                  <a:cubicBezTo>
                    <a:pt x="7195" y="5771"/>
                    <a:pt x="7183" y="5639"/>
                    <a:pt x="7175" y="5506"/>
                  </a:cubicBezTo>
                  <a:cubicBezTo>
                    <a:pt x="7175" y="5506"/>
                    <a:pt x="7175" y="5506"/>
                    <a:pt x="7177" y="5503"/>
                  </a:cubicBezTo>
                  <a:cubicBezTo>
                    <a:pt x="7458" y="5102"/>
                    <a:pt x="7740" y="4703"/>
                    <a:pt x="8032" y="4313"/>
                  </a:cubicBezTo>
                  <a:cubicBezTo>
                    <a:pt x="8393" y="4031"/>
                    <a:pt x="8762" y="3745"/>
                    <a:pt x="9126" y="3450"/>
                  </a:cubicBezTo>
                  <a:close/>
                  <a:moveTo>
                    <a:pt x="46761" y="5915"/>
                  </a:moveTo>
                  <a:cubicBezTo>
                    <a:pt x="46762" y="5917"/>
                    <a:pt x="46763" y="5919"/>
                    <a:pt x="46764" y="5922"/>
                  </a:cubicBezTo>
                  <a:cubicBezTo>
                    <a:pt x="46763" y="5919"/>
                    <a:pt x="46762" y="5917"/>
                    <a:pt x="46761" y="5915"/>
                  </a:cubicBezTo>
                  <a:close/>
                  <a:moveTo>
                    <a:pt x="38568" y="2090"/>
                  </a:moveTo>
                  <a:cubicBezTo>
                    <a:pt x="39215" y="2131"/>
                    <a:pt x="39858" y="2192"/>
                    <a:pt x="40499" y="2269"/>
                  </a:cubicBezTo>
                  <a:lnTo>
                    <a:pt x="40502" y="2269"/>
                  </a:lnTo>
                  <a:cubicBezTo>
                    <a:pt x="39209" y="3499"/>
                    <a:pt x="37947" y="4752"/>
                    <a:pt x="36729" y="6054"/>
                  </a:cubicBezTo>
                  <a:cubicBezTo>
                    <a:pt x="37598" y="4793"/>
                    <a:pt x="38464" y="3551"/>
                    <a:pt x="39483" y="2402"/>
                  </a:cubicBezTo>
                  <a:cubicBezTo>
                    <a:pt x="39572" y="2302"/>
                    <a:pt x="39488" y="2174"/>
                    <a:pt x="39386" y="2174"/>
                  </a:cubicBezTo>
                  <a:cubicBezTo>
                    <a:pt x="39356" y="2174"/>
                    <a:pt x="39324" y="2185"/>
                    <a:pt x="39295" y="2212"/>
                  </a:cubicBezTo>
                  <a:cubicBezTo>
                    <a:pt x="38525" y="2925"/>
                    <a:pt x="37835" y="3687"/>
                    <a:pt x="37150" y="4481"/>
                  </a:cubicBezTo>
                  <a:cubicBezTo>
                    <a:pt x="36983" y="4677"/>
                    <a:pt x="36258" y="5309"/>
                    <a:pt x="35623" y="5872"/>
                  </a:cubicBezTo>
                  <a:cubicBezTo>
                    <a:pt x="35762" y="5685"/>
                    <a:pt x="35892" y="5512"/>
                    <a:pt x="36007" y="5373"/>
                  </a:cubicBezTo>
                  <a:cubicBezTo>
                    <a:pt x="36896" y="4319"/>
                    <a:pt x="37814" y="3251"/>
                    <a:pt x="38568" y="2090"/>
                  </a:cubicBezTo>
                  <a:close/>
                  <a:moveTo>
                    <a:pt x="27636" y="3943"/>
                  </a:moveTo>
                  <a:cubicBezTo>
                    <a:pt x="27639" y="3943"/>
                    <a:pt x="27624" y="3960"/>
                    <a:pt x="27586" y="3999"/>
                  </a:cubicBezTo>
                  <a:cubicBezTo>
                    <a:pt x="27075" y="4510"/>
                    <a:pt x="26619" y="5076"/>
                    <a:pt x="26229" y="5685"/>
                  </a:cubicBezTo>
                  <a:cubicBezTo>
                    <a:pt x="26171" y="5778"/>
                    <a:pt x="26254" y="5894"/>
                    <a:pt x="26347" y="5894"/>
                  </a:cubicBezTo>
                  <a:cubicBezTo>
                    <a:pt x="26369" y="5894"/>
                    <a:pt x="26392" y="5887"/>
                    <a:pt x="26414" y="5872"/>
                  </a:cubicBezTo>
                  <a:cubicBezTo>
                    <a:pt x="26904" y="5538"/>
                    <a:pt x="27372" y="5168"/>
                    <a:pt x="27811" y="4770"/>
                  </a:cubicBezTo>
                  <a:lnTo>
                    <a:pt x="27811" y="4770"/>
                  </a:lnTo>
                  <a:cubicBezTo>
                    <a:pt x="27742" y="4850"/>
                    <a:pt x="27669" y="4937"/>
                    <a:pt x="27586" y="5041"/>
                  </a:cubicBezTo>
                  <a:cubicBezTo>
                    <a:pt x="27280" y="5428"/>
                    <a:pt x="26936" y="5792"/>
                    <a:pt x="26613" y="6161"/>
                  </a:cubicBezTo>
                  <a:cubicBezTo>
                    <a:pt x="26350" y="5971"/>
                    <a:pt x="26096" y="5745"/>
                    <a:pt x="25926" y="5506"/>
                  </a:cubicBezTo>
                  <a:cubicBezTo>
                    <a:pt x="26142" y="5286"/>
                    <a:pt x="26362" y="5073"/>
                    <a:pt x="26587" y="4865"/>
                  </a:cubicBezTo>
                  <a:lnTo>
                    <a:pt x="26587" y="4865"/>
                  </a:lnTo>
                  <a:cubicBezTo>
                    <a:pt x="26544" y="4906"/>
                    <a:pt x="26525" y="4923"/>
                    <a:pt x="26526" y="4923"/>
                  </a:cubicBezTo>
                  <a:cubicBezTo>
                    <a:pt x="26535" y="4923"/>
                    <a:pt x="27612" y="3943"/>
                    <a:pt x="27636" y="3943"/>
                  </a:cubicBezTo>
                  <a:close/>
                  <a:moveTo>
                    <a:pt x="15235" y="2905"/>
                  </a:moveTo>
                  <a:cubicBezTo>
                    <a:pt x="15407" y="3028"/>
                    <a:pt x="15582" y="3151"/>
                    <a:pt x="15754" y="3277"/>
                  </a:cubicBezTo>
                  <a:lnTo>
                    <a:pt x="15754" y="3277"/>
                  </a:lnTo>
                  <a:lnTo>
                    <a:pt x="12546" y="6486"/>
                  </a:lnTo>
                  <a:lnTo>
                    <a:pt x="12546" y="6486"/>
                  </a:lnTo>
                  <a:cubicBezTo>
                    <a:pt x="13673" y="5356"/>
                    <a:pt x="14479" y="4316"/>
                    <a:pt x="15235" y="2905"/>
                  </a:cubicBezTo>
                  <a:close/>
                  <a:moveTo>
                    <a:pt x="28247" y="5027"/>
                  </a:moveTo>
                  <a:lnTo>
                    <a:pt x="28247" y="5027"/>
                  </a:lnTo>
                  <a:cubicBezTo>
                    <a:pt x="27886" y="5526"/>
                    <a:pt x="27534" y="6030"/>
                    <a:pt x="27185" y="6535"/>
                  </a:cubicBezTo>
                  <a:lnTo>
                    <a:pt x="27185" y="6535"/>
                  </a:lnTo>
                  <a:cubicBezTo>
                    <a:pt x="27079" y="6472"/>
                    <a:pt x="26961" y="6400"/>
                    <a:pt x="26838" y="6317"/>
                  </a:cubicBezTo>
                  <a:cubicBezTo>
                    <a:pt x="26962" y="6213"/>
                    <a:pt x="27078" y="6103"/>
                    <a:pt x="27199" y="5997"/>
                  </a:cubicBezTo>
                  <a:cubicBezTo>
                    <a:pt x="27222" y="5982"/>
                    <a:pt x="27245" y="5962"/>
                    <a:pt x="27265" y="5939"/>
                  </a:cubicBezTo>
                  <a:cubicBezTo>
                    <a:pt x="27600" y="5641"/>
                    <a:pt x="27929" y="5338"/>
                    <a:pt x="28247" y="5027"/>
                  </a:cubicBezTo>
                  <a:close/>
                  <a:moveTo>
                    <a:pt x="37855" y="2555"/>
                  </a:moveTo>
                  <a:cubicBezTo>
                    <a:pt x="37298" y="3306"/>
                    <a:pt x="36703" y="4033"/>
                    <a:pt x="36114" y="4758"/>
                  </a:cubicBezTo>
                  <a:cubicBezTo>
                    <a:pt x="35730" y="5234"/>
                    <a:pt x="35205" y="6103"/>
                    <a:pt x="34642" y="6704"/>
                  </a:cubicBezTo>
                  <a:cubicBezTo>
                    <a:pt x="35014" y="5128"/>
                    <a:pt x="36712" y="3597"/>
                    <a:pt x="37852" y="2555"/>
                  </a:cubicBezTo>
                  <a:close/>
                  <a:moveTo>
                    <a:pt x="12348" y="1164"/>
                  </a:moveTo>
                  <a:cubicBezTo>
                    <a:pt x="12461" y="1219"/>
                    <a:pt x="12576" y="1271"/>
                    <a:pt x="12689" y="1328"/>
                  </a:cubicBezTo>
                  <a:cubicBezTo>
                    <a:pt x="11410" y="2645"/>
                    <a:pt x="10301" y="4062"/>
                    <a:pt x="9308" y="5572"/>
                  </a:cubicBezTo>
                  <a:cubicBezTo>
                    <a:pt x="9100" y="5748"/>
                    <a:pt x="8892" y="5922"/>
                    <a:pt x="8696" y="6092"/>
                  </a:cubicBezTo>
                  <a:cubicBezTo>
                    <a:pt x="8140" y="6564"/>
                    <a:pt x="7834" y="6757"/>
                    <a:pt x="7704" y="6757"/>
                  </a:cubicBezTo>
                  <a:cubicBezTo>
                    <a:pt x="7459" y="6757"/>
                    <a:pt x="7849" y="6064"/>
                    <a:pt x="8378" y="5272"/>
                  </a:cubicBezTo>
                  <a:cubicBezTo>
                    <a:pt x="9836" y="4013"/>
                    <a:pt x="11378" y="2864"/>
                    <a:pt x="12348" y="1164"/>
                  </a:cubicBezTo>
                  <a:close/>
                  <a:moveTo>
                    <a:pt x="35493" y="1995"/>
                  </a:moveTo>
                  <a:cubicBezTo>
                    <a:pt x="35710" y="1995"/>
                    <a:pt x="35926" y="1998"/>
                    <a:pt x="36146" y="2001"/>
                  </a:cubicBezTo>
                  <a:lnTo>
                    <a:pt x="36149" y="2001"/>
                  </a:lnTo>
                  <a:cubicBezTo>
                    <a:pt x="34509" y="3546"/>
                    <a:pt x="32771" y="5255"/>
                    <a:pt x="31385" y="6868"/>
                  </a:cubicBezTo>
                  <a:cubicBezTo>
                    <a:pt x="32748" y="5240"/>
                    <a:pt x="34214" y="3701"/>
                    <a:pt x="35493" y="1995"/>
                  </a:cubicBezTo>
                  <a:close/>
                  <a:moveTo>
                    <a:pt x="16768" y="4028"/>
                  </a:moveTo>
                  <a:lnTo>
                    <a:pt x="17236" y="4377"/>
                  </a:lnTo>
                  <a:cubicBezTo>
                    <a:pt x="16324" y="5234"/>
                    <a:pt x="15550" y="6204"/>
                    <a:pt x="14779" y="7180"/>
                  </a:cubicBezTo>
                  <a:cubicBezTo>
                    <a:pt x="15521" y="6181"/>
                    <a:pt x="16188" y="5128"/>
                    <a:pt x="16768" y="4028"/>
                  </a:cubicBezTo>
                  <a:close/>
                  <a:moveTo>
                    <a:pt x="32234" y="2448"/>
                  </a:moveTo>
                  <a:cubicBezTo>
                    <a:pt x="31212" y="4241"/>
                    <a:pt x="29425" y="5480"/>
                    <a:pt x="28264" y="7189"/>
                  </a:cubicBezTo>
                  <a:cubicBezTo>
                    <a:pt x="28193" y="7141"/>
                    <a:pt x="28125" y="7090"/>
                    <a:pt x="28051" y="7044"/>
                  </a:cubicBezTo>
                  <a:lnTo>
                    <a:pt x="28051" y="7044"/>
                  </a:lnTo>
                  <a:cubicBezTo>
                    <a:pt x="28761" y="6311"/>
                    <a:pt x="29434" y="5552"/>
                    <a:pt x="30109" y="4787"/>
                  </a:cubicBezTo>
                  <a:cubicBezTo>
                    <a:pt x="30759" y="4048"/>
                    <a:pt x="31824" y="3167"/>
                    <a:pt x="32234" y="2448"/>
                  </a:cubicBezTo>
                  <a:close/>
                  <a:moveTo>
                    <a:pt x="16029" y="3482"/>
                  </a:moveTo>
                  <a:cubicBezTo>
                    <a:pt x="16168" y="3580"/>
                    <a:pt x="16300" y="3678"/>
                    <a:pt x="16436" y="3779"/>
                  </a:cubicBezTo>
                  <a:cubicBezTo>
                    <a:pt x="15243" y="4950"/>
                    <a:pt x="14058" y="6110"/>
                    <a:pt x="12978" y="7388"/>
                  </a:cubicBezTo>
                  <a:lnTo>
                    <a:pt x="12978" y="7388"/>
                  </a:lnTo>
                  <a:cubicBezTo>
                    <a:pt x="13837" y="6370"/>
                    <a:pt x="15192" y="4873"/>
                    <a:pt x="16029" y="3482"/>
                  </a:cubicBezTo>
                  <a:close/>
                  <a:moveTo>
                    <a:pt x="36504" y="2007"/>
                  </a:moveTo>
                  <a:cubicBezTo>
                    <a:pt x="36668" y="2010"/>
                    <a:pt x="36836" y="2010"/>
                    <a:pt x="37000" y="2015"/>
                  </a:cubicBezTo>
                  <a:cubicBezTo>
                    <a:pt x="35987" y="3098"/>
                    <a:pt x="34968" y="4178"/>
                    <a:pt x="33946" y="5255"/>
                  </a:cubicBezTo>
                  <a:cubicBezTo>
                    <a:pt x="33233" y="6005"/>
                    <a:pt x="32523" y="6762"/>
                    <a:pt x="31821" y="7521"/>
                  </a:cubicBezTo>
                  <a:cubicBezTo>
                    <a:pt x="33357" y="5682"/>
                    <a:pt x="35075" y="4002"/>
                    <a:pt x="36492" y="2056"/>
                  </a:cubicBezTo>
                  <a:cubicBezTo>
                    <a:pt x="36501" y="2039"/>
                    <a:pt x="36498" y="2021"/>
                    <a:pt x="36501" y="2007"/>
                  </a:cubicBezTo>
                  <a:close/>
                  <a:moveTo>
                    <a:pt x="30623" y="5399"/>
                  </a:moveTo>
                  <a:lnTo>
                    <a:pt x="30623" y="5399"/>
                  </a:lnTo>
                  <a:cubicBezTo>
                    <a:pt x="30196" y="5852"/>
                    <a:pt x="29797" y="6331"/>
                    <a:pt x="29425" y="6837"/>
                  </a:cubicBezTo>
                  <a:cubicBezTo>
                    <a:pt x="29200" y="7076"/>
                    <a:pt x="28969" y="7313"/>
                    <a:pt x="28749" y="7561"/>
                  </a:cubicBezTo>
                  <a:cubicBezTo>
                    <a:pt x="28669" y="7487"/>
                    <a:pt x="28576" y="7430"/>
                    <a:pt x="28493" y="7365"/>
                  </a:cubicBezTo>
                  <a:lnTo>
                    <a:pt x="28493" y="7365"/>
                  </a:lnTo>
                  <a:cubicBezTo>
                    <a:pt x="29177" y="6773"/>
                    <a:pt x="29913" y="6100"/>
                    <a:pt x="30623" y="5399"/>
                  </a:cubicBezTo>
                  <a:close/>
                  <a:moveTo>
                    <a:pt x="34792" y="5543"/>
                  </a:moveTo>
                  <a:cubicBezTo>
                    <a:pt x="34526" y="6049"/>
                    <a:pt x="34344" y="6554"/>
                    <a:pt x="34304" y="7024"/>
                  </a:cubicBezTo>
                  <a:cubicBezTo>
                    <a:pt x="34191" y="7117"/>
                    <a:pt x="34067" y="7198"/>
                    <a:pt x="33937" y="7264"/>
                  </a:cubicBezTo>
                  <a:cubicBezTo>
                    <a:pt x="33853" y="7299"/>
                    <a:pt x="33853" y="7374"/>
                    <a:pt x="33894" y="7428"/>
                  </a:cubicBezTo>
                  <a:lnTo>
                    <a:pt x="33894" y="7428"/>
                  </a:lnTo>
                  <a:cubicBezTo>
                    <a:pt x="33869" y="7427"/>
                    <a:pt x="33843" y="7427"/>
                    <a:pt x="33818" y="7427"/>
                  </a:cubicBezTo>
                  <a:cubicBezTo>
                    <a:pt x="33522" y="7427"/>
                    <a:pt x="33230" y="7502"/>
                    <a:pt x="32973" y="7645"/>
                  </a:cubicBezTo>
                  <a:cubicBezTo>
                    <a:pt x="33585" y="6938"/>
                    <a:pt x="34194" y="6245"/>
                    <a:pt x="34792" y="5543"/>
                  </a:cubicBezTo>
                  <a:close/>
                  <a:moveTo>
                    <a:pt x="40886" y="2316"/>
                  </a:moveTo>
                  <a:cubicBezTo>
                    <a:pt x="40981" y="2327"/>
                    <a:pt x="41080" y="2339"/>
                    <a:pt x="41178" y="2353"/>
                  </a:cubicBezTo>
                  <a:lnTo>
                    <a:pt x="41181" y="2353"/>
                  </a:lnTo>
                  <a:cubicBezTo>
                    <a:pt x="39431" y="4134"/>
                    <a:pt x="37713" y="5945"/>
                    <a:pt x="36027" y="7781"/>
                  </a:cubicBezTo>
                  <a:cubicBezTo>
                    <a:pt x="36934" y="6791"/>
                    <a:pt x="38559" y="4824"/>
                    <a:pt x="40032" y="3222"/>
                  </a:cubicBezTo>
                  <a:cubicBezTo>
                    <a:pt x="40268" y="3107"/>
                    <a:pt x="40392" y="2974"/>
                    <a:pt x="40401" y="2821"/>
                  </a:cubicBezTo>
                  <a:cubicBezTo>
                    <a:pt x="40566" y="2645"/>
                    <a:pt x="40727" y="2477"/>
                    <a:pt x="40886" y="2316"/>
                  </a:cubicBezTo>
                  <a:close/>
                  <a:moveTo>
                    <a:pt x="38770" y="2801"/>
                  </a:moveTo>
                  <a:cubicBezTo>
                    <a:pt x="37376" y="4374"/>
                    <a:pt x="36310" y="6236"/>
                    <a:pt x="35060" y="7922"/>
                  </a:cubicBezTo>
                  <a:cubicBezTo>
                    <a:pt x="34965" y="7824"/>
                    <a:pt x="34855" y="7737"/>
                    <a:pt x="34734" y="7671"/>
                  </a:cubicBezTo>
                  <a:cubicBezTo>
                    <a:pt x="34541" y="7564"/>
                    <a:pt x="34330" y="7492"/>
                    <a:pt x="34110" y="7457"/>
                  </a:cubicBezTo>
                  <a:cubicBezTo>
                    <a:pt x="34174" y="7426"/>
                    <a:pt x="34234" y="7388"/>
                    <a:pt x="34295" y="7348"/>
                  </a:cubicBezTo>
                  <a:lnTo>
                    <a:pt x="34298" y="7351"/>
                  </a:lnTo>
                  <a:lnTo>
                    <a:pt x="34298" y="7371"/>
                  </a:lnTo>
                  <a:cubicBezTo>
                    <a:pt x="34304" y="7454"/>
                    <a:pt x="34363" y="7502"/>
                    <a:pt x="34429" y="7502"/>
                  </a:cubicBezTo>
                  <a:cubicBezTo>
                    <a:pt x="34462" y="7502"/>
                    <a:pt x="34496" y="7491"/>
                    <a:pt x="34526" y="7466"/>
                  </a:cubicBezTo>
                  <a:cubicBezTo>
                    <a:pt x="36192" y="6155"/>
                    <a:pt x="37615" y="4103"/>
                    <a:pt x="38770" y="2801"/>
                  </a:cubicBezTo>
                  <a:close/>
                  <a:moveTo>
                    <a:pt x="41735" y="2443"/>
                  </a:moveTo>
                  <a:lnTo>
                    <a:pt x="41735" y="2446"/>
                  </a:lnTo>
                  <a:cubicBezTo>
                    <a:pt x="41911" y="2474"/>
                    <a:pt x="42087" y="2498"/>
                    <a:pt x="42260" y="2529"/>
                  </a:cubicBezTo>
                  <a:cubicBezTo>
                    <a:pt x="42304" y="2538"/>
                    <a:pt x="42347" y="2552"/>
                    <a:pt x="42390" y="2561"/>
                  </a:cubicBezTo>
                  <a:cubicBezTo>
                    <a:pt x="42249" y="2717"/>
                    <a:pt x="42116" y="2876"/>
                    <a:pt x="41977" y="3032"/>
                  </a:cubicBezTo>
                  <a:cubicBezTo>
                    <a:pt x="41957" y="3016"/>
                    <a:pt x="41935" y="3008"/>
                    <a:pt x="41912" y="3008"/>
                  </a:cubicBezTo>
                  <a:cubicBezTo>
                    <a:pt x="41800" y="3008"/>
                    <a:pt x="41658" y="3203"/>
                    <a:pt x="41490" y="3592"/>
                  </a:cubicBezTo>
                  <a:cubicBezTo>
                    <a:pt x="41149" y="3984"/>
                    <a:pt x="40814" y="4380"/>
                    <a:pt x="40479" y="4778"/>
                  </a:cubicBezTo>
                  <a:cubicBezTo>
                    <a:pt x="40433" y="4827"/>
                    <a:pt x="40390" y="4882"/>
                    <a:pt x="40343" y="4931"/>
                  </a:cubicBezTo>
                  <a:cubicBezTo>
                    <a:pt x="39593" y="5774"/>
                    <a:pt x="38805" y="6583"/>
                    <a:pt x="38008" y="7379"/>
                  </a:cubicBezTo>
                  <a:cubicBezTo>
                    <a:pt x="37754" y="7628"/>
                    <a:pt x="37494" y="7867"/>
                    <a:pt x="37237" y="8110"/>
                  </a:cubicBezTo>
                  <a:cubicBezTo>
                    <a:pt x="37442" y="7818"/>
                    <a:pt x="37638" y="7521"/>
                    <a:pt x="37837" y="7244"/>
                  </a:cubicBezTo>
                  <a:cubicBezTo>
                    <a:pt x="39059" y="5526"/>
                    <a:pt x="40690" y="4264"/>
                    <a:pt x="41735" y="2443"/>
                  </a:cubicBezTo>
                  <a:close/>
                  <a:moveTo>
                    <a:pt x="15183" y="4334"/>
                  </a:moveTo>
                  <a:cubicBezTo>
                    <a:pt x="14124" y="5393"/>
                    <a:pt x="13214" y="6869"/>
                    <a:pt x="12380" y="8171"/>
                  </a:cubicBezTo>
                  <a:cubicBezTo>
                    <a:pt x="12210" y="7986"/>
                    <a:pt x="12072" y="7773"/>
                    <a:pt x="11977" y="7540"/>
                  </a:cubicBezTo>
                  <a:lnTo>
                    <a:pt x="11977" y="7540"/>
                  </a:lnTo>
                  <a:lnTo>
                    <a:pt x="15183" y="4334"/>
                  </a:lnTo>
                  <a:close/>
                  <a:moveTo>
                    <a:pt x="8670" y="6551"/>
                  </a:moveTo>
                  <a:lnTo>
                    <a:pt x="8670" y="6551"/>
                  </a:lnTo>
                  <a:cubicBezTo>
                    <a:pt x="8327" y="7114"/>
                    <a:pt x="8003" y="7694"/>
                    <a:pt x="7688" y="8283"/>
                  </a:cubicBezTo>
                  <a:cubicBezTo>
                    <a:pt x="7611" y="8015"/>
                    <a:pt x="7536" y="7739"/>
                    <a:pt x="7473" y="7451"/>
                  </a:cubicBezTo>
                  <a:lnTo>
                    <a:pt x="7473" y="7451"/>
                  </a:lnTo>
                  <a:cubicBezTo>
                    <a:pt x="7862" y="7163"/>
                    <a:pt x="8266" y="6863"/>
                    <a:pt x="8670" y="6551"/>
                  </a:cubicBezTo>
                  <a:close/>
                  <a:moveTo>
                    <a:pt x="13783" y="1937"/>
                  </a:moveTo>
                  <a:cubicBezTo>
                    <a:pt x="13953" y="2041"/>
                    <a:pt x="14121" y="2154"/>
                    <a:pt x="14291" y="2264"/>
                  </a:cubicBezTo>
                  <a:lnTo>
                    <a:pt x="14288" y="2264"/>
                  </a:lnTo>
                  <a:cubicBezTo>
                    <a:pt x="12576" y="2775"/>
                    <a:pt x="11470" y="4608"/>
                    <a:pt x="10474" y="6398"/>
                  </a:cubicBezTo>
                  <a:cubicBezTo>
                    <a:pt x="10114" y="6747"/>
                    <a:pt x="9747" y="7091"/>
                    <a:pt x="9392" y="7446"/>
                  </a:cubicBezTo>
                  <a:cubicBezTo>
                    <a:pt x="8758" y="8088"/>
                    <a:pt x="8512" y="8327"/>
                    <a:pt x="8492" y="8327"/>
                  </a:cubicBezTo>
                  <a:cubicBezTo>
                    <a:pt x="8446" y="8327"/>
                    <a:pt x="9639" y="7017"/>
                    <a:pt x="9989" y="6508"/>
                  </a:cubicBezTo>
                  <a:cubicBezTo>
                    <a:pt x="11115" y="4868"/>
                    <a:pt x="12412" y="3372"/>
                    <a:pt x="13783" y="1937"/>
                  </a:cubicBezTo>
                  <a:close/>
                  <a:moveTo>
                    <a:pt x="37142" y="6005"/>
                  </a:moveTo>
                  <a:cubicBezTo>
                    <a:pt x="36522" y="6790"/>
                    <a:pt x="35930" y="7594"/>
                    <a:pt x="35408" y="8451"/>
                  </a:cubicBezTo>
                  <a:lnTo>
                    <a:pt x="35408" y="8451"/>
                  </a:lnTo>
                  <a:cubicBezTo>
                    <a:pt x="35359" y="8345"/>
                    <a:pt x="35302" y="8245"/>
                    <a:pt x="35236" y="8147"/>
                  </a:cubicBezTo>
                  <a:cubicBezTo>
                    <a:pt x="35848" y="7411"/>
                    <a:pt x="36486" y="6704"/>
                    <a:pt x="37142" y="6005"/>
                  </a:cubicBezTo>
                  <a:close/>
                  <a:moveTo>
                    <a:pt x="33520" y="3197"/>
                  </a:moveTo>
                  <a:cubicBezTo>
                    <a:pt x="32024" y="4645"/>
                    <a:pt x="30610" y="6331"/>
                    <a:pt x="29257" y="7914"/>
                  </a:cubicBezTo>
                  <a:cubicBezTo>
                    <a:pt x="29164" y="8025"/>
                    <a:pt x="29255" y="8168"/>
                    <a:pt x="29368" y="8168"/>
                  </a:cubicBezTo>
                  <a:cubicBezTo>
                    <a:pt x="29402" y="8168"/>
                    <a:pt x="29438" y="8155"/>
                    <a:pt x="29471" y="8124"/>
                  </a:cubicBezTo>
                  <a:cubicBezTo>
                    <a:pt x="31157" y="6560"/>
                    <a:pt x="32765" y="4940"/>
                    <a:pt x="34338" y="3263"/>
                  </a:cubicBezTo>
                  <a:lnTo>
                    <a:pt x="34338" y="3263"/>
                  </a:lnTo>
                  <a:cubicBezTo>
                    <a:pt x="32676" y="5038"/>
                    <a:pt x="31039" y="6796"/>
                    <a:pt x="29529" y="8710"/>
                  </a:cubicBezTo>
                  <a:cubicBezTo>
                    <a:pt x="29471" y="8537"/>
                    <a:pt x="29393" y="8367"/>
                    <a:pt x="29298" y="8208"/>
                  </a:cubicBezTo>
                  <a:cubicBezTo>
                    <a:pt x="29200" y="8052"/>
                    <a:pt x="29084" y="7902"/>
                    <a:pt x="28960" y="7766"/>
                  </a:cubicBezTo>
                  <a:cubicBezTo>
                    <a:pt x="30391" y="6146"/>
                    <a:pt x="31965" y="4700"/>
                    <a:pt x="33520" y="3197"/>
                  </a:cubicBezTo>
                  <a:close/>
                  <a:moveTo>
                    <a:pt x="17568" y="4619"/>
                  </a:moveTo>
                  <a:cubicBezTo>
                    <a:pt x="18099" y="5012"/>
                    <a:pt x="18632" y="5396"/>
                    <a:pt x="19183" y="5756"/>
                  </a:cubicBezTo>
                  <a:lnTo>
                    <a:pt x="19183" y="5756"/>
                  </a:lnTo>
                  <a:cubicBezTo>
                    <a:pt x="19120" y="5868"/>
                    <a:pt x="19063" y="5977"/>
                    <a:pt x="19008" y="6077"/>
                  </a:cubicBezTo>
                  <a:cubicBezTo>
                    <a:pt x="18981" y="6125"/>
                    <a:pt x="19021" y="6169"/>
                    <a:pt x="19062" y="6169"/>
                  </a:cubicBezTo>
                  <a:cubicBezTo>
                    <a:pt x="19081" y="6169"/>
                    <a:pt x="19100" y="6160"/>
                    <a:pt x="19112" y="6138"/>
                  </a:cubicBezTo>
                  <a:cubicBezTo>
                    <a:pt x="19182" y="6043"/>
                    <a:pt x="19248" y="5942"/>
                    <a:pt x="19317" y="5844"/>
                  </a:cubicBezTo>
                  <a:lnTo>
                    <a:pt x="19390" y="5890"/>
                  </a:lnTo>
                  <a:cubicBezTo>
                    <a:pt x="18596" y="6906"/>
                    <a:pt x="17810" y="7931"/>
                    <a:pt x="16999" y="8936"/>
                  </a:cubicBezTo>
                  <a:cubicBezTo>
                    <a:pt x="17628" y="7986"/>
                    <a:pt x="18243" y="7024"/>
                    <a:pt x="18844" y="6057"/>
                  </a:cubicBezTo>
                  <a:cubicBezTo>
                    <a:pt x="18914" y="5946"/>
                    <a:pt x="18809" y="5791"/>
                    <a:pt x="18692" y="5791"/>
                  </a:cubicBezTo>
                  <a:cubicBezTo>
                    <a:pt x="18664" y="5791"/>
                    <a:pt x="18635" y="5800"/>
                    <a:pt x="18607" y="5820"/>
                  </a:cubicBezTo>
                  <a:cubicBezTo>
                    <a:pt x="18376" y="5991"/>
                    <a:pt x="18145" y="6167"/>
                    <a:pt x="17914" y="6343"/>
                  </a:cubicBezTo>
                  <a:cubicBezTo>
                    <a:pt x="18047" y="6103"/>
                    <a:pt x="18177" y="5864"/>
                    <a:pt x="18304" y="5627"/>
                  </a:cubicBezTo>
                  <a:cubicBezTo>
                    <a:pt x="18367" y="5510"/>
                    <a:pt x="18272" y="5360"/>
                    <a:pt x="18153" y="5360"/>
                  </a:cubicBezTo>
                  <a:cubicBezTo>
                    <a:pt x="18125" y="5360"/>
                    <a:pt x="18096" y="5368"/>
                    <a:pt x="18067" y="5387"/>
                  </a:cubicBezTo>
                  <a:cubicBezTo>
                    <a:pt x="17383" y="5849"/>
                    <a:pt x="16768" y="6372"/>
                    <a:pt x="16185" y="6929"/>
                  </a:cubicBezTo>
                  <a:cubicBezTo>
                    <a:pt x="16733" y="6216"/>
                    <a:pt x="17198" y="5439"/>
                    <a:pt x="17568" y="4619"/>
                  </a:cubicBezTo>
                  <a:close/>
                  <a:moveTo>
                    <a:pt x="12822" y="2503"/>
                  </a:moveTo>
                  <a:lnTo>
                    <a:pt x="12822" y="2503"/>
                  </a:lnTo>
                  <a:cubicBezTo>
                    <a:pt x="10939" y="4464"/>
                    <a:pt x="9366" y="6750"/>
                    <a:pt x="7948" y="9063"/>
                  </a:cubicBezTo>
                  <a:cubicBezTo>
                    <a:pt x="7899" y="8930"/>
                    <a:pt x="7850" y="8791"/>
                    <a:pt x="7801" y="8647"/>
                  </a:cubicBezTo>
                  <a:cubicBezTo>
                    <a:pt x="7810" y="8641"/>
                    <a:pt x="7821" y="8641"/>
                    <a:pt x="7827" y="8632"/>
                  </a:cubicBezTo>
                  <a:cubicBezTo>
                    <a:pt x="8771" y="7264"/>
                    <a:pt x="10099" y="5595"/>
                    <a:pt x="11280" y="4221"/>
                  </a:cubicBezTo>
                  <a:cubicBezTo>
                    <a:pt x="11407" y="4083"/>
                    <a:pt x="11525" y="3941"/>
                    <a:pt x="11644" y="3797"/>
                  </a:cubicBezTo>
                  <a:cubicBezTo>
                    <a:pt x="12077" y="3303"/>
                    <a:pt x="12478" y="2858"/>
                    <a:pt x="12822" y="2503"/>
                  </a:cubicBezTo>
                  <a:close/>
                  <a:moveTo>
                    <a:pt x="14770" y="2578"/>
                  </a:moveTo>
                  <a:cubicBezTo>
                    <a:pt x="14828" y="2619"/>
                    <a:pt x="14886" y="2659"/>
                    <a:pt x="14944" y="2700"/>
                  </a:cubicBezTo>
                  <a:cubicBezTo>
                    <a:pt x="12966" y="4784"/>
                    <a:pt x="11069" y="6995"/>
                    <a:pt x="9250" y="9115"/>
                  </a:cubicBezTo>
                  <a:cubicBezTo>
                    <a:pt x="10015" y="8220"/>
                    <a:pt x="10607" y="7183"/>
                    <a:pt x="11205" y="6150"/>
                  </a:cubicBezTo>
                  <a:cubicBezTo>
                    <a:pt x="12406" y="4975"/>
                    <a:pt x="13627" y="3817"/>
                    <a:pt x="14770" y="2578"/>
                  </a:cubicBezTo>
                  <a:close/>
                  <a:moveTo>
                    <a:pt x="14415" y="3822"/>
                  </a:moveTo>
                  <a:cubicBezTo>
                    <a:pt x="14558" y="3822"/>
                    <a:pt x="12588" y="6205"/>
                    <a:pt x="11840" y="7151"/>
                  </a:cubicBezTo>
                  <a:cubicBezTo>
                    <a:pt x="11820" y="7082"/>
                    <a:pt x="11800" y="7019"/>
                    <a:pt x="11776" y="6941"/>
                  </a:cubicBezTo>
                  <a:cubicBezTo>
                    <a:pt x="11753" y="6856"/>
                    <a:pt x="11691" y="6819"/>
                    <a:pt x="11625" y="6819"/>
                  </a:cubicBezTo>
                  <a:cubicBezTo>
                    <a:pt x="11554" y="6819"/>
                    <a:pt x="11479" y="6864"/>
                    <a:pt x="11447" y="6941"/>
                  </a:cubicBezTo>
                  <a:cubicBezTo>
                    <a:pt x="10925" y="8240"/>
                    <a:pt x="10229" y="9167"/>
                    <a:pt x="9008" y="9412"/>
                  </a:cubicBezTo>
                  <a:lnTo>
                    <a:pt x="13411" y="4793"/>
                  </a:lnTo>
                  <a:cubicBezTo>
                    <a:pt x="14075" y="4096"/>
                    <a:pt x="14367" y="3822"/>
                    <a:pt x="14415" y="3822"/>
                  </a:cubicBezTo>
                  <a:close/>
                  <a:moveTo>
                    <a:pt x="41400" y="2460"/>
                  </a:moveTo>
                  <a:cubicBezTo>
                    <a:pt x="40759" y="3768"/>
                    <a:pt x="39544" y="4822"/>
                    <a:pt x="38556" y="5872"/>
                  </a:cubicBezTo>
                  <a:lnTo>
                    <a:pt x="38559" y="5872"/>
                  </a:lnTo>
                  <a:cubicBezTo>
                    <a:pt x="37710" y="6782"/>
                    <a:pt x="37055" y="7839"/>
                    <a:pt x="36273" y="8797"/>
                  </a:cubicBezTo>
                  <a:cubicBezTo>
                    <a:pt x="36253" y="8814"/>
                    <a:pt x="36238" y="8832"/>
                    <a:pt x="36224" y="8855"/>
                  </a:cubicBezTo>
                  <a:cubicBezTo>
                    <a:pt x="36062" y="9048"/>
                    <a:pt x="35900" y="9239"/>
                    <a:pt x="35727" y="9421"/>
                  </a:cubicBezTo>
                  <a:cubicBezTo>
                    <a:pt x="35661" y="9178"/>
                    <a:pt x="35594" y="8933"/>
                    <a:pt x="35511" y="8696"/>
                  </a:cubicBezTo>
                  <a:lnTo>
                    <a:pt x="35511" y="8696"/>
                  </a:lnTo>
                  <a:cubicBezTo>
                    <a:pt x="35513" y="8696"/>
                    <a:pt x="35516" y="8696"/>
                    <a:pt x="35518" y="8696"/>
                  </a:cubicBezTo>
                  <a:cubicBezTo>
                    <a:pt x="35551" y="8696"/>
                    <a:pt x="35584" y="8680"/>
                    <a:pt x="35606" y="8656"/>
                  </a:cubicBezTo>
                  <a:cubicBezTo>
                    <a:pt x="36639" y="7515"/>
                    <a:pt x="37687" y="6392"/>
                    <a:pt x="38750" y="5281"/>
                  </a:cubicBezTo>
                  <a:cubicBezTo>
                    <a:pt x="39544" y="4446"/>
                    <a:pt x="40898" y="3482"/>
                    <a:pt x="41400" y="2460"/>
                  </a:cubicBezTo>
                  <a:close/>
                  <a:moveTo>
                    <a:pt x="9874" y="7483"/>
                  </a:moveTo>
                  <a:lnTo>
                    <a:pt x="9874" y="7483"/>
                  </a:lnTo>
                  <a:cubicBezTo>
                    <a:pt x="9478" y="8176"/>
                    <a:pt x="9089" y="8814"/>
                    <a:pt x="8664" y="9305"/>
                  </a:cubicBezTo>
                  <a:lnTo>
                    <a:pt x="8664" y="9308"/>
                  </a:lnTo>
                  <a:cubicBezTo>
                    <a:pt x="8627" y="9351"/>
                    <a:pt x="8618" y="9415"/>
                    <a:pt x="8641" y="9467"/>
                  </a:cubicBezTo>
                  <a:cubicBezTo>
                    <a:pt x="8520" y="9479"/>
                    <a:pt x="8398" y="9484"/>
                    <a:pt x="8276" y="9484"/>
                  </a:cubicBezTo>
                  <a:cubicBezTo>
                    <a:pt x="8222" y="9484"/>
                    <a:pt x="8169" y="9483"/>
                    <a:pt x="8116" y="9481"/>
                  </a:cubicBezTo>
                  <a:cubicBezTo>
                    <a:pt x="8113" y="9473"/>
                    <a:pt x="8107" y="9461"/>
                    <a:pt x="8104" y="9452"/>
                  </a:cubicBezTo>
                  <a:cubicBezTo>
                    <a:pt x="8664" y="8765"/>
                    <a:pt x="9259" y="8116"/>
                    <a:pt x="9874" y="7483"/>
                  </a:cubicBezTo>
                  <a:close/>
                  <a:moveTo>
                    <a:pt x="42719" y="2639"/>
                  </a:moveTo>
                  <a:cubicBezTo>
                    <a:pt x="42861" y="2674"/>
                    <a:pt x="43005" y="2714"/>
                    <a:pt x="43147" y="2760"/>
                  </a:cubicBezTo>
                  <a:lnTo>
                    <a:pt x="43150" y="2760"/>
                  </a:lnTo>
                  <a:cubicBezTo>
                    <a:pt x="42976" y="2962"/>
                    <a:pt x="42803" y="3162"/>
                    <a:pt x="42630" y="3364"/>
                  </a:cubicBezTo>
                  <a:cubicBezTo>
                    <a:pt x="42609" y="3348"/>
                    <a:pt x="42587" y="3341"/>
                    <a:pt x="42564" y="3341"/>
                  </a:cubicBezTo>
                  <a:cubicBezTo>
                    <a:pt x="42448" y="3341"/>
                    <a:pt x="42309" y="3533"/>
                    <a:pt x="42148" y="3921"/>
                  </a:cubicBezTo>
                  <a:cubicBezTo>
                    <a:pt x="41695" y="4446"/>
                    <a:pt x="41247" y="4975"/>
                    <a:pt x="40805" y="5509"/>
                  </a:cubicBezTo>
                  <a:cubicBezTo>
                    <a:pt x="39601" y="6848"/>
                    <a:pt x="37918" y="8407"/>
                    <a:pt x="37107" y="9542"/>
                  </a:cubicBezTo>
                  <a:cubicBezTo>
                    <a:pt x="38279" y="7899"/>
                    <a:pt x="39549" y="6334"/>
                    <a:pt x="40854" y="4796"/>
                  </a:cubicBezTo>
                  <a:cubicBezTo>
                    <a:pt x="41487" y="4088"/>
                    <a:pt x="42110" y="3369"/>
                    <a:pt x="42719" y="2639"/>
                  </a:cubicBezTo>
                  <a:close/>
                  <a:moveTo>
                    <a:pt x="35258" y="3129"/>
                  </a:moveTo>
                  <a:cubicBezTo>
                    <a:pt x="35294" y="3129"/>
                    <a:pt x="35137" y="3342"/>
                    <a:pt x="34668" y="3898"/>
                  </a:cubicBezTo>
                  <a:cubicBezTo>
                    <a:pt x="32970" y="5904"/>
                    <a:pt x="31148" y="7749"/>
                    <a:pt x="29635" y="9900"/>
                  </a:cubicBezTo>
                  <a:cubicBezTo>
                    <a:pt x="29682" y="9608"/>
                    <a:pt x="29676" y="9308"/>
                    <a:pt x="29618" y="9016"/>
                  </a:cubicBezTo>
                  <a:lnTo>
                    <a:pt x="29621" y="9016"/>
                  </a:lnTo>
                  <a:cubicBezTo>
                    <a:pt x="29647" y="9014"/>
                    <a:pt x="29667" y="9002"/>
                    <a:pt x="29685" y="8985"/>
                  </a:cubicBezTo>
                  <a:cubicBezTo>
                    <a:pt x="30727" y="7735"/>
                    <a:pt x="31809" y="6568"/>
                    <a:pt x="32958" y="5413"/>
                  </a:cubicBezTo>
                  <a:cubicBezTo>
                    <a:pt x="32998" y="5374"/>
                    <a:pt x="35142" y="3129"/>
                    <a:pt x="35258" y="3129"/>
                  </a:cubicBezTo>
                  <a:close/>
                  <a:moveTo>
                    <a:pt x="43401" y="2850"/>
                  </a:moveTo>
                  <a:lnTo>
                    <a:pt x="43401" y="2850"/>
                  </a:lnTo>
                  <a:cubicBezTo>
                    <a:pt x="43626" y="2933"/>
                    <a:pt x="43845" y="3026"/>
                    <a:pt x="44059" y="3133"/>
                  </a:cubicBezTo>
                  <a:cubicBezTo>
                    <a:pt x="42448" y="4712"/>
                    <a:pt x="40944" y="6389"/>
                    <a:pt x="39414" y="8046"/>
                  </a:cubicBezTo>
                  <a:cubicBezTo>
                    <a:pt x="38888" y="8615"/>
                    <a:pt x="38034" y="9499"/>
                    <a:pt x="37736" y="9949"/>
                  </a:cubicBezTo>
                  <a:cubicBezTo>
                    <a:pt x="38553" y="8710"/>
                    <a:pt x="39492" y="7550"/>
                    <a:pt x="40427" y="6398"/>
                  </a:cubicBezTo>
                  <a:cubicBezTo>
                    <a:pt x="40733" y="6020"/>
                    <a:pt x="41056" y="5656"/>
                    <a:pt x="41374" y="5286"/>
                  </a:cubicBezTo>
                  <a:cubicBezTo>
                    <a:pt x="42047" y="4516"/>
                    <a:pt x="42714" y="3736"/>
                    <a:pt x="43372" y="2951"/>
                  </a:cubicBezTo>
                  <a:cubicBezTo>
                    <a:pt x="43392" y="2922"/>
                    <a:pt x="43404" y="2884"/>
                    <a:pt x="43401" y="2850"/>
                  </a:cubicBezTo>
                  <a:close/>
                  <a:moveTo>
                    <a:pt x="16054" y="4697"/>
                  </a:moveTo>
                  <a:lnTo>
                    <a:pt x="16054" y="4697"/>
                  </a:lnTo>
                  <a:cubicBezTo>
                    <a:pt x="15049" y="6645"/>
                    <a:pt x="13447" y="8318"/>
                    <a:pt x="12062" y="10030"/>
                  </a:cubicBezTo>
                  <a:cubicBezTo>
                    <a:pt x="12189" y="9646"/>
                    <a:pt x="12432" y="9253"/>
                    <a:pt x="12827" y="8858"/>
                  </a:cubicBezTo>
                  <a:cubicBezTo>
                    <a:pt x="12891" y="8791"/>
                    <a:pt x="12891" y="8684"/>
                    <a:pt x="12827" y="8621"/>
                  </a:cubicBezTo>
                  <a:cubicBezTo>
                    <a:pt x="12761" y="8554"/>
                    <a:pt x="12700" y="8497"/>
                    <a:pt x="12643" y="8442"/>
                  </a:cubicBezTo>
                  <a:cubicBezTo>
                    <a:pt x="13537" y="7317"/>
                    <a:pt x="15635" y="5506"/>
                    <a:pt x="16054" y="4697"/>
                  </a:cubicBezTo>
                  <a:close/>
                  <a:moveTo>
                    <a:pt x="44348" y="3274"/>
                  </a:moveTo>
                  <a:cubicBezTo>
                    <a:pt x="44530" y="3378"/>
                    <a:pt x="44703" y="3491"/>
                    <a:pt x="44873" y="3609"/>
                  </a:cubicBezTo>
                  <a:cubicBezTo>
                    <a:pt x="43155" y="5789"/>
                    <a:pt x="41403" y="7931"/>
                    <a:pt x="39336" y="9787"/>
                  </a:cubicBezTo>
                  <a:cubicBezTo>
                    <a:pt x="38774" y="10292"/>
                    <a:pt x="38498" y="10495"/>
                    <a:pt x="38418" y="10495"/>
                  </a:cubicBezTo>
                  <a:cubicBezTo>
                    <a:pt x="38123" y="10495"/>
                    <a:pt x="40460" y="7764"/>
                    <a:pt x="40950" y="7183"/>
                  </a:cubicBezTo>
                  <a:cubicBezTo>
                    <a:pt x="42064" y="5867"/>
                    <a:pt x="43233" y="4596"/>
                    <a:pt x="44348" y="3280"/>
                  </a:cubicBezTo>
                  <a:cubicBezTo>
                    <a:pt x="44348" y="3277"/>
                    <a:pt x="44345" y="3274"/>
                    <a:pt x="44348" y="3274"/>
                  </a:cubicBezTo>
                  <a:close/>
                  <a:moveTo>
                    <a:pt x="21820" y="3566"/>
                  </a:moveTo>
                  <a:cubicBezTo>
                    <a:pt x="22106" y="3953"/>
                    <a:pt x="22360" y="4671"/>
                    <a:pt x="22548" y="5318"/>
                  </a:cubicBezTo>
                  <a:cubicBezTo>
                    <a:pt x="20974" y="7004"/>
                    <a:pt x="19678" y="8898"/>
                    <a:pt x="18304" y="10731"/>
                  </a:cubicBezTo>
                  <a:cubicBezTo>
                    <a:pt x="19684" y="8860"/>
                    <a:pt x="20946" y="6903"/>
                    <a:pt x="22077" y="4871"/>
                  </a:cubicBezTo>
                  <a:cubicBezTo>
                    <a:pt x="22148" y="4746"/>
                    <a:pt x="22034" y="4602"/>
                    <a:pt x="21917" y="4602"/>
                  </a:cubicBezTo>
                  <a:cubicBezTo>
                    <a:pt x="21877" y="4602"/>
                    <a:pt x="21836" y="4619"/>
                    <a:pt x="21803" y="4660"/>
                  </a:cubicBezTo>
                  <a:cubicBezTo>
                    <a:pt x="21379" y="5162"/>
                    <a:pt x="20946" y="5659"/>
                    <a:pt x="20510" y="6155"/>
                  </a:cubicBezTo>
                  <a:cubicBezTo>
                    <a:pt x="20980" y="5298"/>
                    <a:pt x="21413" y="4429"/>
                    <a:pt x="21820" y="3566"/>
                  </a:cubicBezTo>
                  <a:close/>
                  <a:moveTo>
                    <a:pt x="47959" y="7047"/>
                  </a:moveTo>
                  <a:cubicBezTo>
                    <a:pt x="48159" y="7189"/>
                    <a:pt x="48352" y="7339"/>
                    <a:pt x="48542" y="7501"/>
                  </a:cubicBezTo>
                  <a:cubicBezTo>
                    <a:pt x="47209" y="8613"/>
                    <a:pt x="46033" y="9842"/>
                    <a:pt x="44843" y="11103"/>
                  </a:cubicBezTo>
                  <a:lnTo>
                    <a:pt x="44843" y="11103"/>
                  </a:lnTo>
                  <a:cubicBezTo>
                    <a:pt x="46022" y="9852"/>
                    <a:pt x="47013" y="8481"/>
                    <a:pt x="47959" y="7047"/>
                  </a:cubicBezTo>
                  <a:close/>
                  <a:moveTo>
                    <a:pt x="41022" y="6678"/>
                  </a:moveTo>
                  <a:lnTo>
                    <a:pt x="41022" y="6678"/>
                  </a:lnTo>
                  <a:cubicBezTo>
                    <a:pt x="39818" y="8078"/>
                    <a:pt x="38649" y="9504"/>
                    <a:pt x="37644" y="11072"/>
                  </a:cubicBezTo>
                  <a:cubicBezTo>
                    <a:pt x="37633" y="11089"/>
                    <a:pt x="37630" y="11112"/>
                    <a:pt x="37630" y="11133"/>
                  </a:cubicBezTo>
                  <a:cubicBezTo>
                    <a:pt x="37194" y="10945"/>
                    <a:pt x="36709" y="10801"/>
                    <a:pt x="36460" y="10656"/>
                  </a:cubicBezTo>
                  <a:cubicBezTo>
                    <a:pt x="36117" y="10457"/>
                    <a:pt x="35946" y="10116"/>
                    <a:pt x="35822" y="9735"/>
                  </a:cubicBezTo>
                  <a:cubicBezTo>
                    <a:pt x="36723" y="8979"/>
                    <a:pt x="37578" y="8173"/>
                    <a:pt x="38412" y="7353"/>
                  </a:cubicBezTo>
                  <a:lnTo>
                    <a:pt x="38412" y="7353"/>
                  </a:lnTo>
                  <a:cubicBezTo>
                    <a:pt x="37713" y="8260"/>
                    <a:pt x="37023" y="9172"/>
                    <a:pt x="36354" y="10105"/>
                  </a:cubicBezTo>
                  <a:cubicBezTo>
                    <a:pt x="36279" y="10205"/>
                    <a:pt x="36381" y="10311"/>
                    <a:pt x="36483" y="10311"/>
                  </a:cubicBezTo>
                  <a:cubicBezTo>
                    <a:pt x="36516" y="10311"/>
                    <a:pt x="36549" y="10300"/>
                    <a:pt x="36576" y="10275"/>
                  </a:cubicBezTo>
                  <a:lnTo>
                    <a:pt x="36579" y="10275"/>
                  </a:lnTo>
                  <a:cubicBezTo>
                    <a:pt x="37237" y="9666"/>
                    <a:pt x="37878" y="9037"/>
                    <a:pt x="38501" y="8396"/>
                  </a:cubicBezTo>
                  <a:lnTo>
                    <a:pt x="38501" y="8396"/>
                  </a:lnTo>
                  <a:cubicBezTo>
                    <a:pt x="37982" y="9094"/>
                    <a:pt x="37477" y="9805"/>
                    <a:pt x="36994" y="10532"/>
                  </a:cubicBezTo>
                  <a:cubicBezTo>
                    <a:pt x="36923" y="10640"/>
                    <a:pt x="37024" y="10752"/>
                    <a:pt x="37129" y="10752"/>
                  </a:cubicBezTo>
                  <a:cubicBezTo>
                    <a:pt x="37164" y="10752"/>
                    <a:pt x="37199" y="10740"/>
                    <a:pt x="37228" y="10711"/>
                  </a:cubicBezTo>
                  <a:cubicBezTo>
                    <a:pt x="38496" y="9475"/>
                    <a:pt x="39801" y="8058"/>
                    <a:pt x="41022" y="6678"/>
                  </a:cubicBezTo>
                  <a:close/>
                  <a:moveTo>
                    <a:pt x="45119" y="3800"/>
                  </a:moveTo>
                  <a:cubicBezTo>
                    <a:pt x="45315" y="3955"/>
                    <a:pt x="45502" y="4126"/>
                    <a:pt x="45679" y="4305"/>
                  </a:cubicBezTo>
                  <a:lnTo>
                    <a:pt x="45679" y="4308"/>
                  </a:lnTo>
                  <a:cubicBezTo>
                    <a:pt x="44437" y="5488"/>
                    <a:pt x="43279" y="6741"/>
                    <a:pt x="42136" y="8020"/>
                  </a:cubicBezTo>
                  <a:cubicBezTo>
                    <a:pt x="41209" y="9054"/>
                    <a:pt x="39878" y="10150"/>
                    <a:pt x="39186" y="11281"/>
                  </a:cubicBezTo>
                  <a:lnTo>
                    <a:pt x="39186" y="11281"/>
                  </a:lnTo>
                  <a:cubicBezTo>
                    <a:pt x="40843" y="8567"/>
                    <a:pt x="43348" y="6449"/>
                    <a:pt x="45119" y="3800"/>
                  </a:cubicBezTo>
                  <a:close/>
                  <a:moveTo>
                    <a:pt x="16676" y="7787"/>
                  </a:moveTo>
                  <a:lnTo>
                    <a:pt x="16676" y="7787"/>
                  </a:lnTo>
                  <a:cubicBezTo>
                    <a:pt x="16029" y="8863"/>
                    <a:pt x="15296" y="9877"/>
                    <a:pt x="14508" y="10858"/>
                  </a:cubicBezTo>
                  <a:cubicBezTo>
                    <a:pt x="14139" y="11316"/>
                    <a:pt x="13950" y="11493"/>
                    <a:pt x="13881" y="11493"/>
                  </a:cubicBezTo>
                  <a:cubicBezTo>
                    <a:pt x="13671" y="11493"/>
                    <a:pt x="14566" y="9861"/>
                    <a:pt x="14909" y="9464"/>
                  </a:cubicBezTo>
                  <a:cubicBezTo>
                    <a:pt x="15434" y="8852"/>
                    <a:pt x="16052" y="8312"/>
                    <a:pt x="16676" y="7787"/>
                  </a:cubicBezTo>
                  <a:close/>
                  <a:moveTo>
                    <a:pt x="16973" y="5182"/>
                  </a:moveTo>
                  <a:lnTo>
                    <a:pt x="16973" y="5182"/>
                  </a:lnTo>
                  <a:cubicBezTo>
                    <a:pt x="16578" y="6121"/>
                    <a:pt x="15986" y="6984"/>
                    <a:pt x="15322" y="7810"/>
                  </a:cubicBezTo>
                  <a:cubicBezTo>
                    <a:pt x="14799" y="8381"/>
                    <a:pt x="14297" y="8973"/>
                    <a:pt x="13803" y="9579"/>
                  </a:cubicBezTo>
                  <a:cubicBezTo>
                    <a:pt x="13237" y="10220"/>
                    <a:pt x="12683" y="10861"/>
                    <a:pt x="12192" y="11522"/>
                  </a:cubicBezTo>
                  <a:cubicBezTo>
                    <a:pt x="12042" y="11251"/>
                    <a:pt x="11961" y="10948"/>
                    <a:pt x="11961" y="10642"/>
                  </a:cubicBezTo>
                  <a:cubicBezTo>
                    <a:pt x="11981" y="10633"/>
                    <a:pt x="12005" y="10636"/>
                    <a:pt x="12028" y="10619"/>
                  </a:cubicBezTo>
                  <a:cubicBezTo>
                    <a:pt x="13520" y="9441"/>
                    <a:pt x="16300" y="6773"/>
                    <a:pt x="16973" y="5182"/>
                  </a:cubicBezTo>
                  <a:close/>
                  <a:moveTo>
                    <a:pt x="40297" y="9299"/>
                  </a:moveTo>
                  <a:cubicBezTo>
                    <a:pt x="39656" y="10105"/>
                    <a:pt x="39041" y="10930"/>
                    <a:pt x="38501" y="11820"/>
                  </a:cubicBezTo>
                  <a:lnTo>
                    <a:pt x="38501" y="11823"/>
                  </a:lnTo>
                  <a:cubicBezTo>
                    <a:pt x="38493" y="11837"/>
                    <a:pt x="38499" y="11851"/>
                    <a:pt x="38493" y="11866"/>
                  </a:cubicBezTo>
                  <a:cubicBezTo>
                    <a:pt x="38478" y="11828"/>
                    <a:pt x="38470" y="11782"/>
                    <a:pt x="38452" y="11745"/>
                  </a:cubicBezTo>
                  <a:cubicBezTo>
                    <a:pt x="38366" y="11545"/>
                    <a:pt x="38144" y="11387"/>
                    <a:pt x="37875" y="11248"/>
                  </a:cubicBezTo>
                  <a:cubicBezTo>
                    <a:pt x="38741" y="10668"/>
                    <a:pt x="39541" y="10007"/>
                    <a:pt x="40297" y="9299"/>
                  </a:cubicBezTo>
                  <a:close/>
                  <a:moveTo>
                    <a:pt x="46608" y="5636"/>
                  </a:moveTo>
                  <a:cubicBezTo>
                    <a:pt x="46656" y="5732"/>
                    <a:pt x="46718" y="5814"/>
                    <a:pt x="46761" y="5915"/>
                  </a:cubicBezTo>
                  <a:lnTo>
                    <a:pt x="46761" y="5915"/>
                  </a:lnTo>
                  <a:cubicBezTo>
                    <a:pt x="46723" y="5824"/>
                    <a:pt x="46710" y="5786"/>
                    <a:pt x="46715" y="5786"/>
                  </a:cubicBezTo>
                  <a:cubicBezTo>
                    <a:pt x="46740" y="5786"/>
                    <a:pt x="47114" y="6498"/>
                    <a:pt x="47252" y="6580"/>
                  </a:cubicBezTo>
                  <a:cubicBezTo>
                    <a:pt x="47396" y="6663"/>
                    <a:pt x="47538" y="6759"/>
                    <a:pt x="47679" y="6857"/>
                  </a:cubicBezTo>
                  <a:lnTo>
                    <a:pt x="43770" y="10763"/>
                  </a:lnTo>
                  <a:cubicBezTo>
                    <a:pt x="45015" y="9519"/>
                    <a:pt x="46039" y="8017"/>
                    <a:pt x="47053" y="6583"/>
                  </a:cubicBezTo>
                  <a:cubicBezTo>
                    <a:pt x="47127" y="6478"/>
                    <a:pt x="47025" y="6367"/>
                    <a:pt x="46921" y="6367"/>
                  </a:cubicBezTo>
                  <a:cubicBezTo>
                    <a:pt x="46887" y="6367"/>
                    <a:pt x="46853" y="6379"/>
                    <a:pt x="46825" y="6407"/>
                  </a:cubicBezTo>
                  <a:cubicBezTo>
                    <a:pt x="45038" y="8162"/>
                    <a:pt x="43363" y="10015"/>
                    <a:pt x="41677" y="11869"/>
                  </a:cubicBezTo>
                  <a:cubicBezTo>
                    <a:pt x="43343" y="9807"/>
                    <a:pt x="44994" y="7735"/>
                    <a:pt x="46608" y="5636"/>
                  </a:cubicBezTo>
                  <a:close/>
                  <a:moveTo>
                    <a:pt x="48753" y="7685"/>
                  </a:moveTo>
                  <a:cubicBezTo>
                    <a:pt x="48941" y="7850"/>
                    <a:pt x="49126" y="8020"/>
                    <a:pt x="49308" y="8199"/>
                  </a:cubicBezTo>
                  <a:cubicBezTo>
                    <a:pt x="47974" y="9346"/>
                    <a:pt x="46721" y="10665"/>
                    <a:pt x="45702" y="11877"/>
                  </a:cubicBezTo>
                  <a:cubicBezTo>
                    <a:pt x="46813" y="10555"/>
                    <a:pt x="47795" y="9123"/>
                    <a:pt x="48753" y="7685"/>
                  </a:cubicBezTo>
                  <a:close/>
                  <a:moveTo>
                    <a:pt x="47070" y="7859"/>
                  </a:moveTo>
                  <a:lnTo>
                    <a:pt x="47070" y="7859"/>
                  </a:lnTo>
                  <a:cubicBezTo>
                    <a:pt x="46169" y="8760"/>
                    <a:pt x="45023" y="10555"/>
                    <a:pt x="44013" y="11889"/>
                  </a:cubicBezTo>
                  <a:cubicBezTo>
                    <a:pt x="43773" y="11788"/>
                    <a:pt x="43528" y="11710"/>
                    <a:pt x="43274" y="11658"/>
                  </a:cubicBezTo>
                  <a:lnTo>
                    <a:pt x="43271" y="11658"/>
                  </a:lnTo>
                  <a:lnTo>
                    <a:pt x="47070" y="7859"/>
                  </a:lnTo>
                  <a:close/>
                  <a:moveTo>
                    <a:pt x="17648" y="6045"/>
                  </a:moveTo>
                  <a:cubicBezTo>
                    <a:pt x="17761" y="6045"/>
                    <a:pt x="17541" y="6430"/>
                    <a:pt x="17285" y="6837"/>
                  </a:cubicBezTo>
                  <a:cubicBezTo>
                    <a:pt x="15409" y="8314"/>
                    <a:pt x="13642" y="9980"/>
                    <a:pt x="12762" y="12211"/>
                  </a:cubicBezTo>
                  <a:lnTo>
                    <a:pt x="12762" y="12211"/>
                  </a:lnTo>
                  <a:cubicBezTo>
                    <a:pt x="12627" y="12098"/>
                    <a:pt x="12506" y="11972"/>
                    <a:pt x="12397" y="11837"/>
                  </a:cubicBezTo>
                  <a:cubicBezTo>
                    <a:pt x="13792" y="10183"/>
                    <a:pt x="15097" y="8471"/>
                    <a:pt x="16624" y="6929"/>
                  </a:cubicBezTo>
                  <a:cubicBezTo>
                    <a:pt x="17265" y="6281"/>
                    <a:pt x="17559" y="6045"/>
                    <a:pt x="17648" y="6045"/>
                  </a:cubicBezTo>
                  <a:close/>
                  <a:moveTo>
                    <a:pt x="32124" y="8566"/>
                  </a:moveTo>
                  <a:cubicBezTo>
                    <a:pt x="32150" y="8598"/>
                    <a:pt x="32185" y="8624"/>
                    <a:pt x="32225" y="8638"/>
                  </a:cubicBezTo>
                  <a:cubicBezTo>
                    <a:pt x="32318" y="9152"/>
                    <a:pt x="32447" y="9654"/>
                    <a:pt x="32577" y="10154"/>
                  </a:cubicBezTo>
                  <a:cubicBezTo>
                    <a:pt x="32548" y="10130"/>
                    <a:pt x="32514" y="10114"/>
                    <a:pt x="32479" y="10114"/>
                  </a:cubicBezTo>
                  <a:cubicBezTo>
                    <a:pt x="32455" y="10114"/>
                    <a:pt x="32431" y="10122"/>
                    <a:pt x="32407" y="10139"/>
                  </a:cubicBezTo>
                  <a:lnTo>
                    <a:pt x="32404" y="10142"/>
                  </a:lnTo>
                  <a:cubicBezTo>
                    <a:pt x="31215" y="11032"/>
                    <a:pt x="31694" y="10616"/>
                    <a:pt x="30623" y="11672"/>
                  </a:cubicBezTo>
                  <a:cubicBezTo>
                    <a:pt x="30134" y="12154"/>
                    <a:pt x="29917" y="12345"/>
                    <a:pt x="29882" y="12345"/>
                  </a:cubicBezTo>
                  <a:cubicBezTo>
                    <a:pt x="29754" y="12345"/>
                    <a:pt x="31957" y="9885"/>
                    <a:pt x="32277" y="9530"/>
                  </a:cubicBezTo>
                  <a:cubicBezTo>
                    <a:pt x="32382" y="9415"/>
                    <a:pt x="32282" y="9263"/>
                    <a:pt x="32161" y="9263"/>
                  </a:cubicBezTo>
                  <a:cubicBezTo>
                    <a:pt x="32125" y="9263"/>
                    <a:pt x="32087" y="9276"/>
                    <a:pt x="32052" y="9308"/>
                  </a:cubicBezTo>
                  <a:cubicBezTo>
                    <a:pt x="31965" y="9388"/>
                    <a:pt x="30108" y="11213"/>
                    <a:pt x="29905" y="11213"/>
                  </a:cubicBezTo>
                  <a:cubicBezTo>
                    <a:pt x="29837" y="11213"/>
                    <a:pt x="29956" y="11007"/>
                    <a:pt x="30392" y="10460"/>
                  </a:cubicBezTo>
                  <a:cubicBezTo>
                    <a:pt x="30920" y="9796"/>
                    <a:pt x="31529" y="9187"/>
                    <a:pt x="32124" y="8566"/>
                  </a:cubicBezTo>
                  <a:close/>
                  <a:moveTo>
                    <a:pt x="47751" y="8517"/>
                  </a:moveTo>
                  <a:cubicBezTo>
                    <a:pt x="46755" y="9487"/>
                    <a:pt x="45858" y="11164"/>
                    <a:pt x="44870" y="12412"/>
                  </a:cubicBezTo>
                  <a:lnTo>
                    <a:pt x="44870" y="12414"/>
                  </a:lnTo>
                  <a:cubicBezTo>
                    <a:pt x="44697" y="12261"/>
                    <a:pt x="44506" y="12131"/>
                    <a:pt x="44301" y="12025"/>
                  </a:cubicBezTo>
                  <a:cubicBezTo>
                    <a:pt x="45462" y="10867"/>
                    <a:pt x="46574" y="9663"/>
                    <a:pt x="47751" y="8517"/>
                  </a:cubicBezTo>
                  <a:close/>
                  <a:moveTo>
                    <a:pt x="45901" y="4544"/>
                  </a:moveTo>
                  <a:cubicBezTo>
                    <a:pt x="45982" y="4640"/>
                    <a:pt x="46060" y="4741"/>
                    <a:pt x="46135" y="4845"/>
                  </a:cubicBezTo>
                  <a:lnTo>
                    <a:pt x="46138" y="4848"/>
                  </a:lnTo>
                  <a:cubicBezTo>
                    <a:pt x="46094" y="4856"/>
                    <a:pt x="46057" y="4879"/>
                    <a:pt x="46031" y="4917"/>
                  </a:cubicBezTo>
                  <a:cubicBezTo>
                    <a:pt x="44104" y="7776"/>
                    <a:pt x="41756" y="10309"/>
                    <a:pt x="39108" y="12511"/>
                  </a:cubicBezTo>
                  <a:lnTo>
                    <a:pt x="39108" y="12511"/>
                  </a:lnTo>
                  <a:cubicBezTo>
                    <a:pt x="40433" y="11408"/>
                    <a:pt x="41451" y="9777"/>
                    <a:pt x="42555" y="8459"/>
                  </a:cubicBezTo>
                  <a:cubicBezTo>
                    <a:pt x="43663" y="7143"/>
                    <a:pt x="44787" y="5849"/>
                    <a:pt x="45901" y="4544"/>
                  </a:cubicBezTo>
                  <a:close/>
                  <a:moveTo>
                    <a:pt x="43317" y="7082"/>
                  </a:moveTo>
                  <a:cubicBezTo>
                    <a:pt x="41744" y="8930"/>
                    <a:pt x="40193" y="10792"/>
                    <a:pt x="38718" y="12720"/>
                  </a:cubicBezTo>
                  <a:cubicBezTo>
                    <a:pt x="38680" y="12481"/>
                    <a:pt x="38620" y="12244"/>
                    <a:pt x="38542" y="12016"/>
                  </a:cubicBezTo>
                  <a:lnTo>
                    <a:pt x="38542" y="12016"/>
                  </a:lnTo>
                  <a:cubicBezTo>
                    <a:pt x="38570" y="12037"/>
                    <a:pt x="38602" y="12047"/>
                    <a:pt x="38634" y="12047"/>
                  </a:cubicBezTo>
                  <a:cubicBezTo>
                    <a:pt x="38672" y="12047"/>
                    <a:pt x="38710" y="12033"/>
                    <a:pt x="38738" y="12004"/>
                  </a:cubicBezTo>
                  <a:lnTo>
                    <a:pt x="38738" y="12007"/>
                  </a:lnTo>
                  <a:cubicBezTo>
                    <a:pt x="40303" y="10526"/>
                    <a:pt x="41888" y="8742"/>
                    <a:pt x="43317" y="7082"/>
                  </a:cubicBezTo>
                  <a:close/>
                  <a:moveTo>
                    <a:pt x="49567" y="8462"/>
                  </a:moveTo>
                  <a:cubicBezTo>
                    <a:pt x="49683" y="8580"/>
                    <a:pt x="49795" y="8699"/>
                    <a:pt x="49908" y="8823"/>
                  </a:cubicBezTo>
                  <a:cubicBezTo>
                    <a:pt x="48603" y="10209"/>
                    <a:pt x="47194" y="11473"/>
                    <a:pt x="45791" y="12758"/>
                  </a:cubicBezTo>
                  <a:cubicBezTo>
                    <a:pt x="47171" y="11493"/>
                    <a:pt x="48401" y="9986"/>
                    <a:pt x="49567" y="8462"/>
                  </a:cubicBezTo>
                  <a:close/>
                  <a:moveTo>
                    <a:pt x="17883" y="6875"/>
                  </a:moveTo>
                  <a:cubicBezTo>
                    <a:pt x="18182" y="6875"/>
                    <a:pt x="16693" y="8775"/>
                    <a:pt x="16632" y="8869"/>
                  </a:cubicBezTo>
                  <a:cubicBezTo>
                    <a:pt x="15755" y="10203"/>
                    <a:pt x="14808" y="11485"/>
                    <a:pt x="13829" y="12746"/>
                  </a:cubicBezTo>
                  <a:cubicBezTo>
                    <a:pt x="13818" y="12761"/>
                    <a:pt x="13820" y="12778"/>
                    <a:pt x="13815" y="12795"/>
                  </a:cubicBezTo>
                  <a:cubicBezTo>
                    <a:pt x="13604" y="12723"/>
                    <a:pt x="13402" y="12631"/>
                    <a:pt x="13208" y="12521"/>
                  </a:cubicBezTo>
                  <a:cubicBezTo>
                    <a:pt x="15036" y="11121"/>
                    <a:pt x="16352" y="9129"/>
                    <a:pt x="17490" y="7111"/>
                  </a:cubicBezTo>
                  <a:cubicBezTo>
                    <a:pt x="17702" y="6945"/>
                    <a:pt x="17825" y="6875"/>
                    <a:pt x="17883" y="6875"/>
                  </a:cubicBezTo>
                  <a:close/>
                  <a:moveTo>
                    <a:pt x="52050" y="11551"/>
                  </a:moveTo>
                  <a:cubicBezTo>
                    <a:pt x="52111" y="11638"/>
                    <a:pt x="52169" y="11724"/>
                    <a:pt x="52229" y="11814"/>
                  </a:cubicBezTo>
                  <a:cubicBezTo>
                    <a:pt x="51790" y="12175"/>
                    <a:pt x="51372" y="12547"/>
                    <a:pt x="50973" y="12940"/>
                  </a:cubicBezTo>
                  <a:cubicBezTo>
                    <a:pt x="51337" y="12484"/>
                    <a:pt x="51695" y="12019"/>
                    <a:pt x="52050" y="11551"/>
                  </a:cubicBezTo>
                  <a:close/>
                  <a:moveTo>
                    <a:pt x="21315" y="3849"/>
                  </a:moveTo>
                  <a:lnTo>
                    <a:pt x="21315" y="3849"/>
                  </a:lnTo>
                  <a:cubicBezTo>
                    <a:pt x="21035" y="4429"/>
                    <a:pt x="20738" y="5001"/>
                    <a:pt x="20426" y="5566"/>
                  </a:cubicBezTo>
                  <a:cubicBezTo>
                    <a:pt x="20036" y="6297"/>
                    <a:pt x="19609" y="6998"/>
                    <a:pt x="19164" y="7691"/>
                  </a:cubicBezTo>
                  <a:cubicBezTo>
                    <a:pt x="17657" y="9395"/>
                    <a:pt x="16147" y="11098"/>
                    <a:pt x="14770" y="12888"/>
                  </a:cubicBezTo>
                  <a:cubicBezTo>
                    <a:pt x="14744" y="12917"/>
                    <a:pt x="14736" y="12957"/>
                    <a:pt x="14741" y="12998"/>
                  </a:cubicBezTo>
                  <a:cubicBezTo>
                    <a:pt x="14542" y="12977"/>
                    <a:pt x="14346" y="12946"/>
                    <a:pt x="14150" y="12897"/>
                  </a:cubicBezTo>
                  <a:cubicBezTo>
                    <a:pt x="15963" y="10653"/>
                    <a:pt x="17955" y="8566"/>
                    <a:pt x="19704" y="6274"/>
                  </a:cubicBezTo>
                  <a:cubicBezTo>
                    <a:pt x="20261" y="5477"/>
                    <a:pt x="20795" y="4669"/>
                    <a:pt x="21315" y="3849"/>
                  </a:cubicBezTo>
                  <a:close/>
                  <a:moveTo>
                    <a:pt x="48768" y="8993"/>
                  </a:moveTo>
                  <a:cubicBezTo>
                    <a:pt x="47518" y="10154"/>
                    <a:pt x="46426" y="11742"/>
                    <a:pt x="45326" y="13110"/>
                  </a:cubicBezTo>
                  <a:lnTo>
                    <a:pt x="45323" y="13110"/>
                  </a:lnTo>
                  <a:cubicBezTo>
                    <a:pt x="45321" y="13099"/>
                    <a:pt x="45321" y="13087"/>
                    <a:pt x="45318" y="13073"/>
                  </a:cubicBezTo>
                  <a:cubicBezTo>
                    <a:pt x="45263" y="12920"/>
                    <a:pt x="45182" y="12775"/>
                    <a:pt x="45078" y="12648"/>
                  </a:cubicBezTo>
                  <a:cubicBezTo>
                    <a:pt x="46294" y="11410"/>
                    <a:pt x="47497" y="10171"/>
                    <a:pt x="48768" y="8993"/>
                  </a:cubicBezTo>
                  <a:close/>
                  <a:moveTo>
                    <a:pt x="22675" y="5789"/>
                  </a:moveTo>
                  <a:cubicBezTo>
                    <a:pt x="22782" y="6196"/>
                    <a:pt x="22851" y="6510"/>
                    <a:pt x="22874" y="6591"/>
                  </a:cubicBezTo>
                  <a:cubicBezTo>
                    <a:pt x="22992" y="7059"/>
                    <a:pt x="23143" y="7506"/>
                    <a:pt x="23293" y="7954"/>
                  </a:cubicBezTo>
                  <a:cubicBezTo>
                    <a:pt x="23244" y="7963"/>
                    <a:pt x="23203" y="7994"/>
                    <a:pt x="23177" y="8035"/>
                  </a:cubicBezTo>
                  <a:cubicBezTo>
                    <a:pt x="21911" y="9993"/>
                    <a:pt x="19856" y="12208"/>
                    <a:pt x="18804" y="13680"/>
                  </a:cubicBezTo>
                  <a:lnTo>
                    <a:pt x="18804" y="13680"/>
                  </a:lnTo>
                  <a:cubicBezTo>
                    <a:pt x="20310" y="11571"/>
                    <a:pt x="21726" y="9425"/>
                    <a:pt x="22941" y="7134"/>
                  </a:cubicBezTo>
                  <a:cubicBezTo>
                    <a:pt x="23007" y="7010"/>
                    <a:pt x="22895" y="6864"/>
                    <a:pt x="22780" y="6864"/>
                  </a:cubicBezTo>
                  <a:cubicBezTo>
                    <a:pt x="22740" y="6864"/>
                    <a:pt x="22700" y="6882"/>
                    <a:pt x="22666" y="6923"/>
                  </a:cubicBezTo>
                  <a:cubicBezTo>
                    <a:pt x="20908" y="9045"/>
                    <a:pt x="19372" y="11338"/>
                    <a:pt x="17559" y="13413"/>
                  </a:cubicBezTo>
                  <a:cubicBezTo>
                    <a:pt x="19488" y="11205"/>
                    <a:pt x="21159" y="8468"/>
                    <a:pt x="22675" y="5789"/>
                  </a:cubicBezTo>
                  <a:close/>
                  <a:moveTo>
                    <a:pt x="36760" y="2729"/>
                  </a:moveTo>
                  <a:cubicBezTo>
                    <a:pt x="36796" y="2729"/>
                    <a:pt x="36288" y="3352"/>
                    <a:pt x="34728" y="5171"/>
                  </a:cubicBezTo>
                  <a:cubicBezTo>
                    <a:pt x="32742" y="7483"/>
                    <a:pt x="30320" y="9600"/>
                    <a:pt x="28798" y="12250"/>
                  </a:cubicBezTo>
                  <a:cubicBezTo>
                    <a:pt x="28731" y="12367"/>
                    <a:pt x="28831" y="12484"/>
                    <a:pt x="28939" y="12484"/>
                  </a:cubicBezTo>
                  <a:cubicBezTo>
                    <a:pt x="28975" y="12484"/>
                    <a:pt x="29012" y="12471"/>
                    <a:pt x="29044" y="12440"/>
                  </a:cubicBezTo>
                  <a:cubicBezTo>
                    <a:pt x="30376" y="11154"/>
                    <a:pt x="30879" y="10669"/>
                    <a:pt x="30903" y="10669"/>
                  </a:cubicBezTo>
                  <a:cubicBezTo>
                    <a:pt x="30952" y="10669"/>
                    <a:pt x="29162" y="12533"/>
                    <a:pt x="28193" y="13866"/>
                  </a:cubicBezTo>
                  <a:lnTo>
                    <a:pt x="28193" y="13866"/>
                  </a:lnTo>
                  <a:cubicBezTo>
                    <a:pt x="28373" y="12741"/>
                    <a:pt x="29128" y="11651"/>
                    <a:pt x="29485" y="10549"/>
                  </a:cubicBezTo>
                  <a:cubicBezTo>
                    <a:pt x="29523" y="10549"/>
                    <a:pt x="29560" y="10532"/>
                    <a:pt x="29586" y="10503"/>
                  </a:cubicBezTo>
                  <a:cubicBezTo>
                    <a:pt x="31079" y="8794"/>
                    <a:pt x="32612" y="7131"/>
                    <a:pt x="34171" y="5480"/>
                  </a:cubicBezTo>
                  <a:cubicBezTo>
                    <a:pt x="34796" y="4817"/>
                    <a:pt x="36692" y="2729"/>
                    <a:pt x="36760" y="2729"/>
                  </a:cubicBezTo>
                  <a:close/>
                  <a:moveTo>
                    <a:pt x="23414" y="8329"/>
                  </a:moveTo>
                  <a:cubicBezTo>
                    <a:pt x="23602" y="8858"/>
                    <a:pt x="23810" y="9377"/>
                    <a:pt x="24035" y="9903"/>
                  </a:cubicBezTo>
                  <a:cubicBezTo>
                    <a:pt x="24064" y="9969"/>
                    <a:pt x="24098" y="10038"/>
                    <a:pt x="24130" y="10105"/>
                  </a:cubicBezTo>
                  <a:cubicBezTo>
                    <a:pt x="23169" y="11491"/>
                    <a:pt x="22173" y="12764"/>
                    <a:pt x="20937" y="13910"/>
                  </a:cubicBezTo>
                  <a:cubicBezTo>
                    <a:pt x="22077" y="12850"/>
                    <a:pt x="23010" y="10890"/>
                    <a:pt x="23694" y="9507"/>
                  </a:cubicBezTo>
                  <a:cubicBezTo>
                    <a:pt x="23759" y="9378"/>
                    <a:pt x="23655" y="9239"/>
                    <a:pt x="23538" y="9239"/>
                  </a:cubicBezTo>
                  <a:cubicBezTo>
                    <a:pt x="23498" y="9239"/>
                    <a:pt x="23456" y="9255"/>
                    <a:pt x="23420" y="9294"/>
                  </a:cubicBezTo>
                  <a:cubicBezTo>
                    <a:pt x="22222" y="10554"/>
                    <a:pt x="21095" y="11878"/>
                    <a:pt x="20046" y="13260"/>
                  </a:cubicBezTo>
                  <a:lnTo>
                    <a:pt x="20046" y="13260"/>
                  </a:lnTo>
                  <a:cubicBezTo>
                    <a:pt x="21050" y="11933"/>
                    <a:pt x="22463" y="10057"/>
                    <a:pt x="23414" y="8329"/>
                  </a:cubicBezTo>
                  <a:close/>
                  <a:moveTo>
                    <a:pt x="32950" y="11941"/>
                  </a:moveTo>
                  <a:cubicBezTo>
                    <a:pt x="32976" y="12137"/>
                    <a:pt x="33016" y="12331"/>
                    <a:pt x="33028" y="12533"/>
                  </a:cubicBezTo>
                  <a:cubicBezTo>
                    <a:pt x="33042" y="12755"/>
                    <a:pt x="33100" y="12974"/>
                    <a:pt x="33201" y="13174"/>
                  </a:cubicBezTo>
                  <a:cubicBezTo>
                    <a:pt x="33176" y="13161"/>
                    <a:pt x="33148" y="13155"/>
                    <a:pt x="33121" y="13155"/>
                  </a:cubicBezTo>
                  <a:cubicBezTo>
                    <a:pt x="33086" y="13155"/>
                    <a:pt x="33051" y="13165"/>
                    <a:pt x="33022" y="13188"/>
                  </a:cubicBezTo>
                  <a:cubicBezTo>
                    <a:pt x="32667" y="13474"/>
                    <a:pt x="32335" y="13794"/>
                    <a:pt x="31991" y="14100"/>
                  </a:cubicBezTo>
                  <a:cubicBezTo>
                    <a:pt x="32378" y="13396"/>
                    <a:pt x="32710" y="12677"/>
                    <a:pt x="32950" y="11941"/>
                  </a:cubicBezTo>
                  <a:close/>
                  <a:moveTo>
                    <a:pt x="49156" y="9696"/>
                  </a:moveTo>
                  <a:cubicBezTo>
                    <a:pt x="47790" y="11240"/>
                    <a:pt x="46398" y="12738"/>
                    <a:pt x="45119" y="14343"/>
                  </a:cubicBezTo>
                  <a:cubicBezTo>
                    <a:pt x="45246" y="14089"/>
                    <a:pt x="45341" y="13826"/>
                    <a:pt x="45364" y="13561"/>
                  </a:cubicBezTo>
                  <a:lnTo>
                    <a:pt x="45364" y="13563"/>
                  </a:lnTo>
                  <a:cubicBezTo>
                    <a:pt x="46623" y="12347"/>
                    <a:pt x="48532" y="10399"/>
                    <a:pt x="49156" y="9696"/>
                  </a:cubicBezTo>
                  <a:close/>
                  <a:moveTo>
                    <a:pt x="24309" y="10483"/>
                  </a:moveTo>
                  <a:cubicBezTo>
                    <a:pt x="24393" y="10650"/>
                    <a:pt x="24476" y="10815"/>
                    <a:pt x="24563" y="10985"/>
                  </a:cubicBezTo>
                  <a:cubicBezTo>
                    <a:pt x="24540" y="10994"/>
                    <a:pt x="24514" y="10994"/>
                    <a:pt x="24497" y="11017"/>
                  </a:cubicBezTo>
                  <a:cubicBezTo>
                    <a:pt x="23512" y="12172"/>
                    <a:pt x="22444" y="13237"/>
                    <a:pt x="21416" y="14352"/>
                  </a:cubicBezTo>
                  <a:lnTo>
                    <a:pt x="21416" y="14349"/>
                  </a:lnTo>
                  <a:cubicBezTo>
                    <a:pt x="22314" y="13376"/>
                    <a:pt x="23457" y="11932"/>
                    <a:pt x="24309" y="10483"/>
                  </a:cubicBezTo>
                  <a:close/>
                  <a:moveTo>
                    <a:pt x="25571" y="13240"/>
                  </a:moveTo>
                  <a:cubicBezTo>
                    <a:pt x="25620" y="13393"/>
                    <a:pt x="25660" y="13549"/>
                    <a:pt x="25692" y="13702"/>
                  </a:cubicBezTo>
                  <a:cubicBezTo>
                    <a:pt x="25311" y="13950"/>
                    <a:pt x="24944" y="14222"/>
                    <a:pt x="24595" y="14513"/>
                  </a:cubicBezTo>
                  <a:cubicBezTo>
                    <a:pt x="24921" y="14089"/>
                    <a:pt x="25250" y="13667"/>
                    <a:pt x="25571" y="13240"/>
                  </a:cubicBezTo>
                  <a:close/>
                  <a:moveTo>
                    <a:pt x="50113" y="9051"/>
                  </a:moveTo>
                  <a:cubicBezTo>
                    <a:pt x="50148" y="9089"/>
                    <a:pt x="50185" y="9129"/>
                    <a:pt x="50220" y="9169"/>
                  </a:cubicBezTo>
                  <a:cubicBezTo>
                    <a:pt x="48497" y="10942"/>
                    <a:pt x="46932" y="12852"/>
                    <a:pt x="45230" y="14643"/>
                  </a:cubicBezTo>
                  <a:lnTo>
                    <a:pt x="45230" y="14643"/>
                  </a:lnTo>
                  <a:cubicBezTo>
                    <a:pt x="46919" y="12863"/>
                    <a:pt x="48491" y="10895"/>
                    <a:pt x="50113" y="9051"/>
                  </a:cubicBezTo>
                  <a:close/>
                  <a:moveTo>
                    <a:pt x="31480" y="11443"/>
                  </a:moveTo>
                  <a:cubicBezTo>
                    <a:pt x="31564" y="11443"/>
                    <a:pt x="31101" y="12041"/>
                    <a:pt x="29627" y="13766"/>
                  </a:cubicBezTo>
                  <a:cubicBezTo>
                    <a:pt x="29370" y="14066"/>
                    <a:pt x="29096" y="14354"/>
                    <a:pt x="28830" y="14646"/>
                  </a:cubicBezTo>
                  <a:cubicBezTo>
                    <a:pt x="28856" y="14432"/>
                    <a:pt x="28868" y="14216"/>
                    <a:pt x="28862" y="13996"/>
                  </a:cubicBezTo>
                  <a:cubicBezTo>
                    <a:pt x="28862" y="13945"/>
                    <a:pt x="28833" y="13895"/>
                    <a:pt x="28784" y="13869"/>
                  </a:cubicBezTo>
                  <a:cubicBezTo>
                    <a:pt x="29811" y="12974"/>
                    <a:pt x="31345" y="11443"/>
                    <a:pt x="31480" y="11443"/>
                  </a:cubicBezTo>
                  <a:close/>
                  <a:moveTo>
                    <a:pt x="24722" y="11294"/>
                  </a:moveTo>
                  <a:cubicBezTo>
                    <a:pt x="24912" y="11667"/>
                    <a:pt x="25103" y="12045"/>
                    <a:pt x="25270" y="12423"/>
                  </a:cubicBezTo>
                  <a:cubicBezTo>
                    <a:pt x="25253" y="12435"/>
                    <a:pt x="25233" y="12435"/>
                    <a:pt x="25221" y="12452"/>
                  </a:cubicBezTo>
                  <a:cubicBezTo>
                    <a:pt x="24843" y="12992"/>
                    <a:pt x="24450" y="13523"/>
                    <a:pt x="24049" y="14040"/>
                  </a:cubicBezTo>
                  <a:lnTo>
                    <a:pt x="24049" y="14037"/>
                  </a:lnTo>
                  <a:cubicBezTo>
                    <a:pt x="23963" y="14118"/>
                    <a:pt x="23879" y="14201"/>
                    <a:pt x="23795" y="14285"/>
                  </a:cubicBezTo>
                  <a:cubicBezTo>
                    <a:pt x="24318" y="13613"/>
                    <a:pt x="24733" y="12920"/>
                    <a:pt x="25005" y="12051"/>
                  </a:cubicBezTo>
                  <a:cubicBezTo>
                    <a:pt x="25044" y="11920"/>
                    <a:pt x="24944" y="11837"/>
                    <a:pt x="24838" y="11837"/>
                  </a:cubicBezTo>
                  <a:cubicBezTo>
                    <a:pt x="24781" y="11837"/>
                    <a:pt x="24723" y="11861"/>
                    <a:pt x="24684" y="11915"/>
                  </a:cubicBezTo>
                  <a:cubicBezTo>
                    <a:pt x="24174" y="12627"/>
                    <a:pt x="22457" y="14287"/>
                    <a:pt x="22168" y="14809"/>
                  </a:cubicBezTo>
                  <a:lnTo>
                    <a:pt x="22168" y="14809"/>
                  </a:lnTo>
                  <a:cubicBezTo>
                    <a:pt x="22858" y="13559"/>
                    <a:pt x="23897" y="12460"/>
                    <a:pt x="24722" y="11294"/>
                  </a:cubicBezTo>
                  <a:close/>
                  <a:moveTo>
                    <a:pt x="46314" y="5099"/>
                  </a:moveTo>
                  <a:cubicBezTo>
                    <a:pt x="46374" y="5194"/>
                    <a:pt x="46421" y="5298"/>
                    <a:pt x="46475" y="5396"/>
                  </a:cubicBezTo>
                  <a:cubicBezTo>
                    <a:pt x="46444" y="5396"/>
                    <a:pt x="46415" y="5411"/>
                    <a:pt x="46395" y="5437"/>
                  </a:cubicBezTo>
                  <a:cubicBezTo>
                    <a:pt x="43831" y="8751"/>
                    <a:pt x="41166" y="11973"/>
                    <a:pt x="38458" y="15157"/>
                  </a:cubicBezTo>
                  <a:cubicBezTo>
                    <a:pt x="38553" y="14969"/>
                    <a:pt x="38626" y="14770"/>
                    <a:pt x="38675" y="14562"/>
                  </a:cubicBezTo>
                  <a:cubicBezTo>
                    <a:pt x="38779" y="14106"/>
                    <a:pt x="38813" y="13636"/>
                    <a:pt x="38779" y="13171"/>
                  </a:cubicBezTo>
                  <a:cubicBezTo>
                    <a:pt x="41692" y="10881"/>
                    <a:pt x="44232" y="8159"/>
                    <a:pt x="46314" y="5099"/>
                  </a:cubicBezTo>
                  <a:close/>
                  <a:moveTo>
                    <a:pt x="33737" y="7939"/>
                  </a:moveTo>
                  <a:cubicBezTo>
                    <a:pt x="34643" y="7939"/>
                    <a:pt x="35313" y="8946"/>
                    <a:pt x="35537" y="10038"/>
                  </a:cubicBezTo>
                  <a:cubicBezTo>
                    <a:pt x="35603" y="10365"/>
                    <a:pt x="35727" y="10653"/>
                    <a:pt x="36004" y="10853"/>
                  </a:cubicBezTo>
                  <a:cubicBezTo>
                    <a:pt x="36434" y="11159"/>
                    <a:pt x="36891" y="11430"/>
                    <a:pt x="37384" y="11620"/>
                  </a:cubicBezTo>
                  <a:cubicBezTo>
                    <a:pt x="38383" y="12004"/>
                    <a:pt x="38331" y="12790"/>
                    <a:pt x="38325" y="13797"/>
                  </a:cubicBezTo>
                  <a:cubicBezTo>
                    <a:pt x="38325" y="14045"/>
                    <a:pt x="38215" y="15462"/>
                    <a:pt x="37565" y="15462"/>
                  </a:cubicBezTo>
                  <a:cubicBezTo>
                    <a:pt x="37367" y="15462"/>
                    <a:pt x="37120" y="15331"/>
                    <a:pt x="36810" y="14995"/>
                  </a:cubicBezTo>
                  <a:cubicBezTo>
                    <a:pt x="36680" y="14854"/>
                    <a:pt x="36356" y="14406"/>
                    <a:pt x="36195" y="14213"/>
                  </a:cubicBezTo>
                  <a:cubicBezTo>
                    <a:pt x="35744" y="13670"/>
                    <a:pt x="34916" y="13916"/>
                    <a:pt x="34318" y="13656"/>
                  </a:cubicBezTo>
                  <a:cubicBezTo>
                    <a:pt x="33270" y="13200"/>
                    <a:pt x="33458" y="12131"/>
                    <a:pt x="33325" y="11199"/>
                  </a:cubicBezTo>
                  <a:cubicBezTo>
                    <a:pt x="33198" y="10284"/>
                    <a:pt x="32742" y="9429"/>
                    <a:pt x="32488" y="8537"/>
                  </a:cubicBezTo>
                  <a:cubicBezTo>
                    <a:pt x="32935" y="8116"/>
                    <a:pt x="33357" y="7939"/>
                    <a:pt x="33737" y="7939"/>
                  </a:cubicBezTo>
                  <a:close/>
                  <a:moveTo>
                    <a:pt x="50448" y="9438"/>
                  </a:moveTo>
                  <a:cubicBezTo>
                    <a:pt x="50540" y="9548"/>
                    <a:pt x="50633" y="9657"/>
                    <a:pt x="50722" y="9770"/>
                  </a:cubicBezTo>
                  <a:cubicBezTo>
                    <a:pt x="50024" y="10613"/>
                    <a:pt x="49334" y="11462"/>
                    <a:pt x="48641" y="12308"/>
                  </a:cubicBezTo>
                  <a:cubicBezTo>
                    <a:pt x="48118" y="12951"/>
                    <a:pt x="47572" y="13575"/>
                    <a:pt x="47004" y="14178"/>
                  </a:cubicBezTo>
                  <a:cubicBezTo>
                    <a:pt x="46490" y="14834"/>
                    <a:pt x="45817" y="15348"/>
                    <a:pt x="45052" y="15674"/>
                  </a:cubicBezTo>
                  <a:cubicBezTo>
                    <a:pt x="45335" y="15114"/>
                    <a:pt x="45705" y="14600"/>
                    <a:pt x="46109" y="14112"/>
                  </a:cubicBezTo>
                  <a:cubicBezTo>
                    <a:pt x="46426" y="13774"/>
                    <a:pt x="46744" y="13442"/>
                    <a:pt x="47059" y="13093"/>
                  </a:cubicBezTo>
                  <a:cubicBezTo>
                    <a:pt x="47096" y="13050"/>
                    <a:pt x="47180" y="12951"/>
                    <a:pt x="47295" y="12819"/>
                  </a:cubicBezTo>
                  <a:cubicBezTo>
                    <a:pt x="48392" y="11727"/>
                    <a:pt x="49570" y="10676"/>
                    <a:pt x="50448" y="9438"/>
                  </a:cubicBezTo>
                  <a:close/>
                  <a:moveTo>
                    <a:pt x="50927" y="10021"/>
                  </a:moveTo>
                  <a:lnTo>
                    <a:pt x="50927" y="10024"/>
                  </a:lnTo>
                  <a:cubicBezTo>
                    <a:pt x="51074" y="10212"/>
                    <a:pt x="51222" y="10402"/>
                    <a:pt x="51366" y="10598"/>
                  </a:cubicBezTo>
                  <a:cubicBezTo>
                    <a:pt x="51360" y="10601"/>
                    <a:pt x="51354" y="10598"/>
                    <a:pt x="51349" y="10607"/>
                  </a:cubicBezTo>
                  <a:cubicBezTo>
                    <a:pt x="50384" y="11693"/>
                    <a:pt x="49391" y="12735"/>
                    <a:pt x="48358" y="13760"/>
                  </a:cubicBezTo>
                  <a:cubicBezTo>
                    <a:pt x="48166" y="13951"/>
                    <a:pt x="46433" y="15850"/>
                    <a:pt x="46337" y="15850"/>
                  </a:cubicBezTo>
                  <a:cubicBezTo>
                    <a:pt x="46302" y="15850"/>
                    <a:pt x="46492" y="15588"/>
                    <a:pt x="47070" y="14880"/>
                  </a:cubicBezTo>
                  <a:cubicBezTo>
                    <a:pt x="48387" y="13269"/>
                    <a:pt x="49720" y="11713"/>
                    <a:pt x="50927" y="10021"/>
                  </a:cubicBezTo>
                  <a:close/>
                  <a:moveTo>
                    <a:pt x="51548" y="10844"/>
                  </a:moveTo>
                  <a:cubicBezTo>
                    <a:pt x="51655" y="10991"/>
                    <a:pt x="51764" y="11141"/>
                    <a:pt x="51871" y="11294"/>
                  </a:cubicBezTo>
                  <a:cubicBezTo>
                    <a:pt x="50361" y="13032"/>
                    <a:pt x="48467" y="14811"/>
                    <a:pt x="47030" y="16286"/>
                  </a:cubicBezTo>
                  <a:cubicBezTo>
                    <a:pt x="48678" y="14594"/>
                    <a:pt x="50145" y="12741"/>
                    <a:pt x="51548" y="10844"/>
                  </a:cubicBezTo>
                  <a:close/>
                  <a:moveTo>
                    <a:pt x="25778" y="14297"/>
                  </a:moveTo>
                  <a:lnTo>
                    <a:pt x="25778" y="14297"/>
                  </a:lnTo>
                  <a:cubicBezTo>
                    <a:pt x="25781" y="14481"/>
                    <a:pt x="25776" y="14704"/>
                    <a:pt x="25767" y="14946"/>
                  </a:cubicBezTo>
                  <a:cubicBezTo>
                    <a:pt x="25369" y="15466"/>
                    <a:pt x="24959" y="15977"/>
                    <a:pt x="24557" y="16497"/>
                  </a:cubicBezTo>
                  <a:cubicBezTo>
                    <a:pt x="25022" y="15798"/>
                    <a:pt x="25432" y="15062"/>
                    <a:pt x="25778" y="14297"/>
                  </a:cubicBezTo>
                  <a:close/>
                  <a:moveTo>
                    <a:pt x="41186" y="13592"/>
                  </a:moveTo>
                  <a:lnTo>
                    <a:pt x="41186" y="13592"/>
                  </a:lnTo>
                  <a:cubicBezTo>
                    <a:pt x="41005" y="14323"/>
                    <a:pt x="40906" y="15091"/>
                    <a:pt x="40843" y="15864"/>
                  </a:cubicBezTo>
                  <a:lnTo>
                    <a:pt x="40840" y="15864"/>
                  </a:lnTo>
                  <a:cubicBezTo>
                    <a:pt x="40820" y="15853"/>
                    <a:pt x="40797" y="15848"/>
                    <a:pt x="40775" y="15848"/>
                  </a:cubicBezTo>
                  <a:cubicBezTo>
                    <a:pt x="40740" y="15848"/>
                    <a:pt x="40705" y="15861"/>
                    <a:pt x="40678" y="15887"/>
                  </a:cubicBezTo>
                  <a:cubicBezTo>
                    <a:pt x="40392" y="16176"/>
                    <a:pt x="40118" y="16479"/>
                    <a:pt x="39844" y="16782"/>
                  </a:cubicBezTo>
                  <a:cubicBezTo>
                    <a:pt x="40225" y="16168"/>
                    <a:pt x="40586" y="15541"/>
                    <a:pt x="40912" y="14883"/>
                  </a:cubicBezTo>
                  <a:cubicBezTo>
                    <a:pt x="40979" y="14771"/>
                    <a:pt x="40886" y="14657"/>
                    <a:pt x="40784" y="14657"/>
                  </a:cubicBezTo>
                  <a:cubicBezTo>
                    <a:pt x="40749" y="14657"/>
                    <a:pt x="40713" y="14670"/>
                    <a:pt x="40681" y="14701"/>
                  </a:cubicBezTo>
                  <a:cubicBezTo>
                    <a:pt x="40265" y="15076"/>
                    <a:pt x="39870" y="15472"/>
                    <a:pt x="39498" y="15893"/>
                  </a:cubicBezTo>
                  <a:cubicBezTo>
                    <a:pt x="40069" y="15131"/>
                    <a:pt x="40632" y="14366"/>
                    <a:pt x="41186" y="13592"/>
                  </a:cubicBezTo>
                  <a:close/>
                  <a:moveTo>
                    <a:pt x="32120" y="14295"/>
                  </a:moveTo>
                  <a:cubicBezTo>
                    <a:pt x="32271" y="14295"/>
                    <a:pt x="30475" y="16489"/>
                    <a:pt x="30239" y="16762"/>
                  </a:cubicBezTo>
                  <a:cubicBezTo>
                    <a:pt x="30158" y="16858"/>
                    <a:pt x="30071" y="16950"/>
                    <a:pt x="29988" y="17042"/>
                  </a:cubicBezTo>
                  <a:cubicBezTo>
                    <a:pt x="30585" y="16306"/>
                    <a:pt x="31137" y="15529"/>
                    <a:pt x="31636" y="14721"/>
                  </a:cubicBezTo>
                  <a:cubicBezTo>
                    <a:pt x="31939" y="14419"/>
                    <a:pt x="32084" y="14295"/>
                    <a:pt x="32120" y="14295"/>
                  </a:cubicBezTo>
                  <a:close/>
                  <a:moveTo>
                    <a:pt x="35233" y="14262"/>
                  </a:moveTo>
                  <a:cubicBezTo>
                    <a:pt x="35467" y="14279"/>
                    <a:pt x="35695" y="14326"/>
                    <a:pt x="35895" y="14510"/>
                  </a:cubicBezTo>
                  <a:cubicBezTo>
                    <a:pt x="35912" y="14528"/>
                    <a:pt x="35941" y="14565"/>
                    <a:pt x="35967" y="14597"/>
                  </a:cubicBezTo>
                  <a:cubicBezTo>
                    <a:pt x="35961" y="14600"/>
                    <a:pt x="35952" y="14597"/>
                    <a:pt x="35946" y="14603"/>
                  </a:cubicBezTo>
                  <a:cubicBezTo>
                    <a:pt x="35086" y="15498"/>
                    <a:pt x="34255" y="16419"/>
                    <a:pt x="33438" y="17345"/>
                  </a:cubicBezTo>
                  <a:cubicBezTo>
                    <a:pt x="34081" y="16393"/>
                    <a:pt x="34694" y="15411"/>
                    <a:pt x="35222" y="14354"/>
                  </a:cubicBezTo>
                  <a:cubicBezTo>
                    <a:pt x="35233" y="14326"/>
                    <a:pt x="35236" y="14294"/>
                    <a:pt x="35233" y="14262"/>
                  </a:cubicBezTo>
                  <a:close/>
                  <a:moveTo>
                    <a:pt x="52480" y="12189"/>
                  </a:moveTo>
                  <a:cubicBezTo>
                    <a:pt x="52654" y="12446"/>
                    <a:pt x="52824" y="12709"/>
                    <a:pt x="52991" y="12972"/>
                  </a:cubicBezTo>
                  <a:lnTo>
                    <a:pt x="52991" y="12974"/>
                  </a:lnTo>
                  <a:cubicBezTo>
                    <a:pt x="52983" y="12980"/>
                    <a:pt x="52974" y="12974"/>
                    <a:pt x="52965" y="12983"/>
                  </a:cubicBezTo>
                  <a:cubicBezTo>
                    <a:pt x="51323" y="14311"/>
                    <a:pt x="49160" y="16084"/>
                    <a:pt x="47847" y="17692"/>
                  </a:cubicBezTo>
                  <a:cubicBezTo>
                    <a:pt x="49374" y="15821"/>
                    <a:pt x="51060" y="14138"/>
                    <a:pt x="52480" y="12189"/>
                  </a:cubicBezTo>
                  <a:close/>
                  <a:moveTo>
                    <a:pt x="50610" y="11894"/>
                  </a:moveTo>
                  <a:lnTo>
                    <a:pt x="50610" y="11894"/>
                  </a:lnTo>
                  <a:cubicBezTo>
                    <a:pt x="48990" y="13587"/>
                    <a:pt x="47496" y="15393"/>
                    <a:pt x="45860" y="17080"/>
                  </a:cubicBezTo>
                  <a:cubicBezTo>
                    <a:pt x="45760" y="17183"/>
                    <a:pt x="45852" y="17317"/>
                    <a:pt x="45963" y="17317"/>
                  </a:cubicBezTo>
                  <a:cubicBezTo>
                    <a:pt x="45995" y="17317"/>
                    <a:pt x="46029" y="17306"/>
                    <a:pt x="46060" y="17279"/>
                  </a:cubicBezTo>
                  <a:cubicBezTo>
                    <a:pt x="47870" y="15737"/>
                    <a:pt x="49622" y="14176"/>
                    <a:pt x="51262" y="12449"/>
                  </a:cubicBezTo>
                  <a:lnTo>
                    <a:pt x="51262" y="12449"/>
                  </a:lnTo>
                  <a:cubicBezTo>
                    <a:pt x="49680" y="14115"/>
                    <a:pt x="48187" y="15801"/>
                    <a:pt x="46802" y="17643"/>
                  </a:cubicBezTo>
                  <a:cubicBezTo>
                    <a:pt x="46779" y="17669"/>
                    <a:pt x="46773" y="17706"/>
                    <a:pt x="46781" y="17738"/>
                  </a:cubicBezTo>
                  <a:cubicBezTo>
                    <a:pt x="46221" y="17464"/>
                    <a:pt x="45517" y="17279"/>
                    <a:pt x="45121" y="17048"/>
                  </a:cubicBezTo>
                  <a:cubicBezTo>
                    <a:pt x="44876" y="16904"/>
                    <a:pt x="44706" y="16759"/>
                    <a:pt x="44587" y="16609"/>
                  </a:cubicBezTo>
                  <a:cubicBezTo>
                    <a:pt x="45462" y="15994"/>
                    <a:pt x="46239" y="15301"/>
                    <a:pt x="46975" y="14562"/>
                  </a:cubicBezTo>
                  <a:lnTo>
                    <a:pt x="46975" y="14562"/>
                  </a:lnTo>
                  <a:cubicBezTo>
                    <a:pt x="46369" y="15296"/>
                    <a:pt x="45762" y="16026"/>
                    <a:pt x="45182" y="16780"/>
                  </a:cubicBezTo>
                  <a:cubicBezTo>
                    <a:pt x="45099" y="16885"/>
                    <a:pt x="45209" y="17000"/>
                    <a:pt x="45319" y="17000"/>
                  </a:cubicBezTo>
                  <a:cubicBezTo>
                    <a:pt x="45354" y="17000"/>
                    <a:pt x="45390" y="16989"/>
                    <a:pt x="45419" y="16961"/>
                  </a:cubicBezTo>
                  <a:cubicBezTo>
                    <a:pt x="47181" y="15303"/>
                    <a:pt x="48934" y="13645"/>
                    <a:pt x="50610" y="11894"/>
                  </a:cubicBezTo>
                  <a:close/>
                  <a:moveTo>
                    <a:pt x="50353" y="13991"/>
                  </a:moveTo>
                  <a:lnTo>
                    <a:pt x="50353" y="13991"/>
                  </a:lnTo>
                  <a:cubicBezTo>
                    <a:pt x="49342" y="15192"/>
                    <a:pt x="48219" y="16713"/>
                    <a:pt x="47203" y="17998"/>
                  </a:cubicBezTo>
                  <a:cubicBezTo>
                    <a:pt x="47134" y="17943"/>
                    <a:pt x="47059" y="17891"/>
                    <a:pt x="46984" y="17845"/>
                  </a:cubicBezTo>
                  <a:lnTo>
                    <a:pt x="46981" y="17845"/>
                  </a:lnTo>
                  <a:cubicBezTo>
                    <a:pt x="46998" y="17839"/>
                    <a:pt x="47018" y="17839"/>
                    <a:pt x="47033" y="17822"/>
                  </a:cubicBezTo>
                  <a:cubicBezTo>
                    <a:pt x="48161" y="16563"/>
                    <a:pt x="49232" y="15255"/>
                    <a:pt x="50353" y="13991"/>
                  </a:cubicBezTo>
                  <a:close/>
                  <a:moveTo>
                    <a:pt x="49614" y="16476"/>
                  </a:moveTo>
                  <a:lnTo>
                    <a:pt x="49614" y="16476"/>
                  </a:lnTo>
                  <a:cubicBezTo>
                    <a:pt x="48950" y="17233"/>
                    <a:pt x="48300" y="18007"/>
                    <a:pt x="47665" y="18789"/>
                  </a:cubicBezTo>
                  <a:cubicBezTo>
                    <a:pt x="47645" y="18635"/>
                    <a:pt x="47597" y="18486"/>
                    <a:pt x="47517" y="18351"/>
                  </a:cubicBezTo>
                  <a:lnTo>
                    <a:pt x="47517" y="18351"/>
                  </a:lnTo>
                  <a:cubicBezTo>
                    <a:pt x="48244" y="17817"/>
                    <a:pt x="48956" y="17151"/>
                    <a:pt x="49614" y="16476"/>
                  </a:cubicBezTo>
                  <a:close/>
                  <a:moveTo>
                    <a:pt x="26203" y="16448"/>
                  </a:moveTo>
                  <a:cubicBezTo>
                    <a:pt x="26343" y="16546"/>
                    <a:pt x="26506" y="16598"/>
                    <a:pt x="26675" y="16598"/>
                  </a:cubicBezTo>
                  <a:cubicBezTo>
                    <a:pt x="26684" y="16598"/>
                    <a:pt x="26693" y="16598"/>
                    <a:pt x="26702" y="16598"/>
                  </a:cubicBezTo>
                  <a:cubicBezTo>
                    <a:pt x="26809" y="16595"/>
                    <a:pt x="26916" y="16583"/>
                    <a:pt x="27020" y="16569"/>
                  </a:cubicBezTo>
                  <a:lnTo>
                    <a:pt x="27020" y="16569"/>
                  </a:lnTo>
                  <a:cubicBezTo>
                    <a:pt x="25963" y="17651"/>
                    <a:pt x="24895" y="18728"/>
                    <a:pt x="23856" y="19825"/>
                  </a:cubicBezTo>
                  <a:cubicBezTo>
                    <a:pt x="24664" y="18717"/>
                    <a:pt x="25452" y="17594"/>
                    <a:pt x="26203" y="16448"/>
                  </a:cubicBezTo>
                  <a:close/>
                  <a:moveTo>
                    <a:pt x="53144" y="13223"/>
                  </a:moveTo>
                  <a:cubicBezTo>
                    <a:pt x="53243" y="13370"/>
                    <a:pt x="53341" y="13523"/>
                    <a:pt x="53433" y="13673"/>
                  </a:cubicBezTo>
                  <a:lnTo>
                    <a:pt x="53433" y="13676"/>
                  </a:lnTo>
                  <a:cubicBezTo>
                    <a:pt x="52070" y="14871"/>
                    <a:pt x="50887" y="16225"/>
                    <a:pt x="49726" y="17602"/>
                  </a:cubicBezTo>
                  <a:cubicBezTo>
                    <a:pt x="48759" y="18552"/>
                    <a:pt x="47812" y="19528"/>
                    <a:pt x="46932" y="20547"/>
                  </a:cubicBezTo>
                  <a:cubicBezTo>
                    <a:pt x="46981" y="20475"/>
                    <a:pt x="47030" y="20400"/>
                    <a:pt x="47079" y="20336"/>
                  </a:cubicBezTo>
                  <a:cubicBezTo>
                    <a:pt x="47269" y="20074"/>
                    <a:pt x="47454" y="19773"/>
                    <a:pt x="47567" y="19462"/>
                  </a:cubicBezTo>
                  <a:cubicBezTo>
                    <a:pt x="47887" y="19069"/>
                    <a:pt x="48210" y="18679"/>
                    <a:pt x="48531" y="18287"/>
                  </a:cubicBezTo>
                  <a:cubicBezTo>
                    <a:pt x="49983" y="16514"/>
                    <a:pt x="51507" y="14822"/>
                    <a:pt x="53144" y="13223"/>
                  </a:cubicBezTo>
                  <a:close/>
                  <a:moveTo>
                    <a:pt x="28169" y="16560"/>
                  </a:moveTo>
                  <a:lnTo>
                    <a:pt x="28169" y="16560"/>
                  </a:lnTo>
                  <a:cubicBezTo>
                    <a:pt x="26812" y="18131"/>
                    <a:pt x="25415" y="19669"/>
                    <a:pt x="24003" y="21197"/>
                  </a:cubicBezTo>
                  <a:cubicBezTo>
                    <a:pt x="25129" y="19770"/>
                    <a:pt x="26304" y="18388"/>
                    <a:pt x="27600" y="17112"/>
                  </a:cubicBezTo>
                  <a:cubicBezTo>
                    <a:pt x="27788" y="16927"/>
                    <a:pt x="27978" y="16745"/>
                    <a:pt x="28169" y="16560"/>
                  </a:cubicBezTo>
                  <a:close/>
                  <a:moveTo>
                    <a:pt x="55259" y="16718"/>
                  </a:moveTo>
                  <a:lnTo>
                    <a:pt x="55259" y="16718"/>
                  </a:lnTo>
                  <a:cubicBezTo>
                    <a:pt x="55391" y="16940"/>
                    <a:pt x="55524" y="17159"/>
                    <a:pt x="55650" y="17369"/>
                  </a:cubicBezTo>
                  <a:cubicBezTo>
                    <a:pt x="55691" y="17435"/>
                    <a:pt x="55714" y="17501"/>
                    <a:pt x="55748" y="17571"/>
                  </a:cubicBezTo>
                  <a:cubicBezTo>
                    <a:pt x="55746" y="17570"/>
                    <a:pt x="55743" y="17570"/>
                    <a:pt x="55740" y="17570"/>
                  </a:cubicBezTo>
                  <a:cubicBezTo>
                    <a:pt x="55708" y="17570"/>
                    <a:pt x="55677" y="17584"/>
                    <a:pt x="55650" y="17605"/>
                  </a:cubicBezTo>
                  <a:cubicBezTo>
                    <a:pt x="54317" y="18850"/>
                    <a:pt x="52974" y="20403"/>
                    <a:pt x="51712" y="21809"/>
                  </a:cubicBezTo>
                  <a:cubicBezTo>
                    <a:pt x="53078" y="20250"/>
                    <a:pt x="54296" y="18569"/>
                    <a:pt x="55258" y="16722"/>
                  </a:cubicBezTo>
                  <a:cubicBezTo>
                    <a:pt x="55259" y="16721"/>
                    <a:pt x="55259" y="16720"/>
                    <a:pt x="55259" y="16718"/>
                  </a:cubicBezTo>
                  <a:close/>
                  <a:moveTo>
                    <a:pt x="40667" y="18353"/>
                  </a:moveTo>
                  <a:lnTo>
                    <a:pt x="40667" y="18353"/>
                  </a:lnTo>
                  <a:cubicBezTo>
                    <a:pt x="40632" y="18731"/>
                    <a:pt x="40592" y="19135"/>
                    <a:pt x="40563" y="19551"/>
                  </a:cubicBezTo>
                  <a:cubicBezTo>
                    <a:pt x="39942" y="20169"/>
                    <a:pt x="39313" y="20781"/>
                    <a:pt x="38698" y="21407"/>
                  </a:cubicBezTo>
                  <a:lnTo>
                    <a:pt x="38695" y="21407"/>
                  </a:lnTo>
                  <a:cubicBezTo>
                    <a:pt x="38539" y="21566"/>
                    <a:pt x="38389" y="21728"/>
                    <a:pt x="38239" y="21890"/>
                  </a:cubicBezTo>
                  <a:cubicBezTo>
                    <a:pt x="39059" y="20720"/>
                    <a:pt x="39959" y="19606"/>
                    <a:pt x="40667" y="18353"/>
                  </a:cubicBezTo>
                  <a:close/>
                  <a:moveTo>
                    <a:pt x="54100" y="14773"/>
                  </a:moveTo>
                  <a:cubicBezTo>
                    <a:pt x="54279" y="15065"/>
                    <a:pt x="54452" y="15353"/>
                    <a:pt x="54623" y="15639"/>
                  </a:cubicBezTo>
                  <a:lnTo>
                    <a:pt x="54620" y="15642"/>
                  </a:lnTo>
                  <a:cubicBezTo>
                    <a:pt x="54605" y="15651"/>
                    <a:pt x="54588" y="15651"/>
                    <a:pt x="54576" y="15668"/>
                  </a:cubicBezTo>
                  <a:cubicBezTo>
                    <a:pt x="52665" y="18131"/>
                    <a:pt x="49972" y="19753"/>
                    <a:pt x="48020" y="22077"/>
                  </a:cubicBezTo>
                  <a:cubicBezTo>
                    <a:pt x="50075" y="19629"/>
                    <a:pt x="52307" y="17426"/>
                    <a:pt x="54100" y="14773"/>
                  </a:cubicBezTo>
                  <a:close/>
                  <a:moveTo>
                    <a:pt x="40814" y="16222"/>
                  </a:moveTo>
                  <a:cubicBezTo>
                    <a:pt x="40774" y="16788"/>
                    <a:pt x="40742" y="17351"/>
                    <a:pt x="40701" y="17897"/>
                  </a:cubicBezTo>
                  <a:cubicBezTo>
                    <a:pt x="40688" y="17892"/>
                    <a:pt x="40675" y="17890"/>
                    <a:pt x="40662" y="17890"/>
                  </a:cubicBezTo>
                  <a:cubicBezTo>
                    <a:pt x="40628" y="17890"/>
                    <a:pt x="40594" y="17905"/>
                    <a:pt x="40571" y="17934"/>
                  </a:cubicBezTo>
                  <a:cubicBezTo>
                    <a:pt x="39408" y="19248"/>
                    <a:pt x="38484" y="20781"/>
                    <a:pt x="37315" y="22086"/>
                  </a:cubicBezTo>
                  <a:lnTo>
                    <a:pt x="37312" y="22086"/>
                  </a:lnTo>
                  <a:cubicBezTo>
                    <a:pt x="38484" y="20616"/>
                    <a:pt x="39596" y="19098"/>
                    <a:pt x="40595" y="17472"/>
                  </a:cubicBezTo>
                  <a:cubicBezTo>
                    <a:pt x="40664" y="17360"/>
                    <a:pt x="40562" y="17238"/>
                    <a:pt x="40455" y="17238"/>
                  </a:cubicBezTo>
                  <a:cubicBezTo>
                    <a:pt x="40419" y="17238"/>
                    <a:pt x="40383" y="17252"/>
                    <a:pt x="40352" y="17285"/>
                  </a:cubicBezTo>
                  <a:cubicBezTo>
                    <a:pt x="39959" y="17718"/>
                    <a:pt x="39587" y="18168"/>
                    <a:pt x="39223" y="18621"/>
                  </a:cubicBezTo>
                  <a:cubicBezTo>
                    <a:pt x="39772" y="17839"/>
                    <a:pt x="40303" y="17039"/>
                    <a:pt x="40814" y="16222"/>
                  </a:cubicBezTo>
                  <a:close/>
                  <a:moveTo>
                    <a:pt x="39772" y="15789"/>
                  </a:moveTo>
                  <a:lnTo>
                    <a:pt x="39772" y="15789"/>
                  </a:lnTo>
                  <a:cubicBezTo>
                    <a:pt x="39799" y="15789"/>
                    <a:pt x="37608" y="19396"/>
                    <a:pt x="37656" y="19396"/>
                  </a:cubicBezTo>
                  <a:cubicBezTo>
                    <a:pt x="37656" y="19396"/>
                    <a:pt x="37656" y="19396"/>
                    <a:pt x="37656" y="19396"/>
                  </a:cubicBezTo>
                  <a:lnTo>
                    <a:pt x="37656" y="19396"/>
                  </a:lnTo>
                  <a:cubicBezTo>
                    <a:pt x="36820" y="20466"/>
                    <a:pt x="35915" y="21482"/>
                    <a:pt x="35000" y="22493"/>
                  </a:cubicBezTo>
                  <a:cubicBezTo>
                    <a:pt x="35871" y="21402"/>
                    <a:pt x="36732" y="20302"/>
                    <a:pt x="37578" y="19193"/>
                  </a:cubicBezTo>
                  <a:cubicBezTo>
                    <a:pt x="38106" y="18440"/>
                    <a:pt x="38608" y="17666"/>
                    <a:pt x="39082" y="16875"/>
                  </a:cubicBezTo>
                  <a:cubicBezTo>
                    <a:pt x="39571" y="16092"/>
                    <a:pt x="39765" y="15789"/>
                    <a:pt x="39772" y="15789"/>
                  </a:cubicBezTo>
                  <a:close/>
                  <a:moveTo>
                    <a:pt x="54787" y="15925"/>
                  </a:moveTo>
                  <a:lnTo>
                    <a:pt x="55119" y="16479"/>
                  </a:lnTo>
                  <a:cubicBezTo>
                    <a:pt x="55116" y="16479"/>
                    <a:pt x="55114" y="16479"/>
                    <a:pt x="55111" y="16479"/>
                  </a:cubicBezTo>
                  <a:cubicBezTo>
                    <a:pt x="55070" y="16479"/>
                    <a:pt x="55031" y="16499"/>
                    <a:pt x="55006" y="16528"/>
                  </a:cubicBezTo>
                  <a:cubicBezTo>
                    <a:pt x="53153" y="18649"/>
                    <a:pt x="51018" y="20606"/>
                    <a:pt x="49180" y="22668"/>
                  </a:cubicBezTo>
                  <a:lnTo>
                    <a:pt x="49180" y="22668"/>
                  </a:lnTo>
                  <a:cubicBezTo>
                    <a:pt x="51159" y="20447"/>
                    <a:pt x="53282" y="18525"/>
                    <a:pt x="54787" y="15925"/>
                  </a:cubicBezTo>
                  <a:close/>
                  <a:moveTo>
                    <a:pt x="36137" y="14805"/>
                  </a:moveTo>
                  <a:cubicBezTo>
                    <a:pt x="36276" y="14981"/>
                    <a:pt x="36426" y="15186"/>
                    <a:pt x="36509" y="15293"/>
                  </a:cubicBezTo>
                  <a:cubicBezTo>
                    <a:pt x="36559" y="15356"/>
                    <a:pt x="36613" y="15417"/>
                    <a:pt x="36674" y="15469"/>
                  </a:cubicBezTo>
                  <a:cubicBezTo>
                    <a:pt x="34696" y="17178"/>
                    <a:pt x="33296" y="19545"/>
                    <a:pt x="31512" y="21442"/>
                  </a:cubicBezTo>
                  <a:cubicBezTo>
                    <a:pt x="31079" y="21907"/>
                    <a:pt x="30655" y="22377"/>
                    <a:pt x="30227" y="22848"/>
                  </a:cubicBezTo>
                  <a:cubicBezTo>
                    <a:pt x="32369" y="20258"/>
                    <a:pt x="34428" y="17623"/>
                    <a:pt x="36137" y="14805"/>
                  </a:cubicBezTo>
                  <a:close/>
                  <a:moveTo>
                    <a:pt x="49735" y="19742"/>
                  </a:moveTo>
                  <a:lnTo>
                    <a:pt x="49735" y="19742"/>
                  </a:lnTo>
                  <a:cubicBezTo>
                    <a:pt x="48788" y="20781"/>
                    <a:pt x="47829" y="21809"/>
                    <a:pt x="46923" y="22886"/>
                  </a:cubicBezTo>
                  <a:cubicBezTo>
                    <a:pt x="46914" y="22900"/>
                    <a:pt x="46914" y="22917"/>
                    <a:pt x="46908" y="22935"/>
                  </a:cubicBezTo>
                  <a:cubicBezTo>
                    <a:pt x="46833" y="22909"/>
                    <a:pt x="46761" y="22891"/>
                    <a:pt x="46683" y="22874"/>
                  </a:cubicBezTo>
                  <a:cubicBezTo>
                    <a:pt x="46595" y="22863"/>
                    <a:pt x="46508" y="22857"/>
                    <a:pt x="46420" y="22857"/>
                  </a:cubicBezTo>
                  <a:cubicBezTo>
                    <a:pt x="46389" y="22857"/>
                    <a:pt x="46359" y="22858"/>
                    <a:pt x="46328" y="22860"/>
                  </a:cubicBezTo>
                  <a:cubicBezTo>
                    <a:pt x="47509" y="21869"/>
                    <a:pt x="48641" y="20824"/>
                    <a:pt x="49735" y="19742"/>
                  </a:cubicBezTo>
                  <a:close/>
                  <a:moveTo>
                    <a:pt x="53624" y="13985"/>
                  </a:moveTo>
                  <a:cubicBezTo>
                    <a:pt x="53730" y="14155"/>
                    <a:pt x="53834" y="14326"/>
                    <a:pt x="53938" y="14496"/>
                  </a:cubicBezTo>
                  <a:lnTo>
                    <a:pt x="53938" y="14499"/>
                  </a:lnTo>
                  <a:cubicBezTo>
                    <a:pt x="53927" y="14507"/>
                    <a:pt x="53915" y="14507"/>
                    <a:pt x="53909" y="14516"/>
                  </a:cubicBezTo>
                  <a:cubicBezTo>
                    <a:pt x="52527" y="16344"/>
                    <a:pt x="51057" y="18012"/>
                    <a:pt x="49461" y="19643"/>
                  </a:cubicBezTo>
                  <a:cubicBezTo>
                    <a:pt x="48836" y="20281"/>
                    <a:pt x="45783" y="23189"/>
                    <a:pt x="45405" y="23189"/>
                  </a:cubicBezTo>
                  <a:cubicBezTo>
                    <a:pt x="45271" y="23189"/>
                    <a:pt x="45473" y="22825"/>
                    <a:pt x="46236" y="21866"/>
                  </a:cubicBezTo>
                  <a:cubicBezTo>
                    <a:pt x="47431" y="20769"/>
                    <a:pt x="48496" y="19548"/>
                    <a:pt x="49544" y="18301"/>
                  </a:cubicBezTo>
                  <a:cubicBezTo>
                    <a:pt x="50959" y="16918"/>
                    <a:pt x="52391" y="15550"/>
                    <a:pt x="53624" y="13985"/>
                  </a:cubicBezTo>
                  <a:close/>
                  <a:moveTo>
                    <a:pt x="55881" y="17836"/>
                  </a:moveTo>
                  <a:cubicBezTo>
                    <a:pt x="55991" y="18064"/>
                    <a:pt x="56080" y="18301"/>
                    <a:pt x="56156" y="18544"/>
                  </a:cubicBezTo>
                  <a:lnTo>
                    <a:pt x="56156" y="18546"/>
                  </a:lnTo>
                  <a:cubicBezTo>
                    <a:pt x="56131" y="18534"/>
                    <a:pt x="56105" y="18528"/>
                    <a:pt x="56079" y="18528"/>
                  </a:cubicBezTo>
                  <a:cubicBezTo>
                    <a:pt x="56039" y="18528"/>
                    <a:pt x="55999" y="18542"/>
                    <a:pt x="55968" y="18569"/>
                  </a:cubicBezTo>
                  <a:cubicBezTo>
                    <a:pt x="54403" y="20022"/>
                    <a:pt x="52454" y="22195"/>
                    <a:pt x="51410" y="23425"/>
                  </a:cubicBezTo>
                  <a:lnTo>
                    <a:pt x="51410" y="23425"/>
                  </a:lnTo>
                  <a:cubicBezTo>
                    <a:pt x="52952" y="21603"/>
                    <a:pt x="54422" y="19725"/>
                    <a:pt x="55881" y="17836"/>
                  </a:cubicBezTo>
                  <a:close/>
                  <a:moveTo>
                    <a:pt x="54082" y="16954"/>
                  </a:moveTo>
                  <a:cubicBezTo>
                    <a:pt x="54130" y="16954"/>
                    <a:pt x="51975" y="19262"/>
                    <a:pt x="51476" y="19814"/>
                  </a:cubicBezTo>
                  <a:cubicBezTo>
                    <a:pt x="50350" y="21052"/>
                    <a:pt x="49157" y="22222"/>
                    <a:pt x="48043" y="23475"/>
                  </a:cubicBezTo>
                  <a:cubicBezTo>
                    <a:pt x="47792" y="23298"/>
                    <a:pt x="47526" y="23151"/>
                    <a:pt x="47243" y="23036"/>
                  </a:cubicBezTo>
                  <a:cubicBezTo>
                    <a:pt x="49325" y="21436"/>
                    <a:pt x="51311" y="19762"/>
                    <a:pt x="53150" y="17882"/>
                  </a:cubicBezTo>
                  <a:cubicBezTo>
                    <a:pt x="53804" y="17213"/>
                    <a:pt x="54066" y="16954"/>
                    <a:pt x="54082" y="16954"/>
                  </a:cubicBezTo>
                  <a:close/>
                  <a:moveTo>
                    <a:pt x="40716" y="21777"/>
                  </a:moveTo>
                  <a:cubicBezTo>
                    <a:pt x="40753" y="21910"/>
                    <a:pt x="40800" y="22040"/>
                    <a:pt x="40857" y="22167"/>
                  </a:cubicBezTo>
                  <a:lnTo>
                    <a:pt x="40854" y="22167"/>
                  </a:lnTo>
                  <a:cubicBezTo>
                    <a:pt x="40869" y="22196"/>
                    <a:pt x="40892" y="22219"/>
                    <a:pt x="40924" y="22227"/>
                  </a:cubicBezTo>
                  <a:cubicBezTo>
                    <a:pt x="40912" y="22233"/>
                    <a:pt x="40901" y="22233"/>
                    <a:pt x="40892" y="22242"/>
                  </a:cubicBezTo>
                  <a:cubicBezTo>
                    <a:pt x="40364" y="22721"/>
                    <a:pt x="39841" y="23212"/>
                    <a:pt x="39330" y="23711"/>
                  </a:cubicBezTo>
                  <a:cubicBezTo>
                    <a:pt x="39301" y="23740"/>
                    <a:pt x="39272" y="23769"/>
                    <a:pt x="39243" y="23795"/>
                  </a:cubicBezTo>
                  <a:cubicBezTo>
                    <a:pt x="39740" y="23128"/>
                    <a:pt x="40234" y="22455"/>
                    <a:pt x="40716" y="21777"/>
                  </a:cubicBezTo>
                  <a:close/>
                  <a:moveTo>
                    <a:pt x="45176" y="22770"/>
                  </a:moveTo>
                  <a:cubicBezTo>
                    <a:pt x="44925" y="23131"/>
                    <a:pt x="44691" y="23498"/>
                    <a:pt x="44466" y="23870"/>
                  </a:cubicBezTo>
                  <a:cubicBezTo>
                    <a:pt x="44366" y="23752"/>
                    <a:pt x="44279" y="23623"/>
                    <a:pt x="44204" y="23485"/>
                  </a:cubicBezTo>
                  <a:lnTo>
                    <a:pt x="44204" y="23485"/>
                  </a:lnTo>
                  <a:cubicBezTo>
                    <a:pt x="44539" y="23260"/>
                    <a:pt x="44862" y="23018"/>
                    <a:pt x="45176" y="22770"/>
                  </a:cubicBezTo>
                  <a:close/>
                  <a:moveTo>
                    <a:pt x="40537" y="20154"/>
                  </a:moveTo>
                  <a:lnTo>
                    <a:pt x="40537" y="20154"/>
                  </a:lnTo>
                  <a:cubicBezTo>
                    <a:pt x="40525" y="20544"/>
                    <a:pt x="40551" y="20934"/>
                    <a:pt x="40612" y="21321"/>
                  </a:cubicBezTo>
                  <a:cubicBezTo>
                    <a:pt x="39985" y="21878"/>
                    <a:pt x="39344" y="22429"/>
                    <a:pt x="38721" y="22998"/>
                  </a:cubicBezTo>
                  <a:cubicBezTo>
                    <a:pt x="38450" y="23252"/>
                    <a:pt x="38187" y="23512"/>
                    <a:pt x="37933" y="23781"/>
                  </a:cubicBezTo>
                  <a:cubicBezTo>
                    <a:pt x="37654" y="24067"/>
                    <a:pt x="37551" y="24170"/>
                    <a:pt x="37543" y="24170"/>
                  </a:cubicBezTo>
                  <a:cubicBezTo>
                    <a:pt x="37527" y="24170"/>
                    <a:pt x="37935" y="23714"/>
                    <a:pt x="38037" y="23532"/>
                  </a:cubicBezTo>
                  <a:cubicBezTo>
                    <a:pt x="38724" y="22305"/>
                    <a:pt x="39772" y="21332"/>
                    <a:pt x="40537" y="20154"/>
                  </a:cubicBezTo>
                  <a:close/>
                  <a:moveTo>
                    <a:pt x="54296" y="17825"/>
                  </a:moveTo>
                  <a:cubicBezTo>
                    <a:pt x="53156" y="19109"/>
                    <a:pt x="50861" y="22222"/>
                    <a:pt x="48950" y="24173"/>
                  </a:cubicBezTo>
                  <a:cubicBezTo>
                    <a:pt x="48747" y="24006"/>
                    <a:pt x="48545" y="23841"/>
                    <a:pt x="48335" y="23685"/>
                  </a:cubicBezTo>
                  <a:cubicBezTo>
                    <a:pt x="50517" y="21916"/>
                    <a:pt x="52428" y="19926"/>
                    <a:pt x="54296" y="17825"/>
                  </a:cubicBezTo>
                  <a:close/>
                  <a:moveTo>
                    <a:pt x="45476" y="23552"/>
                  </a:moveTo>
                  <a:lnTo>
                    <a:pt x="45476" y="23552"/>
                  </a:lnTo>
                  <a:cubicBezTo>
                    <a:pt x="45401" y="23925"/>
                    <a:pt x="45451" y="24395"/>
                    <a:pt x="45534" y="24860"/>
                  </a:cubicBezTo>
                  <a:cubicBezTo>
                    <a:pt x="45252" y="24641"/>
                    <a:pt x="44984" y="24408"/>
                    <a:pt x="44733" y="24157"/>
                  </a:cubicBezTo>
                  <a:lnTo>
                    <a:pt x="44733" y="24157"/>
                  </a:lnTo>
                  <a:cubicBezTo>
                    <a:pt x="44984" y="23959"/>
                    <a:pt x="45229" y="23751"/>
                    <a:pt x="45476" y="23552"/>
                  </a:cubicBezTo>
                  <a:close/>
                  <a:moveTo>
                    <a:pt x="56228" y="18789"/>
                  </a:moveTo>
                  <a:cubicBezTo>
                    <a:pt x="56303" y="19083"/>
                    <a:pt x="56352" y="19381"/>
                    <a:pt x="56381" y="19681"/>
                  </a:cubicBezTo>
                  <a:lnTo>
                    <a:pt x="56378" y="19684"/>
                  </a:lnTo>
                  <a:cubicBezTo>
                    <a:pt x="54893" y="21434"/>
                    <a:pt x="53204" y="23135"/>
                    <a:pt x="51807" y="24864"/>
                  </a:cubicBezTo>
                  <a:lnTo>
                    <a:pt x="51807" y="24864"/>
                  </a:lnTo>
                  <a:cubicBezTo>
                    <a:pt x="53390" y="22903"/>
                    <a:pt x="54924" y="20951"/>
                    <a:pt x="56228" y="18789"/>
                  </a:cubicBezTo>
                  <a:close/>
                  <a:moveTo>
                    <a:pt x="56398" y="20215"/>
                  </a:moveTo>
                  <a:lnTo>
                    <a:pt x="56398" y="20215"/>
                  </a:lnTo>
                  <a:cubicBezTo>
                    <a:pt x="56404" y="20616"/>
                    <a:pt x="56386" y="21021"/>
                    <a:pt x="56343" y="21422"/>
                  </a:cubicBezTo>
                  <a:lnTo>
                    <a:pt x="56340" y="21425"/>
                  </a:lnTo>
                  <a:cubicBezTo>
                    <a:pt x="55174" y="22603"/>
                    <a:pt x="53035" y="24144"/>
                    <a:pt x="52350" y="25493"/>
                  </a:cubicBezTo>
                  <a:cubicBezTo>
                    <a:pt x="53332" y="23552"/>
                    <a:pt x="55004" y="21910"/>
                    <a:pt x="56398" y="20215"/>
                  </a:cubicBezTo>
                  <a:close/>
                  <a:moveTo>
                    <a:pt x="56254" y="22060"/>
                  </a:moveTo>
                  <a:lnTo>
                    <a:pt x="56254" y="22060"/>
                  </a:lnTo>
                  <a:cubicBezTo>
                    <a:pt x="56193" y="22484"/>
                    <a:pt x="56118" y="22912"/>
                    <a:pt x="56046" y="23336"/>
                  </a:cubicBezTo>
                  <a:lnTo>
                    <a:pt x="56046" y="23339"/>
                  </a:lnTo>
                  <a:cubicBezTo>
                    <a:pt x="55567" y="23878"/>
                    <a:pt x="53872" y="25112"/>
                    <a:pt x="53662" y="25538"/>
                  </a:cubicBezTo>
                  <a:lnTo>
                    <a:pt x="53662" y="25538"/>
                  </a:lnTo>
                  <a:cubicBezTo>
                    <a:pt x="54297" y="24248"/>
                    <a:pt x="55284" y="23134"/>
                    <a:pt x="56254" y="22060"/>
                  </a:cubicBezTo>
                  <a:close/>
                  <a:moveTo>
                    <a:pt x="54901" y="18772"/>
                  </a:moveTo>
                  <a:cubicBezTo>
                    <a:pt x="54987" y="18772"/>
                    <a:pt x="53204" y="20718"/>
                    <a:pt x="52983" y="20995"/>
                  </a:cubicBezTo>
                  <a:cubicBezTo>
                    <a:pt x="52059" y="22144"/>
                    <a:pt x="51106" y="23267"/>
                    <a:pt x="50151" y="24387"/>
                  </a:cubicBezTo>
                  <a:cubicBezTo>
                    <a:pt x="50044" y="24513"/>
                    <a:pt x="50150" y="24678"/>
                    <a:pt x="50276" y="24678"/>
                  </a:cubicBezTo>
                  <a:cubicBezTo>
                    <a:pt x="50314" y="24678"/>
                    <a:pt x="50354" y="24663"/>
                    <a:pt x="50390" y="24626"/>
                  </a:cubicBezTo>
                  <a:cubicBezTo>
                    <a:pt x="51987" y="23004"/>
                    <a:pt x="53558" y="21352"/>
                    <a:pt x="55186" y="19758"/>
                  </a:cubicBezTo>
                  <a:lnTo>
                    <a:pt x="55186" y="19758"/>
                  </a:lnTo>
                  <a:cubicBezTo>
                    <a:pt x="53907" y="21016"/>
                    <a:pt x="52249" y="23759"/>
                    <a:pt x="50815" y="25544"/>
                  </a:cubicBezTo>
                  <a:cubicBezTo>
                    <a:pt x="50630" y="25429"/>
                    <a:pt x="50454" y="25316"/>
                    <a:pt x="50295" y="25218"/>
                  </a:cubicBezTo>
                  <a:cubicBezTo>
                    <a:pt x="49946" y="25005"/>
                    <a:pt x="49588" y="24707"/>
                    <a:pt x="49221" y="24401"/>
                  </a:cubicBezTo>
                  <a:cubicBezTo>
                    <a:pt x="49559" y="24069"/>
                    <a:pt x="49891" y="23737"/>
                    <a:pt x="50226" y="23402"/>
                  </a:cubicBezTo>
                  <a:cubicBezTo>
                    <a:pt x="50416" y="23212"/>
                    <a:pt x="50601" y="23015"/>
                    <a:pt x="50789" y="22819"/>
                  </a:cubicBezTo>
                  <a:lnTo>
                    <a:pt x="50789" y="22819"/>
                  </a:lnTo>
                  <a:cubicBezTo>
                    <a:pt x="50693" y="22920"/>
                    <a:pt x="50601" y="23024"/>
                    <a:pt x="50506" y="23122"/>
                  </a:cubicBezTo>
                  <a:cubicBezTo>
                    <a:pt x="51632" y="21999"/>
                    <a:pt x="52749" y="20870"/>
                    <a:pt x="53872" y="19747"/>
                  </a:cubicBezTo>
                  <a:cubicBezTo>
                    <a:pt x="54584" y="19036"/>
                    <a:pt x="54869" y="18772"/>
                    <a:pt x="54901" y="18772"/>
                  </a:cubicBezTo>
                  <a:close/>
                  <a:moveTo>
                    <a:pt x="19452" y="18048"/>
                  </a:moveTo>
                  <a:cubicBezTo>
                    <a:pt x="19091" y="18484"/>
                    <a:pt x="17065" y="21841"/>
                    <a:pt x="16373" y="22698"/>
                  </a:cubicBezTo>
                  <a:cubicBezTo>
                    <a:pt x="15538" y="23729"/>
                    <a:pt x="14661" y="24716"/>
                    <a:pt x="13780" y="25700"/>
                  </a:cubicBezTo>
                  <a:cubicBezTo>
                    <a:pt x="14014" y="25389"/>
                    <a:pt x="14256" y="25083"/>
                    <a:pt x="14487" y="24771"/>
                  </a:cubicBezTo>
                  <a:cubicBezTo>
                    <a:pt x="16141" y="22511"/>
                    <a:pt x="17657" y="20210"/>
                    <a:pt x="19452" y="18048"/>
                  </a:cubicBezTo>
                  <a:close/>
                  <a:moveTo>
                    <a:pt x="35099" y="22772"/>
                  </a:moveTo>
                  <a:cubicBezTo>
                    <a:pt x="34352" y="23745"/>
                    <a:pt x="33584" y="24708"/>
                    <a:pt x="32765" y="25620"/>
                  </a:cubicBezTo>
                  <a:cubicBezTo>
                    <a:pt x="32644" y="25755"/>
                    <a:pt x="32514" y="25885"/>
                    <a:pt x="32390" y="26021"/>
                  </a:cubicBezTo>
                  <a:cubicBezTo>
                    <a:pt x="33207" y="24967"/>
                    <a:pt x="34050" y="23934"/>
                    <a:pt x="34956" y="22932"/>
                  </a:cubicBezTo>
                  <a:cubicBezTo>
                    <a:pt x="35004" y="22879"/>
                    <a:pt x="35051" y="22826"/>
                    <a:pt x="35099" y="22772"/>
                  </a:cubicBezTo>
                  <a:close/>
                  <a:moveTo>
                    <a:pt x="53525" y="23272"/>
                  </a:moveTo>
                  <a:lnTo>
                    <a:pt x="53525" y="23272"/>
                  </a:lnTo>
                  <a:cubicBezTo>
                    <a:pt x="52853" y="24147"/>
                    <a:pt x="52232" y="25059"/>
                    <a:pt x="51695" y="26064"/>
                  </a:cubicBezTo>
                  <a:lnTo>
                    <a:pt x="51692" y="26064"/>
                  </a:lnTo>
                  <a:cubicBezTo>
                    <a:pt x="51496" y="25957"/>
                    <a:pt x="51305" y="25845"/>
                    <a:pt x="51123" y="25735"/>
                  </a:cubicBezTo>
                  <a:cubicBezTo>
                    <a:pt x="51998" y="24976"/>
                    <a:pt x="52792" y="24133"/>
                    <a:pt x="53525" y="23272"/>
                  </a:cubicBezTo>
                  <a:close/>
                  <a:moveTo>
                    <a:pt x="24396" y="14253"/>
                  </a:moveTo>
                  <a:cubicBezTo>
                    <a:pt x="23870" y="14955"/>
                    <a:pt x="23316" y="15633"/>
                    <a:pt x="22773" y="16321"/>
                  </a:cubicBezTo>
                  <a:cubicBezTo>
                    <a:pt x="22291" y="16883"/>
                    <a:pt x="21835" y="17478"/>
                    <a:pt x="21384" y="18084"/>
                  </a:cubicBezTo>
                  <a:cubicBezTo>
                    <a:pt x="20391" y="19300"/>
                    <a:pt x="19381" y="20501"/>
                    <a:pt x="18353" y="21685"/>
                  </a:cubicBezTo>
                  <a:cubicBezTo>
                    <a:pt x="16993" y="23258"/>
                    <a:pt x="15616" y="24814"/>
                    <a:pt x="14256" y="26379"/>
                  </a:cubicBezTo>
                  <a:cubicBezTo>
                    <a:pt x="16292" y="23858"/>
                    <a:pt x="18604" y="21569"/>
                    <a:pt x="20556" y="18979"/>
                  </a:cubicBezTo>
                  <a:cubicBezTo>
                    <a:pt x="21766" y="17377"/>
                    <a:pt x="23241" y="15792"/>
                    <a:pt x="24396" y="14253"/>
                  </a:cubicBezTo>
                  <a:close/>
                  <a:moveTo>
                    <a:pt x="32820" y="11173"/>
                  </a:moveTo>
                  <a:cubicBezTo>
                    <a:pt x="32869" y="11390"/>
                    <a:pt x="32901" y="11612"/>
                    <a:pt x="32935" y="11834"/>
                  </a:cubicBezTo>
                  <a:cubicBezTo>
                    <a:pt x="32907" y="11786"/>
                    <a:pt x="32852" y="11751"/>
                    <a:pt x="32799" y="11751"/>
                  </a:cubicBezTo>
                  <a:cubicBezTo>
                    <a:pt x="32766" y="11751"/>
                    <a:pt x="32734" y="11765"/>
                    <a:pt x="32710" y="11797"/>
                  </a:cubicBezTo>
                  <a:cubicBezTo>
                    <a:pt x="28720" y="16878"/>
                    <a:pt x="24254" y="21572"/>
                    <a:pt x="20036" y="26468"/>
                  </a:cubicBezTo>
                  <a:cubicBezTo>
                    <a:pt x="21194" y="24932"/>
                    <a:pt x="22320" y="23368"/>
                    <a:pt x="23498" y="21843"/>
                  </a:cubicBezTo>
                  <a:cubicBezTo>
                    <a:pt x="25666" y="19528"/>
                    <a:pt x="27869" y="17253"/>
                    <a:pt x="29939" y="14845"/>
                  </a:cubicBezTo>
                  <a:cubicBezTo>
                    <a:pt x="31039" y="13748"/>
                    <a:pt x="32043" y="12593"/>
                    <a:pt x="32820" y="11173"/>
                  </a:cubicBezTo>
                  <a:close/>
                  <a:moveTo>
                    <a:pt x="55628" y="22239"/>
                  </a:moveTo>
                  <a:lnTo>
                    <a:pt x="55628" y="22239"/>
                  </a:lnTo>
                  <a:cubicBezTo>
                    <a:pt x="54494" y="23522"/>
                    <a:pt x="53573" y="24933"/>
                    <a:pt x="52812" y="26465"/>
                  </a:cubicBezTo>
                  <a:cubicBezTo>
                    <a:pt x="52801" y="26494"/>
                    <a:pt x="52798" y="26526"/>
                    <a:pt x="52801" y="26558"/>
                  </a:cubicBezTo>
                  <a:cubicBezTo>
                    <a:pt x="52558" y="26480"/>
                    <a:pt x="52322" y="26382"/>
                    <a:pt x="52091" y="26269"/>
                  </a:cubicBezTo>
                  <a:cubicBezTo>
                    <a:pt x="53363" y="24992"/>
                    <a:pt x="54612" y="23386"/>
                    <a:pt x="55628" y="22239"/>
                  </a:cubicBezTo>
                  <a:close/>
                  <a:moveTo>
                    <a:pt x="55870" y="24271"/>
                  </a:moveTo>
                  <a:lnTo>
                    <a:pt x="55870" y="24271"/>
                  </a:lnTo>
                  <a:cubicBezTo>
                    <a:pt x="55561" y="25744"/>
                    <a:pt x="54983" y="26439"/>
                    <a:pt x="54291" y="26653"/>
                  </a:cubicBezTo>
                  <a:lnTo>
                    <a:pt x="54288" y="26653"/>
                  </a:lnTo>
                  <a:cubicBezTo>
                    <a:pt x="54291" y="26650"/>
                    <a:pt x="54299" y="26650"/>
                    <a:pt x="54302" y="26644"/>
                  </a:cubicBezTo>
                  <a:cubicBezTo>
                    <a:pt x="54828" y="25851"/>
                    <a:pt x="55359" y="25068"/>
                    <a:pt x="55870" y="24271"/>
                  </a:cubicBezTo>
                  <a:close/>
                  <a:moveTo>
                    <a:pt x="55503" y="24647"/>
                  </a:moveTo>
                  <a:cubicBezTo>
                    <a:pt x="55252" y="24924"/>
                    <a:pt x="54634" y="25654"/>
                    <a:pt x="54426" y="26281"/>
                  </a:cubicBezTo>
                  <a:cubicBezTo>
                    <a:pt x="54470" y="26148"/>
                    <a:pt x="54364" y="26063"/>
                    <a:pt x="54258" y="26063"/>
                  </a:cubicBezTo>
                  <a:cubicBezTo>
                    <a:pt x="54188" y="26063"/>
                    <a:pt x="54117" y="26100"/>
                    <a:pt x="54088" y="26185"/>
                  </a:cubicBezTo>
                  <a:lnTo>
                    <a:pt x="53979" y="26509"/>
                  </a:lnTo>
                  <a:cubicBezTo>
                    <a:pt x="53953" y="26584"/>
                    <a:pt x="53987" y="26668"/>
                    <a:pt x="54062" y="26699"/>
                  </a:cubicBezTo>
                  <a:cubicBezTo>
                    <a:pt x="53945" y="26717"/>
                    <a:pt x="53826" y="26726"/>
                    <a:pt x="53707" y="26726"/>
                  </a:cubicBezTo>
                  <a:cubicBezTo>
                    <a:pt x="53514" y="26726"/>
                    <a:pt x="53320" y="26702"/>
                    <a:pt x="53133" y="26656"/>
                  </a:cubicBezTo>
                  <a:cubicBezTo>
                    <a:pt x="54273" y="25934"/>
                    <a:pt x="53820" y="26289"/>
                    <a:pt x="54865" y="25279"/>
                  </a:cubicBezTo>
                  <a:cubicBezTo>
                    <a:pt x="55191" y="24964"/>
                    <a:pt x="55393" y="24762"/>
                    <a:pt x="55503" y="24647"/>
                  </a:cubicBezTo>
                  <a:close/>
                  <a:moveTo>
                    <a:pt x="34321" y="15394"/>
                  </a:moveTo>
                  <a:lnTo>
                    <a:pt x="34321" y="15394"/>
                  </a:lnTo>
                  <a:cubicBezTo>
                    <a:pt x="33504" y="17025"/>
                    <a:pt x="32292" y="18535"/>
                    <a:pt x="31168" y="19941"/>
                  </a:cubicBezTo>
                  <a:cubicBezTo>
                    <a:pt x="29090" y="22545"/>
                    <a:pt x="26671" y="24863"/>
                    <a:pt x="24318" y="27231"/>
                  </a:cubicBezTo>
                  <a:lnTo>
                    <a:pt x="24318" y="27231"/>
                  </a:lnTo>
                  <a:cubicBezTo>
                    <a:pt x="25291" y="25900"/>
                    <a:pt x="26287" y="24589"/>
                    <a:pt x="27323" y="23327"/>
                  </a:cubicBezTo>
                  <a:cubicBezTo>
                    <a:pt x="28755" y="21581"/>
                    <a:pt x="30591" y="20094"/>
                    <a:pt x="31876" y="18229"/>
                  </a:cubicBezTo>
                  <a:cubicBezTo>
                    <a:pt x="32531" y="17158"/>
                    <a:pt x="33357" y="16199"/>
                    <a:pt x="34321" y="15394"/>
                  </a:cubicBezTo>
                  <a:close/>
                  <a:moveTo>
                    <a:pt x="47336" y="27886"/>
                  </a:moveTo>
                  <a:lnTo>
                    <a:pt x="47336" y="27886"/>
                  </a:lnTo>
                  <a:cubicBezTo>
                    <a:pt x="47308" y="27915"/>
                    <a:pt x="47280" y="27944"/>
                    <a:pt x="47252" y="27973"/>
                  </a:cubicBezTo>
                  <a:lnTo>
                    <a:pt x="47252" y="27973"/>
                  </a:lnTo>
                  <a:cubicBezTo>
                    <a:pt x="47280" y="27944"/>
                    <a:pt x="47308" y="27915"/>
                    <a:pt x="47336" y="27886"/>
                  </a:cubicBezTo>
                  <a:close/>
                  <a:moveTo>
                    <a:pt x="33285" y="13324"/>
                  </a:moveTo>
                  <a:cubicBezTo>
                    <a:pt x="33441" y="13569"/>
                    <a:pt x="33651" y="13774"/>
                    <a:pt x="33897" y="13927"/>
                  </a:cubicBezTo>
                  <a:cubicBezTo>
                    <a:pt x="29436" y="18035"/>
                    <a:pt x="25602" y="23347"/>
                    <a:pt x="21751" y="28039"/>
                  </a:cubicBezTo>
                  <a:cubicBezTo>
                    <a:pt x="21327" y="28559"/>
                    <a:pt x="20891" y="29070"/>
                    <a:pt x="20463" y="29583"/>
                  </a:cubicBezTo>
                  <a:cubicBezTo>
                    <a:pt x="22715" y="26477"/>
                    <a:pt x="24794" y="23270"/>
                    <a:pt x="27352" y="20385"/>
                  </a:cubicBezTo>
                  <a:cubicBezTo>
                    <a:pt x="29396" y="18084"/>
                    <a:pt x="31509" y="15913"/>
                    <a:pt x="33270" y="13382"/>
                  </a:cubicBezTo>
                  <a:cubicBezTo>
                    <a:pt x="33285" y="13361"/>
                    <a:pt x="33282" y="13344"/>
                    <a:pt x="33285" y="13324"/>
                  </a:cubicBezTo>
                  <a:close/>
                  <a:moveTo>
                    <a:pt x="39821" y="17267"/>
                  </a:moveTo>
                  <a:lnTo>
                    <a:pt x="39821" y="17267"/>
                  </a:lnTo>
                  <a:cubicBezTo>
                    <a:pt x="38724" y="19046"/>
                    <a:pt x="37422" y="20715"/>
                    <a:pt x="36134" y="22351"/>
                  </a:cubicBezTo>
                  <a:lnTo>
                    <a:pt x="36134" y="22349"/>
                  </a:lnTo>
                  <a:cubicBezTo>
                    <a:pt x="34076" y="24964"/>
                    <a:pt x="31815" y="27418"/>
                    <a:pt x="29555" y="29866"/>
                  </a:cubicBezTo>
                  <a:cubicBezTo>
                    <a:pt x="30051" y="29168"/>
                    <a:pt x="30554" y="28472"/>
                    <a:pt x="31062" y="27779"/>
                  </a:cubicBezTo>
                  <a:cubicBezTo>
                    <a:pt x="32520" y="26281"/>
                    <a:pt x="33966" y="24768"/>
                    <a:pt x="35334" y="23177"/>
                  </a:cubicBezTo>
                  <a:cubicBezTo>
                    <a:pt x="36411" y="21927"/>
                    <a:pt x="37407" y="20625"/>
                    <a:pt x="38360" y="19283"/>
                  </a:cubicBezTo>
                  <a:cubicBezTo>
                    <a:pt x="38793" y="18575"/>
                    <a:pt x="39281" y="17903"/>
                    <a:pt x="39821" y="17267"/>
                  </a:cubicBezTo>
                  <a:close/>
                  <a:moveTo>
                    <a:pt x="28131" y="23705"/>
                  </a:moveTo>
                  <a:lnTo>
                    <a:pt x="28131" y="23705"/>
                  </a:lnTo>
                  <a:cubicBezTo>
                    <a:pt x="25929" y="26413"/>
                    <a:pt x="23714" y="29119"/>
                    <a:pt x="21304" y="31656"/>
                  </a:cubicBezTo>
                  <a:cubicBezTo>
                    <a:pt x="21127" y="31841"/>
                    <a:pt x="20951" y="32026"/>
                    <a:pt x="20775" y="32211"/>
                  </a:cubicBezTo>
                  <a:cubicBezTo>
                    <a:pt x="21540" y="31116"/>
                    <a:pt x="22308" y="30028"/>
                    <a:pt x="23079" y="28943"/>
                  </a:cubicBezTo>
                  <a:cubicBezTo>
                    <a:pt x="24728" y="27153"/>
                    <a:pt x="26451" y="25443"/>
                    <a:pt x="28131" y="23705"/>
                  </a:cubicBezTo>
                  <a:close/>
                  <a:moveTo>
                    <a:pt x="11309" y="24124"/>
                  </a:moveTo>
                  <a:cubicBezTo>
                    <a:pt x="9169" y="26905"/>
                    <a:pt x="7137" y="29774"/>
                    <a:pt x="5095" y="32636"/>
                  </a:cubicBezTo>
                  <a:lnTo>
                    <a:pt x="5095" y="32636"/>
                  </a:lnTo>
                  <a:cubicBezTo>
                    <a:pt x="6248" y="30910"/>
                    <a:pt x="7430" y="29208"/>
                    <a:pt x="8624" y="27513"/>
                  </a:cubicBezTo>
                  <a:cubicBezTo>
                    <a:pt x="9455" y="26336"/>
                    <a:pt x="10371" y="25221"/>
                    <a:pt x="11309" y="24124"/>
                  </a:cubicBezTo>
                  <a:close/>
                  <a:moveTo>
                    <a:pt x="37041" y="21543"/>
                  </a:moveTo>
                  <a:lnTo>
                    <a:pt x="37041" y="21543"/>
                  </a:lnTo>
                  <a:cubicBezTo>
                    <a:pt x="35996" y="23010"/>
                    <a:pt x="34948" y="24482"/>
                    <a:pt x="33744" y="25839"/>
                  </a:cubicBezTo>
                  <a:cubicBezTo>
                    <a:pt x="32589" y="27141"/>
                    <a:pt x="31423" y="28434"/>
                    <a:pt x="30256" y="29728"/>
                  </a:cubicBezTo>
                  <a:cubicBezTo>
                    <a:pt x="29226" y="30842"/>
                    <a:pt x="28212" y="31977"/>
                    <a:pt x="27216" y="33134"/>
                  </a:cubicBezTo>
                  <a:cubicBezTo>
                    <a:pt x="27208" y="33146"/>
                    <a:pt x="27202" y="33155"/>
                    <a:pt x="27193" y="33163"/>
                  </a:cubicBezTo>
                  <a:cubicBezTo>
                    <a:pt x="27600" y="32600"/>
                    <a:pt x="28007" y="32037"/>
                    <a:pt x="28409" y="31474"/>
                  </a:cubicBezTo>
                  <a:cubicBezTo>
                    <a:pt x="31347" y="28203"/>
                    <a:pt x="34330" y="24990"/>
                    <a:pt x="37041" y="21543"/>
                  </a:cubicBezTo>
                  <a:close/>
                  <a:moveTo>
                    <a:pt x="12507" y="28989"/>
                  </a:moveTo>
                  <a:lnTo>
                    <a:pt x="12507" y="28989"/>
                  </a:lnTo>
                  <a:cubicBezTo>
                    <a:pt x="11355" y="30490"/>
                    <a:pt x="10217" y="32006"/>
                    <a:pt x="9083" y="33518"/>
                  </a:cubicBezTo>
                  <a:cubicBezTo>
                    <a:pt x="9871" y="32450"/>
                    <a:pt x="10642" y="31379"/>
                    <a:pt x="11395" y="30305"/>
                  </a:cubicBezTo>
                  <a:cubicBezTo>
                    <a:pt x="11765" y="29866"/>
                    <a:pt x="12137" y="29428"/>
                    <a:pt x="12507" y="28989"/>
                  </a:cubicBezTo>
                  <a:close/>
                  <a:moveTo>
                    <a:pt x="37075" y="19020"/>
                  </a:moveTo>
                  <a:cubicBezTo>
                    <a:pt x="36169" y="20325"/>
                    <a:pt x="35291" y="21650"/>
                    <a:pt x="34327" y="22842"/>
                  </a:cubicBezTo>
                  <a:cubicBezTo>
                    <a:pt x="31544" y="26289"/>
                    <a:pt x="28622" y="29627"/>
                    <a:pt x="25602" y="32869"/>
                  </a:cubicBezTo>
                  <a:cubicBezTo>
                    <a:pt x="25386" y="33100"/>
                    <a:pt x="25169" y="33328"/>
                    <a:pt x="24953" y="33559"/>
                  </a:cubicBezTo>
                  <a:cubicBezTo>
                    <a:pt x="26382" y="31743"/>
                    <a:pt x="27802" y="29933"/>
                    <a:pt x="29240" y="28157"/>
                  </a:cubicBezTo>
                  <a:lnTo>
                    <a:pt x="29243" y="28160"/>
                  </a:lnTo>
                  <a:cubicBezTo>
                    <a:pt x="31942" y="25189"/>
                    <a:pt x="34572" y="22158"/>
                    <a:pt x="37075" y="19020"/>
                  </a:cubicBezTo>
                  <a:close/>
                  <a:moveTo>
                    <a:pt x="36291" y="16946"/>
                  </a:moveTo>
                  <a:cubicBezTo>
                    <a:pt x="36398" y="16946"/>
                    <a:pt x="33371" y="20880"/>
                    <a:pt x="33436" y="20880"/>
                  </a:cubicBezTo>
                  <a:cubicBezTo>
                    <a:pt x="33438" y="20880"/>
                    <a:pt x="33445" y="20875"/>
                    <a:pt x="33455" y="20865"/>
                  </a:cubicBezTo>
                  <a:lnTo>
                    <a:pt x="33455" y="20868"/>
                  </a:lnTo>
                  <a:cubicBezTo>
                    <a:pt x="31602" y="23088"/>
                    <a:pt x="29650" y="25244"/>
                    <a:pt x="27753" y="27430"/>
                  </a:cubicBezTo>
                  <a:cubicBezTo>
                    <a:pt x="25952" y="29511"/>
                    <a:pt x="24193" y="31616"/>
                    <a:pt x="22404" y="33692"/>
                  </a:cubicBezTo>
                  <a:cubicBezTo>
                    <a:pt x="26145" y="29113"/>
                    <a:pt x="29843" y="24502"/>
                    <a:pt x="33654" y="19978"/>
                  </a:cubicBezTo>
                  <a:cubicBezTo>
                    <a:pt x="34411" y="19080"/>
                    <a:pt x="35176" y="18191"/>
                    <a:pt x="35949" y="17308"/>
                  </a:cubicBezTo>
                  <a:cubicBezTo>
                    <a:pt x="36169" y="17054"/>
                    <a:pt x="36273" y="16946"/>
                    <a:pt x="36291" y="16946"/>
                  </a:cubicBezTo>
                  <a:close/>
                  <a:moveTo>
                    <a:pt x="26339" y="21070"/>
                  </a:moveTo>
                  <a:lnTo>
                    <a:pt x="26339" y="21070"/>
                  </a:lnTo>
                  <a:cubicBezTo>
                    <a:pt x="24846" y="22811"/>
                    <a:pt x="23521" y="24670"/>
                    <a:pt x="22193" y="26549"/>
                  </a:cubicBezTo>
                  <a:cubicBezTo>
                    <a:pt x="20195" y="29376"/>
                    <a:pt x="17956" y="31985"/>
                    <a:pt x="15719" y="34590"/>
                  </a:cubicBezTo>
                  <a:lnTo>
                    <a:pt x="15719" y="34590"/>
                  </a:lnTo>
                  <a:cubicBezTo>
                    <a:pt x="16524" y="33531"/>
                    <a:pt x="17332" y="32483"/>
                    <a:pt x="18148" y="31480"/>
                  </a:cubicBezTo>
                  <a:cubicBezTo>
                    <a:pt x="20631" y="28426"/>
                    <a:pt x="22981" y="25169"/>
                    <a:pt x="25420" y="22014"/>
                  </a:cubicBezTo>
                  <a:cubicBezTo>
                    <a:pt x="25724" y="21699"/>
                    <a:pt x="26030" y="21384"/>
                    <a:pt x="26339" y="21070"/>
                  </a:cubicBezTo>
                  <a:close/>
                  <a:moveTo>
                    <a:pt x="25109" y="17685"/>
                  </a:moveTo>
                  <a:cubicBezTo>
                    <a:pt x="25168" y="17685"/>
                    <a:pt x="21789" y="21943"/>
                    <a:pt x="21217" y="22652"/>
                  </a:cubicBezTo>
                  <a:cubicBezTo>
                    <a:pt x="19456" y="24820"/>
                    <a:pt x="17643" y="26939"/>
                    <a:pt x="15911" y="29130"/>
                  </a:cubicBezTo>
                  <a:lnTo>
                    <a:pt x="15911" y="29127"/>
                  </a:lnTo>
                  <a:cubicBezTo>
                    <a:pt x="14395" y="31050"/>
                    <a:pt x="12879" y="32967"/>
                    <a:pt x="11364" y="34878"/>
                  </a:cubicBezTo>
                  <a:cubicBezTo>
                    <a:pt x="11762" y="34353"/>
                    <a:pt x="12149" y="33839"/>
                    <a:pt x="12524" y="33363"/>
                  </a:cubicBezTo>
                  <a:cubicBezTo>
                    <a:pt x="16364" y="28492"/>
                    <a:pt x="20195" y="23604"/>
                    <a:pt x="24144" y="18821"/>
                  </a:cubicBezTo>
                  <a:cubicBezTo>
                    <a:pt x="24815" y="18009"/>
                    <a:pt x="25093" y="17685"/>
                    <a:pt x="25109" y="17685"/>
                  </a:cubicBezTo>
                  <a:close/>
                  <a:moveTo>
                    <a:pt x="29295" y="22811"/>
                  </a:moveTo>
                  <a:cubicBezTo>
                    <a:pt x="27612" y="24935"/>
                    <a:pt x="25955" y="27115"/>
                    <a:pt x="24361" y="29266"/>
                  </a:cubicBezTo>
                  <a:cubicBezTo>
                    <a:pt x="24228" y="29399"/>
                    <a:pt x="24101" y="29540"/>
                    <a:pt x="23968" y="29673"/>
                  </a:cubicBezTo>
                  <a:cubicBezTo>
                    <a:pt x="22051" y="31587"/>
                    <a:pt x="20207" y="33556"/>
                    <a:pt x="18402" y="35560"/>
                  </a:cubicBezTo>
                  <a:cubicBezTo>
                    <a:pt x="18795" y="35014"/>
                    <a:pt x="19185" y="34465"/>
                    <a:pt x="19574" y="33917"/>
                  </a:cubicBezTo>
                  <a:cubicBezTo>
                    <a:pt x="20221" y="33238"/>
                    <a:pt x="20871" y="32557"/>
                    <a:pt x="21526" y="31879"/>
                  </a:cubicBezTo>
                  <a:cubicBezTo>
                    <a:pt x="24300" y="28997"/>
                    <a:pt x="26795" y="25902"/>
                    <a:pt x="29295" y="22811"/>
                  </a:cubicBezTo>
                  <a:close/>
                  <a:moveTo>
                    <a:pt x="51400" y="31694"/>
                  </a:moveTo>
                  <a:cubicBezTo>
                    <a:pt x="51433" y="31694"/>
                    <a:pt x="51301" y="31889"/>
                    <a:pt x="50875" y="32430"/>
                  </a:cubicBezTo>
                  <a:cubicBezTo>
                    <a:pt x="50442" y="32981"/>
                    <a:pt x="49983" y="33507"/>
                    <a:pt x="49527" y="34038"/>
                  </a:cubicBezTo>
                  <a:cubicBezTo>
                    <a:pt x="48713" y="34621"/>
                    <a:pt x="47919" y="35225"/>
                    <a:pt x="47145" y="35854"/>
                  </a:cubicBezTo>
                  <a:cubicBezTo>
                    <a:pt x="47440" y="35585"/>
                    <a:pt x="47737" y="35326"/>
                    <a:pt x="48023" y="35049"/>
                  </a:cubicBezTo>
                  <a:cubicBezTo>
                    <a:pt x="48713" y="34382"/>
                    <a:pt x="49388" y="33700"/>
                    <a:pt x="50075" y="33030"/>
                  </a:cubicBezTo>
                  <a:cubicBezTo>
                    <a:pt x="50258" y="32855"/>
                    <a:pt x="51319" y="31694"/>
                    <a:pt x="51400" y="31694"/>
                  </a:cubicBezTo>
                  <a:close/>
                  <a:moveTo>
                    <a:pt x="31861" y="13341"/>
                  </a:moveTo>
                  <a:cubicBezTo>
                    <a:pt x="27485" y="18679"/>
                    <a:pt x="22828" y="24219"/>
                    <a:pt x="18365" y="29673"/>
                  </a:cubicBezTo>
                  <a:cubicBezTo>
                    <a:pt x="16549" y="31893"/>
                    <a:pt x="14643" y="34096"/>
                    <a:pt x="12755" y="36319"/>
                  </a:cubicBezTo>
                  <a:cubicBezTo>
                    <a:pt x="13783" y="34832"/>
                    <a:pt x="14796" y="33351"/>
                    <a:pt x="15870" y="31988"/>
                  </a:cubicBezTo>
                  <a:cubicBezTo>
                    <a:pt x="20954" y="25553"/>
                    <a:pt x="26665" y="19675"/>
                    <a:pt x="31861" y="13341"/>
                  </a:cubicBezTo>
                  <a:close/>
                  <a:moveTo>
                    <a:pt x="51174" y="33267"/>
                  </a:moveTo>
                  <a:cubicBezTo>
                    <a:pt x="51207" y="33267"/>
                    <a:pt x="50915" y="33543"/>
                    <a:pt x="50448" y="34073"/>
                  </a:cubicBezTo>
                  <a:cubicBezTo>
                    <a:pt x="49544" y="35095"/>
                    <a:pt x="48557" y="35964"/>
                    <a:pt x="47457" y="36763"/>
                  </a:cubicBezTo>
                  <a:lnTo>
                    <a:pt x="47425" y="36786"/>
                  </a:lnTo>
                  <a:cubicBezTo>
                    <a:pt x="48231" y="35975"/>
                    <a:pt x="49004" y="35135"/>
                    <a:pt x="49746" y="34263"/>
                  </a:cubicBezTo>
                  <a:cubicBezTo>
                    <a:pt x="49972" y="34102"/>
                    <a:pt x="50197" y="33943"/>
                    <a:pt x="50425" y="33784"/>
                  </a:cubicBezTo>
                  <a:cubicBezTo>
                    <a:pt x="50923" y="33436"/>
                    <a:pt x="51148" y="33267"/>
                    <a:pt x="51174" y="33267"/>
                  </a:cubicBezTo>
                  <a:close/>
                  <a:moveTo>
                    <a:pt x="45939" y="7670"/>
                  </a:moveTo>
                  <a:cubicBezTo>
                    <a:pt x="45168" y="8448"/>
                    <a:pt x="43844" y="10297"/>
                    <a:pt x="42881" y="11603"/>
                  </a:cubicBezTo>
                  <a:cubicBezTo>
                    <a:pt x="42803" y="11597"/>
                    <a:pt x="42727" y="11593"/>
                    <a:pt x="42650" y="11593"/>
                  </a:cubicBezTo>
                  <a:cubicBezTo>
                    <a:pt x="42624" y="11593"/>
                    <a:pt x="42598" y="11594"/>
                    <a:pt x="42572" y="11594"/>
                  </a:cubicBezTo>
                  <a:cubicBezTo>
                    <a:pt x="41876" y="11623"/>
                    <a:pt x="41530" y="12420"/>
                    <a:pt x="41331" y="13067"/>
                  </a:cubicBezTo>
                  <a:cubicBezTo>
                    <a:pt x="41324" y="13065"/>
                    <a:pt x="41317" y="13064"/>
                    <a:pt x="41310" y="13064"/>
                  </a:cubicBezTo>
                  <a:cubicBezTo>
                    <a:pt x="41282" y="13064"/>
                    <a:pt x="41254" y="13078"/>
                    <a:pt x="41235" y="13102"/>
                  </a:cubicBezTo>
                  <a:cubicBezTo>
                    <a:pt x="37303" y="18122"/>
                    <a:pt x="33189" y="22989"/>
                    <a:pt x="29096" y="27883"/>
                  </a:cubicBezTo>
                  <a:cubicBezTo>
                    <a:pt x="28180" y="28879"/>
                    <a:pt x="27262" y="29872"/>
                    <a:pt x="26339" y="30862"/>
                  </a:cubicBezTo>
                  <a:cubicBezTo>
                    <a:pt x="24454" y="32868"/>
                    <a:pt x="22543" y="34854"/>
                    <a:pt x="20632" y="36839"/>
                  </a:cubicBezTo>
                  <a:lnTo>
                    <a:pt x="20632" y="36839"/>
                  </a:lnTo>
                  <a:cubicBezTo>
                    <a:pt x="22384" y="34520"/>
                    <a:pt x="24128" y="32224"/>
                    <a:pt x="26001" y="30164"/>
                  </a:cubicBezTo>
                  <a:cubicBezTo>
                    <a:pt x="27283" y="28752"/>
                    <a:pt x="28547" y="27323"/>
                    <a:pt x="29812" y="25894"/>
                  </a:cubicBezTo>
                  <a:cubicBezTo>
                    <a:pt x="31024" y="24586"/>
                    <a:pt x="32214" y="23255"/>
                    <a:pt x="33316" y="21881"/>
                  </a:cubicBezTo>
                  <a:cubicBezTo>
                    <a:pt x="36128" y="18624"/>
                    <a:pt x="38888" y="15325"/>
                    <a:pt x="41593" y="11978"/>
                  </a:cubicBezTo>
                  <a:lnTo>
                    <a:pt x="41593" y="11978"/>
                  </a:lnTo>
                  <a:cubicBezTo>
                    <a:pt x="41572" y="12025"/>
                    <a:pt x="41609" y="12079"/>
                    <a:pt x="41653" y="12079"/>
                  </a:cubicBezTo>
                  <a:cubicBezTo>
                    <a:pt x="41669" y="12079"/>
                    <a:pt x="41685" y="12072"/>
                    <a:pt x="41700" y="12056"/>
                  </a:cubicBezTo>
                  <a:cubicBezTo>
                    <a:pt x="43106" y="10588"/>
                    <a:pt x="44508" y="9113"/>
                    <a:pt x="45939" y="7670"/>
                  </a:cubicBezTo>
                  <a:close/>
                  <a:moveTo>
                    <a:pt x="21384" y="24147"/>
                  </a:moveTo>
                  <a:cubicBezTo>
                    <a:pt x="19040" y="27202"/>
                    <a:pt x="16748" y="30294"/>
                    <a:pt x="14320" y="33282"/>
                  </a:cubicBezTo>
                  <a:cubicBezTo>
                    <a:pt x="13289" y="34546"/>
                    <a:pt x="12189" y="35796"/>
                    <a:pt x="11086" y="37049"/>
                  </a:cubicBezTo>
                  <a:cubicBezTo>
                    <a:pt x="11167" y="36934"/>
                    <a:pt x="11245" y="36833"/>
                    <a:pt x="11312" y="36752"/>
                  </a:cubicBezTo>
                  <a:cubicBezTo>
                    <a:pt x="14623" y="32597"/>
                    <a:pt x="17738" y="28250"/>
                    <a:pt x="21266" y="24274"/>
                  </a:cubicBezTo>
                  <a:cubicBezTo>
                    <a:pt x="21304" y="24231"/>
                    <a:pt x="21344" y="24190"/>
                    <a:pt x="21384" y="24147"/>
                  </a:cubicBezTo>
                  <a:close/>
                  <a:moveTo>
                    <a:pt x="22698" y="18873"/>
                  </a:moveTo>
                  <a:lnTo>
                    <a:pt x="22698" y="18873"/>
                  </a:lnTo>
                  <a:cubicBezTo>
                    <a:pt x="19984" y="22340"/>
                    <a:pt x="17244" y="25787"/>
                    <a:pt x="14479" y="29211"/>
                  </a:cubicBezTo>
                  <a:cubicBezTo>
                    <a:pt x="12663" y="31451"/>
                    <a:pt x="10838" y="33680"/>
                    <a:pt x="8999" y="35897"/>
                  </a:cubicBezTo>
                  <a:cubicBezTo>
                    <a:pt x="8624" y="36353"/>
                    <a:pt x="8246" y="36804"/>
                    <a:pt x="7867" y="37257"/>
                  </a:cubicBezTo>
                  <a:cubicBezTo>
                    <a:pt x="11349" y="32496"/>
                    <a:pt x="14612" y="27609"/>
                    <a:pt x="18598" y="23226"/>
                  </a:cubicBezTo>
                  <a:lnTo>
                    <a:pt x="18598" y="23223"/>
                  </a:lnTo>
                  <a:cubicBezTo>
                    <a:pt x="19947" y="21742"/>
                    <a:pt x="21393" y="20357"/>
                    <a:pt x="22698" y="18873"/>
                  </a:cubicBezTo>
                  <a:close/>
                  <a:moveTo>
                    <a:pt x="29912" y="33039"/>
                  </a:moveTo>
                  <a:cubicBezTo>
                    <a:pt x="29988" y="33039"/>
                    <a:pt x="29587" y="33598"/>
                    <a:pt x="28264" y="35196"/>
                  </a:cubicBezTo>
                  <a:cubicBezTo>
                    <a:pt x="27043" y="36671"/>
                    <a:pt x="25599" y="37990"/>
                    <a:pt x="24274" y="39388"/>
                  </a:cubicBezTo>
                  <a:lnTo>
                    <a:pt x="24274" y="39388"/>
                  </a:lnTo>
                  <a:cubicBezTo>
                    <a:pt x="25458" y="38028"/>
                    <a:pt x="26633" y="36665"/>
                    <a:pt x="27788" y="35282"/>
                  </a:cubicBezTo>
                  <a:lnTo>
                    <a:pt x="27785" y="35279"/>
                  </a:lnTo>
                  <a:cubicBezTo>
                    <a:pt x="28531" y="34383"/>
                    <a:pt x="29794" y="33039"/>
                    <a:pt x="29912" y="33039"/>
                  </a:cubicBezTo>
                  <a:close/>
                  <a:moveTo>
                    <a:pt x="5959" y="36804"/>
                  </a:moveTo>
                  <a:lnTo>
                    <a:pt x="5959" y="36804"/>
                  </a:lnTo>
                  <a:cubicBezTo>
                    <a:pt x="5500" y="37604"/>
                    <a:pt x="5009" y="38383"/>
                    <a:pt x="4438" y="39116"/>
                  </a:cubicBezTo>
                  <a:cubicBezTo>
                    <a:pt x="3987" y="39698"/>
                    <a:pt x="3791" y="39930"/>
                    <a:pt x="3766" y="39930"/>
                  </a:cubicBezTo>
                  <a:cubicBezTo>
                    <a:pt x="3694" y="39930"/>
                    <a:pt x="5171" y="37837"/>
                    <a:pt x="5959" y="36804"/>
                  </a:cubicBezTo>
                  <a:close/>
                  <a:moveTo>
                    <a:pt x="48618" y="35077"/>
                  </a:moveTo>
                  <a:cubicBezTo>
                    <a:pt x="48081" y="35666"/>
                    <a:pt x="47538" y="36255"/>
                    <a:pt x="46978" y="36827"/>
                  </a:cubicBezTo>
                  <a:cubicBezTo>
                    <a:pt x="46576" y="37231"/>
                    <a:pt x="46161" y="37618"/>
                    <a:pt x="45736" y="37996"/>
                  </a:cubicBezTo>
                  <a:cubicBezTo>
                    <a:pt x="45035" y="38513"/>
                    <a:pt x="44359" y="39059"/>
                    <a:pt x="43776" y="39682"/>
                  </a:cubicBezTo>
                  <a:cubicBezTo>
                    <a:pt x="43551" y="39859"/>
                    <a:pt x="43435" y="39934"/>
                    <a:pt x="43400" y="39934"/>
                  </a:cubicBezTo>
                  <a:cubicBezTo>
                    <a:pt x="43235" y="39934"/>
                    <a:pt x="44867" y="38277"/>
                    <a:pt x="45300" y="37843"/>
                  </a:cubicBezTo>
                  <a:cubicBezTo>
                    <a:pt x="46317" y="36824"/>
                    <a:pt x="47451" y="35929"/>
                    <a:pt x="48618" y="35077"/>
                  </a:cubicBezTo>
                  <a:close/>
                  <a:moveTo>
                    <a:pt x="54946" y="37347"/>
                  </a:moveTo>
                  <a:lnTo>
                    <a:pt x="54946" y="37347"/>
                  </a:lnTo>
                  <a:cubicBezTo>
                    <a:pt x="54507" y="37869"/>
                    <a:pt x="54019" y="38444"/>
                    <a:pt x="53525" y="38836"/>
                  </a:cubicBezTo>
                  <a:cubicBezTo>
                    <a:pt x="52997" y="39258"/>
                    <a:pt x="52475" y="39688"/>
                    <a:pt x="51955" y="40121"/>
                  </a:cubicBezTo>
                  <a:cubicBezTo>
                    <a:pt x="52960" y="39206"/>
                    <a:pt x="53956" y="38282"/>
                    <a:pt x="54946" y="37347"/>
                  </a:cubicBezTo>
                  <a:close/>
                  <a:moveTo>
                    <a:pt x="25781" y="15521"/>
                  </a:moveTo>
                  <a:cubicBezTo>
                    <a:pt x="25793" y="15749"/>
                    <a:pt x="25854" y="15971"/>
                    <a:pt x="25957" y="16176"/>
                  </a:cubicBezTo>
                  <a:cubicBezTo>
                    <a:pt x="22320" y="20385"/>
                    <a:pt x="18919" y="24785"/>
                    <a:pt x="15449" y="29130"/>
                  </a:cubicBezTo>
                  <a:cubicBezTo>
                    <a:pt x="12285" y="33088"/>
                    <a:pt x="8985" y="38891"/>
                    <a:pt x="4588" y="41723"/>
                  </a:cubicBezTo>
                  <a:cubicBezTo>
                    <a:pt x="11811" y="33120"/>
                    <a:pt x="18939" y="24430"/>
                    <a:pt x="25781" y="15521"/>
                  </a:cubicBezTo>
                  <a:close/>
                  <a:moveTo>
                    <a:pt x="38074" y="15613"/>
                  </a:moveTo>
                  <a:lnTo>
                    <a:pt x="38074" y="15613"/>
                  </a:lnTo>
                  <a:cubicBezTo>
                    <a:pt x="37413" y="16387"/>
                    <a:pt x="36749" y="17161"/>
                    <a:pt x="36085" y="17934"/>
                  </a:cubicBezTo>
                  <a:cubicBezTo>
                    <a:pt x="36466" y="17288"/>
                    <a:pt x="36824" y="16635"/>
                    <a:pt x="37139" y="15960"/>
                  </a:cubicBezTo>
                  <a:cubicBezTo>
                    <a:pt x="37186" y="15857"/>
                    <a:pt x="37102" y="15739"/>
                    <a:pt x="37010" y="15739"/>
                  </a:cubicBezTo>
                  <a:cubicBezTo>
                    <a:pt x="36978" y="15739"/>
                    <a:pt x="36945" y="15753"/>
                    <a:pt x="36917" y="15786"/>
                  </a:cubicBezTo>
                  <a:cubicBezTo>
                    <a:pt x="30380" y="23313"/>
                    <a:pt x="24234" y="31171"/>
                    <a:pt x="17819" y="38796"/>
                  </a:cubicBezTo>
                  <a:lnTo>
                    <a:pt x="17819" y="38799"/>
                  </a:lnTo>
                  <a:cubicBezTo>
                    <a:pt x="16999" y="39662"/>
                    <a:pt x="16168" y="40517"/>
                    <a:pt x="15307" y="41345"/>
                  </a:cubicBezTo>
                  <a:cubicBezTo>
                    <a:pt x="14998" y="41642"/>
                    <a:pt x="14661" y="41940"/>
                    <a:pt x="14305" y="42240"/>
                  </a:cubicBezTo>
                  <a:cubicBezTo>
                    <a:pt x="17233" y="39085"/>
                    <a:pt x="19964" y="35753"/>
                    <a:pt x="22542" y="32268"/>
                  </a:cubicBezTo>
                  <a:cubicBezTo>
                    <a:pt x="23402" y="31108"/>
                    <a:pt x="24312" y="29967"/>
                    <a:pt x="25239" y="28836"/>
                  </a:cubicBezTo>
                  <a:cubicBezTo>
                    <a:pt x="27488" y="26523"/>
                    <a:pt x="29578" y="24063"/>
                    <a:pt x="31740" y="21673"/>
                  </a:cubicBezTo>
                  <a:cubicBezTo>
                    <a:pt x="33501" y="19730"/>
                    <a:pt x="34948" y="17348"/>
                    <a:pt x="36922" y="15639"/>
                  </a:cubicBezTo>
                  <a:cubicBezTo>
                    <a:pt x="37046" y="15708"/>
                    <a:pt x="37179" y="15752"/>
                    <a:pt x="37318" y="15766"/>
                  </a:cubicBezTo>
                  <a:cubicBezTo>
                    <a:pt x="37374" y="15772"/>
                    <a:pt x="37428" y="15775"/>
                    <a:pt x="37480" y="15775"/>
                  </a:cubicBezTo>
                  <a:cubicBezTo>
                    <a:pt x="37721" y="15775"/>
                    <a:pt x="37915" y="15715"/>
                    <a:pt x="38074" y="15613"/>
                  </a:cubicBezTo>
                  <a:close/>
                  <a:moveTo>
                    <a:pt x="12801" y="35427"/>
                  </a:moveTo>
                  <a:lnTo>
                    <a:pt x="12801" y="35427"/>
                  </a:lnTo>
                  <a:cubicBezTo>
                    <a:pt x="12752" y="35493"/>
                    <a:pt x="12703" y="35554"/>
                    <a:pt x="12657" y="35620"/>
                  </a:cubicBezTo>
                  <a:cubicBezTo>
                    <a:pt x="11912" y="36659"/>
                    <a:pt x="11190" y="37713"/>
                    <a:pt x="10469" y="38770"/>
                  </a:cubicBezTo>
                  <a:cubicBezTo>
                    <a:pt x="9744" y="39844"/>
                    <a:pt x="8965" y="40877"/>
                    <a:pt x="8133" y="41871"/>
                  </a:cubicBezTo>
                  <a:cubicBezTo>
                    <a:pt x="8032" y="42047"/>
                    <a:pt x="7943" y="42191"/>
                    <a:pt x="7859" y="42321"/>
                  </a:cubicBezTo>
                  <a:cubicBezTo>
                    <a:pt x="7752" y="42465"/>
                    <a:pt x="7639" y="42607"/>
                    <a:pt x="7533" y="42751"/>
                  </a:cubicBezTo>
                  <a:cubicBezTo>
                    <a:pt x="7464" y="42816"/>
                    <a:pt x="7406" y="42847"/>
                    <a:pt x="7358" y="42847"/>
                  </a:cubicBezTo>
                  <a:cubicBezTo>
                    <a:pt x="7253" y="42847"/>
                    <a:pt x="7199" y="42690"/>
                    <a:pt x="7195" y="42381"/>
                  </a:cubicBezTo>
                  <a:lnTo>
                    <a:pt x="7195" y="42381"/>
                  </a:lnTo>
                  <a:cubicBezTo>
                    <a:pt x="7925" y="41556"/>
                    <a:pt x="8664" y="40554"/>
                    <a:pt x="9328" y="39604"/>
                  </a:cubicBezTo>
                  <a:cubicBezTo>
                    <a:pt x="10477" y="38207"/>
                    <a:pt x="11635" y="36815"/>
                    <a:pt x="12801" y="35427"/>
                  </a:cubicBezTo>
                  <a:close/>
                  <a:moveTo>
                    <a:pt x="18682" y="38354"/>
                  </a:moveTo>
                  <a:lnTo>
                    <a:pt x="18682" y="38354"/>
                  </a:lnTo>
                  <a:cubicBezTo>
                    <a:pt x="18067" y="39168"/>
                    <a:pt x="17452" y="39991"/>
                    <a:pt x="16832" y="40808"/>
                  </a:cubicBezTo>
                  <a:lnTo>
                    <a:pt x="16835" y="40811"/>
                  </a:lnTo>
                  <a:cubicBezTo>
                    <a:pt x="16468" y="41195"/>
                    <a:pt x="16098" y="41573"/>
                    <a:pt x="15735" y="41960"/>
                  </a:cubicBezTo>
                  <a:cubicBezTo>
                    <a:pt x="15515" y="42191"/>
                    <a:pt x="15140" y="42537"/>
                    <a:pt x="14678" y="42956"/>
                  </a:cubicBezTo>
                  <a:cubicBezTo>
                    <a:pt x="15787" y="41683"/>
                    <a:pt x="16881" y="40395"/>
                    <a:pt x="17960" y="39096"/>
                  </a:cubicBezTo>
                  <a:cubicBezTo>
                    <a:pt x="18203" y="38848"/>
                    <a:pt x="18445" y="38602"/>
                    <a:pt x="18682" y="38354"/>
                  </a:cubicBezTo>
                  <a:close/>
                  <a:moveTo>
                    <a:pt x="28651" y="30262"/>
                  </a:moveTo>
                  <a:lnTo>
                    <a:pt x="28651" y="30262"/>
                  </a:lnTo>
                  <a:cubicBezTo>
                    <a:pt x="28033" y="31131"/>
                    <a:pt x="27418" y="32003"/>
                    <a:pt x="26803" y="32875"/>
                  </a:cubicBezTo>
                  <a:cubicBezTo>
                    <a:pt x="26772" y="32909"/>
                    <a:pt x="26737" y="32947"/>
                    <a:pt x="26705" y="32981"/>
                  </a:cubicBezTo>
                  <a:cubicBezTo>
                    <a:pt x="24843" y="35043"/>
                    <a:pt x="23186" y="37240"/>
                    <a:pt x="21520" y="39434"/>
                  </a:cubicBezTo>
                  <a:cubicBezTo>
                    <a:pt x="20354" y="40643"/>
                    <a:pt x="19163" y="41837"/>
                    <a:pt x="17957" y="43032"/>
                  </a:cubicBezTo>
                  <a:lnTo>
                    <a:pt x="17957" y="43032"/>
                  </a:lnTo>
                  <a:cubicBezTo>
                    <a:pt x="20165" y="40086"/>
                    <a:pt x="22311" y="37086"/>
                    <a:pt x="24719" y="34408"/>
                  </a:cubicBezTo>
                  <a:cubicBezTo>
                    <a:pt x="25992" y="32987"/>
                    <a:pt x="27320" y="31622"/>
                    <a:pt x="28651" y="30262"/>
                  </a:cubicBezTo>
                  <a:close/>
                  <a:moveTo>
                    <a:pt x="56141" y="38068"/>
                  </a:moveTo>
                  <a:lnTo>
                    <a:pt x="56141" y="38068"/>
                  </a:lnTo>
                  <a:cubicBezTo>
                    <a:pt x="54094" y="40147"/>
                    <a:pt x="51860" y="42058"/>
                    <a:pt x="49585" y="43932"/>
                  </a:cubicBezTo>
                  <a:cubicBezTo>
                    <a:pt x="51718" y="41908"/>
                    <a:pt x="53898" y="39945"/>
                    <a:pt x="56141" y="38068"/>
                  </a:cubicBezTo>
                  <a:close/>
                  <a:moveTo>
                    <a:pt x="23264" y="24315"/>
                  </a:moveTo>
                  <a:cubicBezTo>
                    <a:pt x="21875" y="26203"/>
                    <a:pt x="20498" y="28082"/>
                    <a:pt x="19060" y="29849"/>
                  </a:cubicBezTo>
                  <a:cubicBezTo>
                    <a:pt x="16829" y="32589"/>
                    <a:pt x="14516" y="35279"/>
                    <a:pt x="12360" y="38077"/>
                  </a:cubicBezTo>
                  <a:lnTo>
                    <a:pt x="12360" y="38080"/>
                  </a:lnTo>
                  <a:cubicBezTo>
                    <a:pt x="11162" y="39630"/>
                    <a:pt x="9966" y="41178"/>
                    <a:pt x="8690" y="42667"/>
                  </a:cubicBezTo>
                  <a:cubicBezTo>
                    <a:pt x="8041" y="43401"/>
                    <a:pt x="7339" y="44088"/>
                    <a:pt x="6597" y="44726"/>
                  </a:cubicBezTo>
                  <a:cubicBezTo>
                    <a:pt x="7068" y="43883"/>
                    <a:pt x="7654" y="43106"/>
                    <a:pt x="8335" y="42419"/>
                  </a:cubicBezTo>
                  <a:cubicBezTo>
                    <a:pt x="13301" y="36685"/>
                    <a:pt x="17903" y="30649"/>
                    <a:pt x="22796" y="24849"/>
                  </a:cubicBezTo>
                  <a:cubicBezTo>
                    <a:pt x="22946" y="24673"/>
                    <a:pt x="23105" y="24494"/>
                    <a:pt x="23264" y="24315"/>
                  </a:cubicBezTo>
                  <a:close/>
                  <a:moveTo>
                    <a:pt x="59762" y="38778"/>
                  </a:moveTo>
                  <a:cubicBezTo>
                    <a:pt x="59887" y="38778"/>
                    <a:pt x="59708" y="39087"/>
                    <a:pt x="59002" y="39913"/>
                  </a:cubicBezTo>
                  <a:cubicBezTo>
                    <a:pt x="58084" y="40984"/>
                    <a:pt x="56973" y="41931"/>
                    <a:pt x="55979" y="42936"/>
                  </a:cubicBezTo>
                  <a:cubicBezTo>
                    <a:pt x="55477" y="43444"/>
                    <a:pt x="54975" y="43949"/>
                    <a:pt x="54472" y="44451"/>
                  </a:cubicBezTo>
                  <a:cubicBezTo>
                    <a:pt x="54475" y="44386"/>
                    <a:pt x="54429" y="44319"/>
                    <a:pt x="54368" y="44319"/>
                  </a:cubicBezTo>
                  <a:cubicBezTo>
                    <a:pt x="54348" y="44319"/>
                    <a:pt x="54327" y="44326"/>
                    <a:pt x="54305" y="44342"/>
                  </a:cubicBezTo>
                  <a:cubicBezTo>
                    <a:pt x="54039" y="44535"/>
                    <a:pt x="53791" y="44743"/>
                    <a:pt x="53531" y="44937"/>
                  </a:cubicBezTo>
                  <a:cubicBezTo>
                    <a:pt x="54530" y="43782"/>
                    <a:pt x="55526" y="42621"/>
                    <a:pt x="56537" y="41455"/>
                  </a:cubicBezTo>
                  <a:cubicBezTo>
                    <a:pt x="56975" y="40946"/>
                    <a:pt x="59432" y="38778"/>
                    <a:pt x="59762" y="38778"/>
                  </a:cubicBezTo>
                  <a:close/>
                  <a:moveTo>
                    <a:pt x="34203" y="14089"/>
                  </a:moveTo>
                  <a:cubicBezTo>
                    <a:pt x="34304" y="14132"/>
                    <a:pt x="34408" y="14170"/>
                    <a:pt x="34515" y="14201"/>
                  </a:cubicBezTo>
                  <a:cubicBezTo>
                    <a:pt x="34621" y="14227"/>
                    <a:pt x="34731" y="14242"/>
                    <a:pt x="34841" y="14245"/>
                  </a:cubicBezTo>
                  <a:cubicBezTo>
                    <a:pt x="33008" y="15645"/>
                    <a:pt x="32049" y="17530"/>
                    <a:pt x="30533" y="19311"/>
                  </a:cubicBezTo>
                  <a:cubicBezTo>
                    <a:pt x="27874" y="22441"/>
                    <a:pt x="25143" y="25443"/>
                    <a:pt x="22620" y="28691"/>
                  </a:cubicBezTo>
                  <a:cubicBezTo>
                    <a:pt x="22242" y="29182"/>
                    <a:pt x="21875" y="29679"/>
                    <a:pt x="21509" y="30175"/>
                  </a:cubicBezTo>
                  <a:cubicBezTo>
                    <a:pt x="21465" y="30224"/>
                    <a:pt x="21419" y="30271"/>
                    <a:pt x="21379" y="30320"/>
                  </a:cubicBezTo>
                  <a:cubicBezTo>
                    <a:pt x="18855" y="33134"/>
                    <a:pt x="16638" y="36200"/>
                    <a:pt x="14280" y="39151"/>
                  </a:cubicBezTo>
                  <a:cubicBezTo>
                    <a:pt x="13038" y="40525"/>
                    <a:pt x="11820" y="41920"/>
                    <a:pt x="10645" y="43340"/>
                  </a:cubicBezTo>
                  <a:cubicBezTo>
                    <a:pt x="9739" y="44264"/>
                    <a:pt x="8508" y="45486"/>
                    <a:pt x="8369" y="45486"/>
                  </a:cubicBezTo>
                  <a:cubicBezTo>
                    <a:pt x="8296" y="45486"/>
                    <a:pt x="8530" y="45142"/>
                    <a:pt x="9285" y="44226"/>
                  </a:cubicBezTo>
                  <a:cubicBezTo>
                    <a:pt x="10994" y="42151"/>
                    <a:pt x="12830" y="40176"/>
                    <a:pt x="14623" y="38172"/>
                  </a:cubicBezTo>
                  <a:cubicBezTo>
                    <a:pt x="18469" y="33871"/>
                    <a:pt x="22008" y="29295"/>
                    <a:pt x="25565" y="24756"/>
                  </a:cubicBezTo>
                  <a:cubicBezTo>
                    <a:pt x="28380" y="21162"/>
                    <a:pt x="31789" y="17975"/>
                    <a:pt x="34203" y="14089"/>
                  </a:cubicBezTo>
                  <a:close/>
                  <a:moveTo>
                    <a:pt x="16416" y="37358"/>
                  </a:moveTo>
                  <a:lnTo>
                    <a:pt x="16416" y="37358"/>
                  </a:lnTo>
                  <a:cubicBezTo>
                    <a:pt x="15521" y="38614"/>
                    <a:pt x="14597" y="39855"/>
                    <a:pt x="13633" y="41065"/>
                  </a:cubicBezTo>
                  <a:cubicBezTo>
                    <a:pt x="13333" y="41426"/>
                    <a:pt x="13035" y="41787"/>
                    <a:pt x="12735" y="42148"/>
                  </a:cubicBezTo>
                  <a:cubicBezTo>
                    <a:pt x="11823" y="43233"/>
                    <a:pt x="10876" y="44298"/>
                    <a:pt x="9845" y="45309"/>
                  </a:cubicBezTo>
                  <a:lnTo>
                    <a:pt x="9845" y="45312"/>
                  </a:lnTo>
                  <a:cubicBezTo>
                    <a:pt x="9065" y="46076"/>
                    <a:pt x="8751" y="46359"/>
                    <a:pt x="8713" y="46359"/>
                  </a:cubicBezTo>
                  <a:cubicBezTo>
                    <a:pt x="8610" y="46359"/>
                    <a:pt x="10502" y="44318"/>
                    <a:pt x="10746" y="44062"/>
                  </a:cubicBezTo>
                  <a:cubicBezTo>
                    <a:pt x="11852" y="42918"/>
                    <a:pt x="12819" y="41694"/>
                    <a:pt x="13806" y="40450"/>
                  </a:cubicBezTo>
                  <a:cubicBezTo>
                    <a:pt x="14649" y="39385"/>
                    <a:pt x="15527" y="38363"/>
                    <a:pt x="16416" y="37358"/>
                  </a:cubicBezTo>
                  <a:close/>
                  <a:moveTo>
                    <a:pt x="28454" y="35957"/>
                  </a:moveTo>
                  <a:cubicBezTo>
                    <a:pt x="28687" y="35957"/>
                    <a:pt x="28945" y="36054"/>
                    <a:pt x="29228" y="36250"/>
                  </a:cubicBezTo>
                  <a:lnTo>
                    <a:pt x="29228" y="36250"/>
                  </a:lnTo>
                  <a:cubicBezTo>
                    <a:pt x="28385" y="37719"/>
                    <a:pt x="26829" y="38998"/>
                    <a:pt x="25591" y="40153"/>
                  </a:cubicBezTo>
                  <a:cubicBezTo>
                    <a:pt x="23489" y="42104"/>
                    <a:pt x="21517" y="44197"/>
                    <a:pt x="19693" y="46412"/>
                  </a:cubicBezTo>
                  <a:cubicBezTo>
                    <a:pt x="19620" y="46501"/>
                    <a:pt x="19543" y="46585"/>
                    <a:pt x="19467" y="46674"/>
                  </a:cubicBezTo>
                  <a:cubicBezTo>
                    <a:pt x="22155" y="43467"/>
                    <a:pt x="24655" y="40112"/>
                    <a:pt x="27404" y="36951"/>
                  </a:cubicBezTo>
                  <a:cubicBezTo>
                    <a:pt x="27421" y="36908"/>
                    <a:pt x="27438" y="36873"/>
                    <a:pt x="27459" y="36833"/>
                  </a:cubicBezTo>
                  <a:cubicBezTo>
                    <a:pt x="27707" y="36558"/>
                    <a:pt x="27949" y="36284"/>
                    <a:pt x="28183" y="36004"/>
                  </a:cubicBezTo>
                  <a:cubicBezTo>
                    <a:pt x="28269" y="35973"/>
                    <a:pt x="28359" y="35957"/>
                    <a:pt x="28454" y="35957"/>
                  </a:cubicBezTo>
                  <a:close/>
                  <a:moveTo>
                    <a:pt x="22926" y="31209"/>
                  </a:moveTo>
                  <a:lnTo>
                    <a:pt x="22926" y="31209"/>
                  </a:lnTo>
                  <a:cubicBezTo>
                    <a:pt x="20749" y="34168"/>
                    <a:pt x="18509" y="37064"/>
                    <a:pt x="16107" y="39847"/>
                  </a:cubicBezTo>
                  <a:cubicBezTo>
                    <a:pt x="14456" y="41758"/>
                    <a:pt x="12339" y="43585"/>
                    <a:pt x="10596" y="45413"/>
                  </a:cubicBezTo>
                  <a:lnTo>
                    <a:pt x="10596" y="45416"/>
                  </a:lnTo>
                  <a:cubicBezTo>
                    <a:pt x="10157" y="45840"/>
                    <a:pt x="9750" y="46296"/>
                    <a:pt x="9377" y="46781"/>
                  </a:cubicBezTo>
                  <a:cubicBezTo>
                    <a:pt x="9336" y="46833"/>
                    <a:pt x="9291" y="46883"/>
                    <a:pt x="9249" y="46934"/>
                  </a:cubicBezTo>
                  <a:lnTo>
                    <a:pt x="9249" y="46934"/>
                  </a:lnTo>
                  <a:cubicBezTo>
                    <a:pt x="10130" y="45823"/>
                    <a:pt x="11020" y="44717"/>
                    <a:pt x="11921" y="43620"/>
                  </a:cubicBezTo>
                  <a:cubicBezTo>
                    <a:pt x="13543" y="41896"/>
                    <a:pt x="15047" y="40052"/>
                    <a:pt x="16491" y="38149"/>
                  </a:cubicBezTo>
                  <a:cubicBezTo>
                    <a:pt x="18558" y="35767"/>
                    <a:pt x="20703" y="33452"/>
                    <a:pt x="22926" y="31209"/>
                  </a:cubicBezTo>
                  <a:close/>
                  <a:moveTo>
                    <a:pt x="60925" y="40077"/>
                  </a:moveTo>
                  <a:lnTo>
                    <a:pt x="60925" y="40077"/>
                  </a:lnTo>
                  <a:cubicBezTo>
                    <a:pt x="60941" y="40077"/>
                    <a:pt x="56972" y="44563"/>
                    <a:pt x="56427" y="45072"/>
                  </a:cubicBezTo>
                  <a:cubicBezTo>
                    <a:pt x="55772" y="45687"/>
                    <a:pt x="55134" y="46311"/>
                    <a:pt x="54490" y="46934"/>
                  </a:cubicBezTo>
                  <a:cubicBezTo>
                    <a:pt x="56464" y="44925"/>
                    <a:pt x="58405" y="42890"/>
                    <a:pt x="60267" y="40808"/>
                  </a:cubicBezTo>
                  <a:cubicBezTo>
                    <a:pt x="60728" y="40291"/>
                    <a:pt x="60922" y="40077"/>
                    <a:pt x="60925" y="40077"/>
                  </a:cubicBezTo>
                  <a:close/>
                  <a:moveTo>
                    <a:pt x="55777" y="34757"/>
                  </a:moveTo>
                  <a:cubicBezTo>
                    <a:pt x="54660" y="36021"/>
                    <a:pt x="53468" y="37237"/>
                    <a:pt x="52241" y="38423"/>
                  </a:cubicBezTo>
                  <a:cubicBezTo>
                    <a:pt x="51123" y="39408"/>
                    <a:pt x="50018" y="40395"/>
                    <a:pt x="48877" y="41264"/>
                  </a:cubicBezTo>
                  <a:cubicBezTo>
                    <a:pt x="46268" y="43253"/>
                    <a:pt x="43741" y="45315"/>
                    <a:pt x="41311" y="47489"/>
                  </a:cubicBezTo>
                  <a:cubicBezTo>
                    <a:pt x="41721" y="47087"/>
                    <a:pt x="42130" y="46683"/>
                    <a:pt x="42543" y="46282"/>
                  </a:cubicBezTo>
                  <a:cubicBezTo>
                    <a:pt x="44642" y="44339"/>
                    <a:pt x="46767" y="42410"/>
                    <a:pt x="48854" y="40450"/>
                  </a:cubicBezTo>
                  <a:cubicBezTo>
                    <a:pt x="51239" y="38565"/>
                    <a:pt x="53999" y="36769"/>
                    <a:pt x="55777" y="34757"/>
                  </a:cubicBezTo>
                  <a:close/>
                  <a:moveTo>
                    <a:pt x="54215" y="44711"/>
                  </a:moveTo>
                  <a:lnTo>
                    <a:pt x="54215" y="44711"/>
                  </a:lnTo>
                  <a:cubicBezTo>
                    <a:pt x="53144" y="45777"/>
                    <a:pt x="52062" y="46827"/>
                    <a:pt x="50965" y="47867"/>
                  </a:cubicBezTo>
                  <a:cubicBezTo>
                    <a:pt x="51545" y="47214"/>
                    <a:pt x="52119" y="46553"/>
                    <a:pt x="52694" y="45895"/>
                  </a:cubicBezTo>
                  <a:cubicBezTo>
                    <a:pt x="53196" y="45494"/>
                    <a:pt x="53702" y="45101"/>
                    <a:pt x="54215" y="44711"/>
                  </a:cubicBezTo>
                  <a:close/>
                  <a:moveTo>
                    <a:pt x="14698" y="43519"/>
                  </a:moveTo>
                  <a:cubicBezTo>
                    <a:pt x="13722" y="44711"/>
                    <a:pt x="12712" y="45881"/>
                    <a:pt x="11600" y="46975"/>
                  </a:cubicBezTo>
                  <a:lnTo>
                    <a:pt x="11600" y="46978"/>
                  </a:lnTo>
                  <a:cubicBezTo>
                    <a:pt x="11302" y="47271"/>
                    <a:pt x="9989" y="48488"/>
                    <a:pt x="9857" y="48488"/>
                  </a:cubicBezTo>
                  <a:cubicBezTo>
                    <a:pt x="9847" y="48488"/>
                    <a:pt x="9844" y="48481"/>
                    <a:pt x="9848" y="48467"/>
                  </a:cubicBezTo>
                  <a:cubicBezTo>
                    <a:pt x="11000" y="46917"/>
                    <a:pt x="13419" y="44882"/>
                    <a:pt x="14028" y="44226"/>
                  </a:cubicBezTo>
                  <a:cubicBezTo>
                    <a:pt x="14251" y="43990"/>
                    <a:pt x="14479" y="43759"/>
                    <a:pt x="14698" y="43519"/>
                  </a:cubicBezTo>
                  <a:close/>
                  <a:moveTo>
                    <a:pt x="55160" y="42653"/>
                  </a:moveTo>
                  <a:lnTo>
                    <a:pt x="55160" y="42653"/>
                  </a:lnTo>
                  <a:cubicBezTo>
                    <a:pt x="54432" y="43525"/>
                    <a:pt x="53728" y="44426"/>
                    <a:pt x="53017" y="45335"/>
                  </a:cubicBezTo>
                  <a:cubicBezTo>
                    <a:pt x="51533" y="46458"/>
                    <a:pt x="50093" y="47630"/>
                    <a:pt x="48696" y="48848"/>
                  </a:cubicBezTo>
                  <a:cubicBezTo>
                    <a:pt x="50901" y="46836"/>
                    <a:pt x="53081" y="44772"/>
                    <a:pt x="55160" y="42653"/>
                  </a:cubicBezTo>
                  <a:close/>
                  <a:moveTo>
                    <a:pt x="34160" y="33335"/>
                  </a:moveTo>
                  <a:cubicBezTo>
                    <a:pt x="34475" y="33335"/>
                    <a:pt x="31107" y="37483"/>
                    <a:pt x="30649" y="37930"/>
                  </a:cubicBezTo>
                  <a:cubicBezTo>
                    <a:pt x="28813" y="39717"/>
                    <a:pt x="27049" y="41501"/>
                    <a:pt x="25371" y="43438"/>
                  </a:cubicBezTo>
                  <a:cubicBezTo>
                    <a:pt x="25192" y="43646"/>
                    <a:pt x="25011" y="43851"/>
                    <a:pt x="24832" y="44056"/>
                  </a:cubicBezTo>
                  <a:cubicBezTo>
                    <a:pt x="23628" y="45277"/>
                    <a:pt x="22424" y="46487"/>
                    <a:pt x="21205" y="47662"/>
                  </a:cubicBezTo>
                  <a:cubicBezTo>
                    <a:pt x="20484" y="48360"/>
                    <a:pt x="19776" y="49074"/>
                    <a:pt x="19078" y="49795"/>
                  </a:cubicBezTo>
                  <a:lnTo>
                    <a:pt x="19078" y="49795"/>
                  </a:lnTo>
                  <a:cubicBezTo>
                    <a:pt x="21514" y="47006"/>
                    <a:pt x="23908" y="44189"/>
                    <a:pt x="26457" y="41680"/>
                  </a:cubicBezTo>
                  <a:lnTo>
                    <a:pt x="26457" y="41683"/>
                  </a:lnTo>
                  <a:cubicBezTo>
                    <a:pt x="28966" y="39212"/>
                    <a:pt x="30958" y="36304"/>
                    <a:pt x="33498" y="33874"/>
                  </a:cubicBezTo>
                  <a:cubicBezTo>
                    <a:pt x="33894" y="33495"/>
                    <a:pt x="34098" y="33335"/>
                    <a:pt x="34160" y="33335"/>
                  </a:cubicBezTo>
                  <a:close/>
                  <a:moveTo>
                    <a:pt x="56736" y="40043"/>
                  </a:moveTo>
                  <a:lnTo>
                    <a:pt x="56736" y="40043"/>
                  </a:lnTo>
                  <a:cubicBezTo>
                    <a:pt x="53211" y="43230"/>
                    <a:pt x="49758" y="46839"/>
                    <a:pt x="46253" y="50318"/>
                  </a:cubicBezTo>
                  <a:cubicBezTo>
                    <a:pt x="49642" y="46761"/>
                    <a:pt x="53092" y="43285"/>
                    <a:pt x="56736" y="40043"/>
                  </a:cubicBezTo>
                  <a:close/>
                  <a:moveTo>
                    <a:pt x="54604" y="32657"/>
                  </a:moveTo>
                  <a:cubicBezTo>
                    <a:pt x="54727" y="32657"/>
                    <a:pt x="54577" y="32909"/>
                    <a:pt x="53987" y="33559"/>
                  </a:cubicBezTo>
                  <a:cubicBezTo>
                    <a:pt x="53035" y="34610"/>
                    <a:pt x="51828" y="35531"/>
                    <a:pt x="50757" y="36457"/>
                  </a:cubicBezTo>
                  <a:cubicBezTo>
                    <a:pt x="45765" y="40779"/>
                    <a:pt x="41007" y="45497"/>
                    <a:pt x="36186" y="50015"/>
                  </a:cubicBezTo>
                  <a:cubicBezTo>
                    <a:pt x="36048" y="50142"/>
                    <a:pt x="35918" y="50275"/>
                    <a:pt x="35782" y="50402"/>
                  </a:cubicBezTo>
                  <a:cubicBezTo>
                    <a:pt x="37012" y="49042"/>
                    <a:pt x="38247" y="47685"/>
                    <a:pt x="39489" y="46337"/>
                  </a:cubicBezTo>
                  <a:cubicBezTo>
                    <a:pt x="41311" y="44654"/>
                    <a:pt x="43124" y="42965"/>
                    <a:pt x="44928" y="41270"/>
                  </a:cubicBezTo>
                  <a:cubicBezTo>
                    <a:pt x="46294" y="39985"/>
                    <a:pt x="47639" y="38677"/>
                    <a:pt x="48981" y="37367"/>
                  </a:cubicBezTo>
                  <a:lnTo>
                    <a:pt x="48978" y="37367"/>
                  </a:lnTo>
                  <a:cubicBezTo>
                    <a:pt x="50292" y="36278"/>
                    <a:pt x="51545" y="35141"/>
                    <a:pt x="52700" y="33934"/>
                  </a:cubicBezTo>
                  <a:cubicBezTo>
                    <a:pt x="53568" y="33266"/>
                    <a:pt x="54415" y="32657"/>
                    <a:pt x="54604" y="32657"/>
                  </a:cubicBezTo>
                  <a:close/>
                  <a:moveTo>
                    <a:pt x="57258" y="47047"/>
                  </a:moveTo>
                  <a:cubicBezTo>
                    <a:pt x="56052" y="48320"/>
                    <a:pt x="54848" y="49593"/>
                    <a:pt x="53647" y="50872"/>
                  </a:cubicBezTo>
                  <a:cubicBezTo>
                    <a:pt x="53627" y="50805"/>
                    <a:pt x="53567" y="50759"/>
                    <a:pt x="53497" y="50759"/>
                  </a:cubicBezTo>
                  <a:cubicBezTo>
                    <a:pt x="53495" y="50759"/>
                    <a:pt x="53493" y="50760"/>
                    <a:pt x="53491" y="50760"/>
                  </a:cubicBezTo>
                  <a:cubicBezTo>
                    <a:pt x="54470" y="49755"/>
                    <a:pt x="55451" y="48756"/>
                    <a:pt x="56464" y="47783"/>
                  </a:cubicBezTo>
                  <a:lnTo>
                    <a:pt x="56462" y="47783"/>
                  </a:lnTo>
                  <a:cubicBezTo>
                    <a:pt x="56721" y="47535"/>
                    <a:pt x="56990" y="47289"/>
                    <a:pt x="57258" y="47047"/>
                  </a:cubicBezTo>
                  <a:close/>
                  <a:moveTo>
                    <a:pt x="52096" y="39261"/>
                  </a:moveTo>
                  <a:lnTo>
                    <a:pt x="52096" y="39261"/>
                  </a:lnTo>
                  <a:cubicBezTo>
                    <a:pt x="51857" y="39486"/>
                    <a:pt x="51617" y="39711"/>
                    <a:pt x="51375" y="39925"/>
                  </a:cubicBezTo>
                  <a:cubicBezTo>
                    <a:pt x="49166" y="41902"/>
                    <a:pt x="47027" y="43955"/>
                    <a:pt x="44922" y="46039"/>
                  </a:cubicBezTo>
                  <a:cubicBezTo>
                    <a:pt x="42956" y="47772"/>
                    <a:pt x="41005" y="49512"/>
                    <a:pt x="39067" y="51271"/>
                  </a:cubicBezTo>
                  <a:cubicBezTo>
                    <a:pt x="42855" y="47581"/>
                    <a:pt x="46845" y="44044"/>
                    <a:pt x="50662" y="40372"/>
                  </a:cubicBezTo>
                  <a:cubicBezTo>
                    <a:pt x="51144" y="40008"/>
                    <a:pt x="51620" y="39633"/>
                    <a:pt x="52096" y="39261"/>
                  </a:cubicBezTo>
                  <a:close/>
                  <a:moveTo>
                    <a:pt x="30463" y="36349"/>
                  </a:moveTo>
                  <a:cubicBezTo>
                    <a:pt x="30506" y="36349"/>
                    <a:pt x="27598" y="39367"/>
                    <a:pt x="27170" y="39841"/>
                  </a:cubicBezTo>
                  <a:cubicBezTo>
                    <a:pt x="25328" y="41876"/>
                    <a:pt x="23371" y="43813"/>
                    <a:pt x="21442" y="45762"/>
                  </a:cubicBezTo>
                  <a:cubicBezTo>
                    <a:pt x="19626" y="47595"/>
                    <a:pt x="17859" y="49458"/>
                    <a:pt x="16113" y="51343"/>
                  </a:cubicBezTo>
                  <a:cubicBezTo>
                    <a:pt x="16719" y="50656"/>
                    <a:pt x="17322" y="49986"/>
                    <a:pt x="17932" y="49351"/>
                  </a:cubicBezTo>
                  <a:lnTo>
                    <a:pt x="17934" y="49354"/>
                  </a:lnTo>
                  <a:cubicBezTo>
                    <a:pt x="21737" y="45398"/>
                    <a:pt x="25444" y="41377"/>
                    <a:pt x="29315" y="37482"/>
                  </a:cubicBezTo>
                  <a:cubicBezTo>
                    <a:pt x="30128" y="36664"/>
                    <a:pt x="30450" y="36349"/>
                    <a:pt x="30463" y="36349"/>
                  </a:cubicBezTo>
                  <a:close/>
                  <a:moveTo>
                    <a:pt x="12735" y="48897"/>
                  </a:moveTo>
                  <a:lnTo>
                    <a:pt x="12735" y="48897"/>
                  </a:lnTo>
                  <a:cubicBezTo>
                    <a:pt x="12617" y="49036"/>
                    <a:pt x="12510" y="49180"/>
                    <a:pt x="12391" y="49316"/>
                  </a:cubicBezTo>
                  <a:lnTo>
                    <a:pt x="12391" y="49313"/>
                  </a:lnTo>
                  <a:cubicBezTo>
                    <a:pt x="12034" y="49724"/>
                    <a:pt x="9646" y="52019"/>
                    <a:pt x="9603" y="52019"/>
                  </a:cubicBezTo>
                  <a:cubicBezTo>
                    <a:pt x="9588" y="52019"/>
                    <a:pt x="9860" y="51738"/>
                    <a:pt x="10607" y="50996"/>
                  </a:cubicBezTo>
                  <a:cubicBezTo>
                    <a:pt x="11312" y="50295"/>
                    <a:pt x="12022" y="49596"/>
                    <a:pt x="12735" y="48897"/>
                  </a:cubicBezTo>
                  <a:close/>
                  <a:moveTo>
                    <a:pt x="35855" y="34006"/>
                  </a:moveTo>
                  <a:cubicBezTo>
                    <a:pt x="35976" y="34006"/>
                    <a:pt x="34591" y="35688"/>
                    <a:pt x="33752" y="36651"/>
                  </a:cubicBezTo>
                  <a:cubicBezTo>
                    <a:pt x="30507" y="39318"/>
                    <a:pt x="27534" y="42390"/>
                    <a:pt x="24641" y="45358"/>
                  </a:cubicBezTo>
                  <a:cubicBezTo>
                    <a:pt x="22510" y="47541"/>
                    <a:pt x="20403" y="49778"/>
                    <a:pt x="18318" y="52039"/>
                  </a:cubicBezTo>
                  <a:cubicBezTo>
                    <a:pt x="19811" y="50384"/>
                    <a:pt x="21278" y="48716"/>
                    <a:pt x="22727" y="47035"/>
                  </a:cubicBezTo>
                  <a:cubicBezTo>
                    <a:pt x="26890" y="43020"/>
                    <a:pt x="31027" y="38949"/>
                    <a:pt x="34985" y="34832"/>
                  </a:cubicBezTo>
                  <a:cubicBezTo>
                    <a:pt x="35555" y="34240"/>
                    <a:pt x="35810" y="34006"/>
                    <a:pt x="35855" y="34006"/>
                  </a:cubicBezTo>
                  <a:close/>
                  <a:moveTo>
                    <a:pt x="25002" y="39324"/>
                  </a:moveTo>
                  <a:lnTo>
                    <a:pt x="25002" y="39324"/>
                  </a:lnTo>
                  <a:cubicBezTo>
                    <a:pt x="23576" y="41094"/>
                    <a:pt x="22242" y="42950"/>
                    <a:pt x="20833" y="44688"/>
                  </a:cubicBezTo>
                  <a:cubicBezTo>
                    <a:pt x="18699" y="47315"/>
                    <a:pt x="16413" y="49815"/>
                    <a:pt x="14049" y="52240"/>
                  </a:cubicBezTo>
                  <a:lnTo>
                    <a:pt x="14049" y="52240"/>
                  </a:lnTo>
                  <a:cubicBezTo>
                    <a:pt x="16741" y="49033"/>
                    <a:pt x="19231" y="45643"/>
                    <a:pt x="21939" y="42448"/>
                  </a:cubicBezTo>
                  <a:cubicBezTo>
                    <a:pt x="22802" y="41429"/>
                    <a:pt x="23887" y="40395"/>
                    <a:pt x="25002" y="39324"/>
                  </a:cubicBezTo>
                  <a:close/>
                  <a:moveTo>
                    <a:pt x="36531" y="35056"/>
                  </a:moveTo>
                  <a:cubicBezTo>
                    <a:pt x="36636" y="35056"/>
                    <a:pt x="36311" y="35417"/>
                    <a:pt x="35236" y="36385"/>
                  </a:cubicBezTo>
                  <a:lnTo>
                    <a:pt x="35236" y="36388"/>
                  </a:lnTo>
                  <a:cubicBezTo>
                    <a:pt x="33288" y="38143"/>
                    <a:pt x="31506" y="40095"/>
                    <a:pt x="29679" y="41977"/>
                  </a:cubicBezTo>
                  <a:cubicBezTo>
                    <a:pt x="26336" y="45413"/>
                    <a:pt x="22915" y="48765"/>
                    <a:pt x="19655" y="52281"/>
                  </a:cubicBezTo>
                  <a:cubicBezTo>
                    <a:pt x="19144" y="52763"/>
                    <a:pt x="18630" y="53245"/>
                    <a:pt x="18113" y="53733"/>
                  </a:cubicBezTo>
                  <a:cubicBezTo>
                    <a:pt x="20380" y="51302"/>
                    <a:pt x="22577" y="48802"/>
                    <a:pt x="24791" y="46371"/>
                  </a:cubicBezTo>
                  <a:cubicBezTo>
                    <a:pt x="27782" y="43089"/>
                    <a:pt x="31622" y="39977"/>
                    <a:pt x="34546" y="36431"/>
                  </a:cubicBezTo>
                  <a:cubicBezTo>
                    <a:pt x="35465" y="35715"/>
                    <a:pt x="36390" y="35056"/>
                    <a:pt x="36531" y="35056"/>
                  </a:cubicBezTo>
                  <a:close/>
                  <a:moveTo>
                    <a:pt x="38602" y="40586"/>
                  </a:moveTo>
                  <a:cubicBezTo>
                    <a:pt x="38631" y="40586"/>
                    <a:pt x="37746" y="41562"/>
                    <a:pt x="36457" y="43057"/>
                  </a:cubicBezTo>
                  <a:cubicBezTo>
                    <a:pt x="35537" y="44128"/>
                    <a:pt x="34595" y="45185"/>
                    <a:pt x="33666" y="46247"/>
                  </a:cubicBezTo>
                  <a:cubicBezTo>
                    <a:pt x="31529" y="48236"/>
                    <a:pt x="29462" y="50306"/>
                    <a:pt x="27361" y="52281"/>
                  </a:cubicBezTo>
                  <a:cubicBezTo>
                    <a:pt x="26783" y="52827"/>
                    <a:pt x="26188" y="53375"/>
                    <a:pt x="25585" y="53930"/>
                  </a:cubicBezTo>
                  <a:cubicBezTo>
                    <a:pt x="29220" y="50064"/>
                    <a:pt x="32982" y="46302"/>
                    <a:pt x="36691" y="42517"/>
                  </a:cubicBezTo>
                  <a:cubicBezTo>
                    <a:pt x="38020" y="41161"/>
                    <a:pt x="38580" y="40586"/>
                    <a:pt x="38602" y="40586"/>
                  </a:cubicBezTo>
                  <a:close/>
                  <a:moveTo>
                    <a:pt x="37928" y="42923"/>
                  </a:moveTo>
                  <a:lnTo>
                    <a:pt x="37928" y="42923"/>
                  </a:lnTo>
                  <a:cubicBezTo>
                    <a:pt x="37113" y="43623"/>
                    <a:pt x="34997" y="46518"/>
                    <a:pt x="33686" y="47780"/>
                  </a:cubicBezTo>
                  <a:cubicBezTo>
                    <a:pt x="31659" y="49726"/>
                    <a:pt x="29638" y="51678"/>
                    <a:pt x="27620" y="53635"/>
                  </a:cubicBezTo>
                  <a:cubicBezTo>
                    <a:pt x="27078" y="54160"/>
                    <a:pt x="26538" y="54689"/>
                    <a:pt x="25995" y="55223"/>
                  </a:cubicBezTo>
                  <a:cubicBezTo>
                    <a:pt x="26038" y="55177"/>
                    <a:pt x="26082" y="55128"/>
                    <a:pt x="26125" y="55084"/>
                  </a:cubicBezTo>
                  <a:cubicBezTo>
                    <a:pt x="28850" y="52264"/>
                    <a:pt x="31463" y="49336"/>
                    <a:pt x="34038" y="46374"/>
                  </a:cubicBezTo>
                  <a:cubicBezTo>
                    <a:pt x="35324" y="45204"/>
                    <a:pt x="36619" y="44045"/>
                    <a:pt x="37928" y="42923"/>
                  </a:cubicBezTo>
                  <a:close/>
                  <a:moveTo>
                    <a:pt x="44163" y="41155"/>
                  </a:moveTo>
                  <a:cubicBezTo>
                    <a:pt x="42792" y="42497"/>
                    <a:pt x="41452" y="43868"/>
                    <a:pt x="40124" y="45254"/>
                  </a:cubicBezTo>
                  <a:cubicBezTo>
                    <a:pt x="36432" y="48675"/>
                    <a:pt x="32719" y="52079"/>
                    <a:pt x="29047" y="55520"/>
                  </a:cubicBezTo>
                  <a:cubicBezTo>
                    <a:pt x="29130" y="55425"/>
                    <a:pt x="29214" y="55330"/>
                    <a:pt x="29298" y="55237"/>
                  </a:cubicBezTo>
                  <a:lnTo>
                    <a:pt x="29298" y="55234"/>
                  </a:lnTo>
                  <a:cubicBezTo>
                    <a:pt x="31013" y="53419"/>
                    <a:pt x="32727" y="51600"/>
                    <a:pt x="34483" y="49824"/>
                  </a:cubicBezTo>
                  <a:cubicBezTo>
                    <a:pt x="36362" y="47922"/>
                    <a:pt x="38308" y="46080"/>
                    <a:pt x="40274" y="44258"/>
                  </a:cubicBezTo>
                  <a:cubicBezTo>
                    <a:pt x="41518" y="43204"/>
                    <a:pt x="42829" y="42177"/>
                    <a:pt x="44163" y="41155"/>
                  </a:cubicBezTo>
                  <a:close/>
                  <a:moveTo>
                    <a:pt x="25842" y="35539"/>
                  </a:moveTo>
                  <a:cubicBezTo>
                    <a:pt x="24283" y="37679"/>
                    <a:pt x="22738" y="39829"/>
                    <a:pt x="21067" y="41888"/>
                  </a:cubicBezTo>
                  <a:cubicBezTo>
                    <a:pt x="18036" y="45615"/>
                    <a:pt x="14741" y="49117"/>
                    <a:pt x="11722" y="52861"/>
                  </a:cubicBezTo>
                  <a:lnTo>
                    <a:pt x="11725" y="52864"/>
                  </a:lnTo>
                  <a:cubicBezTo>
                    <a:pt x="11147" y="53578"/>
                    <a:pt x="8895" y="55848"/>
                    <a:pt x="8638" y="55848"/>
                  </a:cubicBezTo>
                  <a:cubicBezTo>
                    <a:pt x="8507" y="55848"/>
                    <a:pt x="8893" y="55259"/>
                    <a:pt x="10281" y="53577"/>
                  </a:cubicBezTo>
                  <a:cubicBezTo>
                    <a:pt x="11831" y="51695"/>
                    <a:pt x="13633" y="50000"/>
                    <a:pt x="15304" y="48225"/>
                  </a:cubicBezTo>
                  <a:cubicBezTo>
                    <a:pt x="19063" y="44232"/>
                    <a:pt x="22395" y="39832"/>
                    <a:pt x="25842" y="35539"/>
                  </a:cubicBezTo>
                  <a:close/>
                  <a:moveTo>
                    <a:pt x="19427" y="50202"/>
                  </a:moveTo>
                  <a:lnTo>
                    <a:pt x="19427" y="50202"/>
                  </a:lnTo>
                  <a:cubicBezTo>
                    <a:pt x="18532" y="51210"/>
                    <a:pt x="17640" y="52218"/>
                    <a:pt x="16739" y="53219"/>
                  </a:cubicBezTo>
                  <a:cubicBezTo>
                    <a:pt x="15284" y="54842"/>
                    <a:pt x="13803" y="56438"/>
                    <a:pt x="12293" y="58006"/>
                  </a:cubicBezTo>
                  <a:cubicBezTo>
                    <a:pt x="11690" y="58634"/>
                    <a:pt x="11411" y="58888"/>
                    <a:pt x="11356" y="58888"/>
                  </a:cubicBezTo>
                  <a:cubicBezTo>
                    <a:pt x="11142" y="58888"/>
                    <a:pt x="14296" y="55071"/>
                    <a:pt x="14944" y="54458"/>
                  </a:cubicBezTo>
                  <a:cubicBezTo>
                    <a:pt x="16430" y="53052"/>
                    <a:pt x="17926" y="51634"/>
                    <a:pt x="19427" y="50202"/>
                  </a:cubicBezTo>
                  <a:close/>
                  <a:moveTo>
                    <a:pt x="26333" y="44027"/>
                  </a:moveTo>
                  <a:lnTo>
                    <a:pt x="26333" y="44027"/>
                  </a:lnTo>
                  <a:cubicBezTo>
                    <a:pt x="23781" y="46773"/>
                    <a:pt x="21315" y="49634"/>
                    <a:pt x="18789" y="52379"/>
                  </a:cubicBezTo>
                  <a:cubicBezTo>
                    <a:pt x="17265" y="54033"/>
                    <a:pt x="15761" y="55705"/>
                    <a:pt x="14202" y="57330"/>
                  </a:cubicBezTo>
                  <a:cubicBezTo>
                    <a:pt x="13774" y="57776"/>
                    <a:pt x="11925" y="59679"/>
                    <a:pt x="11856" y="59679"/>
                  </a:cubicBezTo>
                  <a:cubicBezTo>
                    <a:pt x="11826" y="59679"/>
                    <a:pt x="12148" y="59301"/>
                    <a:pt x="13107" y="58248"/>
                  </a:cubicBezTo>
                  <a:cubicBezTo>
                    <a:pt x="16624" y="54394"/>
                    <a:pt x="20201" y="50598"/>
                    <a:pt x="23717" y="46744"/>
                  </a:cubicBezTo>
                  <a:cubicBezTo>
                    <a:pt x="24563" y="45817"/>
                    <a:pt x="25444" y="44916"/>
                    <a:pt x="26333" y="44027"/>
                  </a:cubicBezTo>
                  <a:close/>
                  <a:moveTo>
                    <a:pt x="39269" y="43479"/>
                  </a:moveTo>
                  <a:cubicBezTo>
                    <a:pt x="36806" y="46006"/>
                    <a:pt x="34507" y="48672"/>
                    <a:pt x="31994" y="51155"/>
                  </a:cubicBezTo>
                  <a:cubicBezTo>
                    <a:pt x="29107" y="54010"/>
                    <a:pt x="26287" y="56955"/>
                    <a:pt x="23420" y="59845"/>
                  </a:cubicBezTo>
                  <a:cubicBezTo>
                    <a:pt x="26532" y="56349"/>
                    <a:pt x="29563" y="52795"/>
                    <a:pt x="32676" y="49281"/>
                  </a:cubicBezTo>
                  <a:cubicBezTo>
                    <a:pt x="34162" y="47887"/>
                    <a:pt x="35632" y="46470"/>
                    <a:pt x="37029" y="44994"/>
                  </a:cubicBezTo>
                  <a:cubicBezTo>
                    <a:pt x="37848" y="44457"/>
                    <a:pt x="38791" y="43968"/>
                    <a:pt x="39269" y="43479"/>
                  </a:cubicBezTo>
                  <a:close/>
                  <a:moveTo>
                    <a:pt x="36795" y="37566"/>
                  </a:moveTo>
                  <a:cubicBezTo>
                    <a:pt x="32930" y="40603"/>
                    <a:pt x="29433" y="45370"/>
                    <a:pt x="26174" y="48909"/>
                  </a:cubicBezTo>
                  <a:cubicBezTo>
                    <a:pt x="23654" y="51643"/>
                    <a:pt x="20850" y="55142"/>
                    <a:pt x="17706" y="57908"/>
                  </a:cubicBezTo>
                  <a:cubicBezTo>
                    <a:pt x="19130" y="56170"/>
                    <a:pt x="20463" y="54311"/>
                    <a:pt x="21846" y="52587"/>
                  </a:cubicBezTo>
                  <a:lnTo>
                    <a:pt x="21846" y="52587"/>
                  </a:lnTo>
                  <a:cubicBezTo>
                    <a:pt x="20022" y="54839"/>
                    <a:pt x="18174" y="57114"/>
                    <a:pt x="16191" y="59152"/>
                  </a:cubicBezTo>
                  <a:cubicBezTo>
                    <a:pt x="14987" y="60076"/>
                    <a:pt x="13731" y="60864"/>
                    <a:pt x="12423" y="61444"/>
                  </a:cubicBezTo>
                  <a:cubicBezTo>
                    <a:pt x="14031" y="59429"/>
                    <a:pt x="16283" y="57662"/>
                    <a:pt x="18053" y="55875"/>
                  </a:cubicBezTo>
                  <a:cubicBezTo>
                    <a:pt x="20435" y="53476"/>
                    <a:pt x="22646" y="50890"/>
                    <a:pt x="24924" y="48392"/>
                  </a:cubicBezTo>
                  <a:cubicBezTo>
                    <a:pt x="26454" y="46718"/>
                    <a:pt x="28120" y="45118"/>
                    <a:pt x="29812" y="43545"/>
                  </a:cubicBezTo>
                  <a:lnTo>
                    <a:pt x="29812" y="43545"/>
                  </a:lnTo>
                  <a:cubicBezTo>
                    <a:pt x="28755" y="44656"/>
                    <a:pt x="27713" y="45785"/>
                    <a:pt x="26673" y="46900"/>
                  </a:cubicBezTo>
                  <a:cubicBezTo>
                    <a:pt x="25230" y="48444"/>
                    <a:pt x="23830" y="50142"/>
                    <a:pt x="22427" y="51871"/>
                  </a:cubicBezTo>
                  <a:lnTo>
                    <a:pt x="22427" y="51871"/>
                  </a:lnTo>
                  <a:cubicBezTo>
                    <a:pt x="22788" y="51438"/>
                    <a:pt x="23154" y="51011"/>
                    <a:pt x="23529" y="50607"/>
                  </a:cubicBezTo>
                  <a:cubicBezTo>
                    <a:pt x="27690" y="46117"/>
                    <a:pt x="31856" y="41247"/>
                    <a:pt x="36795" y="37566"/>
                  </a:cubicBezTo>
                  <a:close/>
                  <a:moveTo>
                    <a:pt x="27387" y="45315"/>
                  </a:moveTo>
                  <a:cubicBezTo>
                    <a:pt x="26867" y="45840"/>
                    <a:pt x="26344" y="46366"/>
                    <a:pt x="25836" y="46908"/>
                  </a:cubicBezTo>
                  <a:cubicBezTo>
                    <a:pt x="23131" y="49790"/>
                    <a:pt x="20518" y="52755"/>
                    <a:pt x="17825" y="55644"/>
                  </a:cubicBezTo>
                  <a:cubicBezTo>
                    <a:pt x="15951" y="57651"/>
                    <a:pt x="13578" y="59435"/>
                    <a:pt x="11944" y="61655"/>
                  </a:cubicBezTo>
                  <a:cubicBezTo>
                    <a:pt x="11906" y="61672"/>
                    <a:pt x="11869" y="61693"/>
                    <a:pt x="11828" y="61707"/>
                  </a:cubicBezTo>
                  <a:cubicBezTo>
                    <a:pt x="12195" y="60587"/>
                    <a:pt x="12868" y="59718"/>
                    <a:pt x="13844" y="59100"/>
                  </a:cubicBezTo>
                  <a:cubicBezTo>
                    <a:pt x="15004" y="58119"/>
                    <a:pt x="15971" y="56744"/>
                    <a:pt x="16953" y="55592"/>
                  </a:cubicBezTo>
                  <a:cubicBezTo>
                    <a:pt x="17123" y="55393"/>
                    <a:pt x="17311" y="55206"/>
                    <a:pt x="17484" y="55009"/>
                  </a:cubicBezTo>
                  <a:cubicBezTo>
                    <a:pt x="17634" y="54859"/>
                    <a:pt x="17790" y="54712"/>
                    <a:pt x="17934" y="54559"/>
                  </a:cubicBezTo>
                  <a:cubicBezTo>
                    <a:pt x="18572" y="53895"/>
                    <a:pt x="19199" y="53219"/>
                    <a:pt x="19828" y="52550"/>
                  </a:cubicBezTo>
                  <a:cubicBezTo>
                    <a:pt x="21275" y="51112"/>
                    <a:pt x="22770" y="49717"/>
                    <a:pt x="24202" y="48283"/>
                  </a:cubicBezTo>
                  <a:cubicBezTo>
                    <a:pt x="25230" y="47255"/>
                    <a:pt x="26298" y="46276"/>
                    <a:pt x="27387" y="45315"/>
                  </a:cubicBezTo>
                  <a:close/>
                  <a:moveTo>
                    <a:pt x="45612" y="47341"/>
                  </a:moveTo>
                  <a:lnTo>
                    <a:pt x="45612" y="47341"/>
                  </a:lnTo>
                  <a:cubicBezTo>
                    <a:pt x="41784" y="51152"/>
                    <a:pt x="38068" y="55084"/>
                    <a:pt x="34347" y="58912"/>
                  </a:cubicBezTo>
                  <a:lnTo>
                    <a:pt x="34350" y="58912"/>
                  </a:lnTo>
                  <a:cubicBezTo>
                    <a:pt x="33432" y="59854"/>
                    <a:pt x="32523" y="60803"/>
                    <a:pt x="31619" y="61759"/>
                  </a:cubicBezTo>
                  <a:cubicBezTo>
                    <a:pt x="31763" y="61589"/>
                    <a:pt x="31913" y="61424"/>
                    <a:pt x="32058" y="61257"/>
                  </a:cubicBezTo>
                  <a:cubicBezTo>
                    <a:pt x="35978" y="56684"/>
                    <a:pt x="40049" y="52342"/>
                    <a:pt x="44512" y="48294"/>
                  </a:cubicBezTo>
                  <a:cubicBezTo>
                    <a:pt x="44870" y="47968"/>
                    <a:pt x="45246" y="47659"/>
                    <a:pt x="45612" y="47341"/>
                  </a:cubicBezTo>
                  <a:close/>
                  <a:moveTo>
                    <a:pt x="52348" y="46163"/>
                  </a:moveTo>
                  <a:lnTo>
                    <a:pt x="52348" y="46163"/>
                  </a:lnTo>
                  <a:cubicBezTo>
                    <a:pt x="51750" y="46900"/>
                    <a:pt x="51129" y="47619"/>
                    <a:pt x="50488" y="48320"/>
                  </a:cubicBezTo>
                  <a:cubicBezTo>
                    <a:pt x="49879" y="48886"/>
                    <a:pt x="49264" y="49449"/>
                    <a:pt x="48641" y="50003"/>
                  </a:cubicBezTo>
                  <a:cubicBezTo>
                    <a:pt x="44377" y="53797"/>
                    <a:pt x="40329" y="57807"/>
                    <a:pt x="36264" y="61811"/>
                  </a:cubicBezTo>
                  <a:cubicBezTo>
                    <a:pt x="36065" y="61981"/>
                    <a:pt x="35869" y="62155"/>
                    <a:pt x="35672" y="62328"/>
                  </a:cubicBezTo>
                  <a:cubicBezTo>
                    <a:pt x="40955" y="56652"/>
                    <a:pt x="46282" y="51031"/>
                    <a:pt x="52348" y="46163"/>
                  </a:cubicBezTo>
                  <a:close/>
                  <a:moveTo>
                    <a:pt x="61488" y="39142"/>
                  </a:moveTo>
                  <a:lnTo>
                    <a:pt x="61488" y="39142"/>
                  </a:lnTo>
                  <a:cubicBezTo>
                    <a:pt x="56394" y="43598"/>
                    <a:pt x="51997" y="49062"/>
                    <a:pt x="47099" y="53756"/>
                  </a:cubicBezTo>
                  <a:cubicBezTo>
                    <a:pt x="43975" y="56747"/>
                    <a:pt x="40315" y="59525"/>
                    <a:pt x="37124" y="62614"/>
                  </a:cubicBezTo>
                  <a:cubicBezTo>
                    <a:pt x="39050" y="60731"/>
                    <a:pt x="40941" y="58806"/>
                    <a:pt x="42875" y="56952"/>
                  </a:cubicBezTo>
                  <a:cubicBezTo>
                    <a:pt x="49002" y="51084"/>
                    <a:pt x="54965" y="44545"/>
                    <a:pt x="61488" y="39142"/>
                  </a:cubicBezTo>
                  <a:close/>
                  <a:moveTo>
                    <a:pt x="32346" y="46293"/>
                  </a:moveTo>
                  <a:lnTo>
                    <a:pt x="32346" y="46293"/>
                  </a:lnTo>
                  <a:cubicBezTo>
                    <a:pt x="26393" y="52359"/>
                    <a:pt x="20664" y="58843"/>
                    <a:pt x="15056" y="64032"/>
                  </a:cubicBezTo>
                  <a:lnTo>
                    <a:pt x="15056" y="64032"/>
                  </a:lnTo>
                  <a:cubicBezTo>
                    <a:pt x="19543" y="59881"/>
                    <a:pt x="23537" y="55056"/>
                    <a:pt x="27828" y="50690"/>
                  </a:cubicBezTo>
                  <a:cubicBezTo>
                    <a:pt x="29280" y="49212"/>
                    <a:pt x="30825" y="47766"/>
                    <a:pt x="32346" y="46293"/>
                  </a:cubicBezTo>
                  <a:close/>
                  <a:moveTo>
                    <a:pt x="31521" y="48698"/>
                  </a:moveTo>
                  <a:cubicBezTo>
                    <a:pt x="31232" y="49022"/>
                    <a:pt x="30952" y="49354"/>
                    <a:pt x="30660" y="49680"/>
                  </a:cubicBezTo>
                  <a:cubicBezTo>
                    <a:pt x="26480" y="54374"/>
                    <a:pt x="22048" y="58846"/>
                    <a:pt x="17605" y="63295"/>
                  </a:cubicBezTo>
                  <a:cubicBezTo>
                    <a:pt x="16587" y="64315"/>
                    <a:pt x="16136" y="64710"/>
                    <a:pt x="16051" y="64710"/>
                  </a:cubicBezTo>
                  <a:cubicBezTo>
                    <a:pt x="15803" y="64710"/>
                    <a:pt x="18670" y="61353"/>
                    <a:pt x="19687" y="60336"/>
                  </a:cubicBezTo>
                  <a:cubicBezTo>
                    <a:pt x="21540" y="58482"/>
                    <a:pt x="23414" y="56646"/>
                    <a:pt x="25265" y="54790"/>
                  </a:cubicBezTo>
                  <a:cubicBezTo>
                    <a:pt x="27306" y="52743"/>
                    <a:pt x="29396" y="50699"/>
                    <a:pt x="31521" y="48698"/>
                  </a:cubicBezTo>
                  <a:close/>
                  <a:moveTo>
                    <a:pt x="49625" y="54417"/>
                  </a:moveTo>
                  <a:lnTo>
                    <a:pt x="49625" y="54417"/>
                  </a:lnTo>
                  <a:cubicBezTo>
                    <a:pt x="47853" y="56337"/>
                    <a:pt x="46077" y="58254"/>
                    <a:pt x="44235" y="60113"/>
                  </a:cubicBezTo>
                  <a:cubicBezTo>
                    <a:pt x="43095" y="61262"/>
                    <a:pt x="39063" y="64918"/>
                    <a:pt x="38652" y="64918"/>
                  </a:cubicBezTo>
                  <a:cubicBezTo>
                    <a:pt x="38502" y="64918"/>
                    <a:pt x="38835" y="64432"/>
                    <a:pt x="39965" y="63159"/>
                  </a:cubicBezTo>
                  <a:cubicBezTo>
                    <a:pt x="42523" y="60394"/>
                    <a:pt x="45690" y="58139"/>
                    <a:pt x="48398" y="55552"/>
                  </a:cubicBezTo>
                  <a:cubicBezTo>
                    <a:pt x="48802" y="55168"/>
                    <a:pt x="49215" y="54796"/>
                    <a:pt x="49625" y="54417"/>
                  </a:cubicBezTo>
                  <a:close/>
                  <a:moveTo>
                    <a:pt x="44789" y="60596"/>
                  </a:moveTo>
                  <a:cubicBezTo>
                    <a:pt x="43759" y="61667"/>
                    <a:pt x="42725" y="62738"/>
                    <a:pt x="41654" y="63766"/>
                  </a:cubicBezTo>
                  <a:cubicBezTo>
                    <a:pt x="40692" y="64687"/>
                    <a:pt x="40301" y="65031"/>
                    <a:pt x="40256" y="65031"/>
                  </a:cubicBezTo>
                  <a:cubicBezTo>
                    <a:pt x="40163" y="65031"/>
                    <a:pt x="41619" y="63497"/>
                    <a:pt x="42503" y="62648"/>
                  </a:cubicBezTo>
                  <a:cubicBezTo>
                    <a:pt x="43239" y="61938"/>
                    <a:pt x="44019" y="61271"/>
                    <a:pt x="44789" y="60596"/>
                  </a:cubicBezTo>
                  <a:close/>
                  <a:moveTo>
                    <a:pt x="30585" y="51239"/>
                  </a:moveTo>
                  <a:cubicBezTo>
                    <a:pt x="30274" y="51600"/>
                    <a:pt x="29962" y="51961"/>
                    <a:pt x="29653" y="52327"/>
                  </a:cubicBezTo>
                  <a:cubicBezTo>
                    <a:pt x="26307" y="56274"/>
                    <a:pt x="22811" y="60064"/>
                    <a:pt x="19320" y="63867"/>
                  </a:cubicBezTo>
                  <a:cubicBezTo>
                    <a:pt x="19066" y="64106"/>
                    <a:pt x="18827" y="64352"/>
                    <a:pt x="18572" y="64588"/>
                  </a:cubicBezTo>
                  <a:cubicBezTo>
                    <a:pt x="17284" y="65796"/>
                    <a:pt x="16706" y="66261"/>
                    <a:pt x="16582" y="66261"/>
                  </a:cubicBezTo>
                  <a:cubicBezTo>
                    <a:pt x="16201" y="66261"/>
                    <a:pt x="20054" y="61918"/>
                    <a:pt x="20807" y="61133"/>
                  </a:cubicBezTo>
                  <a:lnTo>
                    <a:pt x="20804" y="61133"/>
                  </a:lnTo>
                  <a:cubicBezTo>
                    <a:pt x="23140" y="58699"/>
                    <a:pt x="25455" y="56242"/>
                    <a:pt x="27851" y="53863"/>
                  </a:cubicBezTo>
                  <a:cubicBezTo>
                    <a:pt x="28743" y="52977"/>
                    <a:pt x="29661" y="52108"/>
                    <a:pt x="30585" y="51239"/>
                  </a:cubicBezTo>
                  <a:close/>
                  <a:moveTo>
                    <a:pt x="55535" y="39477"/>
                  </a:moveTo>
                  <a:lnTo>
                    <a:pt x="55535" y="39477"/>
                  </a:lnTo>
                  <a:cubicBezTo>
                    <a:pt x="54738" y="40352"/>
                    <a:pt x="53993" y="41293"/>
                    <a:pt x="53179" y="42177"/>
                  </a:cubicBezTo>
                  <a:cubicBezTo>
                    <a:pt x="49443" y="46233"/>
                    <a:pt x="45292" y="50018"/>
                    <a:pt x="41348" y="53875"/>
                  </a:cubicBezTo>
                  <a:cubicBezTo>
                    <a:pt x="40208" y="54992"/>
                    <a:pt x="39047" y="56095"/>
                    <a:pt x="37892" y="57195"/>
                  </a:cubicBezTo>
                  <a:cubicBezTo>
                    <a:pt x="34994" y="59833"/>
                    <a:pt x="32110" y="62472"/>
                    <a:pt x="29350" y="65235"/>
                  </a:cubicBezTo>
                  <a:cubicBezTo>
                    <a:pt x="28899" y="65657"/>
                    <a:pt x="28449" y="66078"/>
                    <a:pt x="27999" y="66500"/>
                  </a:cubicBezTo>
                  <a:cubicBezTo>
                    <a:pt x="32046" y="62492"/>
                    <a:pt x="35903" y="58217"/>
                    <a:pt x="40066" y="54400"/>
                  </a:cubicBezTo>
                  <a:cubicBezTo>
                    <a:pt x="45349" y="49559"/>
                    <a:pt x="50338" y="44414"/>
                    <a:pt x="55535" y="39477"/>
                  </a:cubicBezTo>
                  <a:close/>
                  <a:moveTo>
                    <a:pt x="36668" y="48938"/>
                  </a:moveTo>
                  <a:cubicBezTo>
                    <a:pt x="34812" y="50947"/>
                    <a:pt x="32967" y="52974"/>
                    <a:pt x="31108" y="54989"/>
                  </a:cubicBezTo>
                  <a:cubicBezTo>
                    <a:pt x="28192" y="57925"/>
                    <a:pt x="25311" y="60899"/>
                    <a:pt x="22291" y="63731"/>
                  </a:cubicBezTo>
                  <a:cubicBezTo>
                    <a:pt x="20775" y="65151"/>
                    <a:pt x="19164" y="66450"/>
                    <a:pt x="17504" y="67698"/>
                  </a:cubicBezTo>
                  <a:cubicBezTo>
                    <a:pt x="17833" y="67449"/>
                    <a:pt x="19453" y="66058"/>
                    <a:pt x="19889" y="65636"/>
                  </a:cubicBezTo>
                  <a:cubicBezTo>
                    <a:pt x="22161" y="63436"/>
                    <a:pt x="24222" y="61020"/>
                    <a:pt x="26301" y="58638"/>
                  </a:cubicBezTo>
                  <a:cubicBezTo>
                    <a:pt x="26379" y="58546"/>
                    <a:pt x="26460" y="58456"/>
                    <a:pt x="26541" y="58364"/>
                  </a:cubicBezTo>
                  <a:cubicBezTo>
                    <a:pt x="29252" y="55795"/>
                    <a:pt x="31983" y="53248"/>
                    <a:pt x="34734" y="50722"/>
                  </a:cubicBezTo>
                  <a:cubicBezTo>
                    <a:pt x="35381" y="50127"/>
                    <a:pt x="36024" y="49533"/>
                    <a:pt x="36668" y="48938"/>
                  </a:cubicBezTo>
                  <a:close/>
                  <a:moveTo>
                    <a:pt x="20839" y="66116"/>
                  </a:moveTo>
                  <a:lnTo>
                    <a:pt x="20839" y="66116"/>
                  </a:lnTo>
                  <a:cubicBezTo>
                    <a:pt x="20712" y="66260"/>
                    <a:pt x="20582" y="66401"/>
                    <a:pt x="20455" y="66549"/>
                  </a:cubicBezTo>
                  <a:lnTo>
                    <a:pt x="20455" y="66546"/>
                  </a:lnTo>
                  <a:cubicBezTo>
                    <a:pt x="20249" y="66781"/>
                    <a:pt x="18656" y="68156"/>
                    <a:pt x="18579" y="68156"/>
                  </a:cubicBezTo>
                  <a:cubicBezTo>
                    <a:pt x="18546" y="68156"/>
                    <a:pt x="18798" y="67897"/>
                    <a:pt x="19571" y="67175"/>
                  </a:cubicBezTo>
                  <a:cubicBezTo>
                    <a:pt x="19970" y="66803"/>
                    <a:pt x="20400" y="66456"/>
                    <a:pt x="20839" y="66116"/>
                  </a:cubicBezTo>
                  <a:close/>
                  <a:moveTo>
                    <a:pt x="41689" y="49284"/>
                  </a:moveTo>
                  <a:lnTo>
                    <a:pt x="41689" y="49284"/>
                  </a:lnTo>
                  <a:cubicBezTo>
                    <a:pt x="39639" y="51418"/>
                    <a:pt x="37633" y="53589"/>
                    <a:pt x="35629" y="55763"/>
                  </a:cubicBezTo>
                  <a:cubicBezTo>
                    <a:pt x="34047" y="57417"/>
                    <a:pt x="32491" y="59091"/>
                    <a:pt x="30964" y="60789"/>
                  </a:cubicBezTo>
                  <a:cubicBezTo>
                    <a:pt x="28492" y="63416"/>
                    <a:pt x="25981" y="66003"/>
                    <a:pt x="23348" y="68480"/>
                  </a:cubicBezTo>
                  <a:cubicBezTo>
                    <a:pt x="23261" y="68561"/>
                    <a:pt x="23203" y="68619"/>
                    <a:pt x="23125" y="68694"/>
                  </a:cubicBezTo>
                  <a:cubicBezTo>
                    <a:pt x="23197" y="68613"/>
                    <a:pt x="23264" y="68544"/>
                    <a:pt x="23345" y="68451"/>
                  </a:cubicBezTo>
                  <a:cubicBezTo>
                    <a:pt x="24858" y="66748"/>
                    <a:pt x="26321" y="65001"/>
                    <a:pt x="27808" y="63272"/>
                  </a:cubicBezTo>
                  <a:cubicBezTo>
                    <a:pt x="30796" y="59793"/>
                    <a:pt x="33954" y="56513"/>
                    <a:pt x="37277" y="53355"/>
                  </a:cubicBezTo>
                  <a:cubicBezTo>
                    <a:pt x="38727" y="51975"/>
                    <a:pt x="40205" y="50624"/>
                    <a:pt x="41689" y="49284"/>
                  </a:cubicBezTo>
                  <a:close/>
                  <a:moveTo>
                    <a:pt x="47803" y="42529"/>
                  </a:moveTo>
                  <a:lnTo>
                    <a:pt x="47803" y="42529"/>
                  </a:lnTo>
                  <a:cubicBezTo>
                    <a:pt x="45658" y="44463"/>
                    <a:pt x="43502" y="46389"/>
                    <a:pt x="41484" y="48398"/>
                  </a:cubicBezTo>
                  <a:cubicBezTo>
                    <a:pt x="36137" y="53727"/>
                    <a:pt x="30704" y="59025"/>
                    <a:pt x="25614" y="64603"/>
                  </a:cubicBezTo>
                  <a:cubicBezTo>
                    <a:pt x="24603" y="65711"/>
                    <a:pt x="23668" y="66866"/>
                    <a:pt x="22637" y="67955"/>
                  </a:cubicBezTo>
                  <a:cubicBezTo>
                    <a:pt x="22066" y="68557"/>
                    <a:pt x="21642" y="68832"/>
                    <a:pt x="21476" y="68832"/>
                  </a:cubicBezTo>
                  <a:cubicBezTo>
                    <a:pt x="21266" y="68832"/>
                    <a:pt x="21469" y="68390"/>
                    <a:pt x="22308" y="67614"/>
                  </a:cubicBezTo>
                  <a:cubicBezTo>
                    <a:pt x="24603" y="65492"/>
                    <a:pt x="26855" y="63272"/>
                    <a:pt x="28943" y="60942"/>
                  </a:cubicBezTo>
                  <a:cubicBezTo>
                    <a:pt x="34027" y="55266"/>
                    <a:pt x="39007" y="49657"/>
                    <a:pt x="44908" y="44795"/>
                  </a:cubicBezTo>
                  <a:cubicBezTo>
                    <a:pt x="45855" y="44016"/>
                    <a:pt x="46828" y="43268"/>
                    <a:pt x="47803" y="42529"/>
                  </a:cubicBezTo>
                  <a:close/>
                  <a:moveTo>
                    <a:pt x="25547" y="63047"/>
                  </a:moveTo>
                  <a:cubicBezTo>
                    <a:pt x="24173" y="64493"/>
                    <a:pt x="22802" y="65942"/>
                    <a:pt x="21431" y="67395"/>
                  </a:cubicBezTo>
                  <a:cubicBezTo>
                    <a:pt x="21084" y="67761"/>
                    <a:pt x="19699" y="69322"/>
                    <a:pt x="19638" y="69322"/>
                  </a:cubicBezTo>
                  <a:cubicBezTo>
                    <a:pt x="19601" y="69322"/>
                    <a:pt x="20054" y="68745"/>
                    <a:pt x="21526" y="66973"/>
                  </a:cubicBezTo>
                  <a:cubicBezTo>
                    <a:pt x="22718" y="65541"/>
                    <a:pt x="24168" y="64303"/>
                    <a:pt x="25542" y="63052"/>
                  </a:cubicBezTo>
                  <a:lnTo>
                    <a:pt x="25547" y="63047"/>
                  </a:lnTo>
                  <a:close/>
                  <a:moveTo>
                    <a:pt x="44726" y="51178"/>
                  </a:moveTo>
                  <a:cubicBezTo>
                    <a:pt x="42893" y="53089"/>
                    <a:pt x="41074" y="55018"/>
                    <a:pt x="39249" y="56938"/>
                  </a:cubicBezTo>
                  <a:lnTo>
                    <a:pt x="39252" y="56938"/>
                  </a:lnTo>
                  <a:cubicBezTo>
                    <a:pt x="36192" y="59816"/>
                    <a:pt x="33302" y="62801"/>
                    <a:pt x="30464" y="65847"/>
                  </a:cubicBezTo>
                  <a:cubicBezTo>
                    <a:pt x="28723" y="67513"/>
                    <a:pt x="26953" y="69138"/>
                    <a:pt x="25126" y="70697"/>
                  </a:cubicBezTo>
                  <a:cubicBezTo>
                    <a:pt x="24395" y="71319"/>
                    <a:pt x="24060" y="71558"/>
                    <a:pt x="23976" y="71558"/>
                  </a:cubicBezTo>
                  <a:cubicBezTo>
                    <a:pt x="23713" y="71558"/>
                    <a:pt x="25931" y="69199"/>
                    <a:pt x="26131" y="68971"/>
                  </a:cubicBezTo>
                  <a:cubicBezTo>
                    <a:pt x="26136" y="68965"/>
                    <a:pt x="26142" y="68959"/>
                    <a:pt x="26151" y="68953"/>
                  </a:cubicBezTo>
                  <a:cubicBezTo>
                    <a:pt x="29494" y="66032"/>
                    <a:pt x="32600" y="62550"/>
                    <a:pt x="35791" y="59438"/>
                  </a:cubicBezTo>
                  <a:cubicBezTo>
                    <a:pt x="37433" y="57954"/>
                    <a:pt x="39090" y="56487"/>
                    <a:pt x="40730" y="55001"/>
                  </a:cubicBezTo>
                  <a:cubicBezTo>
                    <a:pt x="42096" y="53762"/>
                    <a:pt x="43418" y="52477"/>
                    <a:pt x="44726" y="51178"/>
                  </a:cubicBezTo>
                  <a:close/>
                  <a:moveTo>
                    <a:pt x="9695" y="0"/>
                  </a:moveTo>
                  <a:cubicBezTo>
                    <a:pt x="9637" y="0"/>
                    <a:pt x="9579" y="1"/>
                    <a:pt x="9522" y="3"/>
                  </a:cubicBezTo>
                  <a:lnTo>
                    <a:pt x="9513" y="3"/>
                  </a:lnTo>
                  <a:cubicBezTo>
                    <a:pt x="9395" y="6"/>
                    <a:pt x="9279" y="3"/>
                    <a:pt x="9164" y="15"/>
                  </a:cubicBezTo>
                  <a:cubicBezTo>
                    <a:pt x="6479" y="295"/>
                    <a:pt x="6363" y="3525"/>
                    <a:pt x="6923" y="6268"/>
                  </a:cubicBezTo>
                  <a:cubicBezTo>
                    <a:pt x="6918" y="6300"/>
                    <a:pt x="6923" y="6331"/>
                    <a:pt x="6938" y="6357"/>
                  </a:cubicBezTo>
                  <a:cubicBezTo>
                    <a:pt x="6996" y="6632"/>
                    <a:pt x="7059" y="6897"/>
                    <a:pt x="7128" y="7160"/>
                  </a:cubicBezTo>
                  <a:cubicBezTo>
                    <a:pt x="7088" y="7252"/>
                    <a:pt x="7045" y="7345"/>
                    <a:pt x="7007" y="7437"/>
                  </a:cubicBezTo>
                  <a:cubicBezTo>
                    <a:pt x="6966" y="7537"/>
                    <a:pt x="7069" y="7641"/>
                    <a:pt x="7167" y="7641"/>
                  </a:cubicBezTo>
                  <a:cubicBezTo>
                    <a:pt x="7194" y="7641"/>
                    <a:pt x="7221" y="7633"/>
                    <a:pt x="7244" y="7616"/>
                  </a:cubicBezTo>
                  <a:lnTo>
                    <a:pt x="7258" y="7608"/>
                  </a:lnTo>
                  <a:cubicBezTo>
                    <a:pt x="7356" y="7942"/>
                    <a:pt x="7460" y="8260"/>
                    <a:pt x="7567" y="8549"/>
                  </a:cubicBezTo>
                  <a:cubicBezTo>
                    <a:pt x="7564" y="8589"/>
                    <a:pt x="7579" y="8630"/>
                    <a:pt x="7611" y="8656"/>
                  </a:cubicBezTo>
                  <a:cubicBezTo>
                    <a:pt x="7691" y="8863"/>
                    <a:pt x="7769" y="9051"/>
                    <a:pt x="7850" y="9221"/>
                  </a:cubicBezTo>
                  <a:cubicBezTo>
                    <a:pt x="7824" y="9259"/>
                    <a:pt x="7801" y="9299"/>
                    <a:pt x="7778" y="9337"/>
                  </a:cubicBezTo>
                  <a:cubicBezTo>
                    <a:pt x="7709" y="9451"/>
                    <a:pt x="7813" y="9575"/>
                    <a:pt x="7920" y="9575"/>
                  </a:cubicBezTo>
                  <a:cubicBezTo>
                    <a:pt x="7947" y="9575"/>
                    <a:pt x="7975" y="9567"/>
                    <a:pt x="8000" y="9548"/>
                  </a:cubicBezTo>
                  <a:lnTo>
                    <a:pt x="8000" y="9548"/>
                  </a:lnTo>
                  <a:cubicBezTo>
                    <a:pt x="7969" y="9617"/>
                    <a:pt x="7983" y="9715"/>
                    <a:pt x="8072" y="9744"/>
                  </a:cubicBezTo>
                  <a:cubicBezTo>
                    <a:pt x="8337" y="9829"/>
                    <a:pt x="8587" y="9867"/>
                    <a:pt x="8824" y="9867"/>
                  </a:cubicBezTo>
                  <a:cubicBezTo>
                    <a:pt x="10122" y="9867"/>
                    <a:pt x="11009" y="8700"/>
                    <a:pt x="11566" y="7518"/>
                  </a:cubicBezTo>
                  <a:cubicBezTo>
                    <a:pt x="11638" y="7821"/>
                    <a:pt x="11730" y="8110"/>
                    <a:pt x="11987" y="8312"/>
                  </a:cubicBezTo>
                  <a:cubicBezTo>
                    <a:pt x="12065" y="8370"/>
                    <a:pt x="12129" y="8442"/>
                    <a:pt x="12181" y="8526"/>
                  </a:cubicBezTo>
                  <a:cubicBezTo>
                    <a:pt x="12166" y="8575"/>
                    <a:pt x="12181" y="8632"/>
                    <a:pt x="12224" y="8667"/>
                  </a:cubicBezTo>
                  <a:cubicBezTo>
                    <a:pt x="12325" y="9141"/>
                    <a:pt x="11664" y="9649"/>
                    <a:pt x="11592" y="10255"/>
                  </a:cubicBezTo>
                  <a:cubicBezTo>
                    <a:pt x="11514" y="10890"/>
                    <a:pt x="11675" y="11413"/>
                    <a:pt x="11967" y="11843"/>
                  </a:cubicBezTo>
                  <a:cubicBezTo>
                    <a:pt x="11921" y="11952"/>
                    <a:pt x="12016" y="12065"/>
                    <a:pt x="12126" y="12071"/>
                  </a:cubicBezTo>
                  <a:cubicBezTo>
                    <a:pt x="12276" y="12241"/>
                    <a:pt x="12449" y="12391"/>
                    <a:pt x="12637" y="12521"/>
                  </a:cubicBezTo>
                  <a:cubicBezTo>
                    <a:pt x="12625" y="12550"/>
                    <a:pt x="12611" y="12576"/>
                    <a:pt x="12599" y="12605"/>
                  </a:cubicBezTo>
                  <a:cubicBezTo>
                    <a:pt x="12563" y="12716"/>
                    <a:pt x="12666" y="12828"/>
                    <a:pt x="12772" y="12828"/>
                  </a:cubicBezTo>
                  <a:cubicBezTo>
                    <a:pt x="12801" y="12828"/>
                    <a:pt x="12830" y="12820"/>
                    <a:pt x="12856" y="12801"/>
                  </a:cubicBezTo>
                  <a:cubicBezTo>
                    <a:pt x="12891" y="12778"/>
                    <a:pt x="12923" y="12746"/>
                    <a:pt x="12960" y="12720"/>
                  </a:cubicBezTo>
                  <a:cubicBezTo>
                    <a:pt x="13540" y="13032"/>
                    <a:pt x="14228" y="13203"/>
                    <a:pt x="14900" y="13223"/>
                  </a:cubicBezTo>
                  <a:cubicBezTo>
                    <a:pt x="14903" y="13223"/>
                    <a:pt x="14906" y="13223"/>
                    <a:pt x="14909" y="13223"/>
                  </a:cubicBezTo>
                  <a:cubicBezTo>
                    <a:pt x="14965" y="13223"/>
                    <a:pt x="15007" y="13171"/>
                    <a:pt x="14998" y="13116"/>
                  </a:cubicBezTo>
                  <a:cubicBezTo>
                    <a:pt x="15013" y="13107"/>
                    <a:pt x="15033" y="13110"/>
                    <a:pt x="15047" y="13099"/>
                  </a:cubicBezTo>
                  <a:cubicBezTo>
                    <a:pt x="16485" y="11941"/>
                    <a:pt x="17704" y="10523"/>
                    <a:pt x="18769" y="8988"/>
                  </a:cubicBezTo>
                  <a:cubicBezTo>
                    <a:pt x="19320" y="8396"/>
                    <a:pt x="19854" y="7787"/>
                    <a:pt x="20357" y="7134"/>
                  </a:cubicBezTo>
                  <a:cubicBezTo>
                    <a:pt x="21180" y="6065"/>
                    <a:pt x="21477" y="5680"/>
                    <a:pt x="21481" y="5680"/>
                  </a:cubicBezTo>
                  <a:lnTo>
                    <a:pt x="21481" y="5680"/>
                  </a:lnTo>
                  <a:cubicBezTo>
                    <a:pt x="21489" y="5680"/>
                    <a:pt x="20134" y="7473"/>
                    <a:pt x="19771" y="8043"/>
                  </a:cubicBezTo>
                  <a:cubicBezTo>
                    <a:pt x="18601" y="9880"/>
                    <a:pt x="17311" y="11641"/>
                    <a:pt x="16067" y="13425"/>
                  </a:cubicBezTo>
                  <a:cubicBezTo>
                    <a:pt x="15979" y="13549"/>
                    <a:pt x="16103" y="13688"/>
                    <a:pt x="16227" y="13688"/>
                  </a:cubicBezTo>
                  <a:cubicBezTo>
                    <a:pt x="16267" y="13688"/>
                    <a:pt x="16308" y="13673"/>
                    <a:pt x="16341" y="13638"/>
                  </a:cubicBezTo>
                  <a:cubicBezTo>
                    <a:pt x="18445" y="11387"/>
                    <a:pt x="20048" y="8765"/>
                    <a:pt x="22014" y="6404"/>
                  </a:cubicBezTo>
                  <a:lnTo>
                    <a:pt x="22014" y="6404"/>
                  </a:lnTo>
                  <a:cubicBezTo>
                    <a:pt x="20039" y="8777"/>
                    <a:pt x="18596" y="11785"/>
                    <a:pt x="16713" y="14288"/>
                  </a:cubicBezTo>
                  <a:cubicBezTo>
                    <a:pt x="16619" y="14410"/>
                    <a:pt x="16746" y="14547"/>
                    <a:pt x="16873" y="14547"/>
                  </a:cubicBezTo>
                  <a:cubicBezTo>
                    <a:pt x="16914" y="14547"/>
                    <a:pt x="16954" y="14533"/>
                    <a:pt x="16988" y="14499"/>
                  </a:cubicBezTo>
                  <a:cubicBezTo>
                    <a:pt x="18665" y="12790"/>
                    <a:pt x="20045" y="10896"/>
                    <a:pt x="21471" y="8979"/>
                  </a:cubicBezTo>
                  <a:cubicBezTo>
                    <a:pt x="21931" y="8360"/>
                    <a:pt x="22116" y="8127"/>
                    <a:pt x="22134" y="8127"/>
                  </a:cubicBezTo>
                  <a:cubicBezTo>
                    <a:pt x="22186" y="8127"/>
                    <a:pt x="20816" y="10110"/>
                    <a:pt x="20697" y="10301"/>
                  </a:cubicBezTo>
                  <a:cubicBezTo>
                    <a:pt x="19791" y="11742"/>
                    <a:pt x="18777" y="13119"/>
                    <a:pt x="17790" y="14502"/>
                  </a:cubicBezTo>
                  <a:cubicBezTo>
                    <a:pt x="17698" y="14631"/>
                    <a:pt x="17822" y="14760"/>
                    <a:pt x="17948" y="14760"/>
                  </a:cubicBezTo>
                  <a:cubicBezTo>
                    <a:pt x="17989" y="14760"/>
                    <a:pt x="18030" y="14746"/>
                    <a:pt x="18064" y="14715"/>
                  </a:cubicBezTo>
                  <a:cubicBezTo>
                    <a:pt x="19014" y="13864"/>
                    <a:pt x="19872" y="12954"/>
                    <a:pt x="20689" y="11999"/>
                  </a:cubicBezTo>
                  <a:lnTo>
                    <a:pt x="20689" y="11999"/>
                  </a:lnTo>
                  <a:cubicBezTo>
                    <a:pt x="20160" y="12775"/>
                    <a:pt x="19644" y="13555"/>
                    <a:pt x="19190" y="14395"/>
                  </a:cubicBezTo>
                  <a:cubicBezTo>
                    <a:pt x="19115" y="14536"/>
                    <a:pt x="19224" y="14649"/>
                    <a:pt x="19342" y="14649"/>
                  </a:cubicBezTo>
                  <a:cubicBezTo>
                    <a:pt x="19396" y="14649"/>
                    <a:pt x="19452" y="14626"/>
                    <a:pt x="19493" y="14571"/>
                  </a:cubicBezTo>
                  <a:cubicBezTo>
                    <a:pt x="20296" y="13509"/>
                    <a:pt x="22227" y="11681"/>
                    <a:pt x="22860" y="10408"/>
                  </a:cubicBezTo>
                  <a:lnTo>
                    <a:pt x="22860" y="10408"/>
                  </a:lnTo>
                  <a:cubicBezTo>
                    <a:pt x="22124" y="11892"/>
                    <a:pt x="20946" y="13214"/>
                    <a:pt x="20054" y="14611"/>
                  </a:cubicBezTo>
                  <a:cubicBezTo>
                    <a:pt x="19964" y="14748"/>
                    <a:pt x="20083" y="14862"/>
                    <a:pt x="20209" y="14862"/>
                  </a:cubicBezTo>
                  <a:cubicBezTo>
                    <a:pt x="20250" y="14862"/>
                    <a:pt x="20292" y="14850"/>
                    <a:pt x="20328" y="14822"/>
                  </a:cubicBezTo>
                  <a:cubicBezTo>
                    <a:pt x="21151" y="14184"/>
                    <a:pt x="21913" y="13514"/>
                    <a:pt x="22594" y="12749"/>
                  </a:cubicBezTo>
                  <a:lnTo>
                    <a:pt x="22594" y="12749"/>
                  </a:lnTo>
                  <a:cubicBezTo>
                    <a:pt x="21835" y="13745"/>
                    <a:pt x="20917" y="14964"/>
                    <a:pt x="20700" y="15258"/>
                  </a:cubicBezTo>
                  <a:cubicBezTo>
                    <a:pt x="20611" y="15377"/>
                    <a:pt x="20740" y="15524"/>
                    <a:pt x="20863" y="15524"/>
                  </a:cubicBezTo>
                  <a:cubicBezTo>
                    <a:pt x="20903" y="15524"/>
                    <a:pt x="20943" y="15508"/>
                    <a:pt x="20974" y="15469"/>
                  </a:cubicBezTo>
                  <a:cubicBezTo>
                    <a:pt x="21913" y="14288"/>
                    <a:pt x="22964" y="13231"/>
                    <a:pt x="24003" y="12137"/>
                  </a:cubicBezTo>
                  <a:lnTo>
                    <a:pt x="24003" y="12137"/>
                  </a:lnTo>
                  <a:cubicBezTo>
                    <a:pt x="23336" y="12842"/>
                    <a:pt x="22054" y="14294"/>
                    <a:pt x="21347" y="15581"/>
                  </a:cubicBezTo>
                  <a:cubicBezTo>
                    <a:pt x="21276" y="15708"/>
                    <a:pt x="21385" y="15847"/>
                    <a:pt x="21503" y="15847"/>
                  </a:cubicBezTo>
                  <a:cubicBezTo>
                    <a:pt x="21543" y="15847"/>
                    <a:pt x="21585" y="15830"/>
                    <a:pt x="21621" y="15792"/>
                  </a:cubicBezTo>
                  <a:cubicBezTo>
                    <a:pt x="22533" y="14848"/>
                    <a:pt x="23648" y="13970"/>
                    <a:pt x="24416" y="12899"/>
                  </a:cubicBezTo>
                  <a:lnTo>
                    <a:pt x="24416" y="12899"/>
                  </a:lnTo>
                  <a:cubicBezTo>
                    <a:pt x="23408" y="14311"/>
                    <a:pt x="22149" y="15506"/>
                    <a:pt x="21240" y="16982"/>
                  </a:cubicBezTo>
                  <a:cubicBezTo>
                    <a:pt x="21155" y="17118"/>
                    <a:pt x="21269" y="17229"/>
                    <a:pt x="21392" y="17229"/>
                  </a:cubicBezTo>
                  <a:cubicBezTo>
                    <a:pt x="21402" y="17229"/>
                    <a:pt x="21412" y="17229"/>
                    <a:pt x="21422" y="17227"/>
                  </a:cubicBezTo>
                  <a:lnTo>
                    <a:pt x="21422" y="17227"/>
                  </a:lnTo>
                  <a:cubicBezTo>
                    <a:pt x="19514" y="19846"/>
                    <a:pt x="17328" y="22236"/>
                    <a:pt x="15224" y="24699"/>
                  </a:cubicBezTo>
                  <a:cubicBezTo>
                    <a:pt x="13431" y="26792"/>
                    <a:pt x="11759" y="29012"/>
                    <a:pt x="10142" y="31284"/>
                  </a:cubicBezTo>
                  <a:cubicBezTo>
                    <a:pt x="10062" y="31382"/>
                    <a:pt x="9981" y="31477"/>
                    <a:pt x="9900" y="31575"/>
                  </a:cubicBezTo>
                  <a:cubicBezTo>
                    <a:pt x="9380" y="32234"/>
                    <a:pt x="8814" y="32877"/>
                    <a:pt x="8240" y="33521"/>
                  </a:cubicBezTo>
                  <a:cubicBezTo>
                    <a:pt x="8719" y="32641"/>
                    <a:pt x="9216" y="31772"/>
                    <a:pt x="9773" y="30937"/>
                  </a:cubicBezTo>
                  <a:cubicBezTo>
                    <a:pt x="10659" y="29809"/>
                    <a:pt x="11528" y="28668"/>
                    <a:pt x="12400" y="27528"/>
                  </a:cubicBezTo>
                  <a:cubicBezTo>
                    <a:pt x="15325" y="24107"/>
                    <a:pt x="18598" y="21038"/>
                    <a:pt x="20576" y="16837"/>
                  </a:cubicBezTo>
                  <a:cubicBezTo>
                    <a:pt x="20636" y="16708"/>
                    <a:pt x="20533" y="16564"/>
                    <a:pt x="20415" y="16564"/>
                  </a:cubicBezTo>
                  <a:cubicBezTo>
                    <a:pt x="20375" y="16564"/>
                    <a:pt x="20333" y="16581"/>
                    <a:pt x="20296" y="16621"/>
                  </a:cubicBezTo>
                  <a:cubicBezTo>
                    <a:pt x="17582" y="19511"/>
                    <a:pt x="15463" y="22805"/>
                    <a:pt x="13136" y="26001"/>
                  </a:cubicBezTo>
                  <a:cubicBezTo>
                    <a:pt x="12311" y="27135"/>
                    <a:pt x="11462" y="28255"/>
                    <a:pt x="10604" y="29370"/>
                  </a:cubicBezTo>
                  <a:cubicBezTo>
                    <a:pt x="10252" y="29797"/>
                    <a:pt x="9897" y="30219"/>
                    <a:pt x="9562" y="30660"/>
                  </a:cubicBezTo>
                  <a:cubicBezTo>
                    <a:pt x="9478" y="30770"/>
                    <a:pt x="9403" y="30888"/>
                    <a:pt x="9323" y="31001"/>
                  </a:cubicBezTo>
                  <a:cubicBezTo>
                    <a:pt x="8578" y="31948"/>
                    <a:pt x="7827" y="32892"/>
                    <a:pt x="7076" y="33833"/>
                  </a:cubicBezTo>
                  <a:cubicBezTo>
                    <a:pt x="7611" y="32990"/>
                    <a:pt x="8136" y="32138"/>
                    <a:pt x="8664" y="31290"/>
                  </a:cubicBezTo>
                  <a:cubicBezTo>
                    <a:pt x="9294" y="30285"/>
                    <a:pt x="9958" y="29300"/>
                    <a:pt x="10636" y="28328"/>
                  </a:cubicBezTo>
                  <a:cubicBezTo>
                    <a:pt x="11875" y="26838"/>
                    <a:pt x="13076" y="25316"/>
                    <a:pt x="14210" y="23731"/>
                  </a:cubicBezTo>
                  <a:cubicBezTo>
                    <a:pt x="14519" y="23296"/>
                    <a:pt x="14972" y="22649"/>
                    <a:pt x="15460" y="21950"/>
                  </a:cubicBezTo>
                  <a:cubicBezTo>
                    <a:pt x="16748" y="20348"/>
                    <a:pt x="18053" y="18766"/>
                    <a:pt x="19343" y="17181"/>
                  </a:cubicBezTo>
                  <a:cubicBezTo>
                    <a:pt x="19440" y="17064"/>
                    <a:pt x="19339" y="16907"/>
                    <a:pt x="19225" y="16907"/>
                  </a:cubicBezTo>
                  <a:cubicBezTo>
                    <a:pt x="19190" y="16907"/>
                    <a:pt x="19153" y="16922"/>
                    <a:pt x="19121" y="16959"/>
                  </a:cubicBezTo>
                  <a:cubicBezTo>
                    <a:pt x="17813" y="18480"/>
                    <a:pt x="16583" y="20062"/>
                    <a:pt x="15365" y="21653"/>
                  </a:cubicBezTo>
                  <a:cubicBezTo>
                    <a:pt x="14765" y="22403"/>
                    <a:pt x="14158" y="23151"/>
                    <a:pt x="13564" y="23910"/>
                  </a:cubicBezTo>
                  <a:cubicBezTo>
                    <a:pt x="12772" y="24918"/>
                    <a:pt x="12019" y="25946"/>
                    <a:pt x="11277" y="26982"/>
                  </a:cubicBezTo>
                  <a:cubicBezTo>
                    <a:pt x="10521" y="27949"/>
                    <a:pt x="9750" y="28911"/>
                    <a:pt x="8947" y="29849"/>
                  </a:cubicBezTo>
                  <a:cubicBezTo>
                    <a:pt x="8442" y="30441"/>
                    <a:pt x="7908" y="31021"/>
                    <a:pt x="7365" y="31604"/>
                  </a:cubicBezTo>
                  <a:cubicBezTo>
                    <a:pt x="7931" y="30701"/>
                    <a:pt x="8497" y="29803"/>
                    <a:pt x="9071" y="28911"/>
                  </a:cubicBezTo>
                  <a:cubicBezTo>
                    <a:pt x="11854" y="24592"/>
                    <a:pt x="16121" y="21176"/>
                    <a:pt x="18301" y="16508"/>
                  </a:cubicBezTo>
                  <a:cubicBezTo>
                    <a:pt x="18357" y="16386"/>
                    <a:pt x="18261" y="16254"/>
                    <a:pt x="18150" y="16254"/>
                  </a:cubicBezTo>
                  <a:cubicBezTo>
                    <a:pt x="18112" y="16254"/>
                    <a:pt x="18072" y="16269"/>
                    <a:pt x="18036" y="16306"/>
                  </a:cubicBezTo>
                  <a:cubicBezTo>
                    <a:pt x="17383" y="16964"/>
                    <a:pt x="16751" y="17643"/>
                    <a:pt x="16127" y="18327"/>
                  </a:cubicBezTo>
                  <a:cubicBezTo>
                    <a:pt x="16586" y="17701"/>
                    <a:pt x="17028" y="17062"/>
                    <a:pt x="17432" y="16396"/>
                  </a:cubicBezTo>
                  <a:cubicBezTo>
                    <a:pt x="17506" y="16276"/>
                    <a:pt x="17400" y="16156"/>
                    <a:pt x="17286" y="16156"/>
                  </a:cubicBezTo>
                  <a:cubicBezTo>
                    <a:pt x="17249" y="16156"/>
                    <a:pt x="17211" y="16169"/>
                    <a:pt x="17178" y="16199"/>
                  </a:cubicBezTo>
                  <a:cubicBezTo>
                    <a:pt x="10480" y="22444"/>
                    <a:pt x="5783" y="30891"/>
                    <a:pt x="73" y="37999"/>
                  </a:cubicBezTo>
                  <a:cubicBezTo>
                    <a:pt x="0" y="38091"/>
                    <a:pt x="78" y="38210"/>
                    <a:pt x="163" y="38210"/>
                  </a:cubicBezTo>
                  <a:cubicBezTo>
                    <a:pt x="191" y="38210"/>
                    <a:pt x="219" y="38198"/>
                    <a:pt x="243" y="38169"/>
                  </a:cubicBezTo>
                  <a:cubicBezTo>
                    <a:pt x="5056" y="32369"/>
                    <a:pt x="9172" y="25960"/>
                    <a:pt x="13994" y="20163"/>
                  </a:cubicBezTo>
                  <a:lnTo>
                    <a:pt x="13994" y="20163"/>
                  </a:lnTo>
                  <a:cubicBezTo>
                    <a:pt x="9138" y="26009"/>
                    <a:pt x="5107" y="32436"/>
                    <a:pt x="664" y="38651"/>
                  </a:cubicBezTo>
                  <a:cubicBezTo>
                    <a:pt x="579" y="38771"/>
                    <a:pt x="690" y="38882"/>
                    <a:pt x="807" y="38882"/>
                  </a:cubicBezTo>
                  <a:cubicBezTo>
                    <a:pt x="856" y="38882"/>
                    <a:pt x="907" y="38862"/>
                    <a:pt x="944" y="38813"/>
                  </a:cubicBezTo>
                  <a:cubicBezTo>
                    <a:pt x="6028" y="32159"/>
                    <a:pt x="10529" y="25065"/>
                    <a:pt x="16110" y="18800"/>
                  </a:cubicBezTo>
                  <a:cubicBezTo>
                    <a:pt x="16782" y="18047"/>
                    <a:pt x="17289" y="17560"/>
                    <a:pt x="17401" y="17560"/>
                  </a:cubicBezTo>
                  <a:cubicBezTo>
                    <a:pt x="17536" y="17560"/>
                    <a:pt x="17097" y="18266"/>
                    <a:pt x="15683" y="20065"/>
                  </a:cubicBezTo>
                  <a:cubicBezTo>
                    <a:pt x="14433" y="21656"/>
                    <a:pt x="13003" y="23128"/>
                    <a:pt x="11707" y="24684"/>
                  </a:cubicBezTo>
                  <a:cubicBezTo>
                    <a:pt x="9548" y="27282"/>
                    <a:pt x="7775" y="30236"/>
                    <a:pt x="5971" y="33106"/>
                  </a:cubicBezTo>
                  <a:cubicBezTo>
                    <a:pt x="4227" y="34997"/>
                    <a:pt x="2564" y="36971"/>
                    <a:pt x="1617" y="39336"/>
                  </a:cubicBezTo>
                  <a:cubicBezTo>
                    <a:pt x="1575" y="39442"/>
                    <a:pt x="1682" y="39538"/>
                    <a:pt x="1782" y="39538"/>
                  </a:cubicBezTo>
                  <a:cubicBezTo>
                    <a:pt x="1820" y="39538"/>
                    <a:pt x="1858" y="39524"/>
                    <a:pt x="1886" y="39492"/>
                  </a:cubicBezTo>
                  <a:cubicBezTo>
                    <a:pt x="3488" y="37569"/>
                    <a:pt x="4888" y="35490"/>
                    <a:pt x="6239" y="33380"/>
                  </a:cubicBezTo>
                  <a:cubicBezTo>
                    <a:pt x="6519" y="33080"/>
                    <a:pt x="6796" y="32782"/>
                    <a:pt x="7059" y="32485"/>
                  </a:cubicBezTo>
                  <a:cubicBezTo>
                    <a:pt x="7735" y="31714"/>
                    <a:pt x="8410" y="30940"/>
                    <a:pt x="9077" y="30164"/>
                  </a:cubicBezTo>
                  <a:lnTo>
                    <a:pt x="9077" y="30164"/>
                  </a:lnTo>
                  <a:cubicBezTo>
                    <a:pt x="8257" y="31388"/>
                    <a:pt x="7449" y="32623"/>
                    <a:pt x="6649" y="33868"/>
                  </a:cubicBezTo>
                  <a:cubicBezTo>
                    <a:pt x="6034" y="34829"/>
                    <a:pt x="5419" y="35767"/>
                    <a:pt x="4778" y="36694"/>
                  </a:cubicBezTo>
                  <a:cubicBezTo>
                    <a:pt x="3950" y="37725"/>
                    <a:pt x="3124" y="38761"/>
                    <a:pt x="2301" y="39801"/>
                  </a:cubicBezTo>
                  <a:cubicBezTo>
                    <a:pt x="2204" y="39924"/>
                    <a:pt x="2306" y="40088"/>
                    <a:pt x="2425" y="40088"/>
                  </a:cubicBezTo>
                  <a:cubicBezTo>
                    <a:pt x="2462" y="40088"/>
                    <a:pt x="2500" y="40072"/>
                    <a:pt x="2535" y="40034"/>
                  </a:cubicBezTo>
                  <a:cubicBezTo>
                    <a:pt x="3690" y="38770"/>
                    <a:pt x="4709" y="37404"/>
                    <a:pt x="5662" y="35998"/>
                  </a:cubicBezTo>
                  <a:cubicBezTo>
                    <a:pt x="6095" y="35510"/>
                    <a:pt x="6522" y="35025"/>
                    <a:pt x="6900" y="34555"/>
                  </a:cubicBezTo>
                  <a:cubicBezTo>
                    <a:pt x="7215" y="34159"/>
                    <a:pt x="7524" y="33764"/>
                    <a:pt x="7839" y="33368"/>
                  </a:cubicBezTo>
                  <a:lnTo>
                    <a:pt x="7839" y="33368"/>
                  </a:lnTo>
                  <a:cubicBezTo>
                    <a:pt x="7564" y="33859"/>
                    <a:pt x="7299" y="34350"/>
                    <a:pt x="7036" y="34846"/>
                  </a:cubicBezTo>
                  <a:cubicBezTo>
                    <a:pt x="5382" y="36674"/>
                    <a:pt x="3748" y="38542"/>
                    <a:pt x="2706" y="40693"/>
                  </a:cubicBezTo>
                  <a:cubicBezTo>
                    <a:pt x="2639" y="40826"/>
                    <a:pt x="2736" y="40941"/>
                    <a:pt x="2852" y="40941"/>
                  </a:cubicBezTo>
                  <a:cubicBezTo>
                    <a:pt x="2892" y="40941"/>
                    <a:pt x="2933" y="40928"/>
                    <a:pt x="2971" y="40898"/>
                  </a:cubicBezTo>
                  <a:cubicBezTo>
                    <a:pt x="3563" y="40433"/>
                    <a:pt x="4074" y="39910"/>
                    <a:pt x="4553" y="39365"/>
                  </a:cubicBezTo>
                  <a:lnTo>
                    <a:pt x="4553" y="39365"/>
                  </a:lnTo>
                  <a:cubicBezTo>
                    <a:pt x="4120" y="39991"/>
                    <a:pt x="3684" y="40615"/>
                    <a:pt x="3248" y="41235"/>
                  </a:cubicBezTo>
                  <a:cubicBezTo>
                    <a:pt x="3161" y="41357"/>
                    <a:pt x="3273" y="41467"/>
                    <a:pt x="3392" y="41467"/>
                  </a:cubicBezTo>
                  <a:cubicBezTo>
                    <a:pt x="3442" y="41467"/>
                    <a:pt x="3493" y="41447"/>
                    <a:pt x="3531" y="41400"/>
                  </a:cubicBezTo>
                  <a:cubicBezTo>
                    <a:pt x="7365" y="36437"/>
                    <a:pt x="11032" y="31350"/>
                    <a:pt x="14944" y="26448"/>
                  </a:cubicBezTo>
                  <a:cubicBezTo>
                    <a:pt x="16604" y="24369"/>
                    <a:pt x="18408" y="22418"/>
                    <a:pt x="20117" y="20383"/>
                  </a:cubicBezTo>
                  <a:cubicBezTo>
                    <a:pt x="20619" y="19785"/>
                    <a:pt x="21200" y="18939"/>
                    <a:pt x="21656" y="18310"/>
                  </a:cubicBezTo>
                  <a:cubicBezTo>
                    <a:pt x="22175" y="17640"/>
                    <a:pt x="22692" y="16970"/>
                    <a:pt x="23209" y="16300"/>
                  </a:cubicBezTo>
                  <a:cubicBezTo>
                    <a:pt x="23215" y="16289"/>
                    <a:pt x="23221" y="16280"/>
                    <a:pt x="23223" y="16266"/>
                  </a:cubicBezTo>
                  <a:cubicBezTo>
                    <a:pt x="23460" y="15971"/>
                    <a:pt x="23697" y="15677"/>
                    <a:pt x="23928" y="15379"/>
                  </a:cubicBezTo>
                  <a:cubicBezTo>
                    <a:pt x="23943" y="15377"/>
                    <a:pt x="23958" y="15376"/>
                    <a:pt x="23973" y="15376"/>
                  </a:cubicBezTo>
                  <a:cubicBezTo>
                    <a:pt x="24174" y="15376"/>
                    <a:pt x="24369" y="15574"/>
                    <a:pt x="24560" y="15980"/>
                  </a:cubicBezTo>
                  <a:cubicBezTo>
                    <a:pt x="22014" y="20463"/>
                    <a:pt x="17201" y="24063"/>
                    <a:pt x="13988" y="28097"/>
                  </a:cubicBezTo>
                  <a:cubicBezTo>
                    <a:pt x="10327" y="32696"/>
                    <a:pt x="7117" y="37716"/>
                    <a:pt x="3563" y="42416"/>
                  </a:cubicBezTo>
                  <a:cubicBezTo>
                    <a:pt x="3476" y="42532"/>
                    <a:pt x="3603" y="42675"/>
                    <a:pt x="3723" y="42675"/>
                  </a:cubicBezTo>
                  <a:cubicBezTo>
                    <a:pt x="3762" y="42675"/>
                    <a:pt x="3801" y="42660"/>
                    <a:pt x="3831" y="42624"/>
                  </a:cubicBezTo>
                  <a:cubicBezTo>
                    <a:pt x="3956" y="42477"/>
                    <a:pt x="4085" y="42321"/>
                    <a:pt x="4210" y="42171"/>
                  </a:cubicBezTo>
                  <a:cubicBezTo>
                    <a:pt x="4225" y="42178"/>
                    <a:pt x="4241" y="42181"/>
                    <a:pt x="4256" y="42181"/>
                  </a:cubicBezTo>
                  <a:cubicBezTo>
                    <a:pt x="4274" y="42181"/>
                    <a:pt x="4291" y="42177"/>
                    <a:pt x="4308" y="42168"/>
                  </a:cubicBezTo>
                  <a:cubicBezTo>
                    <a:pt x="5642" y="41437"/>
                    <a:pt x="6857" y="40329"/>
                    <a:pt x="7989" y="39087"/>
                  </a:cubicBezTo>
                  <a:lnTo>
                    <a:pt x="7989" y="39087"/>
                  </a:lnTo>
                  <a:cubicBezTo>
                    <a:pt x="6817" y="40548"/>
                    <a:pt x="5653" y="42012"/>
                    <a:pt x="4458" y="43464"/>
                  </a:cubicBezTo>
                  <a:cubicBezTo>
                    <a:pt x="4359" y="43585"/>
                    <a:pt x="4462" y="43747"/>
                    <a:pt x="4580" y="43747"/>
                  </a:cubicBezTo>
                  <a:cubicBezTo>
                    <a:pt x="4617" y="43747"/>
                    <a:pt x="4655" y="43732"/>
                    <a:pt x="4689" y="43695"/>
                  </a:cubicBezTo>
                  <a:cubicBezTo>
                    <a:pt x="6949" y="41221"/>
                    <a:pt x="9080" y="38646"/>
                    <a:pt x="11162" y="36033"/>
                  </a:cubicBezTo>
                  <a:cubicBezTo>
                    <a:pt x="11872" y="35170"/>
                    <a:pt x="12570" y="34301"/>
                    <a:pt x="13243" y="33406"/>
                  </a:cubicBezTo>
                  <a:cubicBezTo>
                    <a:pt x="13379" y="33224"/>
                    <a:pt x="13520" y="33048"/>
                    <a:pt x="13656" y="32866"/>
                  </a:cubicBezTo>
                  <a:cubicBezTo>
                    <a:pt x="14355" y="31971"/>
                    <a:pt x="15050" y="31076"/>
                    <a:pt x="15749" y="30178"/>
                  </a:cubicBezTo>
                  <a:cubicBezTo>
                    <a:pt x="17354" y="28149"/>
                    <a:pt x="18991" y="26136"/>
                    <a:pt x="20599" y="24098"/>
                  </a:cubicBezTo>
                  <a:cubicBezTo>
                    <a:pt x="22906" y="21431"/>
                    <a:pt x="25444" y="18933"/>
                    <a:pt x="27828" y="16326"/>
                  </a:cubicBezTo>
                  <a:cubicBezTo>
                    <a:pt x="28195" y="16127"/>
                    <a:pt x="28478" y="15804"/>
                    <a:pt x="28634" y="15420"/>
                  </a:cubicBezTo>
                  <a:cubicBezTo>
                    <a:pt x="30066" y="13809"/>
                    <a:pt x="31434" y="12149"/>
                    <a:pt x="32626" y="10362"/>
                  </a:cubicBezTo>
                  <a:lnTo>
                    <a:pt x="32626" y="10356"/>
                  </a:lnTo>
                  <a:cubicBezTo>
                    <a:pt x="32667" y="10512"/>
                    <a:pt x="32699" y="10671"/>
                    <a:pt x="32739" y="10829"/>
                  </a:cubicBezTo>
                  <a:cubicBezTo>
                    <a:pt x="32722" y="10838"/>
                    <a:pt x="32707" y="10841"/>
                    <a:pt x="32693" y="10858"/>
                  </a:cubicBezTo>
                  <a:cubicBezTo>
                    <a:pt x="31708" y="12250"/>
                    <a:pt x="30649" y="13587"/>
                    <a:pt x="29563" y="14900"/>
                  </a:cubicBezTo>
                  <a:cubicBezTo>
                    <a:pt x="29537" y="14926"/>
                    <a:pt x="29506" y="14958"/>
                    <a:pt x="29482" y="14981"/>
                  </a:cubicBezTo>
                  <a:cubicBezTo>
                    <a:pt x="27794" y="16676"/>
                    <a:pt x="26090" y="18214"/>
                    <a:pt x="24575" y="20079"/>
                  </a:cubicBezTo>
                  <a:cubicBezTo>
                    <a:pt x="23639" y="21231"/>
                    <a:pt x="22724" y="22401"/>
                    <a:pt x="21817" y="23576"/>
                  </a:cubicBezTo>
                  <a:cubicBezTo>
                    <a:pt x="19762" y="25819"/>
                    <a:pt x="17738" y="28088"/>
                    <a:pt x="15867" y="30484"/>
                  </a:cubicBezTo>
                  <a:cubicBezTo>
                    <a:pt x="13714" y="33250"/>
                    <a:pt x="11548" y="36013"/>
                    <a:pt x="9349" y="38747"/>
                  </a:cubicBezTo>
                  <a:cubicBezTo>
                    <a:pt x="9066" y="39096"/>
                    <a:pt x="8531" y="39913"/>
                    <a:pt x="7908" y="40791"/>
                  </a:cubicBezTo>
                  <a:cubicBezTo>
                    <a:pt x="7458" y="41354"/>
                    <a:pt x="7019" y="41925"/>
                    <a:pt x="6597" y="42503"/>
                  </a:cubicBezTo>
                  <a:cubicBezTo>
                    <a:pt x="5936" y="43274"/>
                    <a:pt x="5286" y="43860"/>
                    <a:pt x="4793" y="43894"/>
                  </a:cubicBezTo>
                  <a:cubicBezTo>
                    <a:pt x="4643" y="43906"/>
                    <a:pt x="4640" y="44131"/>
                    <a:pt x="4782" y="44131"/>
                  </a:cubicBezTo>
                  <a:cubicBezTo>
                    <a:pt x="4786" y="44131"/>
                    <a:pt x="4789" y="44131"/>
                    <a:pt x="4793" y="44131"/>
                  </a:cubicBezTo>
                  <a:cubicBezTo>
                    <a:pt x="5082" y="44114"/>
                    <a:pt x="5405" y="43961"/>
                    <a:pt x="5746" y="43730"/>
                  </a:cubicBezTo>
                  <a:lnTo>
                    <a:pt x="5746" y="43730"/>
                  </a:lnTo>
                  <a:cubicBezTo>
                    <a:pt x="5601" y="43946"/>
                    <a:pt x="5451" y="44154"/>
                    <a:pt x="5315" y="44374"/>
                  </a:cubicBezTo>
                  <a:cubicBezTo>
                    <a:pt x="5257" y="44466"/>
                    <a:pt x="5343" y="44591"/>
                    <a:pt x="5441" y="44591"/>
                  </a:cubicBezTo>
                  <a:cubicBezTo>
                    <a:pt x="5464" y="44591"/>
                    <a:pt x="5489" y="44584"/>
                    <a:pt x="5512" y="44567"/>
                  </a:cubicBezTo>
                  <a:cubicBezTo>
                    <a:pt x="6109" y="44134"/>
                    <a:pt x="6681" y="43663"/>
                    <a:pt x="7221" y="43155"/>
                  </a:cubicBezTo>
                  <a:lnTo>
                    <a:pt x="7221" y="43155"/>
                  </a:lnTo>
                  <a:cubicBezTo>
                    <a:pt x="6600" y="43981"/>
                    <a:pt x="5991" y="44815"/>
                    <a:pt x="5411" y="45658"/>
                  </a:cubicBezTo>
                  <a:cubicBezTo>
                    <a:pt x="5326" y="45780"/>
                    <a:pt x="5437" y="45884"/>
                    <a:pt x="5552" y="45884"/>
                  </a:cubicBezTo>
                  <a:cubicBezTo>
                    <a:pt x="5589" y="45884"/>
                    <a:pt x="5627" y="45874"/>
                    <a:pt x="5659" y="45849"/>
                  </a:cubicBezTo>
                  <a:cubicBezTo>
                    <a:pt x="7024" y="44792"/>
                    <a:pt x="8280" y="43585"/>
                    <a:pt x="9478" y="42301"/>
                  </a:cubicBezTo>
                  <a:lnTo>
                    <a:pt x="9478" y="42301"/>
                  </a:lnTo>
                  <a:cubicBezTo>
                    <a:pt x="9398" y="42410"/>
                    <a:pt x="9314" y="42517"/>
                    <a:pt x="9236" y="42627"/>
                  </a:cubicBezTo>
                  <a:cubicBezTo>
                    <a:pt x="8327" y="43663"/>
                    <a:pt x="7417" y="44697"/>
                    <a:pt x="6508" y="45730"/>
                  </a:cubicBezTo>
                  <a:cubicBezTo>
                    <a:pt x="6401" y="45851"/>
                    <a:pt x="6503" y="46008"/>
                    <a:pt x="6627" y="46008"/>
                  </a:cubicBezTo>
                  <a:cubicBezTo>
                    <a:pt x="6664" y="46008"/>
                    <a:pt x="6703" y="45994"/>
                    <a:pt x="6739" y="45961"/>
                  </a:cubicBezTo>
                  <a:cubicBezTo>
                    <a:pt x="7795" y="44974"/>
                    <a:pt x="8705" y="43868"/>
                    <a:pt x="9579" y="42731"/>
                  </a:cubicBezTo>
                  <a:cubicBezTo>
                    <a:pt x="10604" y="41562"/>
                    <a:pt x="11626" y="40392"/>
                    <a:pt x="12651" y="39223"/>
                  </a:cubicBezTo>
                  <a:cubicBezTo>
                    <a:pt x="15019" y="36512"/>
                    <a:pt x="17366" y="33781"/>
                    <a:pt x="19687" y="31030"/>
                  </a:cubicBezTo>
                  <a:cubicBezTo>
                    <a:pt x="24219" y="25663"/>
                    <a:pt x="28651" y="20157"/>
                    <a:pt x="33296" y="14903"/>
                  </a:cubicBezTo>
                  <a:lnTo>
                    <a:pt x="33296" y="14903"/>
                  </a:lnTo>
                  <a:cubicBezTo>
                    <a:pt x="28966" y="19802"/>
                    <a:pt x="24961" y="25054"/>
                    <a:pt x="20868" y="30172"/>
                  </a:cubicBezTo>
                  <a:cubicBezTo>
                    <a:pt x="16413" y="35744"/>
                    <a:pt x="11459" y="40886"/>
                    <a:pt x="7048" y="46484"/>
                  </a:cubicBezTo>
                  <a:cubicBezTo>
                    <a:pt x="6947" y="46613"/>
                    <a:pt x="7041" y="46757"/>
                    <a:pt x="7165" y="46757"/>
                  </a:cubicBezTo>
                  <a:cubicBezTo>
                    <a:pt x="7201" y="46757"/>
                    <a:pt x="7241" y="46745"/>
                    <a:pt x="7279" y="46715"/>
                  </a:cubicBezTo>
                  <a:cubicBezTo>
                    <a:pt x="7989" y="46161"/>
                    <a:pt x="8664" y="45575"/>
                    <a:pt x="9323" y="44974"/>
                  </a:cubicBezTo>
                  <a:lnTo>
                    <a:pt x="9323" y="44974"/>
                  </a:lnTo>
                  <a:cubicBezTo>
                    <a:pt x="8722" y="45733"/>
                    <a:pt x="8130" y="46498"/>
                    <a:pt x="7564" y="47272"/>
                  </a:cubicBezTo>
                  <a:cubicBezTo>
                    <a:pt x="7476" y="47393"/>
                    <a:pt x="7593" y="47504"/>
                    <a:pt x="7712" y="47504"/>
                  </a:cubicBezTo>
                  <a:cubicBezTo>
                    <a:pt x="7749" y="47504"/>
                    <a:pt x="7787" y="47493"/>
                    <a:pt x="7818" y="47468"/>
                  </a:cubicBezTo>
                  <a:cubicBezTo>
                    <a:pt x="8526" y="46891"/>
                    <a:pt x="9204" y="46282"/>
                    <a:pt x="9868" y="45661"/>
                  </a:cubicBezTo>
                  <a:lnTo>
                    <a:pt x="9868" y="45661"/>
                  </a:lnTo>
                  <a:cubicBezTo>
                    <a:pt x="9216" y="46472"/>
                    <a:pt x="8563" y="47287"/>
                    <a:pt x="7917" y="48104"/>
                  </a:cubicBezTo>
                  <a:cubicBezTo>
                    <a:pt x="7819" y="48225"/>
                    <a:pt x="7912" y="48376"/>
                    <a:pt x="8029" y="48376"/>
                  </a:cubicBezTo>
                  <a:cubicBezTo>
                    <a:pt x="8065" y="48376"/>
                    <a:pt x="8103" y="48362"/>
                    <a:pt x="8139" y="48329"/>
                  </a:cubicBezTo>
                  <a:cubicBezTo>
                    <a:pt x="8338" y="48150"/>
                    <a:pt x="8531" y="47965"/>
                    <a:pt x="8728" y="47783"/>
                  </a:cubicBezTo>
                  <a:lnTo>
                    <a:pt x="8728" y="47783"/>
                  </a:lnTo>
                  <a:cubicBezTo>
                    <a:pt x="8529" y="48153"/>
                    <a:pt x="8367" y="48539"/>
                    <a:pt x="8246" y="48941"/>
                  </a:cubicBezTo>
                  <a:cubicBezTo>
                    <a:pt x="8223" y="49022"/>
                    <a:pt x="8288" y="49075"/>
                    <a:pt x="8353" y="49075"/>
                  </a:cubicBezTo>
                  <a:cubicBezTo>
                    <a:pt x="8396" y="49075"/>
                    <a:pt x="8439" y="49052"/>
                    <a:pt x="8456" y="48999"/>
                  </a:cubicBezTo>
                  <a:cubicBezTo>
                    <a:pt x="8710" y="48216"/>
                    <a:pt x="9190" y="47500"/>
                    <a:pt x="9767" y="46822"/>
                  </a:cubicBezTo>
                  <a:cubicBezTo>
                    <a:pt x="10469" y="46158"/>
                    <a:pt x="11162" y="45488"/>
                    <a:pt x="11843" y="44804"/>
                  </a:cubicBezTo>
                  <a:cubicBezTo>
                    <a:pt x="12703" y="44073"/>
                    <a:pt x="13578" y="43389"/>
                    <a:pt x="14285" y="42725"/>
                  </a:cubicBezTo>
                  <a:cubicBezTo>
                    <a:pt x="14669" y="42361"/>
                    <a:pt x="15042" y="41992"/>
                    <a:pt x="15423" y="41625"/>
                  </a:cubicBezTo>
                  <a:lnTo>
                    <a:pt x="15423" y="41625"/>
                  </a:lnTo>
                  <a:cubicBezTo>
                    <a:pt x="14461" y="42745"/>
                    <a:pt x="13488" y="43857"/>
                    <a:pt x="12504" y="44960"/>
                  </a:cubicBezTo>
                  <a:cubicBezTo>
                    <a:pt x="11433" y="45984"/>
                    <a:pt x="10362" y="47096"/>
                    <a:pt x="9683" y="48072"/>
                  </a:cubicBezTo>
                  <a:cubicBezTo>
                    <a:pt x="9276" y="48514"/>
                    <a:pt x="8875" y="48967"/>
                    <a:pt x="8462" y="49406"/>
                  </a:cubicBezTo>
                  <a:cubicBezTo>
                    <a:pt x="8372" y="49503"/>
                    <a:pt x="8456" y="49661"/>
                    <a:pt x="8567" y="49661"/>
                  </a:cubicBezTo>
                  <a:cubicBezTo>
                    <a:pt x="8591" y="49661"/>
                    <a:pt x="8616" y="49653"/>
                    <a:pt x="8641" y="49637"/>
                  </a:cubicBezTo>
                  <a:cubicBezTo>
                    <a:pt x="8771" y="49550"/>
                    <a:pt x="8895" y="49452"/>
                    <a:pt x="9025" y="49362"/>
                  </a:cubicBezTo>
                  <a:lnTo>
                    <a:pt x="9025" y="49362"/>
                  </a:lnTo>
                  <a:cubicBezTo>
                    <a:pt x="8982" y="49515"/>
                    <a:pt x="8965" y="49674"/>
                    <a:pt x="8976" y="49833"/>
                  </a:cubicBezTo>
                  <a:cubicBezTo>
                    <a:pt x="8985" y="49916"/>
                    <a:pt x="9055" y="49957"/>
                    <a:pt x="9120" y="49957"/>
                  </a:cubicBezTo>
                  <a:cubicBezTo>
                    <a:pt x="9184" y="49957"/>
                    <a:pt x="9245" y="49916"/>
                    <a:pt x="9236" y="49833"/>
                  </a:cubicBezTo>
                  <a:cubicBezTo>
                    <a:pt x="9213" y="49616"/>
                    <a:pt x="9311" y="49342"/>
                    <a:pt x="9478" y="49039"/>
                  </a:cubicBezTo>
                  <a:cubicBezTo>
                    <a:pt x="13168" y="46360"/>
                    <a:pt x="16159" y="42722"/>
                    <a:pt x="19014" y="38981"/>
                  </a:cubicBezTo>
                  <a:cubicBezTo>
                    <a:pt x="19984" y="37970"/>
                    <a:pt x="20957" y="36960"/>
                    <a:pt x="21930" y="35949"/>
                  </a:cubicBezTo>
                  <a:cubicBezTo>
                    <a:pt x="23325" y="34500"/>
                    <a:pt x="24707" y="33042"/>
                    <a:pt x="26084" y="31575"/>
                  </a:cubicBezTo>
                  <a:lnTo>
                    <a:pt x="26084" y="31575"/>
                  </a:lnTo>
                  <a:cubicBezTo>
                    <a:pt x="24808" y="33184"/>
                    <a:pt x="23553" y="34806"/>
                    <a:pt x="22279" y="36417"/>
                  </a:cubicBezTo>
                  <a:cubicBezTo>
                    <a:pt x="20403" y="38429"/>
                    <a:pt x="18544" y="40453"/>
                    <a:pt x="16777" y="42578"/>
                  </a:cubicBezTo>
                  <a:cubicBezTo>
                    <a:pt x="14285" y="45577"/>
                    <a:pt x="11141" y="47913"/>
                    <a:pt x="8682" y="50915"/>
                  </a:cubicBezTo>
                  <a:cubicBezTo>
                    <a:pt x="8602" y="51022"/>
                    <a:pt x="8690" y="51149"/>
                    <a:pt x="8796" y="51149"/>
                  </a:cubicBezTo>
                  <a:cubicBezTo>
                    <a:pt x="8825" y="51149"/>
                    <a:pt x="8855" y="51139"/>
                    <a:pt x="8884" y="51118"/>
                  </a:cubicBezTo>
                  <a:cubicBezTo>
                    <a:pt x="12215" y="48410"/>
                    <a:pt x="15215" y="45309"/>
                    <a:pt x="18053" y="42035"/>
                  </a:cubicBezTo>
                  <a:lnTo>
                    <a:pt x="18053" y="42035"/>
                  </a:lnTo>
                  <a:cubicBezTo>
                    <a:pt x="17654" y="42572"/>
                    <a:pt x="17259" y="43109"/>
                    <a:pt x="16860" y="43649"/>
                  </a:cubicBezTo>
                  <a:cubicBezTo>
                    <a:pt x="16410" y="44270"/>
                    <a:pt x="15945" y="44873"/>
                    <a:pt x="15483" y="45479"/>
                  </a:cubicBezTo>
                  <a:cubicBezTo>
                    <a:pt x="12983" y="47953"/>
                    <a:pt x="10506" y="50445"/>
                    <a:pt x="8234" y="53058"/>
                  </a:cubicBezTo>
                  <a:cubicBezTo>
                    <a:pt x="8143" y="53165"/>
                    <a:pt x="8228" y="53344"/>
                    <a:pt x="8345" y="53344"/>
                  </a:cubicBezTo>
                  <a:cubicBezTo>
                    <a:pt x="8373" y="53344"/>
                    <a:pt x="8402" y="53334"/>
                    <a:pt x="8430" y="53312"/>
                  </a:cubicBezTo>
                  <a:cubicBezTo>
                    <a:pt x="11138" y="51282"/>
                    <a:pt x="13425" y="48785"/>
                    <a:pt x="15561" y="46126"/>
                  </a:cubicBezTo>
                  <a:cubicBezTo>
                    <a:pt x="16329" y="45370"/>
                    <a:pt x="17094" y="44607"/>
                    <a:pt x="17854" y="43842"/>
                  </a:cubicBezTo>
                  <a:lnTo>
                    <a:pt x="17854" y="43842"/>
                  </a:lnTo>
                  <a:cubicBezTo>
                    <a:pt x="14554" y="47601"/>
                    <a:pt x="11214" y="51323"/>
                    <a:pt x="7709" y="54902"/>
                  </a:cubicBezTo>
                  <a:cubicBezTo>
                    <a:pt x="7609" y="55005"/>
                    <a:pt x="7704" y="55147"/>
                    <a:pt x="7815" y="55147"/>
                  </a:cubicBezTo>
                  <a:cubicBezTo>
                    <a:pt x="7848" y="55147"/>
                    <a:pt x="7883" y="55134"/>
                    <a:pt x="7914" y="55105"/>
                  </a:cubicBezTo>
                  <a:cubicBezTo>
                    <a:pt x="10835" y="52327"/>
                    <a:pt x="13477" y="49354"/>
                    <a:pt x="16029" y="46308"/>
                  </a:cubicBezTo>
                  <a:cubicBezTo>
                    <a:pt x="17213" y="45012"/>
                    <a:pt x="18385" y="43710"/>
                    <a:pt x="19528" y="42402"/>
                  </a:cubicBezTo>
                  <a:cubicBezTo>
                    <a:pt x="19967" y="41899"/>
                    <a:pt x="20420" y="41400"/>
                    <a:pt x="20868" y="40900"/>
                  </a:cubicBezTo>
                  <a:lnTo>
                    <a:pt x="20868" y="40900"/>
                  </a:lnTo>
                  <a:cubicBezTo>
                    <a:pt x="20616" y="41215"/>
                    <a:pt x="20362" y="41533"/>
                    <a:pt x="20114" y="41845"/>
                  </a:cubicBezTo>
                  <a:cubicBezTo>
                    <a:pt x="16104" y="46885"/>
                    <a:pt x="11040" y="51340"/>
                    <a:pt x="7573" y="56759"/>
                  </a:cubicBezTo>
                  <a:cubicBezTo>
                    <a:pt x="7510" y="56860"/>
                    <a:pt x="7603" y="56989"/>
                    <a:pt x="7708" y="56989"/>
                  </a:cubicBezTo>
                  <a:cubicBezTo>
                    <a:pt x="7732" y="56989"/>
                    <a:pt x="7757" y="56982"/>
                    <a:pt x="7781" y="56967"/>
                  </a:cubicBezTo>
                  <a:cubicBezTo>
                    <a:pt x="10578" y="55061"/>
                    <a:pt x="12521" y="52347"/>
                    <a:pt x="14600" y="49723"/>
                  </a:cubicBezTo>
                  <a:cubicBezTo>
                    <a:pt x="16257" y="47630"/>
                    <a:pt x="18090" y="45687"/>
                    <a:pt x="19869" y="43698"/>
                  </a:cubicBezTo>
                  <a:lnTo>
                    <a:pt x="19869" y="43698"/>
                  </a:lnTo>
                  <a:cubicBezTo>
                    <a:pt x="19623" y="43987"/>
                    <a:pt x="19378" y="44272"/>
                    <a:pt x="19135" y="44564"/>
                  </a:cubicBezTo>
                  <a:cubicBezTo>
                    <a:pt x="15755" y="48661"/>
                    <a:pt x="12481" y="53935"/>
                    <a:pt x="7977" y="56863"/>
                  </a:cubicBezTo>
                  <a:cubicBezTo>
                    <a:pt x="7893" y="56918"/>
                    <a:pt x="7943" y="57040"/>
                    <a:pt x="8023" y="57040"/>
                  </a:cubicBezTo>
                  <a:cubicBezTo>
                    <a:pt x="8039" y="57040"/>
                    <a:pt x="8055" y="57035"/>
                    <a:pt x="8072" y="57024"/>
                  </a:cubicBezTo>
                  <a:cubicBezTo>
                    <a:pt x="11502" y="54865"/>
                    <a:pt x="13855" y="51377"/>
                    <a:pt x="16459" y="48340"/>
                  </a:cubicBezTo>
                  <a:cubicBezTo>
                    <a:pt x="17958" y="46588"/>
                    <a:pt x="19485" y="44853"/>
                    <a:pt x="21012" y="43118"/>
                  </a:cubicBezTo>
                  <a:lnTo>
                    <a:pt x="21012" y="43118"/>
                  </a:lnTo>
                  <a:cubicBezTo>
                    <a:pt x="18197" y="46521"/>
                    <a:pt x="15561" y="50070"/>
                    <a:pt x="12706" y="53442"/>
                  </a:cubicBezTo>
                  <a:cubicBezTo>
                    <a:pt x="12510" y="53670"/>
                    <a:pt x="11866" y="54371"/>
                    <a:pt x="11214" y="55084"/>
                  </a:cubicBezTo>
                  <a:cubicBezTo>
                    <a:pt x="10235" y="56043"/>
                    <a:pt x="9250" y="56990"/>
                    <a:pt x="8254" y="57931"/>
                  </a:cubicBezTo>
                  <a:cubicBezTo>
                    <a:pt x="8160" y="58021"/>
                    <a:pt x="8249" y="58147"/>
                    <a:pt x="8352" y="58147"/>
                  </a:cubicBezTo>
                  <a:cubicBezTo>
                    <a:pt x="8381" y="58147"/>
                    <a:pt x="8412" y="58137"/>
                    <a:pt x="8439" y="58113"/>
                  </a:cubicBezTo>
                  <a:cubicBezTo>
                    <a:pt x="9178" y="57457"/>
                    <a:pt x="9883" y="56770"/>
                    <a:pt x="10573" y="56072"/>
                  </a:cubicBezTo>
                  <a:cubicBezTo>
                    <a:pt x="10665" y="55985"/>
                    <a:pt x="10743" y="55910"/>
                    <a:pt x="10850" y="55809"/>
                  </a:cubicBezTo>
                  <a:cubicBezTo>
                    <a:pt x="12721" y="54005"/>
                    <a:pt x="14525" y="52134"/>
                    <a:pt x="16303" y="50240"/>
                  </a:cubicBezTo>
                  <a:lnTo>
                    <a:pt x="16303" y="50240"/>
                  </a:lnTo>
                  <a:cubicBezTo>
                    <a:pt x="13719" y="53037"/>
                    <a:pt x="11046" y="55711"/>
                    <a:pt x="8465" y="58572"/>
                  </a:cubicBezTo>
                  <a:cubicBezTo>
                    <a:pt x="8382" y="58662"/>
                    <a:pt x="8459" y="58812"/>
                    <a:pt x="8562" y="58812"/>
                  </a:cubicBezTo>
                  <a:cubicBezTo>
                    <a:pt x="8585" y="58812"/>
                    <a:pt x="8609" y="58805"/>
                    <a:pt x="8633" y="58788"/>
                  </a:cubicBezTo>
                  <a:cubicBezTo>
                    <a:pt x="9894" y="57896"/>
                    <a:pt x="11066" y="56819"/>
                    <a:pt x="12195" y="55665"/>
                  </a:cubicBezTo>
                  <a:lnTo>
                    <a:pt x="12195" y="55665"/>
                  </a:lnTo>
                  <a:cubicBezTo>
                    <a:pt x="11193" y="56802"/>
                    <a:pt x="10200" y="57948"/>
                    <a:pt x="9216" y="59109"/>
                  </a:cubicBezTo>
                  <a:cubicBezTo>
                    <a:pt x="9138" y="59201"/>
                    <a:pt x="9212" y="59358"/>
                    <a:pt x="9316" y="59358"/>
                  </a:cubicBezTo>
                  <a:cubicBezTo>
                    <a:pt x="9339" y="59358"/>
                    <a:pt x="9364" y="59350"/>
                    <a:pt x="9389" y="59331"/>
                  </a:cubicBezTo>
                  <a:cubicBezTo>
                    <a:pt x="10111" y="58788"/>
                    <a:pt x="10806" y="58214"/>
                    <a:pt x="11494" y="57619"/>
                  </a:cubicBezTo>
                  <a:lnTo>
                    <a:pt x="11494" y="57619"/>
                  </a:lnTo>
                  <a:cubicBezTo>
                    <a:pt x="10856" y="58436"/>
                    <a:pt x="10321" y="59322"/>
                    <a:pt x="9935" y="60356"/>
                  </a:cubicBezTo>
                  <a:cubicBezTo>
                    <a:pt x="9897" y="60456"/>
                    <a:pt x="9987" y="60532"/>
                    <a:pt x="10076" y="60532"/>
                  </a:cubicBezTo>
                  <a:cubicBezTo>
                    <a:pt x="10110" y="60532"/>
                    <a:pt x="10145" y="60520"/>
                    <a:pt x="10171" y="60495"/>
                  </a:cubicBezTo>
                  <a:cubicBezTo>
                    <a:pt x="12259" y="58497"/>
                    <a:pt x="14274" y="56412"/>
                    <a:pt x="16251" y="54288"/>
                  </a:cubicBezTo>
                  <a:lnTo>
                    <a:pt x="16251" y="54288"/>
                  </a:lnTo>
                  <a:cubicBezTo>
                    <a:pt x="14311" y="56421"/>
                    <a:pt x="12397" y="58566"/>
                    <a:pt x="10506" y="60720"/>
                  </a:cubicBezTo>
                  <a:cubicBezTo>
                    <a:pt x="10410" y="60827"/>
                    <a:pt x="10504" y="60967"/>
                    <a:pt x="10616" y="60967"/>
                  </a:cubicBezTo>
                  <a:cubicBezTo>
                    <a:pt x="10649" y="60967"/>
                    <a:pt x="10683" y="60956"/>
                    <a:pt x="10714" y="60928"/>
                  </a:cubicBezTo>
                  <a:cubicBezTo>
                    <a:pt x="11185" y="60529"/>
                    <a:pt x="11647" y="60113"/>
                    <a:pt x="12106" y="59701"/>
                  </a:cubicBezTo>
                  <a:lnTo>
                    <a:pt x="12106" y="59701"/>
                  </a:lnTo>
                  <a:cubicBezTo>
                    <a:pt x="11606" y="60241"/>
                    <a:pt x="11133" y="60803"/>
                    <a:pt x="10694" y="61392"/>
                  </a:cubicBezTo>
                  <a:cubicBezTo>
                    <a:pt x="10611" y="61506"/>
                    <a:pt x="10717" y="61615"/>
                    <a:pt x="10828" y="61615"/>
                  </a:cubicBezTo>
                  <a:cubicBezTo>
                    <a:pt x="10875" y="61615"/>
                    <a:pt x="10922" y="61596"/>
                    <a:pt x="10957" y="61548"/>
                  </a:cubicBezTo>
                  <a:cubicBezTo>
                    <a:pt x="11242" y="61164"/>
                    <a:pt x="11551" y="60792"/>
                    <a:pt x="11869" y="60428"/>
                  </a:cubicBezTo>
                  <a:lnTo>
                    <a:pt x="11869" y="60428"/>
                  </a:lnTo>
                  <a:cubicBezTo>
                    <a:pt x="11496" y="60925"/>
                    <a:pt x="11136" y="61424"/>
                    <a:pt x="10806" y="61935"/>
                  </a:cubicBezTo>
                  <a:cubicBezTo>
                    <a:pt x="10737" y="62045"/>
                    <a:pt x="10838" y="62154"/>
                    <a:pt x="10945" y="62154"/>
                  </a:cubicBezTo>
                  <a:cubicBezTo>
                    <a:pt x="10953" y="62154"/>
                    <a:pt x="10962" y="62153"/>
                    <a:pt x="10971" y="62152"/>
                  </a:cubicBezTo>
                  <a:cubicBezTo>
                    <a:pt x="11219" y="62108"/>
                    <a:pt x="11465" y="62048"/>
                    <a:pt x="11707" y="61978"/>
                  </a:cubicBezTo>
                  <a:lnTo>
                    <a:pt x="11707" y="61978"/>
                  </a:lnTo>
                  <a:cubicBezTo>
                    <a:pt x="11667" y="62042"/>
                    <a:pt x="11618" y="62100"/>
                    <a:pt x="11577" y="62160"/>
                  </a:cubicBezTo>
                  <a:cubicBezTo>
                    <a:pt x="11513" y="62257"/>
                    <a:pt x="11602" y="62348"/>
                    <a:pt x="11693" y="62348"/>
                  </a:cubicBezTo>
                  <a:cubicBezTo>
                    <a:pt x="11732" y="62348"/>
                    <a:pt x="11772" y="62331"/>
                    <a:pt x="11800" y="62290"/>
                  </a:cubicBezTo>
                  <a:cubicBezTo>
                    <a:pt x="11898" y="62143"/>
                    <a:pt x="12016" y="61999"/>
                    <a:pt x="12120" y="61854"/>
                  </a:cubicBezTo>
                  <a:cubicBezTo>
                    <a:pt x="12986" y="61574"/>
                    <a:pt x="13823" y="61164"/>
                    <a:pt x="14632" y="60659"/>
                  </a:cubicBezTo>
                  <a:lnTo>
                    <a:pt x="14632" y="60659"/>
                  </a:lnTo>
                  <a:cubicBezTo>
                    <a:pt x="13878" y="61361"/>
                    <a:pt x="13084" y="62022"/>
                    <a:pt x="12261" y="62637"/>
                  </a:cubicBezTo>
                  <a:cubicBezTo>
                    <a:pt x="12136" y="62729"/>
                    <a:pt x="12209" y="62914"/>
                    <a:pt x="12332" y="62914"/>
                  </a:cubicBezTo>
                  <a:cubicBezTo>
                    <a:pt x="12356" y="62914"/>
                    <a:pt x="12382" y="62907"/>
                    <a:pt x="12409" y="62891"/>
                  </a:cubicBezTo>
                  <a:cubicBezTo>
                    <a:pt x="14860" y="61407"/>
                    <a:pt x="17022" y="59579"/>
                    <a:pt x="19078" y="57625"/>
                  </a:cubicBezTo>
                  <a:lnTo>
                    <a:pt x="19078" y="57625"/>
                  </a:lnTo>
                  <a:cubicBezTo>
                    <a:pt x="17138" y="59712"/>
                    <a:pt x="15174" y="61779"/>
                    <a:pt x="13087" y="63734"/>
                  </a:cubicBezTo>
                  <a:cubicBezTo>
                    <a:pt x="12972" y="63842"/>
                    <a:pt x="13078" y="63987"/>
                    <a:pt x="13202" y="63987"/>
                  </a:cubicBezTo>
                  <a:cubicBezTo>
                    <a:pt x="13236" y="63987"/>
                    <a:pt x="13271" y="63976"/>
                    <a:pt x="13304" y="63950"/>
                  </a:cubicBezTo>
                  <a:cubicBezTo>
                    <a:pt x="20045" y="58710"/>
                    <a:pt x="25851" y="52356"/>
                    <a:pt x="31714" y="46114"/>
                  </a:cubicBezTo>
                  <a:lnTo>
                    <a:pt x="31714" y="46114"/>
                  </a:lnTo>
                  <a:cubicBezTo>
                    <a:pt x="25773" y="52469"/>
                    <a:pt x="19976" y="59031"/>
                    <a:pt x="13618" y="64909"/>
                  </a:cubicBezTo>
                  <a:cubicBezTo>
                    <a:pt x="13501" y="65017"/>
                    <a:pt x="13607" y="65192"/>
                    <a:pt x="13737" y="65192"/>
                  </a:cubicBezTo>
                  <a:cubicBezTo>
                    <a:pt x="13763" y="65192"/>
                    <a:pt x="13791" y="65185"/>
                    <a:pt x="13818" y="65169"/>
                  </a:cubicBezTo>
                  <a:cubicBezTo>
                    <a:pt x="14802" y="64559"/>
                    <a:pt x="15743" y="63881"/>
                    <a:pt x="16632" y="63139"/>
                  </a:cubicBezTo>
                  <a:lnTo>
                    <a:pt x="16632" y="63139"/>
                  </a:lnTo>
                  <a:cubicBezTo>
                    <a:pt x="15919" y="64074"/>
                    <a:pt x="15247" y="65027"/>
                    <a:pt x="14672" y="66020"/>
                  </a:cubicBezTo>
                  <a:cubicBezTo>
                    <a:pt x="14607" y="66132"/>
                    <a:pt x="14701" y="66272"/>
                    <a:pt x="14815" y="66272"/>
                  </a:cubicBezTo>
                  <a:cubicBezTo>
                    <a:pt x="14842" y="66272"/>
                    <a:pt x="14870" y="66264"/>
                    <a:pt x="14897" y="66245"/>
                  </a:cubicBezTo>
                  <a:cubicBezTo>
                    <a:pt x="15763" y="65680"/>
                    <a:pt x="16589" y="65013"/>
                    <a:pt x="17400" y="64305"/>
                  </a:cubicBezTo>
                  <a:lnTo>
                    <a:pt x="17400" y="64305"/>
                  </a:lnTo>
                  <a:cubicBezTo>
                    <a:pt x="16624" y="65215"/>
                    <a:pt x="15859" y="66130"/>
                    <a:pt x="15128" y="67065"/>
                  </a:cubicBezTo>
                  <a:cubicBezTo>
                    <a:pt x="15038" y="67179"/>
                    <a:pt x="15114" y="67352"/>
                    <a:pt x="15240" y="67352"/>
                  </a:cubicBezTo>
                  <a:cubicBezTo>
                    <a:pt x="15267" y="67352"/>
                    <a:pt x="15297" y="67344"/>
                    <a:pt x="15327" y="67325"/>
                  </a:cubicBezTo>
                  <a:cubicBezTo>
                    <a:pt x="16113" y="66855"/>
                    <a:pt x="16855" y="66323"/>
                    <a:pt x="17579" y="65769"/>
                  </a:cubicBezTo>
                  <a:lnTo>
                    <a:pt x="17579" y="65769"/>
                  </a:lnTo>
                  <a:cubicBezTo>
                    <a:pt x="17051" y="66347"/>
                    <a:pt x="16523" y="66924"/>
                    <a:pt x="15994" y="67501"/>
                  </a:cubicBezTo>
                  <a:cubicBezTo>
                    <a:pt x="15887" y="67622"/>
                    <a:pt x="15986" y="67762"/>
                    <a:pt x="16109" y="67762"/>
                  </a:cubicBezTo>
                  <a:cubicBezTo>
                    <a:pt x="16144" y="67762"/>
                    <a:pt x="16182" y="67751"/>
                    <a:pt x="16217" y="67724"/>
                  </a:cubicBezTo>
                  <a:cubicBezTo>
                    <a:pt x="16933" y="67166"/>
                    <a:pt x="17626" y="66589"/>
                    <a:pt x="18313" y="66006"/>
                  </a:cubicBezTo>
                  <a:lnTo>
                    <a:pt x="18313" y="66006"/>
                  </a:lnTo>
                  <a:cubicBezTo>
                    <a:pt x="17473" y="66869"/>
                    <a:pt x="16624" y="67721"/>
                    <a:pt x="15798" y="68598"/>
                  </a:cubicBezTo>
                  <a:cubicBezTo>
                    <a:pt x="15707" y="68694"/>
                    <a:pt x="15796" y="68826"/>
                    <a:pt x="15897" y="68826"/>
                  </a:cubicBezTo>
                  <a:cubicBezTo>
                    <a:pt x="15927" y="68826"/>
                    <a:pt x="15958" y="68814"/>
                    <a:pt x="15986" y="68786"/>
                  </a:cubicBezTo>
                  <a:cubicBezTo>
                    <a:pt x="18549" y="66113"/>
                    <a:pt x="21182" y="63511"/>
                    <a:pt x="23847" y="60942"/>
                  </a:cubicBezTo>
                  <a:lnTo>
                    <a:pt x="23847" y="60942"/>
                  </a:lnTo>
                  <a:cubicBezTo>
                    <a:pt x="21434" y="63618"/>
                    <a:pt x="18948" y="66222"/>
                    <a:pt x="16217" y="68584"/>
                  </a:cubicBezTo>
                  <a:cubicBezTo>
                    <a:pt x="16109" y="68677"/>
                    <a:pt x="16208" y="68844"/>
                    <a:pt x="16323" y="68844"/>
                  </a:cubicBezTo>
                  <a:cubicBezTo>
                    <a:pt x="16347" y="68844"/>
                    <a:pt x="16372" y="68837"/>
                    <a:pt x="16396" y="68821"/>
                  </a:cubicBezTo>
                  <a:cubicBezTo>
                    <a:pt x="19147" y="66912"/>
                    <a:pt x="21685" y="64741"/>
                    <a:pt x="24121" y="62452"/>
                  </a:cubicBezTo>
                  <a:lnTo>
                    <a:pt x="24121" y="62452"/>
                  </a:lnTo>
                  <a:cubicBezTo>
                    <a:pt x="23902" y="62694"/>
                    <a:pt x="23677" y="62928"/>
                    <a:pt x="23457" y="63171"/>
                  </a:cubicBezTo>
                  <a:cubicBezTo>
                    <a:pt x="21344" y="64993"/>
                    <a:pt x="19219" y="66846"/>
                    <a:pt x="17501" y="68904"/>
                  </a:cubicBezTo>
                  <a:cubicBezTo>
                    <a:pt x="17413" y="69012"/>
                    <a:pt x="17491" y="69173"/>
                    <a:pt x="17612" y="69173"/>
                  </a:cubicBezTo>
                  <a:cubicBezTo>
                    <a:pt x="17637" y="69173"/>
                    <a:pt x="17664" y="69166"/>
                    <a:pt x="17692" y="69150"/>
                  </a:cubicBezTo>
                  <a:cubicBezTo>
                    <a:pt x="19987" y="67813"/>
                    <a:pt x="22031" y="65772"/>
                    <a:pt x="23960" y="63592"/>
                  </a:cubicBezTo>
                  <a:cubicBezTo>
                    <a:pt x="28856" y="59346"/>
                    <a:pt x="33198" y="54236"/>
                    <a:pt x="37754" y="49665"/>
                  </a:cubicBezTo>
                  <a:cubicBezTo>
                    <a:pt x="40499" y="46911"/>
                    <a:pt x="43450" y="44385"/>
                    <a:pt x="46409" y="41871"/>
                  </a:cubicBezTo>
                  <a:lnTo>
                    <a:pt x="46409" y="41871"/>
                  </a:lnTo>
                  <a:cubicBezTo>
                    <a:pt x="45306" y="42881"/>
                    <a:pt x="44215" y="43906"/>
                    <a:pt x="43161" y="44980"/>
                  </a:cubicBezTo>
                  <a:cubicBezTo>
                    <a:pt x="38686" y="49544"/>
                    <a:pt x="34151" y="54039"/>
                    <a:pt x="29722" y="58650"/>
                  </a:cubicBezTo>
                  <a:cubicBezTo>
                    <a:pt x="28611" y="59744"/>
                    <a:pt x="27485" y="60832"/>
                    <a:pt x="26339" y="61889"/>
                  </a:cubicBezTo>
                  <a:cubicBezTo>
                    <a:pt x="23610" y="64406"/>
                    <a:pt x="20871" y="66774"/>
                    <a:pt x="18980" y="70010"/>
                  </a:cubicBezTo>
                  <a:cubicBezTo>
                    <a:pt x="18913" y="70127"/>
                    <a:pt x="19017" y="70255"/>
                    <a:pt x="19127" y="70255"/>
                  </a:cubicBezTo>
                  <a:cubicBezTo>
                    <a:pt x="19164" y="70255"/>
                    <a:pt x="19202" y="70241"/>
                    <a:pt x="19234" y="70206"/>
                  </a:cubicBezTo>
                  <a:cubicBezTo>
                    <a:pt x="22649" y="66549"/>
                    <a:pt x="26082" y="62905"/>
                    <a:pt x="29529" y="59273"/>
                  </a:cubicBezTo>
                  <a:cubicBezTo>
                    <a:pt x="30770" y="58069"/>
                    <a:pt x="31997" y="56851"/>
                    <a:pt x="33215" y="55621"/>
                  </a:cubicBezTo>
                  <a:lnTo>
                    <a:pt x="33215" y="55621"/>
                  </a:lnTo>
                  <a:cubicBezTo>
                    <a:pt x="31339" y="57697"/>
                    <a:pt x="29503" y="59810"/>
                    <a:pt x="27632" y="61901"/>
                  </a:cubicBezTo>
                  <a:cubicBezTo>
                    <a:pt x="24967" y="64877"/>
                    <a:pt x="21376" y="67216"/>
                    <a:pt x="19300" y="70654"/>
                  </a:cubicBezTo>
                  <a:cubicBezTo>
                    <a:pt x="19232" y="70766"/>
                    <a:pt x="19331" y="70908"/>
                    <a:pt x="19444" y="70908"/>
                  </a:cubicBezTo>
                  <a:cubicBezTo>
                    <a:pt x="19471" y="70908"/>
                    <a:pt x="19499" y="70900"/>
                    <a:pt x="19525" y="70882"/>
                  </a:cubicBezTo>
                  <a:cubicBezTo>
                    <a:pt x="22473" y="68873"/>
                    <a:pt x="24601" y="66196"/>
                    <a:pt x="26985" y="63578"/>
                  </a:cubicBezTo>
                  <a:cubicBezTo>
                    <a:pt x="27872" y="62605"/>
                    <a:pt x="28784" y="61649"/>
                    <a:pt x="29702" y="60700"/>
                  </a:cubicBezTo>
                  <a:lnTo>
                    <a:pt x="29702" y="60700"/>
                  </a:lnTo>
                  <a:cubicBezTo>
                    <a:pt x="26728" y="64020"/>
                    <a:pt x="23847" y="67426"/>
                    <a:pt x="20833" y="70726"/>
                  </a:cubicBezTo>
                  <a:cubicBezTo>
                    <a:pt x="20719" y="70851"/>
                    <a:pt x="20826" y="71012"/>
                    <a:pt x="20955" y="71012"/>
                  </a:cubicBezTo>
                  <a:cubicBezTo>
                    <a:pt x="20993" y="71012"/>
                    <a:pt x="21033" y="70998"/>
                    <a:pt x="21070" y="70966"/>
                  </a:cubicBezTo>
                  <a:cubicBezTo>
                    <a:pt x="23047" y="69222"/>
                    <a:pt x="24941" y="67400"/>
                    <a:pt x="26800" y="65547"/>
                  </a:cubicBezTo>
                  <a:lnTo>
                    <a:pt x="26800" y="65547"/>
                  </a:lnTo>
                  <a:cubicBezTo>
                    <a:pt x="26512" y="65887"/>
                    <a:pt x="26217" y="66219"/>
                    <a:pt x="25931" y="66566"/>
                  </a:cubicBezTo>
                  <a:cubicBezTo>
                    <a:pt x="25057" y="67620"/>
                    <a:pt x="23939" y="68881"/>
                    <a:pt x="23350" y="69615"/>
                  </a:cubicBezTo>
                  <a:cubicBezTo>
                    <a:pt x="22681" y="70258"/>
                    <a:pt x="22017" y="70914"/>
                    <a:pt x="21367" y="71586"/>
                  </a:cubicBezTo>
                  <a:cubicBezTo>
                    <a:pt x="21249" y="71709"/>
                    <a:pt x="21367" y="71883"/>
                    <a:pt x="21498" y="71883"/>
                  </a:cubicBezTo>
                  <a:cubicBezTo>
                    <a:pt x="21537" y="71883"/>
                    <a:pt x="21577" y="71868"/>
                    <a:pt x="21613" y="71832"/>
                  </a:cubicBezTo>
                  <a:cubicBezTo>
                    <a:pt x="22277" y="71159"/>
                    <a:pt x="22929" y="70478"/>
                    <a:pt x="23576" y="69794"/>
                  </a:cubicBezTo>
                  <a:cubicBezTo>
                    <a:pt x="23948" y="69490"/>
                    <a:pt x="24485" y="69026"/>
                    <a:pt x="25267" y="68321"/>
                  </a:cubicBezTo>
                  <a:cubicBezTo>
                    <a:pt x="26012" y="67651"/>
                    <a:pt x="26731" y="66959"/>
                    <a:pt x="27436" y="66260"/>
                  </a:cubicBezTo>
                  <a:lnTo>
                    <a:pt x="27436" y="66260"/>
                  </a:lnTo>
                  <a:cubicBezTo>
                    <a:pt x="27130" y="66635"/>
                    <a:pt x="26803" y="67034"/>
                    <a:pt x="26466" y="67441"/>
                  </a:cubicBezTo>
                  <a:cubicBezTo>
                    <a:pt x="26503" y="67400"/>
                    <a:pt x="26544" y="67354"/>
                    <a:pt x="26578" y="67319"/>
                  </a:cubicBezTo>
                  <a:cubicBezTo>
                    <a:pt x="28813" y="65079"/>
                    <a:pt x="30992" y="62793"/>
                    <a:pt x="33201" y="60532"/>
                  </a:cubicBezTo>
                  <a:cubicBezTo>
                    <a:pt x="38291" y="55327"/>
                    <a:pt x="43337" y="49917"/>
                    <a:pt x="48632" y="44824"/>
                  </a:cubicBezTo>
                  <a:cubicBezTo>
                    <a:pt x="50511" y="43317"/>
                    <a:pt x="52411" y="41830"/>
                    <a:pt x="54218" y="40248"/>
                  </a:cubicBezTo>
                  <a:lnTo>
                    <a:pt x="54218" y="40248"/>
                  </a:lnTo>
                  <a:cubicBezTo>
                    <a:pt x="49374" y="44838"/>
                    <a:pt x="44732" y="49634"/>
                    <a:pt x="39850" y="54186"/>
                  </a:cubicBezTo>
                  <a:cubicBezTo>
                    <a:pt x="34890" y="58811"/>
                    <a:pt x="30314" y="63988"/>
                    <a:pt x="25397" y="68688"/>
                  </a:cubicBezTo>
                  <a:cubicBezTo>
                    <a:pt x="25764" y="68287"/>
                    <a:pt x="26125" y="67862"/>
                    <a:pt x="26471" y="67444"/>
                  </a:cubicBezTo>
                  <a:lnTo>
                    <a:pt x="26471" y="67444"/>
                  </a:lnTo>
                  <a:cubicBezTo>
                    <a:pt x="26113" y="67819"/>
                    <a:pt x="25701" y="68315"/>
                    <a:pt x="25247" y="68829"/>
                  </a:cubicBezTo>
                  <a:cubicBezTo>
                    <a:pt x="24748" y="69306"/>
                    <a:pt x="24245" y="69782"/>
                    <a:pt x="23737" y="70247"/>
                  </a:cubicBezTo>
                  <a:cubicBezTo>
                    <a:pt x="23342" y="70544"/>
                    <a:pt x="22949" y="70778"/>
                    <a:pt x="22562" y="70917"/>
                  </a:cubicBezTo>
                  <a:cubicBezTo>
                    <a:pt x="22517" y="70933"/>
                    <a:pt x="22531" y="70999"/>
                    <a:pt x="22575" y="70999"/>
                  </a:cubicBezTo>
                  <a:cubicBezTo>
                    <a:pt x="22578" y="70999"/>
                    <a:pt x="22582" y="70998"/>
                    <a:pt x="22585" y="70997"/>
                  </a:cubicBezTo>
                  <a:cubicBezTo>
                    <a:pt x="22811" y="70931"/>
                    <a:pt x="23036" y="70810"/>
                    <a:pt x="23264" y="70668"/>
                  </a:cubicBezTo>
                  <a:lnTo>
                    <a:pt x="23264" y="70668"/>
                  </a:lnTo>
                  <a:cubicBezTo>
                    <a:pt x="22733" y="71148"/>
                    <a:pt x="22204" y="71630"/>
                    <a:pt x="21662" y="72095"/>
                  </a:cubicBezTo>
                  <a:cubicBezTo>
                    <a:pt x="21607" y="72140"/>
                    <a:pt x="21657" y="72209"/>
                    <a:pt x="21714" y="72209"/>
                  </a:cubicBezTo>
                  <a:cubicBezTo>
                    <a:pt x="21729" y="72209"/>
                    <a:pt x="21745" y="72204"/>
                    <a:pt x="21760" y="72193"/>
                  </a:cubicBezTo>
                  <a:cubicBezTo>
                    <a:pt x="22542" y="71555"/>
                    <a:pt x="23310" y="70896"/>
                    <a:pt x="24066" y="70221"/>
                  </a:cubicBezTo>
                  <a:lnTo>
                    <a:pt x="24066" y="70221"/>
                  </a:lnTo>
                  <a:cubicBezTo>
                    <a:pt x="23437" y="70821"/>
                    <a:pt x="22802" y="71416"/>
                    <a:pt x="22175" y="72017"/>
                  </a:cubicBezTo>
                  <a:cubicBezTo>
                    <a:pt x="22116" y="72076"/>
                    <a:pt x="22171" y="72175"/>
                    <a:pt x="22240" y="72175"/>
                  </a:cubicBezTo>
                  <a:cubicBezTo>
                    <a:pt x="22255" y="72175"/>
                    <a:pt x="22270" y="72171"/>
                    <a:pt x="22285" y="72161"/>
                  </a:cubicBezTo>
                  <a:lnTo>
                    <a:pt x="22510" y="72002"/>
                  </a:lnTo>
                  <a:cubicBezTo>
                    <a:pt x="22584" y="71950"/>
                    <a:pt x="22540" y="71836"/>
                    <a:pt x="22468" y="71836"/>
                  </a:cubicBezTo>
                  <a:cubicBezTo>
                    <a:pt x="22454" y="71836"/>
                    <a:pt x="22439" y="71840"/>
                    <a:pt x="22424" y="71850"/>
                  </a:cubicBezTo>
                  <a:lnTo>
                    <a:pt x="22424" y="71850"/>
                  </a:lnTo>
                  <a:cubicBezTo>
                    <a:pt x="23220" y="71314"/>
                    <a:pt x="23998" y="70731"/>
                    <a:pt x="24765" y="70114"/>
                  </a:cubicBezTo>
                  <a:lnTo>
                    <a:pt x="24765" y="70114"/>
                  </a:lnTo>
                  <a:cubicBezTo>
                    <a:pt x="24058" y="70922"/>
                    <a:pt x="23362" y="71739"/>
                    <a:pt x="22684" y="72580"/>
                  </a:cubicBezTo>
                  <a:cubicBezTo>
                    <a:pt x="22606" y="72676"/>
                    <a:pt x="22677" y="72836"/>
                    <a:pt x="22784" y="72836"/>
                  </a:cubicBezTo>
                  <a:cubicBezTo>
                    <a:pt x="22809" y="72836"/>
                    <a:pt x="22835" y="72828"/>
                    <a:pt x="22863" y="72808"/>
                  </a:cubicBezTo>
                  <a:cubicBezTo>
                    <a:pt x="24410" y="71653"/>
                    <a:pt x="25911" y="70440"/>
                    <a:pt x="27378" y="69187"/>
                  </a:cubicBezTo>
                  <a:lnTo>
                    <a:pt x="27378" y="69187"/>
                  </a:lnTo>
                  <a:cubicBezTo>
                    <a:pt x="26030" y="70663"/>
                    <a:pt x="24676" y="72147"/>
                    <a:pt x="23319" y="73642"/>
                  </a:cubicBezTo>
                  <a:cubicBezTo>
                    <a:pt x="23208" y="73763"/>
                    <a:pt x="23319" y="73930"/>
                    <a:pt x="23441" y="73930"/>
                  </a:cubicBezTo>
                  <a:cubicBezTo>
                    <a:pt x="23479" y="73930"/>
                    <a:pt x="23518" y="73914"/>
                    <a:pt x="23553" y="73876"/>
                  </a:cubicBezTo>
                  <a:cubicBezTo>
                    <a:pt x="25608" y="71627"/>
                    <a:pt x="27629" y="69387"/>
                    <a:pt x="29670" y="67172"/>
                  </a:cubicBezTo>
                  <a:cubicBezTo>
                    <a:pt x="33900" y="63350"/>
                    <a:pt x="37863" y="59204"/>
                    <a:pt x="41801" y="55029"/>
                  </a:cubicBezTo>
                  <a:cubicBezTo>
                    <a:pt x="43248" y="53736"/>
                    <a:pt x="44723" y="52425"/>
                    <a:pt x="46204" y="51100"/>
                  </a:cubicBezTo>
                  <a:lnTo>
                    <a:pt x="46204" y="51100"/>
                  </a:lnTo>
                  <a:cubicBezTo>
                    <a:pt x="41784" y="55223"/>
                    <a:pt x="37684" y="59698"/>
                    <a:pt x="33588" y="64158"/>
                  </a:cubicBezTo>
                  <a:cubicBezTo>
                    <a:pt x="31229" y="66243"/>
                    <a:pt x="28937" y="68382"/>
                    <a:pt x="26835" y="70680"/>
                  </a:cubicBezTo>
                  <a:cubicBezTo>
                    <a:pt x="27291" y="70267"/>
                    <a:pt x="27768" y="69863"/>
                    <a:pt x="28250" y="69467"/>
                  </a:cubicBezTo>
                  <a:lnTo>
                    <a:pt x="28250" y="69467"/>
                  </a:lnTo>
                  <a:cubicBezTo>
                    <a:pt x="27903" y="69785"/>
                    <a:pt x="27563" y="70108"/>
                    <a:pt x="27216" y="70429"/>
                  </a:cubicBezTo>
                  <a:cubicBezTo>
                    <a:pt x="26968" y="70657"/>
                    <a:pt x="26711" y="70873"/>
                    <a:pt x="26454" y="71090"/>
                  </a:cubicBezTo>
                  <a:cubicBezTo>
                    <a:pt x="25547" y="72103"/>
                    <a:pt x="24667" y="73140"/>
                    <a:pt x="23856" y="74231"/>
                  </a:cubicBezTo>
                  <a:cubicBezTo>
                    <a:pt x="23784" y="74327"/>
                    <a:pt x="23884" y="74432"/>
                    <a:pt x="23981" y="74432"/>
                  </a:cubicBezTo>
                  <a:cubicBezTo>
                    <a:pt x="24013" y="74432"/>
                    <a:pt x="24044" y="74421"/>
                    <a:pt x="24069" y="74395"/>
                  </a:cubicBezTo>
                  <a:cubicBezTo>
                    <a:pt x="24124" y="74344"/>
                    <a:pt x="24173" y="74292"/>
                    <a:pt x="24228" y="74240"/>
                  </a:cubicBezTo>
                  <a:lnTo>
                    <a:pt x="24228" y="74240"/>
                  </a:lnTo>
                  <a:cubicBezTo>
                    <a:pt x="24166" y="74362"/>
                    <a:pt x="24100" y="74487"/>
                    <a:pt x="24054" y="74610"/>
                  </a:cubicBezTo>
                  <a:lnTo>
                    <a:pt x="24054" y="74610"/>
                  </a:lnTo>
                  <a:cubicBezTo>
                    <a:pt x="24059" y="74600"/>
                    <a:pt x="24067" y="74595"/>
                    <a:pt x="24076" y="74595"/>
                  </a:cubicBezTo>
                  <a:cubicBezTo>
                    <a:pt x="24082" y="74595"/>
                    <a:pt x="24087" y="74597"/>
                    <a:pt x="24092" y="74600"/>
                  </a:cubicBezTo>
                  <a:cubicBezTo>
                    <a:pt x="24332" y="74271"/>
                    <a:pt x="24575" y="73948"/>
                    <a:pt x="24832" y="73639"/>
                  </a:cubicBezTo>
                  <a:cubicBezTo>
                    <a:pt x="26087" y="72406"/>
                    <a:pt x="27326" y="71159"/>
                    <a:pt x="28544" y="69892"/>
                  </a:cubicBezTo>
                  <a:cubicBezTo>
                    <a:pt x="28790" y="69675"/>
                    <a:pt x="29038" y="69464"/>
                    <a:pt x="29286" y="69251"/>
                  </a:cubicBezTo>
                  <a:lnTo>
                    <a:pt x="29286" y="69251"/>
                  </a:lnTo>
                  <a:cubicBezTo>
                    <a:pt x="29136" y="69363"/>
                    <a:pt x="28986" y="69476"/>
                    <a:pt x="28836" y="69589"/>
                  </a:cubicBezTo>
                  <a:cubicBezTo>
                    <a:pt x="29670" y="68723"/>
                    <a:pt x="30504" y="67854"/>
                    <a:pt x="31330" y="66976"/>
                  </a:cubicBezTo>
                  <a:cubicBezTo>
                    <a:pt x="31691" y="66673"/>
                    <a:pt x="32035" y="66373"/>
                    <a:pt x="32349" y="66078"/>
                  </a:cubicBezTo>
                  <a:cubicBezTo>
                    <a:pt x="33810" y="64707"/>
                    <a:pt x="35242" y="63304"/>
                    <a:pt x="36668" y="61895"/>
                  </a:cubicBezTo>
                  <a:cubicBezTo>
                    <a:pt x="39443" y="59377"/>
                    <a:pt x="42197" y="56843"/>
                    <a:pt x="44908" y="54224"/>
                  </a:cubicBezTo>
                  <a:cubicBezTo>
                    <a:pt x="45803" y="53364"/>
                    <a:pt x="46660" y="52483"/>
                    <a:pt x="47506" y="51597"/>
                  </a:cubicBezTo>
                  <a:cubicBezTo>
                    <a:pt x="48280" y="50927"/>
                    <a:pt x="49053" y="50254"/>
                    <a:pt x="49833" y="49579"/>
                  </a:cubicBezTo>
                  <a:lnTo>
                    <a:pt x="49833" y="49579"/>
                  </a:lnTo>
                  <a:cubicBezTo>
                    <a:pt x="47018" y="52394"/>
                    <a:pt x="44229" y="55226"/>
                    <a:pt x="41409" y="57928"/>
                  </a:cubicBezTo>
                  <a:cubicBezTo>
                    <a:pt x="38210" y="60994"/>
                    <a:pt x="35118" y="64201"/>
                    <a:pt x="31778" y="67114"/>
                  </a:cubicBezTo>
                  <a:cubicBezTo>
                    <a:pt x="30946" y="67836"/>
                    <a:pt x="30112" y="68541"/>
                    <a:pt x="29283" y="69251"/>
                  </a:cubicBezTo>
                  <a:cubicBezTo>
                    <a:pt x="30707" y="68194"/>
                    <a:pt x="32098" y="67230"/>
                    <a:pt x="33025" y="66427"/>
                  </a:cubicBezTo>
                  <a:cubicBezTo>
                    <a:pt x="34229" y="65385"/>
                    <a:pt x="35392" y="64285"/>
                    <a:pt x="36544" y="63171"/>
                  </a:cubicBezTo>
                  <a:lnTo>
                    <a:pt x="36544" y="63171"/>
                  </a:lnTo>
                  <a:cubicBezTo>
                    <a:pt x="35490" y="64225"/>
                    <a:pt x="34494" y="65316"/>
                    <a:pt x="33602" y="66468"/>
                  </a:cubicBezTo>
                  <a:cubicBezTo>
                    <a:pt x="33545" y="66542"/>
                    <a:pt x="33610" y="66640"/>
                    <a:pt x="33678" y="66640"/>
                  </a:cubicBezTo>
                  <a:cubicBezTo>
                    <a:pt x="33700" y="66640"/>
                    <a:pt x="33722" y="66630"/>
                    <a:pt x="33741" y="66606"/>
                  </a:cubicBezTo>
                  <a:cubicBezTo>
                    <a:pt x="37133" y="62296"/>
                    <a:pt x="42050" y="58861"/>
                    <a:pt x="46057" y="55125"/>
                  </a:cubicBezTo>
                  <a:cubicBezTo>
                    <a:pt x="47391" y="53880"/>
                    <a:pt x="48716" y="52622"/>
                    <a:pt x="50038" y="51349"/>
                  </a:cubicBezTo>
                  <a:lnTo>
                    <a:pt x="50038" y="51349"/>
                  </a:lnTo>
                  <a:cubicBezTo>
                    <a:pt x="44937" y="56568"/>
                    <a:pt x="39549" y="61453"/>
                    <a:pt x="34330" y="66546"/>
                  </a:cubicBezTo>
                  <a:cubicBezTo>
                    <a:pt x="34235" y="66640"/>
                    <a:pt x="34322" y="66779"/>
                    <a:pt x="34432" y="66779"/>
                  </a:cubicBezTo>
                  <a:cubicBezTo>
                    <a:pt x="34453" y="66779"/>
                    <a:pt x="34475" y="66774"/>
                    <a:pt x="34497" y="66762"/>
                  </a:cubicBezTo>
                  <a:cubicBezTo>
                    <a:pt x="36530" y="65680"/>
                    <a:pt x="38343" y="64210"/>
                    <a:pt x="40046" y="62579"/>
                  </a:cubicBezTo>
                  <a:lnTo>
                    <a:pt x="40046" y="62579"/>
                  </a:lnTo>
                  <a:cubicBezTo>
                    <a:pt x="39038" y="63734"/>
                    <a:pt x="38068" y="64909"/>
                    <a:pt x="37127" y="66113"/>
                  </a:cubicBezTo>
                  <a:cubicBezTo>
                    <a:pt x="37052" y="66207"/>
                    <a:pt x="37118" y="66366"/>
                    <a:pt x="37225" y="66366"/>
                  </a:cubicBezTo>
                  <a:cubicBezTo>
                    <a:pt x="37249" y="66366"/>
                    <a:pt x="37276" y="66357"/>
                    <a:pt x="37303" y="66338"/>
                  </a:cubicBezTo>
                  <a:cubicBezTo>
                    <a:pt x="42009" y="63000"/>
                    <a:pt x="45933" y="58858"/>
                    <a:pt x="49827" y="54631"/>
                  </a:cubicBezTo>
                  <a:cubicBezTo>
                    <a:pt x="50725" y="53655"/>
                    <a:pt x="51629" y="52694"/>
                    <a:pt x="52544" y="51744"/>
                  </a:cubicBezTo>
                  <a:cubicBezTo>
                    <a:pt x="52650" y="51662"/>
                    <a:pt x="52728" y="51613"/>
                    <a:pt x="52763" y="51613"/>
                  </a:cubicBezTo>
                  <a:cubicBezTo>
                    <a:pt x="52876" y="51613"/>
                    <a:pt x="52571" y="52102"/>
                    <a:pt x="51401" y="53592"/>
                  </a:cubicBezTo>
                  <a:cubicBezTo>
                    <a:pt x="50003" y="55367"/>
                    <a:pt x="48366" y="56964"/>
                    <a:pt x="46770" y="58563"/>
                  </a:cubicBezTo>
                  <a:cubicBezTo>
                    <a:pt x="46750" y="58551"/>
                    <a:pt x="46728" y="58545"/>
                    <a:pt x="46706" y="58545"/>
                  </a:cubicBezTo>
                  <a:cubicBezTo>
                    <a:pt x="46675" y="58545"/>
                    <a:pt x="46645" y="58556"/>
                    <a:pt x="46620" y="58578"/>
                  </a:cubicBezTo>
                  <a:cubicBezTo>
                    <a:pt x="44068" y="60971"/>
                    <a:pt x="41365" y="63151"/>
                    <a:pt x="39191" y="65916"/>
                  </a:cubicBezTo>
                  <a:cubicBezTo>
                    <a:pt x="39111" y="66003"/>
                    <a:pt x="39189" y="66119"/>
                    <a:pt x="39280" y="66119"/>
                  </a:cubicBezTo>
                  <a:cubicBezTo>
                    <a:pt x="39307" y="66119"/>
                    <a:pt x="39336" y="66108"/>
                    <a:pt x="39362" y="66084"/>
                  </a:cubicBezTo>
                  <a:cubicBezTo>
                    <a:pt x="41184" y="64577"/>
                    <a:pt x="43046" y="62949"/>
                    <a:pt x="44856" y="61228"/>
                  </a:cubicBezTo>
                  <a:lnTo>
                    <a:pt x="44856" y="61228"/>
                  </a:lnTo>
                  <a:cubicBezTo>
                    <a:pt x="43251" y="63347"/>
                    <a:pt x="41235" y="65198"/>
                    <a:pt x="39402" y="67094"/>
                  </a:cubicBezTo>
                  <a:cubicBezTo>
                    <a:pt x="39324" y="67177"/>
                    <a:pt x="39399" y="67317"/>
                    <a:pt x="39491" y="67317"/>
                  </a:cubicBezTo>
                  <a:cubicBezTo>
                    <a:pt x="39512" y="67317"/>
                    <a:pt x="39534" y="67310"/>
                    <a:pt x="39555" y="67293"/>
                  </a:cubicBezTo>
                  <a:cubicBezTo>
                    <a:pt x="39844" y="67083"/>
                    <a:pt x="40130" y="66869"/>
                    <a:pt x="40416" y="66650"/>
                  </a:cubicBezTo>
                  <a:cubicBezTo>
                    <a:pt x="41014" y="66133"/>
                    <a:pt x="41309" y="65939"/>
                    <a:pt x="41416" y="65939"/>
                  </a:cubicBezTo>
                  <a:cubicBezTo>
                    <a:pt x="41686" y="65939"/>
                    <a:pt x="40781" y="67159"/>
                    <a:pt x="40569" y="67553"/>
                  </a:cubicBezTo>
                  <a:cubicBezTo>
                    <a:pt x="40520" y="67642"/>
                    <a:pt x="40589" y="67746"/>
                    <a:pt x="40677" y="67746"/>
                  </a:cubicBezTo>
                  <a:cubicBezTo>
                    <a:pt x="40698" y="67746"/>
                    <a:pt x="40720" y="67740"/>
                    <a:pt x="40742" y="67727"/>
                  </a:cubicBezTo>
                  <a:cubicBezTo>
                    <a:pt x="41068" y="67436"/>
                    <a:pt x="41289" y="67291"/>
                    <a:pt x="41406" y="67291"/>
                  </a:cubicBezTo>
                  <a:cubicBezTo>
                    <a:pt x="41585" y="67291"/>
                    <a:pt x="41521" y="67629"/>
                    <a:pt x="41212" y="68304"/>
                  </a:cubicBezTo>
                  <a:cubicBezTo>
                    <a:pt x="41159" y="68398"/>
                    <a:pt x="41234" y="68505"/>
                    <a:pt x="41326" y="68505"/>
                  </a:cubicBezTo>
                  <a:cubicBezTo>
                    <a:pt x="41347" y="68505"/>
                    <a:pt x="41370" y="68499"/>
                    <a:pt x="41391" y="68486"/>
                  </a:cubicBezTo>
                  <a:cubicBezTo>
                    <a:pt x="41622" y="68367"/>
                    <a:pt x="41842" y="68223"/>
                    <a:pt x="42038" y="68056"/>
                  </a:cubicBezTo>
                  <a:cubicBezTo>
                    <a:pt x="42150" y="67970"/>
                    <a:pt x="42080" y="67798"/>
                    <a:pt x="41975" y="67798"/>
                  </a:cubicBezTo>
                  <a:cubicBezTo>
                    <a:pt x="41953" y="67798"/>
                    <a:pt x="41929" y="67806"/>
                    <a:pt x="41905" y="67825"/>
                  </a:cubicBezTo>
                  <a:cubicBezTo>
                    <a:pt x="41817" y="67892"/>
                    <a:pt x="41761" y="67921"/>
                    <a:pt x="41729" y="67921"/>
                  </a:cubicBezTo>
                  <a:cubicBezTo>
                    <a:pt x="41557" y="67921"/>
                    <a:pt x="42106" y="67061"/>
                    <a:pt x="42206" y="66788"/>
                  </a:cubicBezTo>
                  <a:cubicBezTo>
                    <a:pt x="42238" y="66703"/>
                    <a:pt x="42156" y="66625"/>
                    <a:pt x="42075" y="66625"/>
                  </a:cubicBezTo>
                  <a:cubicBezTo>
                    <a:pt x="42054" y="66625"/>
                    <a:pt x="42034" y="66630"/>
                    <a:pt x="42015" y="66641"/>
                  </a:cubicBezTo>
                  <a:cubicBezTo>
                    <a:pt x="41644" y="66870"/>
                    <a:pt x="41425" y="66964"/>
                    <a:pt x="41313" y="66964"/>
                  </a:cubicBezTo>
                  <a:cubicBezTo>
                    <a:pt x="40924" y="66964"/>
                    <a:pt x="41820" y="65832"/>
                    <a:pt x="42076" y="65307"/>
                  </a:cubicBezTo>
                  <a:cubicBezTo>
                    <a:pt x="42113" y="65231"/>
                    <a:pt x="42053" y="65121"/>
                    <a:pt x="41973" y="65121"/>
                  </a:cubicBezTo>
                  <a:cubicBezTo>
                    <a:pt x="41953" y="65121"/>
                    <a:pt x="41932" y="65127"/>
                    <a:pt x="41911" y="65143"/>
                  </a:cubicBezTo>
                  <a:cubicBezTo>
                    <a:pt x="41105" y="65745"/>
                    <a:pt x="41131" y="65686"/>
                    <a:pt x="40696" y="66131"/>
                  </a:cubicBezTo>
                  <a:lnTo>
                    <a:pt x="40696" y="66131"/>
                  </a:lnTo>
                  <a:cubicBezTo>
                    <a:pt x="41366" y="65444"/>
                    <a:pt x="42037" y="64759"/>
                    <a:pt x="42702" y="64063"/>
                  </a:cubicBezTo>
                  <a:cubicBezTo>
                    <a:pt x="43834" y="62879"/>
                    <a:pt x="44870" y="61644"/>
                    <a:pt x="45800" y="60318"/>
                  </a:cubicBezTo>
                  <a:cubicBezTo>
                    <a:pt x="48649" y="57524"/>
                    <a:pt x="51317" y="54501"/>
                    <a:pt x="53407" y="51328"/>
                  </a:cubicBezTo>
                  <a:cubicBezTo>
                    <a:pt x="53436" y="51360"/>
                    <a:pt x="53478" y="51379"/>
                    <a:pt x="53520" y="51379"/>
                  </a:cubicBezTo>
                  <a:cubicBezTo>
                    <a:pt x="53528" y="51379"/>
                    <a:pt x="53535" y="51379"/>
                    <a:pt x="53543" y="51377"/>
                  </a:cubicBezTo>
                  <a:cubicBezTo>
                    <a:pt x="54065" y="51276"/>
                    <a:pt x="54571" y="51097"/>
                    <a:pt x="55038" y="50840"/>
                  </a:cubicBezTo>
                  <a:lnTo>
                    <a:pt x="55038" y="50840"/>
                  </a:lnTo>
                  <a:cubicBezTo>
                    <a:pt x="54839" y="51123"/>
                    <a:pt x="54640" y="51403"/>
                    <a:pt x="54458" y="51701"/>
                  </a:cubicBezTo>
                  <a:cubicBezTo>
                    <a:pt x="54400" y="51795"/>
                    <a:pt x="54477" y="51922"/>
                    <a:pt x="54579" y="51922"/>
                  </a:cubicBezTo>
                  <a:cubicBezTo>
                    <a:pt x="54593" y="51922"/>
                    <a:pt x="54608" y="51920"/>
                    <a:pt x="54623" y="51914"/>
                  </a:cubicBezTo>
                  <a:cubicBezTo>
                    <a:pt x="55295" y="51683"/>
                    <a:pt x="55939" y="51366"/>
                    <a:pt x="56534" y="50973"/>
                  </a:cubicBezTo>
                  <a:lnTo>
                    <a:pt x="56534" y="50973"/>
                  </a:lnTo>
                  <a:cubicBezTo>
                    <a:pt x="56098" y="51455"/>
                    <a:pt x="55656" y="51932"/>
                    <a:pt x="55229" y="52423"/>
                  </a:cubicBezTo>
                  <a:cubicBezTo>
                    <a:pt x="55131" y="52539"/>
                    <a:pt x="55222" y="52675"/>
                    <a:pt x="55338" y="52675"/>
                  </a:cubicBezTo>
                  <a:cubicBezTo>
                    <a:pt x="55372" y="52675"/>
                    <a:pt x="55408" y="52664"/>
                    <a:pt x="55442" y="52636"/>
                  </a:cubicBezTo>
                  <a:cubicBezTo>
                    <a:pt x="57178" y="51222"/>
                    <a:pt x="58869" y="49758"/>
                    <a:pt x="60570" y="48303"/>
                  </a:cubicBezTo>
                  <a:cubicBezTo>
                    <a:pt x="61572" y="47444"/>
                    <a:pt x="61961" y="47129"/>
                    <a:pt x="62007" y="47129"/>
                  </a:cubicBezTo>
                  <a:cubicBezTo>
                    <a:pt x="62094" y="47129"/>
                    <a:pt x="60901" y="48304"/>
                    <a:pt x="60376" y="49004"/>
                  </a:cubicBezTo>
                  <a:cubicBezTo>
                    <a:pt x="60290" y="49118"/>
                    <a:pt x="60408" y="49229"/>
                    <a:pt x="60522" y="49229"/>
                  </a:cubicBezTo>
                  <a:cubicBezTo>
                    <a:pt x="60544" y="49229"/>
                    <a:pt x="60567" y="49225"/>
                    <a:pt x="60587" y="49215"/>
                  </a:cubicBezTo>
                  <a:cubicBezTo>
                    <a:pt x="61404" y="48836"/>
                    <a:pt x="62747" y="47558"/>
                    <a:pt x="62958" y="47558"/>
                  </a:cubicBezTo>
                  <a:cubicBezTo>
                    <a:pt x="63044" y="47558"/>
                    <a:pt x="62940" y="47773"/>
                    <a:pt x="62530" y="48355"/>
                  </a:cubicBezTo>
                  <a:cubicBezTo>
                    <a:pt x="62446" y="48473"/>
                    <a:pt x="62563" y="48585"/>
                    <a:pt x="62679" y="48585"/>
                  </a:cubicBezTo>
                  <a:cubicBezTo>
                    <a:pt x="62702" y="48585"/>
                    <a:pt x="62725" y="48581"/>
                    <a:pt x="62747" y="48571"/>
                  </a:cubicBezTo>
                  <a:cubicBezTo>
                    <a:pt x="63448" y="48242"/>
                    <a:pt x="63927" y="47901"/>
                    <a:pt x="64502" y="47362"/>
                  </a:cubicBezTo>
                  <a:cubicBezTo>
                    <a:pt x="64616" y="47249"/>
                    <a:pt x="64506" y="47090"/>
                    <a:pt x="64381" y="47090"/>
                  </a:cubicBezTo>
                  <a:cubicBezTo>
                    <a:pt x="64346" y="47090"/>
                    <a:pt x="64309" y="47103"/>
                    <a:pt x="64277" y="47134"/>
                  </a:cubicBezTo>
                  <a:cubicBezTo>
                    <a:pt x="63979" y="47415"/>
                    <a:pt x="63662" y="47683"/>
                    <a:pt x="63560" y="47683"/>
                  </a:cubicBezTo>
                  <a:cubicBezTo>
                    <a:pt x="63461" y="47683"/>
                    <a:pt x="63566" y="47428"/>
                    <a:pt x="64092" y="46680"/>
                  </a:cubicBezTo>
                  <a:cubicBezTo>
                    <a:pt x="64172" y="46567"/>
                    <a:pt x="64063" y="46447"/>
                    <a:pt x="63950" y="46447"/>
                  </a:cubicBezTo>
                  <a:cubicBezTo>
                    <a:pt x="63914" y="46447"/>
                    <a:pt x="63877" y="46460"/>
                    <a:pt x="63847" y="46490"/>
                  </a:cubicBezTo>
                  <a:cubicBezTo>
                    <a:pt x="62292" y="48027"/>
                    <a:pt x="61648" y="48558"/>
                    <a:pt x="61504" y="48558"/>
                  </a:cubicBezTo>
                  <a:cubicBezTo>
                    <a:pt x="61245" y="48558"/>
                    <a:pt x="62614" y="46830"/>
                    <a:pt x="63203" y="46169"/>
                  </a:cubicBezTo>
                  <a:cubicBezTo>
                    <a:pt x="63308" y="46053"/>
                    <a:pt x="63212" y="45914"/>
                    <a:pt x="63092" y="45914"/>
                  </a:cubicBezTo>
                  <a:cubicBezTo>
                    <a:pt x="63057" y="45914"/>
                    <a:pt x="63021" y="45926"/>
                    <a:pt x="62986" y="45953"/>
                  </a:cubicBezTo>
                  <a:cubicBezTo>
                    <a:pt x="60777" y="47695"/>
                    <a:pt x="58666" y="49546"/>
                    <a:pt x="56520" y="51366"/>
                  </a:cubicBezTo>
                  <a:lnTo>
                    <a:pt x="56520" y="51366"/>
                  </a:lnTo>
                  <a:cubicBezTo>
                    <a:pt x="58680" y="49533"/>
                    <a:pt x="60566" y="47235"/>
                    <a:pt x="62660" y="45303"/>
                  </a:cubicBezTo>
                  <a:cubicBezTo>
                    <a:pt x="62773" y="45202"/>
                    <a:pt x="62670" y="45058"/>
                    <a:pt x="62551" y="45058"/>
                  </a:cubicBezTo>
                  <a:cubicBezTo>
                    <a:pt x="62518" y="45058"/>
                    <a:pt x="62484" y="45069"/>
                    <a:pt x="62452" y="45095"/>
                  </a:cubicBezTo>
                  <a:cubicBezTo>
                    <a:pt x="61777" y="45655"/>
                    <a:pt x="61153" y="46265"/>
                    <a:pt x="60535" y="46882"/>
                  </a:cubicBezTo>
                  <a:cubicBezTo>
                    <a:pt x="60368" y="47041"/>
                    <a:pt x="60180" y="47214"/>
                    <a:pt x="59958" y="47425"/>
                  </a:cubicBezTo>
                  <a:cubicBezTo>
                    <a:pt x="59196" y="48144"/>
                    <a:pt x="58465" y="48892"/>
                    <a:pt x="57746" y="49648"/>
                  </a:cubicBezTo>
                  <a:cubicBezTo>
                    <a:pt x="57325" y="50035"/>
                    <a:pt x="56900" y="50416"/>
                    <a:pt x="56447" y="50768"/>
                  </a:cubicBezTo>
                  <a:lnTo>
                    <a:pt x="56216" y="50047"/>
                  </a:lnTo>
                  <a:cubicBezTo>
                    <a:pt x="57305" y="49160"/>
                    <a:pt x="58246" y="47991"/>
                    <a:pt x="59138" y="46952"/>
                  </a:cubicBezTo>
                  <a:cubicBezTo>
                    <a:pt x="60079" y="46103"/>
                    <a:pt x="61023" y="45260"/>
                    <a:pt x="61904" y="44330"/>
                  </a:cubicBezTo>
                  <a:cubicBezTo>
                    <a:pt x="61991" y="44238"/>
                    <a:pt x="61910" y="44080"/>
                    <a:pt x="61803" y="44080"/>
                  </a:cubicBezTo>
                  <a:cubicBezTo>
                    <a:pt x="61780" y="44080"/>
                    <a:pt x="61755" y="44087"/>
                    <a:pt x="61730" y="44105"/>
                  </a:cubicBezTo>
                  <a:cubicBezTo>
                    <a:pt x="60651" y="44879"/>
                    <a:pt x="59744" y="45820"/>
                    <a:pt x="58861" y="46796"/>
                  </a:cubicBezTo>
                  <a:cubicBezTo>
                    <a:pt x="58433" y="47197"/>
                    <a:pt x="58044" y="47564"/>
                    <a:pt x="57847" y="47737"/>
                  </a:cubicBezTo>
                  <a:cubicBezTo>
                    <a:pt x="57048" y="48441"/>
                    <a:pt x="56311" y="49212"/>
                    <a:pt x="55645" y="50041"/>
                  </a:cubicBezTo>
                  <a:cubicBezTo>
                    <a:pt x="55408" y="50237"/>
                    <a:pt x="55165" y="50428"/>
                    <a:pt x="54905" y="50612"/>
                  </a:cubicBezTo>
                  <a:cubicBezTo>
                    <a:pt x="55379" y="50275"/>
                    <a:pt x="57331" y="47382"/>
                    <a:pt x="58130" y="46539"/>
                  </a:cubicBezTo>
                  <a:cubicBezTo>
                    <a:pt x="58555" y="46091"/>
                    <a:pt x="58979" y="45641"/>
                    <a:pt x="59403" y="45193"/>
                  </a:cubicBezTo>
                  <a:cubicBezTo>
                    <a:pt x="60613" y="44140"/>
                    <a:pt x="61777" y="43040"/>
                    <a:pt x="62680" y="41715"/>
                  </a:cubicBezTo>
                  <a:cubicBezTo>
                    <a:pt x="62750" y="41614"/>
                    <a:pt x="62649" y="41501"/>
                    <a:pt x="62549" y="41501"/>
                  </a:cubicBezTo>
                  <a:cubicBezTo>
                    <a:pt x="62516" y="41501"/>
                    <a:pt x="62484" y="41513"/>
                    <a:pt x="62458" y="41541"/>
                  </a:cubicBezTo>
                  <a:cubicBezTo>
                    <a:pt x="61468" y="42604"/>
                    <a:pt x="60469" y="43655"/>
                    <a:pt x="59470" y="44708"/>
                  </a:cubicBezTo>
                  <a:cubicBezTo>
                    <a:pt x="59204" y="44919"/>
                    <a:pt x="58944" y="45127"/>
                    <a:pt x="58705" y="45335"/>
                  </a:cubicBezTo>
                  <a:cubicBezTo>
                    <a:pt x="56257" y="47460"/>
                    <a:pt x="53979" y="49775"/>
                    <a:pt x="51759" y="52134"/>
                  </a:cubicBezTo>
                  <a:cubicBezTo>
                    <a:pt x="49692" y="53883"/>
                    <a:pt x="47763" y="55780"/>
                    <a:pt x="45768" y="57625"/>
                  </a:cubicBezTo>
                  <a:cubicBezTo>
                    <a:pt x="44616" y="58693"/>
                    <a:pt x="43407" y="59683"/>
                    <a:pt x="42240" y="60705"/>
                  </a:cubicBezTo>
                  <a:cubicBezTo>
                    <a:pt x="46966" y="55766"/>
                    <a:pt x="52183" y="51250"/>
                    <a:pt x="56915" y="46314"/>
                  </a:cubicBezTo>
                  <a:cubicBezTo>
                    <a:pt x="57524" y="45678"/>
                    <a:pt x="58119" y="45032"/>
                    <a:pt x="58719" y="44391"/>
                  </a:cubicBezTo>
                  <a:cubicBezTo>
                    <a:pt x="60105" y="43028"/>
                    <a:pt x="61436" y="41619"/>
                    <a:pt x="62660" y="40130"/>
                  </a:cubicBezTo>
                  <a:cubicBezTo>
                    <a:pt x="62748" y="40022"/>
                    <a:pt x="62656" y="39878"/>
                    <a:pt x="62551" y="39878"/>
                  </a:cubicBezTo>
                  <a:cubicBezTo>
                    <a:pt x="62519" y="39878"/>
                    <a:pt x="62485" y="39892"/>
                    <a:pt x="62455" y="39925"/>
                  </a:cubicBezTo>
                  <a:cubicBezTo>
                    <a:pt x="60760" y="41787"/>
                    <a:pt x="58985" y="43597"/>
                    <a:pt x="57180" y="45384"/>
                  </a:cubicBezTo>
                  <a:cubicBezTo>
                    <a:pt x="55422" y="46949"/>
                    <a:pt x="53601" y="48456"/>
                    <a:pt x="51897" y="50058"/>
                  </a:cubicBezTo>
                  <a:cubicBezTo>
                    <a:pt x="47009" y="54648"/>
                    <a:pt x="42627" y="59787"/>
                    <a:pt x="37690" y="64305"/>
                  </a:cubicBezTo>
                  <a:cubicBezTo>
                    <a:pt x="36450" y="65439"/>
                    <a:pt x="35935" y="65876"/>
                    <a:pt x="35879" y="65876"/>
                  </a:cubicBezTo>
                  <a:cubicBezTo>
                    <a:pt x="35706" y="65876"/>
                    <a:pt x="39810" y="61803"/>
                    <a:pt x="40606" y="61075"/>
                  </a:cubicBezTo>
                  <a:cubicBezTo>
                    <a:pt x="43516" y="58416"/>
                    <a:pt x="46250" y="55558"/>
                    <a:pt x="49025" y="52755"/>
                  </a:cubicBezTo>
                  <a:cubicBezTo>
                    <a:pt x="53361" y="48375"/>
                    <a:pt x="58742" y="44272"/>
                    <a:pt x="62025" y="39015"/>
                  </a:cubicBezTo>
                  <a:cubicBezTo>
                    <a:pt x="62088" y="38915"/>
                    <a:pt x="62000" y="38824"/>
                    <a:pt x="61907" y="38824"/>
                  </a:cubicBezTo>
                  <a:cubicBezTo>
                    <a:pt x="61876" y="38824"/>
                    <a:pt x="61844" y="38834"/>
                    <a:pt x="61817" y="38856"/>
                  </a:cubicBezTo>
                  <a:cubicBezTo>
                    <a:pt x="61750" y="38914"/>
                    <a:pt x="61683" y="38972"/>
                    <a:pt x="61616" y="39030"/>
                  </a:cubicBezTo>
                  <a:lnTo>
                    <a:pt x="61616" y="39030"/>
                  </a:lnTo>
                  <a:cubicBezTo>
                    <a:pt x="61689" y="38932"/>
                    <a:pt x="61588" y="38803"/>
                    <a:pt x="61474" y="38803"/>
                  </a:cubicBezTo>
                  <a:cubicBezTo>
                    <a:pt x="61440" y="38803"/>
                    <a:pt x="61404" y="38815"/>
                    <a:pt x="61372" y="38842"/>
                  </a:cubicBezTo>
                  <a:cubicBezTo>
                    <a:pt x="60122" y="39876"/>
                    <a:pt x="58895" y="40958"/>
                    <a:pt x="57680" y="42058"/>
                  </a:cubicBezTo>
                  <a:cubicBezTo>
                    <a:pt x="58838" y="40745"/>
                    <a:pt x="59917" y="39388"/>
                    <a:pt x="60856" y="37947"/>
                  </a:cubicBezTo>
                  <a:cubicBezTo>
                    <a:pt x="60922" y="37843"/>
                    <a:pt x="60828" y="37726"/>
                    <a:pt x="60723" y="37726"/>
                  </a:cubicBezTo>
                  <a:cubicBezTo>
                    <a:pt x="60700" y="37726"/>
                    <a:pt x="60676" y="37732"/>
                    <a:pt x="60653" y="37745"/>
                  </a:cubicBezTo>
                  <a:cubicBezTo>
                    <a:pt x="59608" y="38348"/>
                    <a:pt x="58685" y="39064"/>
                    <a:pt x="57824" y="39844"/>
                  </a:cubicBezTo>
                  <a:cubicBezTo>
                    <a:pt x="58638" y="38946"/>
                    <a:pt x="59432" y="38042"/>
                    <a:pt x="60192" y="37121"/>
                  </a:cubicBezTo>
                  <a:cubicBezTo>
                    <a:pt x="60294" y="36999"/>
                    <a:pt x="60201" y="36858"/>
                    <a:pt x="60080" y="36858"/>
                  </a:cubicBezTo>
                  <a:cubicBezTo>
                    <a:pt x="60044" y="36858"/>
                    <a:pt x="60006" y="36870"/>
                    <a:pt x="59969" y="36899"/>
                  </a:cubicBezTo>
                  <a:cubicBezTo>
                    <a:pt x="56467" y="39659"/>
                    <a:pt x="53188" y="42676"/>
                    <a:pt x="50009" y="45808"/>
                  </a:cubicBezTo>
                  <a:cubicBezTo>
                    <a:pt x="52977" y="42760"/>
                    <a:pt x="55971" y="39746"/>
                    <a:pt x="59216" y="37006"/>
                  </a:cubicBezTo>
                  <a:cubicBezTo>
                    <a:pt x="59338" y="36904"/>
                    <a:pt x="59220" y="36757"/>
                    <a:pt x="59092" y="36757"/>
                  </a:cubicBezTo>
                  <a:cubicBezTo>
                    <a:pt x="59072" y="36757"/>
                    <a:pt x="59051" y="36761"/>
                    <a:pt x="59031" y="36769"/>
                  </a:cubicBezTo>
                  <a:cubicBezTo>
                    <a:pt x="58685" y="36925"/>
                    <a:pt x="58350" y="37104"/>
                    <a:pt x="58029" y="37306"/>
                  </a:cubicBezTo>
                  <a:cubicBezTo>
                    <a:pt x="57740" y="37667"/>
                    <a:pt x="56828" y="38701"/>
                    <a:pt x="56398" y="39090"/>
                  </a:cubicBezTo>
                  <a:cubicBezTo>
                    <a:pt x="56049" y="39408"/>
                    <a:pt x="55722" y="39751"/>
                    <a:pt x="55382" y="40081"/>
                  </a:cubicBezTo>
                  <a:cubicBezTo>
                    <a:pt x="55748" y="39682"/>
                    <a:pt x="56124" y="39292"/>
                    <a:pt x="56488" y="38894"/>
                  </a:cubicBezTo>
                  <a:cubicBezTo>
                    <a:pt x="57189" y="38126"/>
                    <a:pt x="57613" y="37673"/>
                    <a:pt x="57859" y="37422"/>
                  </a:cubicBezTo>
                  <a:lnTo>
                    <a:pt x="57859" y="37422"/>
                  </a:lnTo>
                  <a:cubicBezTo>
                    <a:pt x="57697" y="37528"/>
                    <a:pt x="57536" y="37632"/>
                    <a:pt x="57385" y="37748"/>
                  </a:cubicBezTo>
                  <a:cubicBezTo>
                    <a:pt x="57922" y="37248"/>
                    <a:pt x="58448" y="36737"/>
                    <a:pt x="58991" y="36244"/>
                  </a:cubicBezTo>
                  <a:cubicBezTo>
                    <a:pt x="59094" y="36151"/>
                    <a:pt x="58999" y="36013"/>
                    <a:pt x="58889" y="36013"/>
                  </a:cubicBezTo>
                  <a:cubicBezTo>
                    <a:pt x="58858" y="36013"/>
                    <a:pt x="58826" y="36024"/>
                    <a:pt x="58797" y="36050"/>
                  </a:cubicBezTo>
                  <a:cubicBezTo>
                    <a:pt x="58110" y="36654"/>
                    <a:pt x="57437" y="37266"/>
                    <a:pt x="56765" y="37884"/>
                  </a:cubicBezTo>
                  <a:cubicBezTo>
                    <a:pt x="57313" y="37326"/>
                    <a:pt x="57850" y="36752"/>
                    <a:pt x="58364" y="36154"/>
                  </a:cubicBezTo>
                  <a:cubicBezTo>
                    <a:pt x="58470" y="36033"/>
                    <a:pt x="58359" y="35869"/>
                    <a:pt x="58239" y="35869"/>
                  </a:cubicBezTo>
                  <a:cubicBezTo>
                    <a:pt x="58202" y="35869"/>
                    <a:pt x="58163" y="35885"/>
                    <a:pt x="58130" y="35923"/>
                  </a:cubicBezTo>
                  <a:cubicBezTo>
                    <a:pt x="58003" y="36071"/>
                    <a:pt x="57862" y="36206"/>
                    <a:pt x="57732" y="36353"/>
                  </a:cubicBezTo>
                  <a:cubicBezTo>
                    <a:pt x="57723" y="36359"/>
                    <a:pt x="57715" y="36353"/>
                    <a:pt x="57706" y="36362"/>
                  </a:cubicBezTo>
                  <a:cubicBezTo>
                    <a:pt x="53849" y="39448"/>
                    <a:pt x="50194" y="42838"/>
                    <a:pt x="46637" y="46337"/>
                  </a:cubicBezTo>
                  <a:cubicBezTo>
                    <a:pt x="44172" y="48346"/>
                    <a:pt x="41726" y="50373"/>
                    <a:pt x="39489" y="52581"/>
                  </a:cubicBezTo>
                  <a:cubicBezTo>
                    <a:pt x="36394" y="55630"/>
                    <a:pt x="33596" y="58938"/>
                    <a:pt x="30773" y="62233"/>
                  </a:cubicBezTo>
                  <a:cubicBezTo>
                    <a:pt x="29468" y="63754"/>
                    <a:pt x="28056" y="65151"/>
                    <a:pt x="26616" y="66523"/>
                  </a:cubicBezTo>
                  <a:cubicBezTo>
                    <a:pt x="31010" y="61670"/>
                    <a:pt x="35228" y="56646"/>
                    <a:pt x="39815" y="51958"/>
                  </a:cubicBezTo>
                  <a:cubicBezTo>
                    <a:pt x="43100" y="48603"/>
                    <a:pt x="46600" y="45476"/>
                    <a:pt x="50084" y="42335"/>
                  </a:cubicBezTo>
                  <a:cubicBezTo>
                    <a:pt x="52645" y="40026"/>
                    <a:pt x="55757" y="37993"/>
                    <a:pt x="57743" y="35152"/>
                  </a:cubicBezTo>
                  <a:cubicBezTo>
                    <a:pt x="57830" y="35030"/>
                    <a:pt x="57711" y="34912"/>
                    <a:pt x="57590" y="34912"/>
                  </a:cubicBezTo>
                  <a:cubicBezTo>
                    <a:pt x="57566" y="34912"/>
                    <a:pt x="57541" y="34917"/>
                    <a:pt x="57518" y="34927"/>
                  </a:cubicBezTo>
                  <a:cubicBezTo>
                    <a:pt x="57458" y="34956"/>
                    <a:pt x="57403" y="34991"/>
                    <a:pt x="57342" y="35020"/>
                  </a:cubicBezTo>
                  <a:cubicBezTo>
                    <a:pt x="57432" y="34933"/>
                    <a:pt x="57524" y="34846"/>
                    <a:pt x="57613" y="34757"/>
                  </a:cubicBezTo>
                  <a:cubicBezTo>
                    <a:pt x="57726" y="34644"/>
                    <a:pt x="57623" y="34471"/>
                    <a:pt x="57491" y="34471"/>
                  </a:cubicBezTo>
                  <a:cubicBezTo>
                    <a:pt x="57464" y="34471"/>
                    <a:pt x="57436" y="34478"/>
                    <a:pt x="57408" y="34494"/>
                  </a:cubicBezTo>
                  <a:cubicBezTo>
                    <a:pt x="56464" y="35023"/>
                    <a:pt x="55567" y="35669"/>
                    <a:pt x="54692" y="36359"/>
                  </a:cubicBezTo>
                  <a:cubicBezTo>
                    <a:pt x="55500" y="35513"/>
                    <a:pt x="56291" y="34653"/>
                    <a:pt x="57068" y="33781"/>
                  </a:cubicBezTo>
                  <a:cubicBezTo>
                    <a:pt x="57160" y="33674"/>
                    <a:pt x="57075" y="33503"/>
                    <a:pt x="56956" y="33503"/>
                  </a:cubicBezTo>
                  <a:cubicBezTo>
                    <a:pt x="56930" y="33503"/>
                    <a:pt x="56902" y="33511"/>
                    <a:pt x="56874" y="33530"/>
                  </a:cubicBezTo>
                  <a:cubicBezTo>
                    <a:pt x="55552" y="34431"/>
                    <a:pt x="54276" y="35392"/>
                    <a:pt x="53014" y="36377"/>
                  </a:cubicBezTo>
                  <a:cubicBezTo>
                    <a:pt x="54187" y="35178"/>
                    <a:pt x="55336" y="33966"/>
                    <a:pt x="56424" y="32707"/>
                  </a:cubicBezTo>
                  <a:cubicBezTo>
                    <a:pt x="56530" y="32586"/>
                    <a:pt x="56423" y="32422"/>
                    <a:pt x="56301" y="32422"/>
                  </a:cubicBezTo>
                  <a:cubicBezTo>
                    <a:pt x="56263" y="32422"/>
                    <a:pt x="56225" y="32437"/>
                    <a:pt x="56190" y="32473"/>
                  </a:cubicBezTo>
                  <a:cubicBezTo>
                    <a:pt x="50026" y="39009"/>
                    <a:pt x="42676" y="44275"/>
                    <a:pt x="36336" y="50641"/>
                  </a:cubicBezTo>
                  <a:cubicBezTo>
                    <a:pt x="33218" y="53768"/>
                    <a:pt x="30227" y="57001"/>
                    <a:pt x="27011" y="60030"/>
                  </a:cubicBezTo>
                  <a:cubicBezTo>
                    <a:pt x="27825" y="59071"/>
                    <a:pt x="28631" y="58145"/>
                    <a:pt x="29436" y="57302"/>
                  </a:cubicBezTo>
                  <a:cubicBezTo>
                    <a:pt x="29993" y="56724"/>
                    <a:pt x="30533" y="56127"/>
                    <a:pt x="31082" y="55540"/>
                  </a:cubicBezTo>
                  <a:cubicBezTo>
                    <a:pt x="32840" y="53745"/>
                    <a:pt x="34604" y="51961"/>
                    <a:pt x="36417" y="50246"/>
                  </a:cubicBezTo>
                  <a:cubicBezTo>
                    <a:pt x="40055" y="46802"/>
                    <a:pt x="43845" y="43528"/>
                    <a:pt x="47434" y="40031"/>
                  </a:cubicBezTo>
                  <a:cubicBezTo>
                    <a:pt x="50249" y="37289"/>
                    <a:pt x="53736" y="34907"/>
                    <a:pt x="55896" y="31587"/>
                  </a:cubicBezTo>
                  <a:cubicBezTo>
                    <a:pt x="55959" y="31491"/>
                    <a:pt x="55867" y="31364"/>
                    <a:pt x="55766" y="31364"/>
                  </a:cubicBezTo>
                  <a:cubicBezTo>
                    <a:pt x="55742" y="31364"/>
                    <a:pt x="55717" y="31371"/>
                    <a:pt x="55694" y="31388"/>
                  </a:cubicBezTo>
                  <a:cubicBezTo>
                    <a:pt x="55012" y="31870"/>
                    <a:pt x="54340" y="32361"/>
                    <a:pt x="53678" y="32863"/>
                  </a:cubicBezTo>
                  <a:cubicBezTo>
                    <a:pt x="54071" y="32410"/>
                    <a:pt x="54464" y="31959"/>
                    <a:pt x="54822" y="31483"/>
                  </a:cubicBezTo>
                  <a:cubicBezTo>
                    <a:pt x="54900" y="31376"/>
                    <a:pt x="54790" y="31257"/>
                    <a:pt x="54682" y="31257"/>
                  </a:cubicBezTo>
                  <a:cubicBezTo>
                    <a:pt x="54648" y="31257"/>
                    <a:pt x="54613" y="31270"/>
                    <a:pt x="54585" y="31298"/>
                  </a:cubicBezTo>
                  <a:cubicBezTo>
                    <a:pt x="53228" y="32698"/>
                    <a:pt x="51845" y="34070"/>
                    <a:pt x="50459" y="35438"/>
                  </a:cubicBezTo>
                  <a:cubicBezTo>
                    <a:pt x="48696" y="36914"/>
                    <a:pt x="46986" y="38447"/>
                    <a:pt x="45335" y="40034"/>
                  </a:cubicBezTo>
                  <a:cubicBezTo>
                    <a:pt x="44097" y="41033"/>
                    <a:pt x="42852" y="42026"/>
                    <a:pt x="41614" y="43028"/>
                  </a:cubicBezTo>
                  <a:cubicBezTo>
                    <a:pt x="45595" y="39385"/>
                    <a:pt x="49651" y="35814"/>
                    <a:pt x="53508" y="32052"/>
                  </a:cubicBezTo>
                  <a:cubicBezTo>
                    <a:pt x="53616" y="31946"/>
                    <a:pt x="53511" y="31792"/>
                    <a:pt x="53392" y="31792"/>
                  </a:cubicBezTo>
                  <a:cubicBezTo>
                    <a:pt x="53358" y="31792"/>
                    <a:pt x="53323" y="31805"/>
                    <a:pt x="53292" y="31835"/>
                  </a:cubicBezTo>
                  <a:cubicBezTo>
                    <a:pt x="52310" y="32785"/>
                    <a:pt x="51323" y="33729"/>
                    <a:pt x="50332" y="34665"/>
                  </a:cubicBezTo>
                  <a:cubicBezTo>
                    <a:pt x="50933" y="34032"/>
                    <a:pt x="51499" y="33368"/>
                    <a:pt x="52027" y="32673"/>
                  </a:cubicBezTo>
                  <a:cubicBezTo>
                    <a:pt x="52107" y="32567"/>
                    <a:pt x="51996" y="32429"/>
                    <a:pt x="51884" y="32429"/>
                  </a:cubicBezTo>
                  <a:cubicBezTo>
                    <a:pt x="51858" y="32429"/>
                    <a:pt x="51832" y="32436"/>
                    <a:pt x="51808" y="32453"/>
                  </a:cubicBezTo>
                  <a:cubicBezTo>
                    <a:pt x="51378" y="32745"/>
                    <a:pt x="50950" y="33036"/>
                    <a:pt x="50526" y="33331"/>
                  </a:cubicBezTo>
                  <a:cubicBezTo>
                    <a:pt x="51106" y="32618"/>
                    <a:pt x="51675" y="31893"/>
                    <a:pt x="52229" y="31154"/>
                  </a:cubicBezTo>
                  <a:cubicBezTo>
                    <a:pt x="52308" y="31046"/>
                    <a:pt x="52204" y="30949"/>
                    <a:pt x="52097" y="30949"/>
                  </a:cubicBezTo>
                  <a:cubicBezTo>
                    <a:pt x="52063" y="30949"/>
                    <a:pt x="52030" y="30959"/>
                    <a:pt x="52001" y="30981"/>
                  </a:cubicBezTo>
                  <a:cubicBezTo>
                    <a:pt x="50765" y="31974"/>
                    <a:pt x="49631" y="33056"/>
                    <a:pt x="48505" y="34171"/>
                  </a:cubicBezTo>
                  <a:cubicBezTo>
                    <a:pt x="47824" y="34844"/>
                    <a:pt x="47137" y="35508"/>
                    <a:pt x="46435" y="36157"/>
                  </a:cubicBezTo>
                  <a:cubicBezTo>
                    <a:pt x="46281" y="36298"/>
                    <a:pt x="45080" y="37457"/>
                    <a:pt x="45008" y="37457"/>
                  </a:cubicBezTo>
                  <a:cubicBezTo>
                    <a:pt x="44980" y="37457"/>
                    <a:pt x="45125" y="37280"/>
                    <a:pt x="45572" y="36795"/>
                  </a:cubicBezTo>
                  <a:cubicBezTo>
                    <a:pt x="47578" y="34621"/>
                    <a:pt x="50009" y="32981"/>
                    <a:pt x="51707" y="30519"/>
                  </a:cubicBezTo>
                  <a:cubicBezTo>
                    <a:pt x="51782" y="30408"/>
                    <a:pt x="51675" y="30267"/>
                    <a:pt x="51559" y="30267"/>
                  </a:cubicBezTo>
                  <a:cubicBezTo>
                    <a:pt x="51533" y="30267"/>
                    <a:pt x="51507" y="30274"/>
                    <a:pt x="51481" y="30291"/>
                  </a:cubicBezTo>
                  <a:cubicBezTo>
                    <a:pt x="49365" y="31714"/>
                    <a:pt x="47512" y="33412"/>
                    <a:pt x="45667" y="35167"/>
                  </a:cubicBezTo>
                  <a:cubicBezTo>
                    <a:pt x="47119" y="33784"/>
                    <a:pt x="48958" y="31974"/>
                    <a:pt x="50555" y="30230"/>
                  </a:cubicBezTo>
                  <a:cubicBezTo>
                    <a:pt x="50586" y="30198"/>
                    <a:pt x="50618" y="30169"/>
                    <a:pt x="50650" y="30138"/>
                  </a:cubicBezTo>
                  <a:cubicBezTo>
                    <a:pt x="50647" y="30138"/>
                    <a:pt x="50644" y="30138"/>
                    <a:pt x="50641" y="30135"/>
                  </a:cubicBezTo>
                  <a:cubicBezTo>
                    <a:pt x="50843" y="29913"/>
                    <a:pt x="51057" y="29687"/>
                    <a:pt x="51248" y="29471"/>
                  </a:cubicBezTo>
                  <a:cubicBezTo>
                    <a:pt x="51353" y="29352"/>
                    <a:pt x="51246" y="29189"/>
                    <a:pt x="51126" y="29189"/>
                  </a:cubicBezTo>
                  <a:cubicBezTo>
                    <a:pt x="51089" y="29189"/>
                    <a:pt x="51050" y="29205"/>
                    <a:pt x="51017" y="29243"/>
                  </a:cubicBezTo>
                  <a:cubicBezTo>
                    <a:pt x="50783" y="29505"/>
                    <a:pt x="50532" y="29751"/>
                    <a:pt x="50286" y="30002"/>
                  </a:cubicBezTo>
                  <a:cubicBezTo>
                    <a:pt x="50084" y="30002"/>
                    <a:pt x="49914" y="30178"/>
                    <a:pt x="49772" y="30516"/>
                  </a:cubicBezTo>
                  <a:cubicBezTo>
                    <a:pt x="48670" y="31573"/>
                    <a:pt x="47483" y="32531"/>
                    <a:pt x="46276" y="33490"/>
                  </a:cubicBezTo>
                  <a:cubicBezTo>
                    <a:pt x="45869" y="33813"/>
                    <a:pt x="45683" y="33942"/>
                    <a:pt x="45644" y="33942"/>
                  </a:cubicBezTo>
                  <a:cubicBezTo>
                    <a:pt x="45501" y="33942"/>
                    <a:pt x="47372" y="32183"/>
                    <a:pt x="47622" y="31922"/>
                  </a:cubicBezTo>
                  <a:cubicBezTo>
                    <a:pt x="48528" y="30981"/>
                    <a:pt x="49475" y="30083"/>
                    <a:pt x="50384" y="29145"/>
                  </a:cubicBezTo>
                  <a:cubicBezTo>
                    <a:pt x="50484" y="29040"/>
                    <a:pt x="50393" y="28870"/>
                    <a:pt x="50272" y="28870"/>
                  </a:cubicBezTo>
                  <a:cubicBezTo>
                    <a:pt x="50246" y="28870"/>
                    <a:pt x="50218" y="28878"/>
                    <a:pt x="50191" y="28896"/>
                  </a:cubicBezTo>
                  <a:cubicBezTo>
                    <a:pt x="48823" y="29809"/>
                    <a:pt x="47633" y="30859"/>
                    <a:pt x="46423" y="31971"/>
                  </a:cubicBezTo>
                  <a:cubicBezTo>
                    <a:pt x="45907" y="32446"/>
                    <a:pt x="45704" y="32622"/>
                    <a:pt x="45687" y="32622"/>
                  </a:cubicBezTo>
                  <a:cubicBezTo>
                    <a:pt x="45641" y="32622"/>
                    <a:pt x="46859" y="31423"/>
                    <a:pt x="47024" y="31252"/>
                  </a:cubicBezTo>
                  <a:cubicBezTo>
                    <a:pt x="47902" y="30348"/>
                    <a:pt x="48915" y="29560"/>
                    <a:pt x="49847" y="28717"/>
                  </a:cubicBezTo>
                  <a:cubicBezTo>
                    <a:pt x="49963" y="28614"/>
                    <a:pt x="49858" y="28437"/>
                    <a:pt x="49728" y="28437"/>
                  </a:cubicBezTo>
                  <a:cubicBezTo>
                    <a:pt x="49702" y="28437"/>
                    <a:pt x="49675" y="28444"/>
                    <a:pt x="49648" y="28460"/>
                  </a:cubicBezTo>
                  <a:cubicBezTo>
                    <a:pt x="48245" y="29344"/>
                    <a:pt x="46986" y="30366"/>
                    <a:pt x="45699" y="31411"/>
                  </a:cubicBezTo>
                  <a:cubicBezTo>
                    <a:pt x="46305" y="30917"/>
                    <a:pt x="47928" y="29093"/>
                    <a:pt x="48880" y="28180"/>
                  </a:cubicBezTo>
                  <a:cubicBezTo>
                    <a:pt x="48990" y="28073"/>
                    <a:pt x="48889" y="27895"/>
                    <a:pt x="48761" y="27895"/>
                  </a:cubicBezTo>
                  <a:cubicBezTo>
                    <a:pt x="48734" y="27895"/>
                    <a:pt x="48706" y="27902"/>
                    <a:pt x="48678" y="27921"/>
                  </a:cubicBezTo>
                  <a:cubicBezTo>
                    <a:pt x="47590" y="28631"/>
                    <a:pt x="46617" y="29416"/>
                    <a:pt x="45635" y="30268"/>
                  </a:cubicBezTo>
                  <a:cubicBezTo>
                    <a:pt x="45124" y="30712"/>
                    <a:pt x="44917" y="30878"/>
                    <a:pt x="44892" y="30878"/>
                  </a:cubicBezTo>
                  <a:cubicBezTo>
                    <a:pt x="44823" y="30878"/>
                    <a:pt x="46059" y="29688"/>
                    <a:pt x="46227" y="29503"/>
                  </a:cubicBezTo>
                  <a:cubicBezTo>
                    <a:pt x="46871" y="28789"/>
                    <a:pt x="47572" y="28123"/>
                    <a:pt x="48234" y="27427"/>
                  </a:cubicBezTo>
                  <a:cubicBezTo>
                    <a:pt x="48338" y="27318"/>
                    <a:pt x="48242" y="27134"/>
                    <a:pt x="48117" y="27134"/>
                  </a:cubicBezTo>
                  <a:cubicBezTo>
                    <a:pt x="48090" y="27134"/>
                    <a:pt x="48060" y="27143"/>
                    <a:pt x="48031" y="27164"/>
                  </a:cubicBezTo>
                  <a:cubicBezTo>
                    <a:pt x="47284" y="27707"/>
                    <a:pt x="46623" y="28278"/>
                    <a:pt x="45950" y="28914"/>
                  </a:cubicBezTo>
                  <a:cubicBezTo>
                    <a:pt x="45459" y="29378"/>
                    <a:pt x="45245" y="29556"/>
                    <a:pt x="45207" y="29556"/>
                  </a:cubicBezTo>
                  <a:cubicBezTo>
                    <a:pt x="45095" y="29556"/>
                    <a:pt x="46504" y="28010"/>
                    <a:pt x="46833" y="27643"/>
                  </a:cubicBezTo>
                  <a:cubicBezTo>
                    <a:pt x="46948" y="27516"/>
                    <a:pt x="46841" y="27364"/>
                    <a:pt x="46711" y="27364"/>
                  </a:cubicBezTo>
                  <a:cubicBezTo>
                    <a:pt x="46673" y="27364"/>
                    <a:pt x="46634" y="27377"/>
                    <a:pt x="46597" y="27407"/>
                  </a:cubicBezTo>
                  <a:cubicBezTo>
                    <a:pt x="45816" y="28027"/>
                    <a:pt x="45098" y="28690"/>
                    <a:pt x="44366" y="29364"/>
                  </a:cubicBezTo>
                  <a:lnTo>
                    <a:pt x="44366" y="29364"/>
                  </a:lnTo>
                  <a:cubicBezTo>
                    <a:pt x="45005" y="28774"/>
                    <a:pt x="45559" y="28041"/>
                    <a:pt x="46184" y="27427"/>
                  </a:cubicBezTo>
                  <a:cubicBezTo>
                    <a:pt x="46302" y="27311"/>
                    <a:pt x="46189" y="27145"/>
                    <a:pt x="46061" y="27145"/>
                  </a:cubicBezTo>
                  <a:cubicBezTo>
                    <a:pt x="46024" y="27145"/>
                    <a:pt x="45985" y="27159"/>
                    <a:pt x="45950" y="27193"/>
                  </a:cubicBezTo>
                  <a:cubicBezTo>
                    <a:pt x="45052" y="28076"/>
                    <a:pt x="44189" y="28934"/>
                    <a:pt x="43554" y="30028"/>
                  </a:cubicBezTo>
                  <a:cubicBezTo>
                    <a:pt x="43476" y="30160"/>
                    <a:pt x="43581" y="30271"/>
                    <a:pt x="43698" y="30271"/>
                  </a:cubicBezTo>
                  <a:cubicBezTo>
                    <a:pt x="43738" y="30271"/>
                    <a:pt x="43778" y="30258"/>
                    <a:pt x="43814" y="30230"/>
                  </a:cubicBezTo>
                  <a:cubicBezTo>
                    <a:pt x="44229" y="29895"/>
                    <a:pt x="44622" y="29534"/>
                    <a:pt x="44994" y="29150"/>
                  </a:cubicBezTo>
                  <a:lnTo>
                    <a:pt x="44994" y="29150"/>
                  </a:lnTo>
                  <a:cubicBezTo>
                    <a:pt x="44576" y="29609"/>
                    <a:pt x="44186" y="30083"/>
                    <a:pt x="43877" y="30675"/>
                  </a:cubicBezTo>
                  <a:cubicBezTo>
                    <a:pt x="43819" y="30783"/>
                    <a:pt x="43908" y="30933"/>
                    <a:pt x="44020" y="30933"/>
                  </a:cubicBezTo>
                  <a:cubicBezTo>
                    <a:pt x="44047" y="30933"/>
                    <a:pt x="44077" y="30924"/>
                    <a:pt x="44105" y="30903"/>
                  </a:cubicBezTo>
                  <a:cubicBezTo>
                    <a:pt x="45095" y="30183"/>
                    <a:pt x="45921" y="29362"/>
                    <a:pt x="46748" y="28501"/>
                  </a:cubicBezTo>
                  <a:lnTo>
                    <a:pt x="46748" y="28501"/>
                  </a:lnTo>
                  <a:cubicBezTo>
                    <a:pt x="45832" y="29463"/>
                    <a:pt x="44950" y="30418"/>
                    <a:pt x="44200" y="31535"/>
                  </a:cubicBezTo>
                  <a:cubicBezTo>
                    <a:pt x="44115" y="31662"/>
                    <a:pt x="44231" y="31781"/>
                    <a:pt x="44352" y="31781"/>
                  </a:cubicBezTo>
                  <a:cubicBezTo>
                    <a:pt x="44391" y="31781"/>
                    <a:pt x="44430" y="31769"/>
                    <a:pt x="44463" y="31740"/>
                  </a:cubicBezTo>
                  <a:cubicBezTo>
                    <a:pt x="45084" y="31200"/>
                    <a:pt x="45702" y="30657"/>
                    <a:pt x="46320" y="30115"/>
                  </a:cubicBezTo>
                  <a:lnTo>
                    <a:pt x="46320" y="30115"/>
                  </a:lnTo>
                  <a:cubicBezTo>
                    <a:pt x="45514" y="30888"/>
                    <a:pt x="44761" y="31691"/>
                    <a:pt x="44094" y="32615"/>
                  </a:cubicBezTo>
                  <a:cubicBezTo>
                    <a:pt x="44016" y="32723"/>
                    <a:pt x="44126" y="32865"/>
                    <a:pt x="44241" y="32865"/>
                  </a:cubicBezTo>
                  <a:cubicBezTo>
                    <a:pt x="44267" y="32865"/>
                    <a:pt x="44294" y="32857"/>
                    <a:pt x="44319" y="32840"/>
                  </a:cubicBezTo>
                  <a:cubicBezTo>
                    <a:pt x="45915" y="31709"/>
                    <a:pt x="47565" y="30342"/>
                    <a:pt x="48891" y="29143"/>
                  </a:cubicBezTo>
                  <a:lnTo>
                    <a:pt x="48891" y="29143"/>
                  </a:lnTo>
                  <a:cubicBezTo>
                    <a:pt x="47453" y="30442"/>
                    <a:pt x="46062" y="31653"/>
                    <a:pt x="44960" y="33261"/>
                  </a:cubicBezTo>
                  <a:cubicBezTo>
                    <a:pt x="44877" y="33384"/>
                    <a:pt x="44989" y="33496"/>
                    <a:pt x="45104" y="33496"/>
                  </a:cubicBezTo>
                  <a:cubicBezTo>
                    <a:pt x="45142" y="33496"/>
                    <a:pt x="45179" y="33484"/>
                    <a:pt x="45211" y="33458"/>
                  </a:cubicBezTo>
                  <a:cubicBezTo>
                    <a:pt x="45944" y="32837"/>
                    <a:pt x="46654" y="32193"/>
                    <a:pt x="47362" y="31544"/>
                  </a:cubicBezTo>
                  <a:cubicBezTo>
                    <a:pt x="47764" y="31171"/>
                    <a:pt x="49411" y="29619"/>
                    <a:pt x="49457" y="29619"/>
                  </a:cubicBezTo>
                  <a:cubicBezTo>
                    <a:pt x="49473" y="29619"/>
                    <a:pt x="49288" y="29815"/>
                    <a:pt x="48773" y="30328"/>
                  </a:cubicBezTo>
                  <a:cubicBezTo>
                    <a:pt x="47382" y="31714"/>
                    <a:pt x="46025" y="33085"/>
                    <a:pt x="44850" y="34662"/>
                  </a:cubicBezTo>
                  <a:cubicBezTo>
                    <a:pt x="44760" y="34783"/>
                    <a:pt x="44879" y="34897"/>
                    <a:pt x="45000" y="34897"/>
                  </a:cubicBezTo>
                  <a:cubicBezTo>
                    <a:pt x="45038" y="34897"/>
                    <a:pt x="45075" y="34886"/>
                    <a:pt x="45107" y="34861"/>
                  </a:cubicBezTo>
                  <a:cubicBezTo>
                    <a:pt x="46037" y="34093"/>
                    <a:pt x="46986" y="33351"/>
                    <a:pt x="47916" y="32586"/>
                  </a:cubicBezTo>
                  <a:lnTo>
                    <a:pt x="47916" y="32586"/>
                  </a:lnTo>
                  <a:cubicBezTo>
                    <a:pt x="46908" y="33640"/>
                    <a:pt x="45921" y="34699"/>
                    <a:pt x="44986" y="35816"/>
                  </a:cubicBezTo>
                  <a:cubicBezTo>
                    <a:pt x="44884" y="35938"/>
                    <a:pt x="44982" y="36094"/>
                    <a:pt x="45102" y="36094"/>
                  </a:cubicBezTo>
                  <a:cubicBezTo>
                    <a:pt x="45139" y="36094"/>
                    <a:pt x="45178" y="36079"/>
                    <a:pt x="45214" y="36045"/>
                  </a:cubicBezTo>
                  <a:cubicBezTo>
                    <a:pt x="46126" y="35176"/>
                    <a:pt x="47041" y="34304"/>
                    <a:pt x="47971" y="33452"/>
                  </a:cubicBezTo>
                  <a:cubicBezTo>
                    <a:pt x="48439" y="33028"/>
                    <a:pt x="48915" y="32615"/>
                    <a:pt x="49403" y="32213"/>
                  </a:cubicBezTo>
                  <a:cubicBezTo>
                    <a:pt x="50483" y="31302"/>
                    <a:pt x="50910" y="30988"/>
                    <a:pt x="50989" y="30988"/>
                  </a:cubicBezTo>
                  <a:cubicBezTo>
                    <a:pt x="51124" y="30988"/>
                    <a:pt x="50211" y="31932"/>
                    <a:pt x="49836" y="32346"/>
                  </a:cubicBezTo>
                  <a:cubicBezTo>
                    <a:pt x="48072" y="34301"/>
                    <a:pt x="45907" y="35816"/>
                    <a:pt x="44238" y="37872"/>
                  </a:cubicBezTo>
                  <a:cubicBezTo>
                    <a:pt x="44158" y="37971"/>
                    <a:pt x="44230" y="38136"/>
                    <a:pt x="44341" y="38136"/>
                  </a:cubicBezTo>
                  <a:cubicBezTo>
                    <a:pt x="44366" y="38136"/>
                    <a:pt x="44392" y="38128"/>
                    <a:pt x="44420" y="38109"/>
                  </a:cubicBezTo>
                  <a:cubicBezTo>
                    <a:pt x="44847" y="37806"/>
                    <a:pt x="45246" y="37471"/>
                    <a:pt x="45647" y="37144"/>
                  </a:cubicBezTo>
                  <a:lnTo>
                    <a:pt x="45647" y="37144"/>
                  </a:lnTo>
                  <a:cubicBezTo>
                    <a:pt x="44544" y="38158"/>
                    <a:pt x="43513" y="39258"/>
                    <a:pt x="42592" y="40488"/>
                  </a:cubicBezTo>
                  <a:cubicBezTo>
                    <a:pt x="42517" y="40588"/>
                    <a:pt x="42623" y="40722"/>
                    <a:pt x="42732" y="40722"/>
                  </a:cubicBezTo>
                  <a:cubicBezTo>
                    <a:pt x="42757" y="40722"/>
                    <a:pt x="42783" y="40715"/>
                    <a:pt x="42806" y="40698"/>
                  </a:cubicBezTo>
                  <a:cubicBezTo>
                    <a:pt x="42919" y="40620"/>
                    <a:pt x="43028" y="40534"/>
                    <a:pt x="43141" y="40453"/>
                  </a:cubicBezTo>
                  <a:lnTo>
                    <a:pt x="43141" y="40453"/>
                  </a:lnTo>
                  <a:cubicBezTo>
                    <a:pt x="42858" y="40846"/>
                    <a:pt x="42604" y="41261"/>
                    <a:pt x="42413" y="41723"/>
                  </a:cubicBezTo>
                  <a:cubicBezTo>
                    <a:pt x="42386" y="41793"/>
                    <a:pt x="42457" y="41850"/>
                    <a:pt x="42521" y="41850"/>
                  </a:cubicBezTo>
                  <a:cubicBezTo>
                    <a:pt x="42553" y="41850"/>
                    <a:pt x="42583" y="41836"/>
                    <a:pt x="42598" y="41801"/>
                  </a:cubicBezTo>
                  <a:cubicBezTo>
                    <a:pt x="42924" y="41056"/>
                    <a:pt x="43404" y="40421"/>
                    <a:pt x="43961" y="39852"/>
                  </a:cubicBezTo>
                  <a:cubicBezTo>
                    <a:pt x="44633" y="39339"/>
                    <a:pt x="45280" y="38796"/>
                    <a:pt x="45907" y="38233"/>
                  </a:cubicBezTo>
                  <a:cubicBezTo>
                    <a:pt x="46481" y="37823"/>
                    <a:pt x="47064" y="37433"/>
                    <a:pt x="47619" y="37041"/>
                  </a:cubicBezTo>
                  <a:cubicBezTo>
                    <a:pt x="47982" y="36784"/>
                    <a:pt x="48329" y="36509"/>
                    <a:pt x="48667" y="36229"/>
                  </a:cubicBezTo>
                  <a:lnTo>
                    <a:pt x="48667" y="36229"/>
                  </a:lnTo>
                  <a:cubicBezTo>
                    <a:pt x="45707" y="39007"/>
                    <a:pt x="42725" y="41758"/>
                    <a:pt x="39766" y="44532"/>
                  </a:cubicBezTo>
                  <a:cubicBezTo>
                    <a:pt x="37647" y="46285"/>
                    <a:pt x="35571" y="48089"/>
                    <a:pt x="33648" y="50064"/>
                  </a:cubicBezTo>
                  <a:cubicBezTo>
                    <a:pt x="32159" y="51594"/>
                    <a:pt x="30721" y="53179"/>
                    <a:pt x="29303" y="54778"/>
                  </a:cubicBezTo>
                  <a:cubicBezTo>
                    <a:pt x="28729" y="55373"/>
                    <a:pt x="28154" y="55965"/>
                    <a:pt x="27589" y="56568"/>
                  </a:cubicBezTo>
                  <a:cubicBezTo>
                    <a:pt x="25397" y="58907"/>
                    <a:pt x="23163" y="61199"/>
                    <a:pt x="20836" y="63408"/>
                  </a:cubicBezTo>
                  <a:cubicBezTo>
                    <a:pt x="19685" y="64495"/>
                    <a:pt x="18475" y="65510"/>
                    <a:pt x="17255" y="66520"/>
                  </a:cubicBezTo>
                  <a:lnTo>
                    <a:pt x="17255" y="66520"/>
                  </a:lnTo>
                  <a:cubicBezTo>
                    <a:pt x="18013" y="65891"/>
                    <a:pt x="18747" y="65017"/>
                    <a:pt x="19439" y="64233"/>
                  </a:cubicBezTo>
                  <a:cubicBezTo>
                    <a:pt x="22248" y="61727"/>
                    <a:pt x="24733" y="58783"/>
                    <a:pt x="27375" y="56164"/>
                  </a:cubicBezTo>
                  <a:cubicBezTo>
                    <a:pt x="29797" y="53765"/>
                    <a:pt x="32237" y="51383"/>
                    <a:pt x="34650" y="48978"/>
                  </a:cubicBezTo>
                  <a:cubicBezTo>
                    <a:pt x="36738" y="46900"/>
                    <a:pt x="39518" y="44498"/>
                    <a:pt x="40805" y="41824"/>
                  </a:cubicBezTo>
                  <a:cubicBezTo>
                    <a:pt x="40851" y="41730"/>
                    <a:pt x="40778" y="41597"/>
                    <a:pt x="40680" y="41597"/>
                  </a:cubicBezTo>
                  <a:cubicBezTo>
                    <a:pt x="40656" y="41597"/>
                    <a:pt x="40629" y="41605"/>
                    <a:pt x="40603" y="41625"/>
                  </a:cubicBezTo>
                  <a:cubicBezTo>
                    <a:pt x="40000" y="42064"/>
                    <a:pt x="39417" y="42523"/>
                    <a:pt x="38845" y="42988"/>
                  </a:cubicBezTo>
                  <a:cubicBezTo>
                    <a:pt x="39376" y="42367"/>
                    <a:pt x="39893" y="41732"/>
                    <a:pt x="40384" y="41079"/>
                  </a:cubicBezTo>
                  <a:cubicBezTo>
                    <a:pt x="40464" y="40974"/>
                    <a:pt x="40354" y="40833"/>
                    <a:pt x="40240" y="40833"/>
                  </a:cubicBezTo>
                  <a:cubicBezTo>
                    <a:pt x="40215" y="40833"/>
                    <a:pt x="40188" y="40841"/>
                    <a:pt x="40164" y="40857"/>
                  </a:cubicBezTo>
                  <a:cubicBezTo>
                    <a:pt x="38663" y="41914"/>
                    <a:pt x="37234" y="43077"/>
                    <a:pt x="35843" y="44293"/>
                  </a:cubicBezTo>
                  <a:cubicBezTo>
                    <a:pt x="37280" y="42624"/>
                    <a:pt x="38715" y="40952"/>
                    <a:pt x="40150" y="39284"/>
                  </a:cubicBezTo>
                  <a:cubicBezTo>
                    <a:pt x="40259" y="39161"/>
                    <a:pt x="40151" y="39000"/>
                    <a:pt x="40025" y="39000"/>
                  </a:cubicBezTo>
                  <a:cubicBezTo>
                    <a:pt x="39987" y="39000"/>
                    <a:pt x="39949" y="39014"/>
                    <a:pt x="39913" y="39047"/>
                  </a:cubicBezTo>
                  <a:cubicBezTo>
                    <a:pt x="38288" y="40476"/>
                    <a:pt x="36683" y="41986"/>
                    <a:pt x="35092" y="43542"/>
                  </a:cubicBezTo>
                  <a:cubicBezTo>
                    <a:pt x="36714" y="41850"/>
                    <a:pt x="38239" y="40086"/>
                    <a:pt x="39515" y="38164"/>
                  </a:cubicBezTo>
                  <a:cubicBezTo>
                    <a:pt x="39588" y="38051"/>
                    <a:pt x="39487" y="37942"/>
                    <a:pt x="39380" y="37942"/>
                  </a:cubicBezTo>
                  <a:cubicBezTo>
                    <a:pt x="39344" y="37942"/>
                    <a:pt x="39308" y="37954"/>
                    <a:pt x="39278" y="37982"/>
                  </a:cubicBezTo>
                  <a:cubicBezTo>
                    <a:pt x="35020" y="41891"/>
                    <a:pt x="31111" y="46262"/>
                    <a:pt x="27101" y="50425"/>
                  </a:cubicBezTo>
                  <a:cubicBezTo>
                    <a:pt x="22935" y="54749"/>
                    <a:pt x="18529" y="58696"/>
                    <a:pt x="14213" y="62862"/>
                  </a:cubicBezTo>
                  <a:cubicBezTo>
                    <a:pt x="22704" y="54666"/>
                    <a:pt x="31469" y="45984"/>
                    <a:pt x="39379" y="37113"/>
                  </a:cubicBezTo>
                  <a:cubicBezTo>
                    <a:pt x="39483" y="37006"/>
                    <a:pt x="39387" y="36863"/>
                    <a:pt x="39275" y="36863"/>
                  </a:cubicBezTo>
                  <a:cubicBezTo>
                    <a:pt x="39241" y="36863"/>
                    <a:pt x="39206" y="36876"/>
                    <a:pt x="39174" y="36908"/>
                  </a:cubicBezTo>
                  <a:cubicBezTo>
                    <a:pt x="34743" y="40693"/>
                    <a:pt x="30785" y="45113"/>
                    <a:pt x="26780" y="49466"/>
                  </a:cubicBezTo>
                  <a:cubicBezTo>
                    <a:pt x="24863" y="51372"/>
                    <a:pt x="23024" y="53349"/>
                    <a:pt x="21197" y="55335"/>
                  </a:cubicBezTo>
                  <a:cubicBezTo>
                    <a:pt x="18775" y="57749"/>
                    <a:pt x="16263" y="60036"/>
                    <a:pt x="13546" y="62048"/>
                  </a:cubicBezTo>
                  <a:cubicBezTo>
                    <a:pt x="14600" y="61265"/>
                    <a:pt x="15567" y="60333"/>
                    <a:pt x="16482" y="59322"/>
                  </a:cubicBezTo>
                  <a:cubicBezTo>
                    <a:pt x="18887" y="57356"/>
                    <a:pt x="21012" y="54799"/>
                    <a:pt x="22871" y="52882"/>
                  </a:cubicBezTo>
                  <a:cubicBezTo>
                    <a:pt x="28256" y="47324"/>
                    <a:pt x="33530" y="41671"/>
                    <a:pt x="38943" y="36137"/>
                  </a:cubicBezTo>
                  <a:cubicBezTo>
                    <a:pt x="39034" y="36044"/>
                    <a:pt x="38953" y="35897"/>
                    <a:pt x="38843" y="35897"/>
                  </a:cubicBezTo>
                  <a:cubicBezTo>
                    <a:pt x="38820" y="35897"/>
                    <a:pt x="38797" y="35903"/>
                    <a:pt x="38773" y="35918"/>
                  </a:cubicBezTo>
                  <a:cubicBezTo>
                    <a:pt x="37863" y="36457"/>
                    <a:pt x="37003" y="37067"/>
                    <a:pt x="36163" y="37702"/>
                  </a:cubicBezTo>
                  <a:cubicBezTo>
                    <a:pt x="37078" y="36847"/>
                    <a:pt x="37979" y="35975"/>
                    <a:pt x="38836" y="35057"/>
                  </a:cubicBezTo>
                  <a:cubicBezTo>
                    <a:pt x="38916" y="34972"/>
                    <a:pt x="38856" y="34819"/>
                    <a:pt x="38744" y="34819"/>
                  </a:cubicBezTo>
                  <a:cubicBezTo>
                    <a:pt x="38730" y="34819"/>
                    <a:pt x="38716" y="34821"/>
                    <a:pt x="38701" y="34826"/>
                  </a:cubicBezTo>
                  <a:cubicBezTo>
                    <a:pt x="36888" y="35424"/>
                    <a:pt x="35802" y="37231"/>
                    <a:pt x="34457" y="38524"/>
                  </a:cubicBezTo>
                  <a:cubicBezTo>
                    <a:pt x="32494" y="40413"/>
                    <a:pt x="30507" y="42243"/>
                    <a:pt x="28570" y="44134"/>
                  </a:cubicBezTo>
                  <a:cubicBezTo>
                    <a:pt x="27083" y="45367"/>
                    <a:pt x="25611" y="46614"/>
                    <a:pt x="24208" y="47916"/>
                  </a:cubicBezTo>
                  <a:cubicBezTo>
                    <a:pt x="24476" y="47639"/>
                    <a:pt x="24736" y="47353"/>
                    <a:pt x="25005" y="47079"/>
                  </a:cubicBezTo>
                  <a:cubicBezTo>
                    <a:pt x="29240" y="42754"/>
                    <a:pt x="34353" y="38666"/>
                    <a:pt x="37990" y="33842"/>
                  </a:cubicBezTo>
                  <a:cubicBezTo>
                    <a:pt x="38059" y="33754"/>
                    <a:pt x="37965" y="33639"/>
                    <a:pt x="37868" y="33639"/>
                  </a:cubicBezTo>
                  <a:cubicBezTo>
                    <a:pt x="37847" y="33639"/>
                    <a:pt x="37825" y="33645"/>
                    <a:pt x="37806" y="33657"/>
                  </a:cubicBezTo>
                  <a:cubicBezTo>
                    <a:pt x="36977" y="34191"/>
                    <a:pt x="36172" y="34771"/>
                    <a:pt x="35378" y="35366"/>
                  </a:cubicBezTo>
                  <a:cubicBezTo>
                    <a:pt x="35900" y="34676"/>
                    <a:pt x="36382" y="33954"/>
                    <a:pt x="36821" y="33207"/>
                  </a:cubicBezTo>
                  <a:cubicBezTo>
                    <a:pt x="36893" y="33083"/>
                    <a:pt x="36794" y="32981"/>
                    <a:pt x="36685" y="32981"/>
                  </a:cubicBezTo>
                  <a:cubicBezTo>
                    <a:pt x="36649" y="32981"/>
                    <a:pt x="36611" y="32993"/>
                    <a:pt x="36579" y="33019"/>
                  </a:cubicBezTo>
                  <a:cubicBezTo>
                    <a:pt x="35369" y="33963"/>
                    <a:pt x="34200" y="34973"/>
                    <a:pt x="33048" y="36010"/>
                  </a:cubicBezTo>
                  <a:cubicBezTo>
                    <a:pt x="33972" y="34875"/>
                    <a:pt x="34818" y="33700"/>
                    <a:pt x="35528" y="32453"/>
                  </a:cubicBezTo>
                  <a:cubicBezTo>
                    <a:pt x="35591" y="32343"/>
                    <a:pt x="35502" y="32218"/>
                    <a:pt x="35394" y="32218"/>
                  </a:cubicBezTo>
                  <a:cubicBezTo>
                    <a:pt x="35369" y="32218"/>
                    <a:pt x="35343" y="32224"/>
                    <a:pt x="35317" y="32239"/>
                  </a:cubicBezTo>
                  <a:cubicBezTo>
                    <a:pt x="31541" y="34491"/>
                    <a:pt x="29387" y="38493"/>
                    <a:pt x="26237" y="41463"/>
                  </a:cubicBezTo>
                  <a:cubicBezTo>
                    <a:pt x="22072" y="45398"/>
                    <a:pt x="18422" y="49865"/>
                    <a:pt x="14357" y="53904"/>
                  </a:cubicBezTo>
                  <a:cubicBezTo>
                    <a:pt x="13817" y="54439"/>
                    <a:pt x="10780" y="57810"/>
                    <a:pt x="10724" y="57810"/>
                  </a:cubicBezTo>
                  <a:cubicBezTo>
                    <a:pt x="10708" y="57810"/>
                    <a:pt x="10939" y="57530"/>
                    <a:pt x="11548" y="56822"/>
                  </a:cubicBezTo>
                  <a:cubicBezTo>
                    <a:pt x="13702" y="54322"/>
                    <a:pt x="15937" y="51903"/>
                    <a:pt x="18206" y="49510"/>
                  </a:cubicBezTo>
                  <a:cubicBezTo>
                    <a:pt x="22744" y="44734"/>
                    <a:pt x="27534" y="40251"/>
                    <a:pt x="31630" y="35072"/>
                  </a:cubicBezTo>
                  <a:cubicBezTo>
                    <a:pt x="31725" y="34953"/>
                    <a:pt x="31629" y="34797"/>
                    <a:pt x="31514" y="34797"/>
                  </a:cubicBezTo>
                  <a:cubicBezTo>
                    <a:pt x="31478" y="34797"/>
                    <a:pt x="31440" y="34813"/>
                    <a:pt x="31405" y="34849"/>
                  </a:cubicBezTo>
                  <a:cubicBezTo>
                    <a:pt x="27219" y="39261"/>
                    <a:pt x="22785" y="43409"/>
                    <a:pt x="18775" y="47988"/>
                  </a:cubicBezTo>
                  <a:cubicBezTo>
                    <a:pt x="18518" y="48283"/>
                    <a:pt x="18249" y="48571"/>
                    <a:pt x="17984" y="48860"/>
                  </a:cubicBezTo>
                  <a:cubicBezTo>
                    <a:pt x="19664" y="46877"/>
                    <a:pt x="21327" y="44873"/>
                    <a:pt x="23111" y="42933"/>
                  </a:cubicBezTo>
                  <a:cubicBezTo>
                    <a:pt x="25718" y="40098"/>
                    <a:pt x="29139" y="38013"/>
                    <a:pt x="30473" y="34243"/>
                  </a:cubicBezTo>
                  <a:cubicBezTo>
                    <a:pt x="30505" y="34154"/>
                    <a:pt x="30419" y="34061"/>
                    <a:pt x="30331" y="34061"/>
                  </a:cubicBezTo>
                  <a:cubicBezTo>
                    <a:pt x="30309" y="34061"/>
                    <a:pt x="30286" y="34067"/>
                    <a:pt x="30265" y="34081"/>
                  </a:cubicBezTo>
                  <a:cubicBezTo>
                    <a:pt x="29731" y="34468"/>
                    <a:pt x="29220" y="34881"/>
                    <a:pt x="28729" y="35320"/>
                  </a:cubicBezTo>
                  <a:cubicBezTo>
                    <a:pt x="29670" y="34073"/>
                    <a:pt x="30398" y="32753"/>
                    <a:pt x="30683" y="31333"/>
                  </a:cubicBezTo>
                  <a:cubicBezTo>
                    <a:pt x="30706" y="31233"/>
                    <a:pt x="30627" y="31162"/>
                    <a:pt x="30546" y="31162"/>
                  </a:cubicBezTo>
                  <a:cubicBezTo>
                    <a:pt x="30504" y="31162"/>
                    <a:pt x="30461" y="31181"/>
                    <a:pt x="30432" y="31226"/>
                  </a:cubicBezTo>
                  <a:cubicBezTo>
                    <a:pt x="27805" y="34988"/>
                    <a:pt x="24676" y="38250"/>
                    <a:pt x="21656" y="41645"/>
                  </a:cubicBezTo>
                  <a:cubicBezTo>
                    <a:pt x="22262" y="40924"/>
                    <a:pt x="22857" y="40193"/>
                    <a:pt x="23420" y="39434"/>
                  </a:cubicBezTo>
                  <a:cubicBezTo>
                    <a:pt x="25126" y="37133"/>
                    <a:pt x="26795" y="34826"/>
                    <a:pt x="28527" y="32569"/>
                  </a:cubicBezTo>
                  <a:cubicBezTo>
                    <a:pt x="30314" y="30614"/>
                    <a:pt x="32069" y="28636"/>
                    <a:pt x="33732" y="26607"/>
                  </a:cubicBezTo>
                  <a:cubicBezTo>
                    <a:pt x="34419" y="25928"/>
                    <a:pt x="35103" y="25250"/>
                    <a:pt x="35822" y="24606"/>
                  </a:cubicBezTo>
                  <a:cubicBezTo>
                    <a:pt x="35926" y="24512"/>
                    <a:pt x="35829" y="24373"/>
                    <a:pt x="35719" y="24373"/>
                  </a:cubicBezTo>
                  <a:cubicBezTo>
                    <a:pt x="35687" y="24373"/>
                    <a:pt x="35655" y="24384"/>
                    <a:pt x="35626" y="24410"/>
                  </a:cubicBezTo>
                  <a:cubicBezTo>
                    <a:pt x="35421" y="24592"/>
                    <a:pt x="35222" y="24788"/>
                    <a:pt x="35020" y="24973"/>
                  </a:cubicBezTo>
                  <a:cubicBezTo>
                    <a:pt x="35363" y="24531"/>
                    <a:pt x="35710" y="24089"/>
                    <a:pt x="36045" y="23642"/>
                  </a:cubicBezTo>
                  <a:lnTo>
                    <a:pt x="36045" y="23642"/>
                  </a:lnTo>
                  <a:cubicBezTo>
                    <a:pt x="36045" y="23656"/>
                    <a:pt x="36042" y="23671"/>
                    <a:pt x="36042" y="23682"/>
                  </a:cubicBezTo>
                  <a:cubicBezTo>
                    <a:pt x="36050" y="23708"/>
                    <a:pt x="36074" y="23726"/>
                    <a:pt x="36100" y="23726"/>
                  </a:cubicBezTo>
                  <a:cubicBezTo>
                    <a:pt x="36144" y="23730"/>
                    <a:pt x="36169" y="23733"/>
                    <a:pt x="36187" y="23733"/>
                  </a:cubicBezTo>
                  <a:cubicBezTo>
                    <a:pt x="36232" y="23733"/>
                    <a:pt x="36237" y="23716"/>
                    <a:pt x="36374" y="23656"/>
                  </a:cubicBezTo>
                  <a:cubicBezTo>
                    <a:pt x="36388" y="23651"/>
                    <a:pt x="36388" y="23630"/>
                    <a:pt x="36371" y="23630"/>
                  </a:cubicBezTo>
                  <a:cubicBezTo>
                    <a:pt x="36368" y="23631"/>
                    <a:pt x="36366" y="23631"/>
                    <a:pt x="36364" y="23631"/>
                  </a:cubicBezTo>
                  <a:cubicBezTo>
                    <a:pt x="36129" y="23631"/>
                    <a:pt x="37181" y="22601"/>
                    <a:pt x="37315" y="22470"/>
                  </a:cubicBezTo>
                  <a:cubicBezTo>
                    <a:pt x="38014" y="21800"/>
                    <a:pt x="38571" y="20931"/>
                    <a:pt x="39151" y="20160"/>
                  </a:cubicBezTo>
                  <a:cubicBezTo>
                    <a:pt x="39194" y="20105"/>
                    <a:pt x="39241" y="20053"/>
                    <a:pt x="39284" y="19996"/>
                  </a:cubicBezTo>
                  <a:lnTo>
                    <a:pt x="39284" y="19996"/>
                  </a:lnTo>
                  <a:cubicBezTo>
                    <a:pt x="38611" y="20954"/>
                    <a:pt x="37895" y="21878"/>
                    <a:pt x="37263" y="22862"/>
                  </a:cubicBezTo>
                  <a:cubicBezTo>
                    <a:pt x="37249" y="22880"/>
                    <a:pt x="37240" y="22897"/>
                    <a:pt x="37231" y="22914"/>
                  </a:cubicBezTo>
                  <a:cubicBezTo>
                    <a:pt x="37116" y="23093"/>
                    <a:pt x="36994" y="23272"/>
                    <a:pt x="36888" y="23457"/>
                  </a:cubicBezTo>
                  <a:cubicBezTo>
                    <a:pt x="36823" y="23567"/>
                    <a:pt x="36927" y="23696"/>
                    <a:pt x="37031" y="23696"/>
                  </a:cubicBezTo>
                  <a:cubicBezTo>
                    <a:pt x="37066" y="23696"/>
                    <a:pt x="37101" y="23681"/>
                    <a:pt x="37130" y="23645"/>
                  </a:cubicBezTo>
                  <a:cubicBezTo>
                    <a:pt x="37693" y="22938"/>
                    <a:pt x="38294" y="22274"/>
                    <a:pt x="38920" y="21624"/>
                  </a:cubicBezTo>
                  <a:cubicBezTo>
                    <a:pt x="39217" y="21321"/>
                    <a:pt x="39521" y="21023"/>
                    <a:pt x="39824" y="20726"/>
                  </a:cubicBezTo>
                  <a:lnTo>
                    <a:pt x="39824" y="20726"/>
                  </a:lnTo>
                  <a:cubicBezTo>
                    <a:pt x="38888" y="22040"/>
                    <a:pt x="37728" y="23096"/>
                    <a:pt x="37194" y="24681"/>
                  </a:cubicBezTo>
                  <a:cubicBezTo>
                    <a:pt x="37160" y="24782"/>
                    <a:pt x="37259" y="24878"/>
                    <a:pt x="37353" y="24878"/>
                  </a:cubicBezTo>
                  <a:cubicBezTo>
                    <a:pt x="37389" y="24878"/>
                    <a:pt x="37424" y="24864"/>
                    <a:pt x="37451" y="24831"/>
                  </a:cubicBezTo>
                  <a:cubicBezTo>
                    <a:pt x="38213" y="23876"/>
                    <a:pt x="39099" y="23062"/>
                    <a:pt x="40009" y="22262"/>
                  </a:cubicBezTo>
                  <a:lnTo>
                    <a:pt x="40009" y="22262"/>
                  </a:lnTo>
                  <a:cubicBezTo>
                    <a:pt x="39815" y="22528"/>
                    <a:pt x="39625" y="22790"/>
                    <a:pt x="39428" y="23053"/>
                  </a:cubicBezTo>
                  <a:cubicBezTo>
                    <a:pt x="38877" y="23807"/>
                    <a:pt x="38311" y="24546"/>
                    <a:pt x="37748" y="25290"/>
                  </a:cubicBezTo>
                  <a:cubicBezTo>
                    <a:pt x="37667" y="25400"/>
                    <a:pt x="37778" y="25519"/>
                    <a:pt x="37888" y="25519"/>
                  </a:cubicBezTo>
                  <a:cubicBezTo>
                    <a:pt x="37924" y="25519"/>
                    <a:pt x="37959" y="25507"/>
                    <a:pt x="37988" y="25478"/>
                  </a:cubicBezTo>
                  <a:cubicBezTo>
                    <a:pt x="38885" y="24580"/>
                    <a:pt x="39789" y="23688"/>
                    <a:pt x="40716" y="22825"/>
                  </a:cubicBezTo>
                  <a:lnTo>
                    <a:pt x="40716" y="22825"/>
                  </a:lnTo>
                  <a:cubicBezTo>
                    <a:pt x="39991" y="23501"/>
                    <a:pt x="39125" y="24918"/>
                    <a:pt x="38501" y="25937"/>
                  </a:cubicBezTo>
                  <a:cubicBezTo>
                    <a:pt x="38430" y="26052"/>
                    <a:pt x="38532" y="26169"/>
                    <a:pt x="38640" y="26169"/>
                  </a:cubicBezTo>
                  <a:cubicBezTo>
                    <a:pt x="38676" y="26169"/>
                    <a:pt x="38713" y="26156"/>
                    <a:pt x="38744" y="26125"/>
                  </a:cubicBezTo>
                  <a:cubicBezTo>
                    <a:pt x="39168" y="25706"/>
                    <a:pt x="39601" y="25293"/>
                    <a:pt x="40034" y="24889"/>
                  </a:cubicBezTo>
                  <a:cubicBezTo>
                    <a:pt x="40326" y="24621"/>
                    <a:pt x="40618" y="24352"/>
                    <a:pt x="40912" y="24089"/>
                  </a:cubicBezTo>
                  <a:cubicBezTo>
                    <a:pt x="41173" y="23830"/>
                    <a:pt x="41316" y="23700"/>
                    <a:pt x="41340" y="23700"/>
                  </a:cubicBezTo>
                  <a:cubicBezTo>
                    <a:pt x="41364" y="23700"/>
                    <a:pt x="41269" y="23830"/>
                    <a:pt x="41054" y="24089"/>
                  </a:cubicBezTo>
                  <a:cubicBezTo>
                    <a:pt x="40846" y="24468"/>
                    <a:pt x="40543" y="24779"/>
                    <a:pt x="40326" y="25152"/>
                  </a:cubicBezTo>
                  <a:cubicBezTo>
                    <a:pt x="40239" y="25319"/>
                    <a:pt x="40153" y="25490"/>
                    <a:pt x="40069" y="25657"/>
                  </a:cubicBezTo>
                  <a:cubicBezTo>
                    <a:pt x="40053" y="25650"/>
                    <a:pt x="40036" y="25647"/>
                    <a:pt x="40020" y="25647"/>
                  </a:cubicBezTo>
                  <a:cubicBezTo>
                    <a:pt x="39957" y="25647"/>
                    <a:pt x="39899" y="25692"/>
                    <a:pt x="39887" y="25758"/>
                  </a:cubicBezTo>
                  <a:cubicBezTo>
                    <a:pt x="39853" y="25920"/>
                    <a:pt x="39789" y="26027"/>
                    <a:pt x="39873" y="26162"/>
                  </a:cubicBezTo>
                  <a:cubicBezTo>
                    <a:pt x="39905" y="26215"/>
                    <a:pt x="39956" y="26239"/>
                    <a:pt x="40007" y="26239"/>
                  </a:cubicBezTo>
                  <a:cubicBezTo>
                    <a:pt x="40060" y="26239"/>
                    <a:pt x="40113" y="26212"/>
                    <a:pt x="40147" y="26162"/>
                  </a:cubicBezTo>
                  <a:cubicBezTo>
                    <a:pt x="40768" y="25276"/>
                    <a:pt x="41397" y="24254"/>
                    <a:pt x="41807" y="23255"/>
                  </a:cubicBezTo>
                  <a:cubicBezTo>
                    <a:pt x="41855" y="23139"/>
                    <a:pt x="41751" y="23060"/>
                    <a:pt x="41649" y="23060"/>
                  </a:cubicBezTo>
                  <a:cubicBezTo>
                    <a:pt x="41609" y="23060"/>
                    <a:pt x="41569" y="23072"/>
                    <a:pt x="41539" y="23099"/>
                  </a:cubicBezTo>
                  <a:cubicBezTo>
                    <a:pt x="41108" y="23483"/>
                    <a:pt x="40678" y="23870"/>
                    <a:pt x="40251" y="24260"/>
                  </a:cubicBezTo>
                  <a:cubicBezTo>
                    <a:pt x="39988" y="24499"/>
                    <a:pt x="39731" y="24739"/>
                    <a:pt x="39474" y="24982"/>
                  </a:cubicBezTo>
                  <a:cubicBezTo>
                    <a:pt x="40043" y="24139"/>
                    <a:pt x="40655" y="23330"/>
                    <a:pt x="41140" y="22427"/>
                  </a:cubicBezTo>
                  <a:cubicBezTo>
                    <a:pt x="41198" y="22320"/>
                    <a:pt x="41123" y="22222"/>
                    <a:pt x="41028" y="22204"/>
                  </a:cubicBezTo>
                  <a:cubicBezTo>
                    <a:pt x="41077" y="22178"/>
                    <a:pt x="41106" y="22121"/>
                    <a:pt x="41094" y="22066"/>
                  </a:cubicBezTo>
                  <a:cubicBezTo>
                    <a:pt x="41048" y="21855"/>
                    <a:pt x="41019" y="21633"/>
                    <a:pt x="40987" y="21410"/>
                  </a:cubicBezTo>
                  <a:cubicBezTo>
                    <a:pt x="41002" y="21390"/>
                    <a:pt x="41016" y="21370"/>
                    <a:pt x="41031" y="21350"/>
                  </a:cubicBezTo>
                  <a:cubicBezTo>
                    <a:pt x="41097" y="21254"/>
                    <a:pt x="41028" y="21168"/>
                    <a:pt x="40941" y="21142"/>
                  </a:cubicBezTo>
                  <a:cubicBezTo>
                    <a:pt x="40612" y="18590"/>
                    <a:pt x="41051" y="15452"/>
                    <a:pt x="41654" y="13110"/>
                  </a:cubicBezTo>
                  <a:cubicBezTo>
                    <a:pt x="42557" y="12621"/>
                    <a:pt x="43269" y="12379"/>
                    <a:pt x="43796" y="12379"/>
                  </a:cubicBezTo>
                  <a:cubicBezTo>
                    <a:pt x="44174" y="12379"/>
                    <a:pt x="44457" y="12503"/>
                    <a:pt x="44648" y="12749"/>
                  </a:cubicBezTo>
                  <a:cubicBezTo>
                    <a:pt x="44648" y="12810"/>
                    <a:pt x="44685" y="12862"/>
                    <a:pt x="44740" y="12882"/>
                  </a:cubicBezTo>
                  <a:cubicBezTo>
                    <a:pt x="44899" y="13171"/>
                    <a:pt x="44971" y="13569"/>
                    <a:pt x="44940" y="14106"/>
                  </a:cubicBezTo>
                  <a:cubicBezTo>
                    <a:pt x="44703" y="14406"/>
                    <a:pt x="44457" y="14695"/>
                    <a:pt x="44200" y="14978"/>
                  </a:cubicBezTo>
                  <a:cubicBezTo>
                    <a:pt x="44088" y="15105"/>
                    <a:pt x="43816" y="15469"/>
                    <a:pt x="43840" y="15671"/>
                  </a:cubicBezTo>
                  <a:cubicBezTo>
                    <a:pt x="43926" y="16407"/>
                    <a:pt x="44385" y="16898"/>
                    <a:pt x="44960" y="17328"/>
                  </a:cubicBezTo>
                  <a:cubicBezTo>
                    <a:pt x="45543" y="17767"/>
                    <a:pt x="46423" y="17969"/>
                    <a:pt x="46888" y="18399"/>
                  </a:cubicBezTo>
                  <a:cubicBezTo>
                    <a:pt x="46868" y="18422"/>
                    <a:pt x="46848" y="18448"/>
                    <a:pt x="46828" y="18471"/>
                  </a:cubicBezTo>
                  <a:cubicBezTo>
                    <a:pt x="46747" y="18573"/>
                    <a:pt x="46818" y="18730"/>
                    <a:pt x="46931" y="18730"/>
                  </a:cubicBezTo>
                  <a:cubicBezTo>
                    <a:pt x="46956" y="18730"/>
                    <a:pt x="46982" y="18722"/>
                    <a:pt x="47009" y="18705"/>
                  </a:cubicBezTo>
                  <a:cubicBezTo>
                    <a:pt x="47035" y="18688"/>
                    <a:pt x="47061" y="18668"/>
                    <a:pt x="47087" y="18650"/>
                  </a:cubicBezTo>
                  <a:cubicBezTo>
                    <a:pt x="47203" y="18852"/>
                    <a:pt x="47235" y="19106"/>
                    <a:pt x="47139" y="19436"/>
                  </a:cubicBezTo>
                  <a:cubicBezTo>
                    <a:pt x="46631" y="20062"/>
                    <a:pt x="46120" y="20689"/>
                    <a:pt x="45606" y="21309"/>
                  </a:cubicBezTo>
                  <a:cubicBezTo>
                    <a:pt x="44830" y="21791"/>
                    <a:pt x="43990" y="22077"/>
                    <a:pt x="43438" y="22854"/>
                  </a:cubicBezTo>
                  <a:cubicBezTo>
                    <a:pt x="42573" y="24080"/>
                    <a:pt x="43631" y="25189"/>
                    <a:pt x="44825" y="25189"/>
                  </a:cubicBezTo>
                  <a:cubicBezTo>
                    <a:pt x="45074" y="25189"/>
                    <a:pt x="45328" y="25141"/>
                    <a:pt x="45572" y="25036"/>
                  </a:cubicBezTo>
                  <a:cubicBezTo>
                    <a:pt x="45598" y="25166"/>
                    <a:pt x="45624" y="25299"/>
                    <a:pt x="45650" y="25423"/>
                  </a:cubicBezTo>
                  <a:cubicBezTo>
                    <a:pt x="45663" y="25498"/>
                    <a:pt x="45716" y="25530"/>
                    <a:pt x="45773" y="25530"/>
                  </a:cubicBezTo>
                  <a:cubicBezTo>
                    <a:pt x="45859" y="25530"/>
                    <a:pt x="45955" y="25456"/>
                    <a:pt x="45936" y="25342"/>
                  </a:cubicBezTo>
                  <a:cubicBezTo>
                    <a:pt x="45680" y="23898"/>
                    <a:pt x="46022" y="23422"/>
                    <a:pt x="46590" y="23422"/>
                  </a:cubicBezTo>
                  <a:cubicBezTo>
                    <a:pt x="47189" y="23422"/>
                    <a:pt x="48039" y="23951"/>
                    <a:pt x="48701" y="24433"/>
                  </a:cubicBezTo>
                  <a:cubicBezTo>
                    <a:pt x="48684" y="24450"/>
                    <a:pt x="48664" y="24471"/>
                    <a:pt x="48644" y="24491"/>
                  </a:cubicBezTo>
                  <a:cubicBezTo>
                    <a:pt x="48523" y="24609"/>
                    <a:pt x="48641" y="24782"/>
                    <a:pt x="48774" y="24782"/>
                  </a:cubicBezTo>
                  <a:cubicBezTo>
                    <a:pt x="48812" y="24782"/>
                    <a:pt x="48851" y="24768"/>
                    <a:pt x="48886" y="24733"/>
                  </a:cubicBezTo>
                  <a:cubicBezTo>
                    <a:pt x="48918" y="24701"/>
                    <a:pt x="48950" y="24670"/>
                    <a:pt x="48981" y="24641"/>
                  </a:cubicBezTo>
                  <a:cubicBezTo>
                    <a:pt x="49270" y="24860"/>
                    <a:pt x="49501" y="25048"/>
                    <a:pt x="49622" y="25137"/>
                  </a:cubicBezTo>
                  <a:cubicBezTo>
                    <a:pt x="50226" y="25591"/>
                    <a:pt x="50867" y="25989"/>
                    <a:pt x="51539" y="26333"/>
                  </a:cubicBezTo>
                  <a:cubicBezTo>
                    <a:pt x="51536" y="26341"/>
                    <a:pt x="51531" y="26347"/>
                    <a:pt x="51528" y="26356"/>
                  </a:cubicBezTo>
                  <a:cubicBezTo>
                    <a:pt x="51461" y="26485"/>
                    <a:pt x="51563" y="26616"/>
                    <a:pt x="51681" y="26616"/>
                  </a:cubicBezTo>
                  <a:cubicBezTo>
                    <a:pt x="51721" y="26616"/>
                    <a:pt x="51762" y="26601"/>
                    <a:pt x="51799" y="26566"/>
                  </a:cubicBezTo>
                  <a:cubicBezTo>
                    <a:pt x="51819" y="26546"/>
                    <a:pt x="51839" y="26523"/>
                    <a:pt x="51863" y="26503"/>
                  </a:cubicBezTo>
                  <a:cubicBezTo>
                    <a:pt x="52148" y="26642"/>
                    <a:pt x="52440" y="26771"/>
                    <a:pt x="52737" y="26896"/>
                  </a:cubicBezTo>
                  <a:cubicBezTo>
                    <a:pt x="53032" y="27016"/>
                    <a:pt x="53309" y="27071"/>
                    <a:pt x="53569" y="27071"/>
                  </a:cubicBezTo>
                  <a:cubicBezTo>
                    <a:pt x="54705" y="27071"/>
                    <a:pt x="55506" y="26034"/>
                    <a:pt x="55985" y="25005"/>
                  </a:cubicBezTo>
                  <a:cubicBezTo>
                    <a:pt x="56554" y="23778"/>
                    <a:pt x="56794" y="22574"/>
                    <a:pt x="56791" y="21396"/>
                  </a:cubicBezTo>
                  <a:cubicBezTo>
                    <a:pt x="56794" y="21381"/>
                    <a:pt x="56794" y="21364"/>
                    <a:pt x="56791" y="21350"/>
                  </a:cubicBezTo>
                  <a:cubicBezTo>
                    <a:pt x="56788" y="20859"/>
                    <a:pt x="56744" y="20371"/>
                    <a:pt x="56664" y="19889"/>
                  </a:cubicBezTo>
                  <a:cubicBezTo>
                    <a:pt x="56693" y="19851"/>
                    <a:pt x="56724" y="19814"/>
                    <a:pt x="56753" y="19776"/>
                  </a:cubicBezTo>
                  <a:cubicBezTo>
                    <a:pt x="56857" y="19647"/>
                    <a:pt x="56749" y="19487"/>
                    <a:pt x="56627" y="19487"/>
                  </a:cubicBezTo>
                  <a:cubicBezTo>
                    <a:pt x="56614" y="19487"/>
                    <a:pt x="56600" y="19489"/>
                    <a:pt x="56586" y="19493"/>
                  </a:cubicBezTo>
                  <a:cubicBezTo>
                    <a:pt x="56156" y="17461"/>
                    <a:pt x="55105" y="15501"/>
                    <a:pt x="53881" y="13604"/>
                  </a:cubicBezTo>
                  <a:cubicBezTo>
                    <a:pt x="53875" y="13563"/>
                    <a:pt x="53852" y="13526"/>
                    <a:pt x="53817" y="13506"/>
                  </a:cubicBezTo>
                  <a:cubicBezTo>
                    <a:pt x="53462" y="12954"/>
                    <a:pt x="53090" y="12412"/>
                    <a:pt x="52717" y="11872"/>
                  </a:cubicBezTo>
                  <a:cubicBezTo>
                    <a:pt x="52772" y="11794"/>
                    <a:pt x="52833" y="11727"/>
                    <a:pt x="52885" y="11646"/>
                  </a:cubicBezTo>
                  <a:cubicBezTo>
                    <a:pt x="52952" y="11549"/>
                    <a:pt x="52854" y="11413"/>
                    <a:pt x="52749" y="11413"/>
                  </a:cubicBezTo>
                  <a:cubicBezTo>
                    <a:pt x="52723" y="11413"/>
                    <a:pt x="52698" y="11421"/>
                    <a:pt x="52674" y="11439"/>
                  </a:cubicBezTo>
                  <a:cubicBezTo>
                    <a:pt x="52619" y="11482"/>
                    <a:pt x="52567" y="11531"/>
                    <a:pt x="52512" y="11574"/>
                  </a:cubicBezTo>
                  <a:cubicBezTo>
                    <a:pt x="52059" y="10922"/>
                    <a:pt x="51606" y="10275"/>
                    <a:pt x="51170" y="9637"/>
                  </a:cubicBezTo>
                  <a:cubicBezTo>
                    <a:pt x="51170" y="9576"/>
                    <a:pt x="51132" y="9522"/>
                    <a:pt x="51077" y="9501"/>
                  </a:cubicBezTo>
                  <a:cubicBezTo>
                    <a:pt x="50962" y="9331"/>
                    <a:pt x="50846" y="9161"/>
                    <a:pt x="50734" y="8990"/>
                  </a:cubicBezTo>
                  <a:cubicBezTo>
                    <a:pt x="50737" y="8933"/>
                    <a:pt x="50702" y="8881"/>
                    <a:pt x="50650" y="8860"/>
                  </a:cubicBezTo>
                  <a:cubicBezTo>
                    <a:pt x="50116" y="8049"/>
                    <a:pt x="49625" y="7250"/>
                    <a:pt x="49224" y="6459"/>
                  </a:cubicBezTo>
                  <a:cubicBezTo>
                    <a:pt x="49193" y="6400"/>
                    <a:pt x="49134" y="6377"/>
                    <a:pt x="49072" y="6377"/>
                  </a:cubicBezTo>
                  <a:cubicBezTo>
                    <a:pt x="49058" y="6377"/>
                    <a:pt x="49044" y="6378"/>
                    <a:pt x="49030" y="6381"/>
                  </a:cubicBezTo>
                  <a:cubicBezTo>
                    <a:pt x="48764" y="6423"/>
                    <a:pt x="48534" y="6442"/>
                    <a:pt x="48335" y="6442"/>
                  </a:cubicBezTo>
                  <a:cubicBezTo>
                    <a:pt x="46689" y="6442"/>
                    <a:pt x="47123" y="5107"/>
                    <a:pt x="46299" y="4103"/>
                  </a:cubicBezTo>
                  <a:cubicBezTo>
                    <a:pt x="45482" y="3107"/>
                    <a:pt x="44815" y="2887"/>
                    <a:pt x="43588" y="2498"/>
                  </a:cubicBezTo>
                  <a:cubicBezTo>
                    <a:pt x="43046" y="2327"/>
                    <a:pt x="42494" y="2189"/>
                    <a:pt x="41934" y="2082"/>
                  </a:cubicBezTo>
                  <a:cubicBezTo>
                    <a:pt x="41957" y="2036"/>
                    <a:pt x="41986" y="1998"/>
                    <a:pt x="42006" y="1952"/>
                  </a:cubicBezTo>
                  <a:cubicBezTo>
                    <a:pt x="42064" y="1834"/>
                    <a:pt x="41972" y="1709"/>
                    <a:pt x="41865" y="1709"/>
                  </a:cubicBezTo>
                  <a:cubicBezTo>
                    <a:pt x="41828" y="1709"/>
                    <a:pt x="41790" y="1724"/>
                    <a:pt x="41755" y="1758"/>
                  </a:cubicBezTo>
                  <a:cubicBezTo>
                    <a:pt x="41674" y="1839"/>
                    <a:pt x="41596" y="1923"/>
                    <a:pt x="41513" y="2007"/>
                  </a:cubicBezTo>
                  <a:cubicBezTo>
                    <a:pt x="40257" y="1790"/>
                    <a:pt x="38987" y="1666"/>
                    <a:pt x="37710" y="1640"/>
                  </a:cubicBezTo>
                  <a:cubicBezTo>
                    <a:pt x="37699" y="1561"/>
                    <a:pt x="37624" y="1498"/>
                    <a:pt x="37547" y="1498"/>
                  </a:cubicBezTo>
                  <a:cubicBezTo>
                    <a:pt x="37510" y="1498"/>
                    <a:pt x="37473" y="1512"/>
                    <a:pt x="37442" y="1545"/>
                  </a:cubicBezTo>
                  <a:cubicBezTo>
                    <a:pt x="37413" y="1577"/>
                    <a:pt x="37381" y="1608"/>
                    <a:pt x="37352" y="1637"/>
                  </a:cubicBezTo>
                  <a:cubicBezTo>
                    <a:pt x="37146" y="1634"/>
                    <a:pt x="36939" y="1633"/>
                    <a:pt x="36732" y="1633"/>
                  </a:cubicBezTo>
                  <a:cubicBezTo>
                    <a:pt x="35162" y="1633"/>
                    <a:pt x="33604" y="1715"/>
                    <a:pt x="32130" y="1799"/>
                  </a:cubicBezTo>
                  <a:cubicBezTo>
                    <a:pt x="32147" y="1776"/>
                    <a:pt x="32165" y="1753"/>
                    <a:pt x="32182" y="1732"/>
                  </a:cubicBezTo>
                  <a:cubicBezTo>
                    <a:pt x="32265" y="1627"/>
                    <a:pt x="32160" y="1525"/>
                    <a:pt x="32053" y="1525"/>
                  </a:cubicBezTo>
                  <a:cubicBezTo>
                    <a:pt x="32019" y="1525"/>
                    <a:pt x="31985" y="1536"/>
                    <a:pt x="31957" y="1559"/>
                  </a:cubicBezTo>
                  <a:cubicBezTo>
                    <a:pt x="30513" y="2754"/>
                    <a:pt x="29514" y="4339"/>
                    <a:pt x="28279" y="5731"/>
                  </a:cubicBezTo>
                  <a:cubicBezTo>
                    <a:pt x="27990" y="6054"/>
                    <a:pt x="27667" y="6311"/>
                    <a:pt x="27415" y="6669"/>
                  </a:cubicBezTo>
                  <a:cubicBezTo>
                    <a:pt x="27716" y="6233"/>
                    <a:pt x="28025" y="5803"/>
                    <a:pt x="28331" y="5376"/>
                  </a:cubicBezTo>
                  <a:cubicBezTo>
                    <a:pt x="28983" y="4478"/>
                    <a:pt x="29682" y="3618"/>
                    <a:pt x="30429" y="2798"/>
                  </a:cubicBezTo>
                  <a:cubicBezTo>
                    <a:pt x="30571" y="2714"/>
                    <a:pt x="30646" y="2633"/>
                    <a:pt x="30643" y="2558"/>
                  </a:cubicBezTo>
                  <a:cubicBezTo>
                    <a:pt x="30756" y="2437"/>
                    <a:pt x="30860" y="2307"/>
                    <a:pt x="30975" y="2189"/>
                  </a:cubicBezTo>
                  <a:cubicBezTo>
                    <a:pt x="31007" y="2157"/>
                    <a:pt x="31018" y="2108"/>
                    <a:pt x="31004" y="2062"/>
                  </a:cubicBezTo>
                  <a:lnTo>
                    <a:pt x="31157" y="1883"/>
                  </a:lnTo>
                  <a:cubicBezTo>
                    <a:pt x="31355" y="1833"/>
                    <a:pt x="31278" y="1566"/>
                    <a:pt x="31098" y="1566"/>
                  </a:cubicBezTo>
                  <a:cubicBezTo>
                    <a:pt x="31089" y="1566"/>
                    <a:pt x="31080" y="1567"/>
                    <a:pt x="31070" y="1568"/>
                  </a:cubicBezTo>
                  <a:cubicBezTo>
                    <a:pt x="30600" y="1637"/>
                    <a:pt x="30389" y="1836"/>
                    <a:pt x="30057" y="2168"/>
                  </a:cubicBezTo>
                  <a:cubicBezTo>
                    <a:pt x="29329" y="2899"/>
                    <a:pt x="29451" y="3277"/>
                    <a:pt x="28273" y="3343"/>
                  </a:cubicBezTo>
                  <a:cubicBezTo>
                    <a:pt x="26965" y="3416"/>
                    <a:pt x="25931" y="3667"/>
                    <a:pt x="25550" y="4983"/>
                  </a:cubicBezTo>
                  <a:cubicBezTo>
                    <a:pt x="25311" y="5806"/>
                    <a:pt x="26200" y="6427"/>
                    <a:pt x="26968" y="6854"/>
                  </a:cubicBezTo>
                  <a:lnTo>
                    <a:pt x="26881" y="6978"/>
                  </a:lnTo>
                  <a:cubicBezTo>
                    <a:pt x="26823" y="7065"/>
                    <a:pt x="26908" y="7181"/>
                    <a:pt x="26998" y="7181"/>
                  </a:cubicBezTo>
                  <a:cubicBezTo>
                    <a:pt x="27019" y="7181"/>
                    <a:pt x="27040" y="7175"/>
                    <a:pt x="27060" y="7160"/>
                  </a:cubicBezTo>
                  <a:cubicBezTo>
                    <a:pt x="27127" y="7111"/>
                    <a:pt x="27187" y="7056"/>
                    <a:pt x="27254" y="7007"/>
                  </a:cubicBezTo>
                  <a:cubicBezTo>
                    <a:pt x="27424" y="7097"/>
                    <a:pt x="27589" y="7180"/>
                    <a:pt x="27710" y="7247"/>
                  </a:cubicBezTo>
                  <a:cubicBezTo>
                    <a:pt x="31065" y="9112"/>
                    <a:pt x="27667" y="11846"/>
                    <a:pt x="27938" y="14432"/>
                  </a:cubicBezTo>
                  <a:cubicBezTo>
                    <a:pt x="27945" y="14501"/>
                    <a:pt x="28002" y="14536"/>
                    <a:pt x="28055" y="14536"/>
                  </a:cubicBezTo>
                  <a:cubicBezTo>
                    <a:pt x="28108" y="14536"/>
                    <a:pt x="28157" y="14502"/>
                    <a:pt x="28154" y="14432"/>
                  </a:cubicBezTo>
                  <a:cubicBezTo>
                    <a:pt x="28154" y="14395"/>
                    <a:pt x="28157" y="14360"/>
                    <a:pt x="28157" y="14320"/>
                  </a:cubicBezTo>
                  <a:cubicBezTo>
                    <a:pt x="28166" y="14322"/>
                    <a:pt x="28175" y="14323"/>
                    <a:pt x="28185" y="14323"/>
                  </a:cubicBezTo>
                  <a:cubicBezTo>
                    <a:pt x="28212" y="14323"/>
                    <a:pt x="28240" y="14314"/>
                    <a:pt x="28261" y="14297"/>
                  </a:cubicBezTo>
                  <a:cubicBezTo>
                    <a:pt x="28333" y="14242"/>
                    <a:pt x="28417" y="14178"/>
                    <a:pt x="28504" y="14106"/>
                  </a:cubicBezTo>
                  <a:lnTo>
                    <a:pt x="28504" y="14106"/>
                  </a:lnTo>
                  <a:cubicBezTo>
                    <a:pt x="28340" y="14796"/>
                    <a:pt x="27341" y="15483"/>
                    <a:pt x="26695" y="15483"/>
                  </a:cubicBezTo>
                  <a:cubicBezTo>
                    <a:pt x="26416" y="15483"/>
                    <a:pt x="26203" y="15355"/>
                    <a:pt x="26151" y="15044"/>
                  </a:cubicBezTo>
                  <a:cubicBezTo>
                    <a:pt x="26162" y="15030"/>
                    <a:pt x="26171" y="15018"/>
                    <a:pt x="26183" y="15004"/>
                  </a:cubicBezTo>
                  <a:cubicBezTo>
                    <a:pt x="26249" y="14915"/>
                    <a:pt x="26212" y="14831"/>
                    <a:pt x="26139" y="14782"/>
                  </a:cubicBezTo>
                  <a:cubicBezTo>
                    <a:pt x="26148" y="14458"/>
                    <a:pt x="26160" y="14149"/>
                    <a:pt x="26131" y="13823"/>
                  </a:cubicBezTo>
                  <a:cubicBezTo>
                    <a:pt x="26073" y="13231"/>
                    <a:pt x="25625" y="12498"/>
                    <a:pt x="25392" y="11973"/>
                  </a:cubicBezTo>
                  <a:cubicBezTo>
                    <a:pt x="24277" y="9458"/>
                    <a:pt x="23443" y="7036"/>
                    <a:pt x="22660" y="4406"/>
                  </a:cubicBezTo>
                  <a:cubicBezTo>
                    <a:pt x="22461" y="3733"/>
                    <a:pt x="22227" y="3343"/>
                    <a:pt x="21979" y="3147"/>
                  </a:cubicBezTo>
                  <a:cubicBezTo>
                    <a:pt x="21964" y="3061"/>
                    <a:pt x="21895" y="2997"/>
                    <a:pt x="21818" y="2997"/>
                  </a:cubicBezTo>
                  <a:cubicBezTo>
                    <a:pt x="21794" y="2997"/>
                    <a:pt x="21769" y="3003"/>
                    <a:pt x="21745" y="3017"/>
                  </a:cubicBezTo>
                  <a:cubicBezTo>
                    <a:pt x="21686" y="2999"/>
                    <a:pt x="21627" y="2991"/>
                    <a:pt x="21566" y="2991"/>
                  </a:cubicBezTo>
                  <a:cubicBezTo>
                    <a:pt x="20816" y="2991"/>
                    <a:pt x="19978" y="4327"/>
                    <a:pt x="19364" y="5431"/>
                  </a:cubicBezTo>
                  <a:cubicBezTo>
                    <a:pt x="16574" y="3511"/>
                    <a:pt x="13206" y="0"/>
                    <a:pt x="9695" y="0"/>
                  </a:cubicBezTo>
                  <a:close/>
                  <a:moveTo>
                    <a:pt x="24054" y="74610"/>
                  </a:moveTo>
                  <a:cubicBezTo>
                    <a:pt x="24053" y="74611"/>
                    <a:pt x="24053" y="74613"/>
                    <a:pt x="24052" y="74615"/>
                  </a:cubicBezTo>
                  <a:cubicBezTo>
                    <a:pt x="24053" y="74613"/>
                    <a:pt x="24053" y="74611"/>
                    <a:pt x="24054" y="7461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65"/>
            <p:cNvSpPr/>
            <p:nvPr/>
          </p:nvSpPr>
          <p:spPr>
            <a:xfrm>
              <a:off x="2436050" y="2480575"/>
              <a:ext cx="6675" cy="6050"/>
            </a:xfrm>
            <a:custGeom>
              <a:avLst/>
              <a:gdLst/>
              <a:ahLst/>
              <a:cxnLst/>
              <a:rect l="l" t="t" r="r" b="b"/>
              <a:pathLst>
                <a:path w="267" h="242" extrusionOk="0">
                  <a:moveTo>
                    <a:pt x="256" y="1"/>
                  </a:moveTo>
                  <a:cubicBezTo>
                    <a:pt x="243" y="1"/>
                    <a:pt x="165" y="73"/>
                    <a:pt x="1" y="242"/>
                  </a:cubicBezTo>
                  <a:cubicBezTo>
                    <a:pt x="59" y="207"/>
                    <a:pt x="114" y="164"/>
                    <a:pt x="174" y="126"/>
                  </a:cubicBezTo>
                  <a:cubicBezTo>
                    <a:pt x="236" y="47"/>
                    <a:pt x="266" y="1"/>
                    <a:pt x="2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65"/>
            <p:cNvSpPr/>
            <p:nvPr/>
          </p:nvSpPr>
          <p:spPr>
            <a:xfrm>
              <a:off x="3237575" y="748750"/>
              <a:ext cx="6150" cy="6250"/>
            </a:xfrm>
            <a:custGeom>
              <a:avLst/>
              <a:gdLst/>
              <a:ahLst/>
              <a:cxnLst/>
              <a:rect l="l" t="t" r="r" b="b"/>
              <a:pathLst>
                <a:path w="246" h="250" extrusionOk="0">
                  <a:moveTo>
                    <a:pt x="123" y="1"/>
                  </a:moveTo>
                  <a:cubicBezTo>
                    <a:pt x="76" y="1"/>
                    <a:pt x="29" y="29"/>
                    <a:pt x="15" y="85"/>
                  </a:cubicBezTo>
                  <a:cubicBezTo>
                    <a:pt x="9" y="97"/>
                    <a:pt x="3" y="111"/>
                    <a:pt x="0" y="128"/>
                  </a:cubicBezTo>
                  <a:cubicBezTo>
                    <a:pt x="0" y="209"/>
                    <a:pt x="62" y="250"/>
                    <a:pt x="123" y="250"/>
                  </a:cubicBezTo>
                  <a:cubicBezTo>
                    <a:pt x="184" y="250"/>
                    <a:pt x="246" y="209"/>
                    <a:pt x="246" y="128"/>
                  </a:cubicBezTo>
                  <a:cubicBezTo>
                    <a:pt x="243" y="111"/>
                    <a:pt x="237" y="97"/>
                    <a:pt x="231" y="85"/>
                  </a:cubicBezTo>
                  <a:cubicBezTo>
                    <a:pt x="217" y="29"/>
                    <a:pt x="170" y="1"/>
                    <a:pt x="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65"/>
            <p:cNvSpPr/>
            <p:nvPr/>
          </p:nvSpPr>
          <p:spPr>
            <a:xfrm>
              <a:off x="3544900" y="2688975"/>
              <a:ext cx="3150" cy="5800"/>
            </a:xfrm>
            <a:custGeom>
              <a:avLst/>
              <a:gdLst/>
              <a:ahLst/>
              <a:cxnLst/>
              <a:rect l="l" t="t" r="r" b="b"/>
              <a:pathLst>
                <a:path w="126" h="232" extrusionOk="0">
                  <a:moveTo>
                    <a:pt x="116" y="0"/>
                  </a:moveTo>
                  <a:cubicBezTo>
                    <a:pt x="114" y="0"/>
                    <a:pt x="111" y="1"/>
                    <a:pt x="110" y="4"/>
                  </a:cubicBezTo>
                  <a:cubicBezTo>
                    <a:pt x="52" y="82"/>
                    <a:pt x="12" y="128"/>
                    <a:pt x="0" y="223"/>
                  </a:cubicBezTo>
                  <a:cubicBezTo>
                    <a:pt x="0" y="229"/>
                    <a:pt x="4" y="232"/>
                    <a:pt x="8" y="232"/>
                  </a:cubicBezTo>
                  <a:cubicBezTo>
                    <a:pt x="12" y="232"/>
                    <a:pt x="16" y="229"/>
                    <a:pt x="17" y="223"/>
                  </a:cubicBezTo>
                  <a:cubicBezTo>
                    <a:pt x="52" y="151"/>
                    <a:pt x="87" y="82"/>
                    <a:pt x="121" y="12"/>
                  </a:cubicBezTo>
                  <a:cubicBezTo>
                    <a:pt x="125" y="6"/>
                    <a:pt x="121" y="0"/>
                    <a:pt x="1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65"/>
            <p:cNvSpPr/>
            <p:nvPr/>
          </p:nvSpPr>
          <p:spPr>
            <a:xfrm>
              <a:off x="3431000" y="2330125"/>
              <a:ext cx="228750" cy="311750"/>
            </a:xfrm>
            <a:custGeom>
              <a:avLst/>
              <a:gdLst/>
              <a:ahLst/>
              <a:cxnLst/>
              <a:rect l="l" t="t" r="r" b="b"/>
              <a:pathLst>
                <a:path w="9150" h="12470" extrusionOk="0">
                  <a:moveTo>
                    <a:pt x="5856" y="1042"/>
                  </a:moveTo>
                  <a:cubicBezTo>
                    <a:pt x="6054" y="1042"/>
                    <a:pt x="6249" y="1091"/>
                    <a:pt x="6424" y="1181"/>
                  </a:cubicBezTo>
                  <a:cubicBezTo>
                    <a:pt x="5924" y="1597"/>
                    <a:pt x="5474" y="2065"/>
                    <a:pt x="5079" y="2579"/>
                  </a:cubicBezTo>
                  <a:cubicBezTo>
                    <a:pt x="5113" y="2507"/>
                    <a:pt x="5157" y="2434"/>
                    <a:pt x="5191" y="2362"/>
                  </a:cubicBezTo>
                  <a:cubicBezTo>
                    <a:pt x="5408" y="1932"/>
                    <a:pt x="5592" y="1490"/>
                    <a:pt x="5766" y="1046"/>
                  </a:cubicBezTo>
                  <a:cubicBezTo>
                    <a:pt x="5796" y="1043"/>
                    <a:pt x="5826" y="1042"/>
                    <a:pt x="5856" y="1042"/>
                  </a:cubicBezTo>
                  <a:close/>
                  <a:moveTo>
                    <a:pt x="4816" y="1360"/>
                  </a:moveTo>
                  <a:lnTo>
                    <a:pt x="4816" y="1360"/>
                  </a:lnTo>
                  <a:cubicBezTo>
                    <a:pt x="4227" y="2218"/>
                    <a:pt x="3759" y="3145"/>
                    <a:pt x="3367" y="4123"/>
                  </a:cubicBezTo>
                  <a:cubicBezTo>
                    <a:pt x="3141" y="3009"/>
                    <a:pt x="3906" y="1894"/>
                    <a:pt x="4816" y="1360"/>
                  </a:cubicBezTo>
                  <a:close/>
                  <a:moveTo>
                    <a:pt x="5454" y="1086"/>
                  </a:moveTo>
                  <a:cubicBezTo>
                    <a:pt x="4943" y="2379"/>
                    <a:pt x="4238" y="3601"/>
                    <a:pt x="3505" y="4779"/>
                  </a:cubicBezTo>
                  <a:cubicBezTo>
                    <a:pt x="3479" y="4652"/>
                    <a:pt x="3450" y="4519"/>
                    <a:pt x="3421" y="4389"/>
                  </a:cubicBezTo>
                  <a:cubicBezTo>
                    <a:pt x="3658" y="3762"/>
                    <a:pt x="3941" y="3153"/>
                    <a:pt x="4267" y="2570"/>
                  </a:cubicBezTo>
                  <a:cubicBezTo>
                    <a:pt x="4279" y="2544"/>
                    <a:pt x="4775" y="1750"/>
                    <a:pt x="5162" y="1190"/>
                  </a:cubicBezTo>
                  <a:cubicBezTo>
                    <a:pt x="5255" y="1150"/>
                    <a:pt x="5353" y="1115"/>
                    <a:pt x="5454" y="1086"/>
                  </a:cubicBezTo>
                  <a:close/>
                  <a:moveTo>
                    <a:pt x="6159" y="1765"/>
                  </a:moveTo>
                  <a:cubicBezTo>
                    <a:pt x="5164" y="2807"/>
                    <a:pt x="4477" y="4516"/>
                    <a:pt x="3785" y="5769"/>
                  </a:cubicBezTo>
                  <a:cubicBezTo>
                    <a:pt x="3717" y="5889"/>
                    <a:pt x="3818" y="5996"/>
                    <a:pt x="3922" y="5996"/>
                  </a:cubicBezTo>
                  <a:cubicBezTo>
                    <a:pt x="3968" y="5996"/>
                    <a:pt x="4015" y="5975"/>
                    <a:pt x="4048" y="5925"/>
                  </a:cubicBezTo>
                  <a:cubicBezTo>
                    <a:pt x="4747" y="4860"/>
                    <a:pt x="5561" y="3973"/>
                    <a:pt x="6430" y="3058"/>
                  </a:cubicBezTo>
                  <a:lnTo>
                    <a:pt x="6430" y="3058"/>
                  </a:lnTo>
                  <a:cubicBezTo>
                    <a:pt x="5650" y="3881"/>
                    <a:pt x="4729" y="5169"/>
                    <a:pt x="3906" y="6185"/>
                  </a:cubicBezTo>
                  <a:cubicBezTo>
                    <a:pt x="3829" y="6280"/>
                    <a:pt x="3753" y="6378"/>
                    <a:pt x="3676" y="6473"/>
                  </a:cubicBezTo>
                  <a:cubicBezTo>
                    <a:pt x="3690" y="6043"/>
                    <a:pt x="3658" y="5610"/>
                    <a:pt x="3580" y="5186"/>
                  </a:cubicBezTo>
                  <a:cubicBezTo>
                    <a:pt x="3592" y="5177"/>
                    <a:pt x="3603" y="5177"/>
                    <a:pt x="3612" y="5165"/>
                  </a:cubicBezTo>
                  <a:cubicBezTo>
                    <a:pt x="3777" y="4937"/>
                    <a:pt x="3932" y="4704"/>
                    <a:pt x="4091" y="4473"/>
                  </a:cubicBezTo>
                  <a:cubicBezTo>
                    <a:pt x="4233" y="4432"/>
                    <a:pt x="4331" y="4291"/>
                    <a:pt x="4386" y="4051"/>
                  </a:cubicBezTo>
                  <a:cubicBezTo>
                    <a:pt x="4932" y="3254"/>
                    <a:pt x="5485" y="2468"/>
                    <a:pt x="6159" y="1765"/>
                  </a:cubicBezTo>
                  <a:close/>
                  <a:moveTo>
                    <a:pt x="2001" y="8610"/>
                  </a:moveTo>
                  <a:cubicBezTo>
                    <a:pt x="1513" y="9265"/>
                    <a:pt x="1063" y="9943"/>
                    <a:pt x="641" y="10651"/>
                  </a:cubicBezTo>
                  <a:cubicBezTo>
                    <a:pt x="633" y="10426"/>
                    <a:pt x="708" y="10183"/>
                    <a:pt x="838" y="9946"/>
                  </a:cubicBezTo>
                  <a:cubicBezTo>
                    <a:pt x="1118" y="9441"/>
                    <a:pt x="1548" y="9008"/>
                    <a:pt x="2001" y="8610"/>
                  </a:cubicBezTo>
                  <a:close/>
                  <a:moveTo>
                    <a:pt x="6681" y="1378"/>
                  </a:moveTo>
                  <a:cubicBezTo>
                    <a:pt x="6990" y="1684"/>
                    <a:pt x="7201" y="2201"/>
                    <a:pt x="7206" y="3018"/>
                  </a:cubicBezTo>
                  <a:cubicBezTo>
                    <a:pt x="7215" y="3667"/>
                    <a:pt x="7042" y="4221"/>
                    <a:pt x="7085" y="4877"/>
                  </a:cubicBezTo>
                  <a:cubicBezTo>
                    <a:pt x="7134" y="5601"/>
                    <a:pt x="7498" y="6199"/>
                    <a:pt x="7847" y="6808"/>
                  </a:cubicBezTo>
                  <a:cubicBezTo>
                    <a:pt x="8941" y="8702"/>
                    <a:pt x="7518" y="9594"/>
                    <a:pt x="6360" y="10593"/>
                  </a:cubicBezTo>
                  <a:cubicBezTo>
                    <a:pt x="6493" y="10405"/>
                    <a:pt x="6629" y="10223"/>
                    <a:pt x="6759" y="10030"/>
                  </a:cubicBezTo>
                  <a:cubicBezTo>
                    <a:pt x="6811" y="9955"/>
                    <a:pt x="6788" y="9848"/>
                    <a:pt x="6704" y="9808"/>
                  </a:cubicBezTo>
                  <a:cubicBezTo>
                    <a:pt x="7160" y="9129"/>
                    <a:pt x="7619" y="8457"/>
                    <a:pt x="8055" y="7770"/>
                  </a:cubicBezTo>
                  <a:cubicBezTo>
                    <a:pt x="8135" y="7642"/>
                    <a:pt x="8014" y="7498"/>
                    <a:pt x="7893" y="7498"/>
                  </a:cubicBezTo>
                  <a:cubicBezTo>
                    <a:pt x="7852" y="7498"/>
                    <a:pt x="7811" y="7515"/>
                    <a:pt x="7778" y="7553"/>
                  </a:cubicBezTo>
                  <a:cubicBezTo>
                    <a:pt x="6828" y="8665"/>
                    <a:pt x="5725" y="9952"/>
                    <a:pt x="4989" y="11084"/>
                  </a:cubicBezTo>
                  <a:cubicBezTo>
                    <a:pt x="5829" y="9707"/>
                    <a:pt x="6825" y="8422"/>
                    <a:pt x="7622" y="7010"/>
                  </a:cubicBezTo>
                  <a:cubicBezTo>
                    <a:pt x="7693" y="6881"/>
                    <a:pt x="7585" y="6754"/>
                    <a:pt x="7467" y="6754"/>
                  </a:cubicBezTo>
                  <a:cubicBezTo>
                    <a:pt x="7427" y="6754"/>
                    <a:pt x="7386" y="6769"/>
                    <a:pt x="7351" y="6802"/>
                  </a:cubicBezTo>
                  <a:cubicBezTo>
                    <a:pt x="6210" y="7859"/>
                    <a:pt x="4885" y="9230"/>
                    <a:pt x="4031" y="10472"/>
                  </a:cubicBezTo>
                  <a:cubicBezTo>
                    <a:pt x="5021" y="8921"/>
                    <a:pt x="6179" y="7510"/>
                    <a:pt x="6972" y="5824"/>
                  </a:cubicBezTo>
                  <a:cubicBezTo>
                    <a:pt x="7028" y="5701"/>
                    <a:pt x="6929" y="5564"/>
                    <a:pt x="6819" y="5564"/>
                  </a:cubicBezTo>
                  <a:cubicBezTo>
                    <a:pt x="6781" y="5564"/>
                    <a:pt x="6742" y="5580"/>
                    <a:pt x="6707" y="5619"/>
                  </a:cubicBezTo>
                  <a:cubicBezTo>
                    <a:pt x="5289" y="7163"/>
                    <a:pt x="3286" y="9072"/>
                    <a:pt x="2388" y="10810"/>
                  </a:cubicBezTo>
                  <a:cubicBezTo>
                    <a:pt x="3664" y="8335"/>
                    <a:pt x="5584" y="6257"/>
                    <a:pt x="6863" y="3777"/>
                  </a:cubicBezTo>
                  <a:cubicBezTo>
                    <a:pt x="6927" y="3654"/>
                    <a:pt x="6820" y="3514"/>
                    <a:pt x="6706" y="3514"/>
                  </a:cubicBezTo>
                  <a:cubicBezTo>
                    <a:pt x="6668" y="3514"/>
                    <a:pt x="6628" y="3530"/>
                    <a:pt x="6594" y="3569"/>
                  </a:cubicBezTo>
                  <a:cubicBezTo>
                    <a:pt x="5748" y="4577"/>
                    <a:pt x="4975" y="5624"/>
                    <a:pt x="4207" y="6690"/>
                  </a:cubicBezTo>
                  <a:cubicBezTo>
                    <a:pt x="3225" y="8047"/>
                    <a:pt x="1559" y="9565"/>
                    <a:pt x="869" y="10853"/>
                  </a:cubicBezTo>
                  <a:cubicBezTo>
                    <a:pt x="1441" y="9782"/>
                    <a:pt x="2148" y="8797"/>
                    <a:pt x="2899" y="7839"/>
                  </a:cubicBezTo>
                  <a:cubicBezTo>
                    <a:pt x="2910" y="7830"/>
                    <a:pt x="2925" y="7819"/>
                    <a:pt x="2934" y="7810"/>
                  </a:cubicBezTo>
                  <a:cubicBezTo>
                    <a:pt x="3349" y="7455"/>
                    <a:pt x="4088" y="6981"/>
                    <a:pt x="4230" y="6413"/>
                  </a:cubicBezTo>
                  <a:cubicBezTo>
                    <a:pt x="4244" y="6355"/>
                    <a:pt x="4204" y="6297"/>
                    <a:pt x="4143" y="6289"/>
                  </a:cubicBezTo>
                  <a:cubicBezTo>
                    <a:pt x="5148" y="5062"/>
                    <a:pt x="6150" y="3835"/>
                    <a:pt x="6961" y="2478"/>
                  </a:cubicBezTo>
                  <a:cubicBezTo>
                    <a:pt x="7030" y="2364"/>
                    <a:pt x="6925" y="2238"/>
                    <a:pt x="6816" y="2238"/>
                  </a:cubicBezTo>
                  <a:cubicBezTo>
                    <a:pt x="6779" y="2238"/>
                    <a:pt x="6741" y="2253"/>
                    <a:pt x="6710" y="2287"/>
                  </a:cubicBezTo>
                  <a:cubicBezTo>
                    <a:pt x="5844" y="3220"/>
                    <a:pt x="4969" y="4129"/>
                    <a:pt x="4189" y="5139"/>
                  </a:cubicBezTo>
                  <a:cubicBezTo>
                    <a:pt x="4995" y="4094"/>
                    <a:pt x="5916" y="2686"/>
                    <a:pt x="6681" y="1378"/>
                  </a:cubicBezTo>
                  <a:close/>
                  <a:moveTo>
                    <a:pt x="6378" y="6476"/>
                  </a:moveTo>
                  <a:lnTo>
                    <a:pt x="6378" y="6476"/>
                  </a:lnTo>
                  <a:cubicBezTo>
                    <a:pt x="5497" y="7478"/>
                    <a:pt x="4132" y="9611"/>
                    <a:pt x="3185" y="11191"/>
                  </a:cubicBezTo>
                  <a:cubicBezTo>
                    <a:pt x="3144" y="11170"/>
                    <a:pt x="3101" y="11159"/>
                    <a:pt x="3055" y="11153"/>
                  </a:cubicBezTo>
                  <a:cubicBezTo>
                    <a:pt x="2731" y="11153"/>
                    <a:pt x="2449" y="11277"/>
                    <a:pt x="2163" y="11373"/>
                  </a:cubicBezTo>
                  <a:cubicBezTo>
                    <a:pt x="3609" y="9776"/>
                    <a:pt x="4954" y="8093"/>
                    <a:pt x="6378" y="6476"/>
                  </a:cubicBezTo>
                  <a:close/>
                  <a:moveTo>
                    <a:pt x="6292" y="4432"/>
                  </a:moveTo>
                  <a:cubicBezTo>
                    <a:pt x="6314" y="4432"/>
                    <a:pt x="4737" y="6639"/>
                    <a:pt x="4391" y="7140"/>
                  </a:cubicBezTo>
                  <a:cubicBezTo>
                    <a:pt x="3436" y="8517"/>
                    <a:pt x="2492" y="9874"/>
                    <a:pt x="1724" y="11367"/>
                  </a:cubicBezTo>
                  <a:cubicBezTo>
                    <a:pt x="1709" y="11396"/>
                    <a:pt x="1707" y="11430"/>
                    <a:pt x="1712" y="11462"/>
                  </a:cubicBezTo>
                  <a:cubicBezTo>
                    <a:pt x="1687" y="11464"/>
                    <a:pt x="1662" y="11465"/>
                    <a:pt x="1638" y="11465"/>
                  </a:cubicBezTo>
                  <a:cubicBezTo>
                    <a:pt x="1455" y="11465"/>
                    <a:pt x="1275" y="11418"/>
                    <a:pt x="1115" y="11332"/>
                  </a:cubicBezTo>
                  <a:cubicBezTo>
                    <a:pt x="1031" y="11286"/>
                    <a:pt x="953" y="11231"/>
                    <a:pt x="887" y="11168"/>
                  </a:cubicBezTo>
                  <a:cubicBezTo>
                    <a:pt x="2639" y="9508"/>
                    <a:pt x="4002" y="7536"/>
                    <a:pt x="5428" y="5590"/>
                  </a:cubicBezTo>
                  <a:cubicBezTo>
                    <a:pt x="6046" y="4747"/>
                    <a:pt x="6284" y="4432"/>
                    <a:pt x="6292" y="4432"/>
                  </a:cubicBezTo>
                  <a:close/>
                  <a:moveTo>
                    <a:pt x="5633" y="11540"/>
                  </a:moveTo>
                  <a:cubicBezTo>
                    <a:pt x="5647" y="11560"/>
                    <a:pt x="5656" y="11589"/>
                    <a:pt x="5679" y="11603"/>
                  </a:cubicBezTo>
                  <a:cubicBezTo>
                    <a:pt x="5673" y="11606"/>
                    <a:pt x="5665" y="11606"/>
                    <a:pt x="5659" y="11615"/>
                  </a:cubicBezTo>
                  <a:cubicBezTo>
                    <a:pt x="5592" y="11743"/>
                    <a:pt x="5459" y="11853"/>
                    <a:pt x="5293" y="11935"/>
                  </a:cubicBezTo>
                  <a:lnTo>
                    <a:pt x="5293" y="11935"/>
                  </a:lnTo>
                  <a:cubicBezTo>
                    <a:pt x="5308" y="11927"/>
                    <a:pt x="5322" y="11916"/>
                    <a:pt x="5336" y="11901"/>
                  </a:cubicBezTo>
                  <a:cubicBezTo>
                    <a:pt x="5442" y="11782"/>
                    <a:pt x="5532" y="11658"/>
                    <a:pt x="5633" y="11540"/>
                  </a:cubicBezTo>
                  <a:close/>
                  <a:moveTo>
                    <a:pt x="7007" y="7591"/>
                  </a:moveTo>
                  <a:lnTo>
                    <a:pt x="7007" y="7591"/>
                  </a:lnTo>
                  <a:cubicBezTo>
                    <a:pt x="5985" y="8647"/>
                    <a:pt x="4885" y="10521"/>
                    <a:pt x="4054" y="11993"/>
                  </a:cubicBezTo>
                  <a:cubicBezTo>
                    <a:pt x="3935" y="11944"/>
                    <a:pt x="3834" y="11869"/>
                    <a:pt x="3756" y="11768"/>
                  </a:cubicBezTo>
                  <a:cubicBezTo>
                    <a:pt x="3693" y="11676"/>
                    <a:pt x="3609" y="11552"/>
                    <a:pt x="3511" y="11439"/>
                  </a:cubicBezTo>
                  <a:cubicBezTo>
                    <a:pt x="4729" y="10203"/>
                    <a:pt x="5800" y="8838"/>
                    <a:pt x="7007" y="7591"/>
                  </a:cubicBezTo>
                  <a:close/>
                  <a:moveTo>
                    <a:pt x="7166" y="8823"/>
                  </a:moveTo>
                  <a:cubicBezTo>
                    <a:pt x="6560" y="9565"/>
                    <a:pt x="5642" y="10763"/>
                    <a:pt x="5055" y="11684"/>
                  </a:cubicBezTo>
                  <a:cubicBezTo>
                    <a:pt x="4975" y="11812"/>
                    <a:pt x="5097" y="11954"/>
                    <a:pt x="5219" y="11954"/>
                  </a:cubicBezTo>
                  <a:cubicBezTo>
                    <a:pt x="5239" y="11954"/>
                    <a:pt x="5259" y="11951"/>
                    <a:pt x="5277" y="11943"/>
                  </a:cubicBezTo>
                  <a:lnTo>
                    <a:pt x="5277" y="11943"/>
                  </a:lnTo>
                  <a:cubicBezTo>
                    <a:pt x="5071" y="12041"/>
                    <a:pt x="4815" y="12099"/>
                    <a:pt x="4567" y="12099"/>
                  </a:cubicBezTo>
                  <a:cubicBezTo>
                    <a:pt x="4528" y="12099"/>
                    <a:pt x="4488" y="12097"/>
                    <a:pt x="4449" y="12094"/>
                  </a:cubicBezTo>
                  <a:cubicBezTo>
                    <a:pt x="5336" y="10989"/>
                    <a:pt x="6245" y="9903"/>
                    <a:pt x="7166" y="8823"/>
                  </a:cubicBezTo>
                  <a:close/>
                  <a:moveTo>
                    <a:pt x="5959" y="0"/>
                  </a:moveTo>
                  <a:cubicBezTo>
                    <a:pt x="5925" y="0"/>
                    <a:pt x="5892" y="12"/>
                    <a:pt x="5867" y="38"/>
                  </a:cubicBezTo>
                  <a:cubicBezTo>
                    <a:pt x="5685" y="232"/>
                    <a:pt x="5526" y="439"/>
                    <a:pt x="5362" y="642"/>
                  </a:cubicBezTo>
                  <a:cubicBezTo>
                    <a:pt x="5293" y="637"/>
                    <a:pt x="5225" y="634"/>
                    <a:pt x="5157" y="634"/>
                  </a:cubicBezTo>
                  <a:cubicBezTo>
                    <a:pt x="4595" y="634"/>
                    <a:pt x="4048" y="807"/>
                    <a:pt x="3693" y="1202"/>
                  </a:cubicBezTo>
                  <a:cubicBezTo>
                    <a:pt x="2166" y="2902"/>
                    <a:pt x="3528" y="4692"/>
                    <a:pt x="3522" y="6667"/>
                  </a:cubicBezTo>
                  <a:cubicBezTo>
                    <a:pt x="3401" y="6814"/>
                    <a:pt x="3280" y="6964"/>
                    <a:pt x="3162" y="7114"/>
                  </a:cubicBezTo>
                  <a:cubicBezTo>
                    <a:pt x="2625" y="7588"/>
                    <a:pt x="2082" y="8050"/>
                    <a:pt x="1559" y="8537"/>
                  </a:cubicBezTo>
                  <a:cubicBezTo>
                    <a:pt x="930" y="9126"/>
                    <a:pt x="0" y="10030"/>
                    <a:pt x="295" y="10989"/>
                  </a:cubicBezTo>
                  <a:cubicBezTo>
                    <a:pt x="315" y="11035"/>
                    <a:pt x="338" y="11078"/>
                    <a:pt x="364" y="11121"/>
                  </a:cubicBezTo>
                  <a:cubicBezTo>
                    <a:pt x="318" y="11205"/>
                    <a:pt x="266" y="11283"/>
                    <a:pt x="220" y="11367"/>
                  </a:cubicBezTo>
                  <a:cubicBezTo>
                    <a:pt x="151" y="11494"/>
                    <a:pt x="253" y="11614"/>
                    <a:pt x="368" y="11614"/>
                  </a:cubicBezTo>
                  <a:cubicBezTo>
                    <a:pt x="407" y="11614"/>
                    <a:pt x="447" y="11600"/>
                    <a:pt x="482" y="11569"/>
                  </a:cubicBezTo>
                  <a:cubicBezTo>
                    <a:pt x="529" y="11528"/>
                    <a:pt x="569" y="11482"/>
                    <a:pt x="612" y="11439"/>
                  </a:cubicBezTo>
                  <a:cubicBezTo>
                    <a:pt x="765" y="11566"/>
                    <a:pt x="930" y="11676"/>
                    <a:pt x="1106" y="11765"/>
                  </a:cubicBezTo>
                  <a:cubicBezTo>
                    <a:pt x="1355" y="11898"/>
                    <a:pt x="1587" y="11967"/>
                    <a:pt x="1866" y="11967"/>
                  </a:cubicBezTo>
                  <a:cubicBezTo>
                    <a:pt x="1871" y="11967"/>
                    <a:pt x="1877" y="11967"/>
                    <a:pt x="1883" y="11967"/>
                  </a:cubicBezTo>
                  <a:cubicBezTo>
                    <a:pt x="2234" y="11962"/>
                    <a:pt x="2526" y="11575"/>
                    <a:pt x="2875" y="11575"/>
                  </a:cubicBezTo>
                  <a:cubicBezTo>
                    <a:pt x="2916" y="11575"/>
                    <a:pt x="2957" y="11580"/>
                    <a:pt x="3000" y="11592"/>
                  </a:cubicBezTo>
                  <a:cubicBezTo>
                    <a:pt x="3021" y="11666"/>
                    <a:pt x="3089" y="11716"/>
                    <a:pt x="3163" y="11716"/>
                  </a:cubicBezTo>
                  <a:cubicBezTo>
                    <a:pt x="3180" y="11716"/>
                    <a:pt x="3199" y="11714"/>
                    <a:pt x="3216" y="11707"/>
                  </a:cubicBezTo>
                  <a:cubicBezTo>
                    <a:pt x="3257" y="11736"/>
                    <a:pt x="3294" y="11765"/>
                    <a:pt x="3329" y="11800"/>
                  </a:cubicBezTo>
                  <a:cubicBezTo>
                    <a:pt x="3522" y="12002"/>
                    <a:pt x="3751" y="12169"/>
                    <a:pt x="4005" y="12293"/>
                  </a:cubicBezTo>
                  <a:cubicBezTo>
                    <a:pt x="4032" y="12343"/>
                    <a:pt x="4086" y="12372"/>
                    <a:pt x="4143" y="12372"/>
                  </a:cubicBezTo>
                  <a:cubicBezTo>
                    <a:pt x="4158" y="12372"/>
                    <a:pt x="4174" y="12370"/>
                    <a:pt x="4189" y="12366"/>
                  </a:cubicBezTo>
                  <a:cubicBezTo>
                    <a:pt x="4373" y="12433"/>
                    <a:pt x="4561" y="12470"/>
                    <a:pt x="4742" y="12470"/>
                  </a:cubicBezTo>
                  <a:cubicBezTo>
                    <a:pt x="5185" y="12470"/>
                    <a:pt x="5595" y="12250"/>
                    <a:pt x="5841" y="11716"/>
                  </a:cubicBezTo>
                  <a:cubicBezTo>
                    <a:pt x="5858" y="11676"/>
                    <a:pt x="5849" y="11629"/>
                    <a:pt x="5821" y="11601"/>
                  </a:cubicBezTo>
                  <a:cubicBezTo>
                    <a:pt x="5838" y="11592"/>
                    <a:pt x="5861" y="11595"/>
                    <a:pt x="5878" y="11572"/>
                  </a:cubicBezTo>
                  <a:cubicBezTo>
                    <a:pt x="6779" y="10475"/>
                    <a:pt x="9149" y="9366"/>
                    <a:pt x="8529" y="7544"/>
                  </a:cubicBezTo>
                  <a:cubicBezTo>
                    <a:pt x="8038" y="6104"/>
                    <a:pt x="7258" y="5160"/>
                    <a:pt x="7489" y="3511"/>
                  </a:cubicBezTo>
                  <a:cubicBezTo>
                    <a:pt x="7596" y="2769"/>
                    <a:pt x="7547" y="2284"/>
                    <a:pt x="7177" y="1643"/>
                  </a:cubicBezTo>
                  <a:cubicBezTo>
                    <a:pt x="7068" y="1461"/>
                    <a:pt x="6923" y="1303"/>
                    <a:pt x="6756" y="1176"/>
                  </a:cubicBezTo>
                  <a:cubicBezTo>
                    <a:pt x="6736" y="1118"/>
                    <a:pt x="6684" y="1080"/>
                    <a:pt x="6626" y="1077"/>
                  </a:cubicBezTo>
                  <a:cubicBezTo>
                    <a:pt x="6398" y="922"/>
                    <a:pt x="6150" y="806"/>
                    <a:pt x="5884" y="734"/>
                  </a:cubicBezTo>
                  <a:cubicBezTo>
                    <a:pt x="5956" y="546"/>
                    <a:pt x="6028" y="359"/>
                    <a:pt x="6098" y="171"/>
                  </a:cubicBezTo>
                  <a:cubicBezTo>
                    <a:pt x="6131" y="77"/>
                    <a:pt x="6044" y="0"/>
                    <a:pt x="59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32" name="Google Shape;4432;p65"/>
          <p:cNvGrpSpPr/>
          <p:nvPr/>
        </p:nvGrpSpPr>
        <p:grpSpPr>
          <a:xfrm>
            <a:off x="3514722" y="2832485"/>
            <a:ext cx="2310282" cy="1374222"/>
            <a:chOff x="238125" y="732525"/>
            <a:chExt cx="7130500" cy="4241425"/>
          </a:xfrm>
        </p:grpSpPr>
        <p:sp>
          <p:nvSpPr>
            <p:cNvPr id="4433" name="Google Shape;4433;p65"/>
            <p:cNvSpPr/>
            <p:nvPr/>
          </p:nvSpPr>
          <p:spPr>
            <a:xfrm>
              <a:off x="3175800" y="1003350"/>
              <a:ext cx="3741725" cy="3331975"/>
            </a:xfrm>
            <a:custGeom>
              <a:avLst/>
              <a:gdLst/>
              <a:ahLst/>
              <a:cxnLst/>
              <a:rect l="l" t="t" r="r" b="b"/>
              <a:pathLst>
                <a:path w="149669" h="133279" extrusionOk="0">
                  <a:moveTo>
                    <a:pt x="81445" y="1"/>
                  </a:moveTo>
                  <a:lnTo>
                    <a:pt x="79450" y="1466"/>
                  </a:lnTo>
                  <a:lnTo>
                    <a:pt x="78288" y="3145"/>
                  </a:lnTo>
                  <a:lnTo>
                    <a:pt x="77341" y="834"/>
                  </a:lnTo>
                  <a:lnTo>
                    <a:pt x="75131" y="834"/>
                  </a:lnTo>
                  <a:lnTo>
                    <a:pt x="73868" y="2413"/>
                  </a:lnTo>
                  <a:lnTo>
                    <a:pt x="73161" y="4888"/>
                  </a:lnTo>
                  <a:lnTo>
                    <a:pt x="69891" y="7325"/>
                  </a:lnTo>
                  <a:lnTo>
                    <a:pt x="68313" y="10330"/>
                  </a:lnTo>
                  <a:lnTo>
                    <a:pt x="69474" y="11466"/>
                  </a:lnTo>
                  <a:lnTo>
                    <a:pt x="66318" y="13247"/>
                  </a:lnTo>
                  <a:lnTo>
                    <a:pt x="67782" y="14825"/>
                  </a:lnTo>
                  <a:lnTo>
                    <a:pt x="69790" y="15873"/>
                  </a:lnTo>
                  <a:lnTo>
                    <a:pt x="68729" y="16504"/>
                  </a:lnTo>
                  <a:lnTo>
                    <a:pt x="65888" y="14812"/>
                  </a:lnTo>
                  <a:lnTo>
                    <a:pt x="65257" y="16605"/>
                  </a:lnTo>
                  <a:lnTo>
                    <a:pt x="63994" y="17439"/>
                  </a:lnTo>
                  <a:lnTo>
                    <a:pt x="65358" y="21644"/>
                  </a:lnTo>
                  <a:lnTo>
                    <a:pt x="67050" y="21959"/>
                  </a:lnTo>
                  <a:lnTo>
                    <a:pt x="68199" y="22906"/>
                  </a:lnTo>
                  <a:cubicBezTo>
                    <a:pt x="67252" y="23336"/>
                    <a:pt x="65674" y="23651"/>
                    <a:pt x="65674" y="23651"/>
                  </a:cubicBezTo>
                  <a:lnTo>
                    <a:pt x="66419" y="25230"/>
                  </a:lnTo>
                  <a:lnTo>
                    <a:pt x="65358" y="26593"/>
                  </a:lnTo>
                  <a:lnTo>
                    <a:pt x="63577" y="25962"/>
                  </a:lnTo>
                  <a:lnTo>
                    <a:pt x="64625" y="23967"/>
                  </a:lnTo>
                  <a:lnTo>
                    <a:pt x="63262" y="20394"/>
                  </a:lnTo>
                  <a:lnTo>
                    <a:pt x="62214" y="17439"/>
                  </a:lnTo>
                  <a:lnTo>
                    <a:pt x="61368" y="15343"/>
                  </a:lnTo>
                  <a:lnTo>
                    <a:pt x="59688" y="14711"/>
                  </a:lnTo>
                  <a:lnTo>
                    <a:pt x="58842" y="18386"/>
                  </a:lnTo>
                  <a:lnTo>
                    <a:pt x="58792" y="21012"/>
                  </a:lnTo>
                  <a:lnTo>
                    <a:pt x="60951" y="22906"/>
                  </a:lnTo>
                  <a:lnTo>
                    <a:pt x="60951" y="24485"/>
                  </a:lnTo>
                  <a:lnTo>
                    <a:pt x="58009" y="23020"/>
                  </a:lnTo>
                  <a:lnTo>
                    <a:pt x="55319" y="22389"/>
                  </a:lnTo>
                  <a:lnTo>
                    <a:pt x="54978" y="23437"/>
                  </a:lnTo>
                  <a:lnTo>
                    <a:pt x="55547" y="24598"/>
                  </a:lnTo>
                  <a:lnTo>
                    <a:pt x="52516" y="25230"/>
                  </a:lnTo>
                  <a:lnTo>
                    <a:pt x="48526" y="27326"/>
                  </a:lnTo>
                  <a:lnTo>
                    <a:pt x="46632" y="29535"/>
                  </a:lnTo>
                  <a:lnTo>
                    <a:pt x="46114" y="26909"/>
                  </a:lnTo>
                  <a:lnTo>
                    <a:pt x="44852" y="26391"/>
                  </a:lnTo>
                  <a:lnTo>
                    <a:pt x="44536" y="29119"/>
                  </a:lnTo>
                  <a:lnTo>
                    <a:pt x="42326" y="30381"/>
                  </a:lnTo>
                  <a:lnTo>
                    <a:pt x="43488" y="32162"/>
                  </a:lnTo>
                  <a:lnTo>
                    <a:pt x="41379" y="32061"/>
                  </a:lnTo>
                  <a:lnTo>
                    <a:pt x="40647" y="33223"/>
                  </a:lnTo>
                  <a:lnTo>
                    <a:pt x="39169" y="30381"/>
                  </a:lnTo>
                  <a:lnTo>
                    <a:pt x="37490" y="29119"/>
                  </a:lnTo>
                  <a:lnTo>
                    <a:pt x="37490" y="29119"/>
                  </a:lnTo>
                  <a:lnTo>
                    <a:pt x="40748" y="29750"/>
                  </a:lnTo>
                  <a:lnTo>
                    <a:pt x="42225" y="28803"/>
                  </a:lnTo>
                  <a:lnTo>
                    <a:pt x="41379" y="26593"/>
                  </a:lnTo>
                  <a:lnTo>
                    <a:pt x="37806" y="24699"/>
                  </a:lnTo>
                  <a:lnTo>
                    <a:pt x="35078" y="23538"/>
                  </a:lnTo>
                  <a:lnTo>
                    <a:pt x="32654" y="22906"/>
                  </a:lnTo>
                  <a:lnTo>
                    <a:pt x="29181" y="24068"/>
                  </a:lnTo>
                  <a:lnTo>
                    <a:pt x="25292" y="28172"/>
                  </a:lnTo>
                  <a:lnTo>
                    <a:pt x="22767" y="31745"/>
                  </a:lnTo>
                  <a:lnTo>
                    <a:pt x="21403" y="34586"/>
                  </a:lnTo>
                  <a:lnTo>
                    <a:pt x="18878" y="37112"/>
                  </a:lnTo>
                  <a:lnTo>
                    <a:pt x="18082" y="38892"/>
                  </a:lnTo>
                  <a:lnTo>
                    <a:pt x="19130" y="42680"/>
                  </a:lnTo>
                  <a:lnTo>
                    <a:pt x="20923" y="42364"/>
                  </a:lnTo>
                  <a:lnTo>
                    <a:pt x="22186" y="40786"/>
                  </a:lnTo>
                  <a:lnTo>
                    <a:pt x="23651" y="43311"/>
                  </a:lnTo>
                  <a:lnTo>
                    <a:pt x="23449" y="44776"/>
                  </a:lnTo>
                  <a:lnTo>
                    <a:pt x="26441" y="45092"/>
                  </a:lnTo>
                  <a:cubicBezTo>
                    <a:pt x="26441" y="45092"/>
                    <a:pt x="28058" y="42882"/>
                    <a:pt x="28058" y="42566"/>
                  </a:cubicBezTo>
                  <a:cubicBezTo>
                    <a:pt x="28058" y="42251"/>
                    <a:pt x="28487" y="40256"/>
                    <a:pt x="28487" y="40256"/>
                  </a:cubicBezTo>
                  <a:lnTo>
                    <a:pt x="26909" y="37932"/>
                  </a:lnTo>
                  <a:lnTo>
                    <a:pt x="27111" y="35622"/>
                  </a:lnTo>
                  <a:lnTo>
                    <a:pt x="28904" y="34157"/>
                  </a:lnTo>
                  <a:lnTo>
                    <a:pt x="29535" y="32364"/>
                  </a:lnTo>
                  <a:lnTo>
                    <a:pt x="30899" y="31202"/>
                  </a:lnTo>
                  <a:lnTo>
                    <a:pt x="32376" y="32263"/>
                  </a:lnTo>
                  <a:lnTo>
                    <a:pt x="29535" y="35836"/>
                  </a:lnTo>
                  <a:lnTo>
                    <a:pt x="30684" y="39309"/>
                  </a:lnTo>
                  <a:lnTo>
                    <a:pt x="32477" y="39523"/>
                  </a:lnTo>
                  <a:lnTo>
                    <a:pt x="35002" y="38778"/>
                  </a:lnTo>
                  <a:lnTo>
                    <a:pt x="36467" y="39725"/>
                  </a:lnTo>
                  <a:lnTo>
                    <a:pt x="34257" y="41089"/>
                  </a:lnTo>
                  <a:lnTo>
                    <a:pt x="31416" y="41203"/>
                  </a:lnTo>
                  <a:lnTo>
                    <a:pt x="31101" y="42983"/>
                  </a:lnTo>
                  <a:lnTo>
                    <a:pt x="29952" y="44360"/>
                  </a:lnTo>
                  <a:lnTo>
                    <a:pt x="29219" y="46822"/>
                  </a:lnTo>
                  <a:lnTo>
                    <a:pt x="25532" y="47504"/>
                  </a:lnTo>
                  <a:lnTo>
                    <a:pt x="21555" y="47504"/>
                  </a:lnTo>
                  <a:lnTo>
                    <a:pt x="22287" y="45092"/>
                  </a:lnTo>
                  <a:lnTo>
                    <a:pt x="21239" y="43880"/>
                  </a:lnTo>
                  <a:lnTo>
                    <a:pt x="19976" y="45382"/>
                  </a:lnTo>
                  <a:lnTo>
                    <a:pt x="19762" y="48072"/>
                  </a:lnTo>
                  <a:lnTo>
                    <a:pt x="17022" y="49208"/>
                  </a:lnTo>
                  <a:lnTo>
                    <a:pt x="16075" y="52618"/>
                  </a:lnTo>
                  <a:lnTo>
                    <a:pt x="14294" y="54448"/>
                  </a:lnTo>
                  <a:lnTo>
                    <a:pt x="12716" y="54448"/>
                  </a:lnTo>
                  <a:lnTo>
                    <a:pt x="10822" y="54764"/>
                  </a:lnTo>
                  <a:lnTo>
                    <a:pt x="12501" y="55648"/>
                  </a:lnTo>
                  <a:lnTo>
                    <a:pt x="13448" y="57681"/>
                  </a:lnTo>
                  <a:lnTo>
                    <a:pt x="11971" y="59209"/>
                  </a:lnTo>
                  <a:lnTo>
                    <a:pt x="8460" y="58780"/>
                  </a:lnTo>
                  <a:lnTo>
                    <a:pt x="6087" y="60017"/>
                  </a:lnTo>
                  <a:lnTo>
                    <a:pt x="6087" y="65484"/>
                  </a:lnTo>
                  <a:lnTo>
                    <a:pt x="8612" y="66217"/>
                  </a:lnTo>
                  <a:lnTo>
                    <a:pt x="9723" y="67164"/>
                  </a:lnTo>
                  <a:lnTo>
                    <a:pt x="11150" y="66318"/>
                  </a:lnTo>
                  <a:lnTo>
                    <a:pt x="13233" y="66431"/>
                  </a:lnTo>
                  <a:lnTo>
                    <a:pt x="15115" y="63691"/>
                  </a:lnTo>
                  <a:lnTo>
                    <a:pt x="16176" y="61797"/>
                  </a:lnTo>
                  <a:lnTo>
                    <a:pt x="17123" y="61381"/>
                  </a:lnTo>
                  <a:lnTo>
                    <a:pt x="17438" y="59600"/>
                  </a:lnTo>
                  <a:lnTo>
                    <a:pt x="19850" y="60232"/>
                  </a:lnTo>
                  <a:lnTo>
                    <a:pt x="21226" y="59487"/>
                  </a:lnTo>
                  <a:lnTo>
                    <a:pt x="22805" y="59487"/>
                  </a:lnTo>
                  <a:lnTo>
                    <a:pt x="24699" y="61595"/>
                  </a:lnTo>
                  <a:lnTo>
                    <a:pt x="26113" y="62909"/>
                  </a:lnTo>
                  <a:lnTo>
                    <a:pt x="26896" y="64222"/>
                  </a:lnTo>
                  <a:lnTo>
                    <a:pt x="26896" y="65484"/>
                  </a:lnTo>
                  <a:lnTo>
                    <a:pt x="28159" y="64752"/>
                  </a:lnTo>
                  <a:lnTo>
                    <a:pt x="28159" y="62959"/>
                  </a:lnTo>
                  <a:lnTo>
                    <a:pt x="29421" y="63376"/>
                  </a:lnTo>
                  <a:lnTo>
                    <a:pt x="29787" y="62542"/>
                  </a:lnTo>
                  <a:lnTo>
                    <a:pt x="27035" y="60964"/>
                  </a:lnTo>
                  <a:lnTo>
                    <a:pt x="24661" y="58653"/>
                  </a:lnTo>
                  <a:lnTo>
                    <a:pt x="25103" y="57075"/>
                  </a:lnTo>
                  <a:lnTo>
                    <a:pt x="27527" y="58754"/>
                  </a:lnTo>
                  <a:lnTo>
                    <a:pt x="30368" y="61595"/>
                  </a:lnTo>
                  <a:lnTo>
                    <a:pt x="31846" y="65383"/>
                  </a:lnTo>
                  <a:lnTo>
                    <a:pt x="33525" y="66671"/>
                  </a:lnTo>
                  <a:lnTo>
                    <a:pt x="34889" y="65383"/>
                  </a:lnTo>
                  <a:lnTo>
                    <a:pt x="33740" y="64020"/>
                  </a:lnTo>
                  <a:lnTo>
                    <a:pt x="35002" y="62643"/>
                  </a:lnTo>
                  <a:lnTo>
                    <a:pt x="36366" y="62441"/>
                  </a:lnTo>
                  <a:lnTo>
                    <a:pt x="37945" y="62126"/>
                  </a:lnTo>
                  <a:lnTo>
                    <a:pt x="37831" y="59701"/>
                  </a:lnTo>
                  <a:lnTo>
                    <a:pt x="39409" y="56343"/>
                  </a:lnTo>
                  <a:lnTo>
                    <a:pt x="41101" y="55913"/>
                  </a:lnTo>
                  <a:lnTo>
                    <a:pt x="41733" y="58237"/>
                  </a:lnTo>
                  <a:lnTo>
                    <a:pt x="43627" y="58237"/>
                  </a:lnTo>
                  <a:lnTo>
                    <a:pt x="43513" y="56759"/>
                  </a:lnTo>
                  <a:lnTo>
                    <a:pt x="45407" y="55547"/>
                  </a:lnTo>
                  <a:lnTo>
                    <a:pt x="44776" y="57466"/>
                  </a:lnTo>
                  <a:lnTo>
                    <a:pt x="47402" y="60168"/>
                  </a:lnTo>
                  <a:lnTo>
                    <a:pt x="49195" y="61507"/>
                  </a:lnTo>
                  <a:lnTo>
                    <a:pt x="45306" y="62340"/>
                  </a:lnTo>
                  <a:lnTo>
                    <a:pt x="42149" y="61494"/>
                  </a:lnTo>
                  <a:lnTo>
                    <a:pt x="39624" y="62126"/>
                  </a:lnTo>
                  <a:lnTo>
                    <a:pt x="38147" y="62972"/>
                  </a:lnTo>
                  <a:lnTo>
                    <a:pt x="37099" y="65497"/>
                  </a:lnTo>
                  <a:lnTo>
                    <a:pt x="38892" y="66671"/>
                  </a:lnTo>
                  <a:lnTo>
                    <a:pt x="41619" y="67366"/>
                  </a:lnTo>
                  <a:lnTo>
                    <a:pt x="44031" y="66002"/>
                  </a:lnTo>
                  <a:lnTo>
                    <a:pt x="44978" y="67366"/>
                  </a:lnTo>
                  <a:lnTo>
                    <a:pt x="44144" y="70523"/>
                  </a:lnTo>
                  <a:lnTo>
                    <a:pt x="41404" y="71785"/>
                  </a:lnTo>
                  <a:lnTo>
                    <a:pt x="38046" y="72316"/>
                  </a:lnTo>
                  <a:lnTo>
                    <a:pt x="32578" y="70737"/>
                  </a:lnTo>
                  <a:lnTo>
                    <a:pt x="30684" y="71053"/>
                  </a:lnTo>
                  <a:lnTo>
                    <a:pt x="29005" y="72518"/>
                  </a:lnTo>
                  <a:lnTo>
                    <a:pt x="26441" y="70422"/>
                  </a:lnTo>
                  <a:lnTo>
                    <a:pt x="23966" y="69891"/>
                  </a:lnTo>
                  <a:lnTo>
                    <a:pt x="23600" y="67139"/>
                  </a:lnTo>
                  <a:lnTo>
                    <a:pt x="22186" y="66823"/>
                  </a:lnTo>
                  <a:lnTo>
                    <a:pt x="20077" y="67164"/>
                  </a:lnTo>
                  <a:lnTo>
                    <a:pt x="15948" y="67139"/>
                  </a:lnTo>
                  <a:lnTo>
                    <a:pt x="11554" y="68742"/>
                  </a:lnTo>
                  <a:lnTo>
                    <a:pt x="10291" y="68111"/>
                  </a:lnTo>
                  <a:lnTo>
                    <a:pt x="8511" y="69891"/>
                  </a:lnTo>
                  <a:lnTo>
                    <a:pt x="6718" y="71785"/>
                  </a:lnTo>
                  <a:lnTo>
                    <a:pt x="6087" y="73793"/>
                  </a:lnTo>
                  <a:lnTo>
                    <a:pt x="3460" y="75687"/>
                  </a:lnTo>
                  <a:lnTo>
                    <a:pt x="1048" y="79564"/>
                  </a:lnTo>
                  <a:lnTo>
                    <a:pt x="0" y="82089"/>
                  </a:lnTo>
                  <a:lnTo>
                    <a:pt x="518" y="84501"/>
                  </a:lnTo>
                  <a:lnTo>
                    <a:pt x="0" y="87342"/>
                  </a:lnTo>
                  <a:lnTo>
                    <a:pt x="834" y="90814"/>
                  </a:lnTo>
                  <a:lnTo>
                    <a:pt x="3258" y="93340"/>
                  </a:lnTo>
                  <a:lnTo>
                    <a:pt x="5038" y="95234"/>
                  </a:lnTo>
                  <a:lnTo>
                    <a:pt x="8094" y="97027"/>
                  </a:lnTo>
                  <a:lnTo>
                    <a:pt x="10822" y="96711"/>
                  </a:lnTo>
                  <a:lnTo>
                    <a:pt x="13347" y="96711"/>
                  </a:lnTo>
                  <a:lnTo>
                    <a:pt x="16075" y="95335"/>
                  </a:lnTo>
                  <a:lnTo>
                    <a:pt x="18398" y="95600"/>
                  </a:lnTo>
                  <a:lnTo>
                    <a:pt x="19345" y="97203"/>
                  </a:lnTo>
                  <a:lnTo>
                    <a:pt x="22186" y="97052"/>
                  </a:lnTo>
                  <a:lnTo>
                    <a:pt x="23335" y="98921"/>
                  </a:lnTo>
                  <a:lnTo>
                    <a:pt x="22918" y="103012"/>
                  </a:lnTo>
                  <a:lnTo>
                    <a:pt x="25040" y="106169"/>
                  </a:lnTo>
                  <a:lnTo>
                    <a:pt x="25646" y="109325"/>
                  </a:lnTo>
                  <a:lnTo>
                    <a:pt x="25646" y="112166"/>
                  </a:lnTo>
                  <a:lnTo>
                    <a:pt x="23752" y="114793"/>
                  </a:lnTo>
                  <a:lnTo>
                    <a:pt x="23752" y="117205"/>
                  </a:lnTo>
                  <a:lnTo>
                    <a:pt x="25646" y="119945"/>
                  </a:lnTo>
                  <a:lnTo>
                    <a:pt x="25646" y="123505"/>
                  </a:lnTo>
                  <a:lnTo>
                    <a:pt x="27641" y="126132"/>
                  </a:lnTo>
                  <a:lnTo>
                    <a:pt x="28752" y="128228"/>
                  </a:lnTo>
                  <a:lnTo>
                    <a:pt x="29143" y="130539"/>
                  </a:lnTo>
                  <a:lnTo>
                    <a:pt x="30899" y="133279"/>
                  </a:lnTo>
                  <a:lnTo>
                    <a:pt x="35419" y="133279"/>
                  </a:lnTo>
                  <a:lnTo>
                    <a:pt x="37945" y="131385"/>
                  </a:lnTo>
                  <a:lnTo>
                    <a:pt x="39624" y="129541"/>
                  </a:lnTo>
                  <a:lnTo>
                    <a:pt x="42149" y="126675"/>
                  </a:lnTo>
                  <a:lnTo>
                    <a:pt x="42781" y="123808"/>
                  </a:lnTo>
                  <a:lnTo>
                    <a:pt x="44258" y="123808"/>
                  </a:lnTo>
                  <a:lnTo>
                    <a:pt x="44574" y="119705"/>
                  </a:lnTo>
                  <a:lnTo>
                    <a:pt x="44574" y="118442"/>
                  </a:lnTo>
                  <a:lnTo>
                    <a:pt x="48678" y="115285"/>
                  </a:lnTo>
                  <a:lnTo>
                    <a:pt x="50256" y="112874"/>
                  </a:lnTo>
                  <a:lnTo>
                    <a:pt x="50256" y="110260"/>
                  </a:lnTo>
                  <a:lnTo>
                    <a:pt x="49410" y="108265"/>
                  </a:lnTo>
                  <a:lnTo>
                    <a:pt x="49460" y="105954"/>
                  </a:lnTo>
                  <a:lnTo>
                    <a:pt x="48905" y="104477"/>
                  </a:lnTo>
                  <a:lnTo>
                    <a:pt x="51683" y="101951"/>
                  </a:lnTo>
                  <a:lnTo>
                    <a:pt x="54334" y="99009"/>
                  </a:lnTo>
                  <a:lnTo>
                    <a:pt x="57592" y="97014"/>
                  </a:lnTo>
                  <a:cubicBezTo>
                    <a:pt x="57592" y="97014"/>
                    <a:pt x="59070" y="94388"/>
                    <a:pt x="59070" y="93958"/>
                  </a:cubicBezTo>
                  <a:cubicBezTo>
                    <a:pt x="59070" y="93542"/>
                    <a:pt x="59916" y="91433"/>
                    <a:pt x="59916" y="91433"/>
                  </a:cubicBezTo>
                  <a:lnTo>
                    <a:pt x="59398" y="89754"/>
                  </a:lnTo>
                  <a:lnTo>
                    <a:pt x="57921" y="90498"/>
                  </a:lnTo>
                  <a:lnTo>
                    <a:pt x="54132" y="91016"/>
                  </a:lnTo>
                  <a:lnTo>
                    <a:pt x="52870" y="91648"/>
                  </a:lnTo>
                  <a:lnTo>
                    <a:pt x="52238" y="89754"/>
                  </a:lnTo>
                  <a:lnTo>
                    <a:pt x="51721" y="88604"/>
                  </a:lnTo>
                  <a:lnTo>
                    <a:pt x="49612" y="86597"/>
                  </a:lnTo>
                  <a:lnTo>
                    <a:pt x="48248" y="85650"/>
                  </a:lnTo>
                  <a:lnTo>
                    <a:pt x="46139" y="80826"/>
                  </a:lnTo>
                  <a:lnTo>
                    <a:pt x="45306" y="79665"/>
                  </a:lnTo>
                  <a:lnTo>
                    <a:pt x="44258" y="76823"/>
                  </a:lnTo>
                  <a:lnTo>
                    <a:pt x="43513" y="75561"/>
                  </a:lnTo>
                  <a:lnTo>
                    <a:pt x="44675" y="75144"/>
                  </a:lnTo>
                  <a:lnTo>
                    <a:pt x="47200" y="78617"/>
                  </a:lnTo>
                  <a:lnTo>
                    <a:pt x="48665" y="80927"/>
                  </a:lnTo>
                  <a:lnTo>
                    <a:pt x="49511" y="83339"/>
                  </a:lnTo>
                  <a:lnTo>
                    <a:pt x="51506" y="84917"/>
                  </a:lnTo>
                  <a:lnTo>
                    <a:pt x="52769" y="87973"/>
                  </a:lnTo>
                  <a:lnTo>
                    <a:pt x="53299" y="89438"/>
                  </a:lnTo>
                  <a:lnTo>
                    <a:pt x="56771" y="87859"/>
                  </a:lnTo>
                  <a:lnTo>
                    <a:pt x="60560" y="87026"/>
                  </a:lnTo>
                  <a:lnTo>
                    <a:pt x="64449" y="85018"/>
                  </a:lnTo>
                  <a:lnTo>
                    <a:pt x="65585" y="82922"/>
                  </a:lnTo>
                  <a:lnTo>
                    <a:pt x="66431" y="80814"/>
                  </a:lnTo>
                  <a:lnTo>
                    <a:pt x="64853" y="79235"/>
                  </a:lnTo>
                  <a:lnTo>
                    <a:pt x="63476" y="77771"/>
                  </a:lnTo>
                  <a:lnTo>
                    <a:pt x="61065" y="78503"/>
                  </a:lnTo>
                  <a:lnTo>
                    <a:pt x="58956" y="78604"/>
                  </a:lnTo>
                  <a:lnTo>
                    <a:pt x="57693" y="76293"/>
                  </a:lnTo>
                  <a:lnTo>
                    <a:pt x="55799" y="74740"/>
                  </a:lnTo>
                  <a:lnTo>
                    <a:pt x="56746" y="73149"/>
                  </a:lnTo>
                  <a:lnTo>
                    <a:pt x="59587" y="75460"/>
                  </a:lnTo>
                  <a:lnTo>
                    <a:pt x="61696" y="76609"/>
                  </a:lnTo>
                  <a:lnTo>
                    <a:pt x="63476" y="76722"/>
                  </a:lnTo>
                  <a:lnTo>
                    <a:pt x="65269" y="77669"/>
                  </a:lnTo>
                  <a:lnTo>
                    <a:pt x="67997" y="78086"/>
                  </a:lnTo>
                  <a:lnTo>
                    <a:pt x="71368" y="77669"/>
                  </a:lnTo>
                  <a:lnTo>
                    <a:pt x="73995" y="79564"/>
                  </a:lnTo>
                  <a:lnTo>
                    <a:pt x="75358" y="81874"/>
                  </a:lnTo>
                  <a:lnTo>
                    <a:pt x="76621" y="82076"/>
                  </a:lnTo>
                  <a:lnTo>
                    <a:pt x="77884" y="80612"/>
                  </a:lnTo>
                  <a:lnTo>
                    <a:pt x="78515" y="83137"/>
                  </a:lnTo>
                  <a:lnTo>
                    <a:pt x="79147" y="85864"/>
                  </a:lnTo>
                  <a:lnTo>
                    <a:pt x="80510" y="88806"/>
                  </a:lnTo>
                  <a:lnTo>
                    <a:pt x="81988" y="92178"/>
                  </a:lnTo>
                  <a:lnTo>
                    <a:pt x="82505" y="94072"/>
                  </a:lnTo>
                  <a:lnTo>
                    <a:pt x="84298" y="91231"/>
                  </a:lnTo>
                  <a:lnTo>
                    <a:pt x="84298" y="88188"/>
                  </a:lnTo>
                  <a:lnTo>
                    <a:pt x="85245" y="86609"/>
                  </a:lnTo>
                  <a:lnTo>
                    <a:pt x="87291" y="84816"/>
                  </a:lnTo>
                  <a:lnTo>
                    <a:pt x="90322" y="82089"/>
                  </a:lnTo>
                  <a:lnTo>
                    <a:pt x="91622" y="80296"/>
                  </a:lnTo>
                  <a:lnTo>
                    <a:pt x="94375" y="79665"/>
                  </a:lnTo>
                  <a:lnTo>
                    <a:pt x="95120" y="82720"/>
                  </a:lnTo>
                  <a:lnTo>
                    <a:pt x="96913" y="83554"/>
                  </a:lnTo>
                  <a:lnTo>
                    <a:pt x="96913" y="86925"/>
                  </a:lnTo>
                  <a:lnTo>
                    <a:pt x="98857" y="85763"/>
                  </a:lnTo>
                  <a:lnTo>
                    <a:pt x="100701" y="89652"/>
                  </a:lnTo>
                  <a:lnTo>
                    <a:pt x="100701" y="93857"/>
                  </a:lnTo>
                  <a:lnTo>
                    <a:pt x="102696" y="94905"/>
                  </a:lnTo>
                  <a:lnTo>
                    <a:pt x="103694" y="97014"/>
                  </a:lnTo>
                  <a:lnTo>
                    <a:pt x="105133" y="98908"/>
                  </a:lnTo>
                  <a:lnTo>
                    <a:pt x="107179" y="99741"/>
                  </a:lnTo>
                  <a:lnTo>
                    <a:pt x="107179" y="99741"/>
                  </a:lnTo>
                  <a:lnTo>
                    <a:pt x="106560" y="97746"/>
                  </a:lnTo>
                  <a:lnTo>
                    <a:pt x="106257" y="96067"/>
                  </a:lnTo>
                  <a:lnTo>
                    <a:pt x="104577" y="94804"/>
                  </a:lnTo>
                  <a:lnTo>
                    <a:pt x="103428" y="93226"/>
                  </a:lnTo>
                  <a:lnTo>
                    <a:pt x="102797" y="91761"/>
                  </a:lnTo>
                  <a:lnTo>
                    <a:pt x="103113" y="89551"/>
                  </a:lnTo>
                  <a:lnTo>
                    <a:pt x="103845" y="88604"/>
                  </a:lnTo>
                  <a:lnTo>
                    <a:pt x="105537" y="90183"/>
                  </a:lnTo>
                  <a:lnTo>
                    <a:pt x="107217" y="91963"/>
                  </a:lnTo>
                  <a:lnTo>
                    <a:pt x="108050" y="92393"/>
                  </a:lnTo>
                  <a:cubicBezTo>
                    <a:pt x="108050" y="92393"/>
                    <a:pt x="110146" y="90814"/>
                    <a:pt x="110146" y="90498"/>
                  </a:cubicBezTo>
                  <a:lnTo>
                    <a:pt x="110146" y="86925"/>
                  </a:lnTo>
                  <a:lnTo>
                    <a:pt x="108252" y="85132"/>
                  </a:lnTo>
                  <a:lnTo>
                    <a:pt x="107469" y="83554"/>
                  </a:lnTo>
                  <a:cubicBezTo>
                    <a:pt x="107469" y="83554"/>
                    <a:pt x="107747" y="81975"/>
                    <a:pt x="108063" y="81773"/>
                  </a:cubicBezTo>
                  <a:cubicBezTo>
                    <a:pt x="108378" y="81559"/>
                    <a:pt x="110209" y="80927"/>
                    <a:pt x="110209" y="80927"/>
                  </a:cubicBezTo>
                  <a:lnTo>
                    <a:pt x="110752" y="82190"/>
                  </a:lnTo>
                  <a:lnTo>
                    <a:pt x="112646" y="80826"/>
                  </a:lnTo>
                  <a:lnTo>
                    <a:pt x="116434" y="78932"/>
                  </a:lnTo>
                  <a:lnTo>
                    <a:pt x="118177" y="75775"/>
                  </a:lnTo>
                  <a:lnTo>
                    <a:pt x="118960" y="73566"/>
                  </a:lnTo>
                  <a:lnTo>
                    <a:pt x="118960" y="69891"/>
                  </a:lnTo>
                  <a:lnTo>
                    <a:pt x="117520" y="66949"/>
                  </a:lnTo>
                  <a:lnTo>
                    <a:pt x="116093" y="65169"/>
                  </a:lnTo>
                  <a:lnTo>
                    <a:pt x="118278" y="63691"/>
                  </a:lnTo>
                  <a:lnTo>
                    <a:pt x="118947" y="63174"/>
                  </a:lnTo>
                  <a:lnTo>
                    <a:pt x="117280" y="62643"/>
                  </a:lnTo>
                  <a:lnTo>
                    <a:pt x="115816" y="63174"/>
                  </a:lnTo>
                  <a:lnTo>
                    <a:pt x="114868" y="62113"/>
                  </a:lnTo>
                  <a:lnTo>
                    <a:pt x="114237" y="61280"/>
                  </a:lnTo>
                  <a:lnTo>
                    <a:pt x="116030" y="60219"/>
                  </a:lnTo>
                  <a:lnTo>
                    <a:pt x="116876" y="58540"/>
                  </a:lnTo>
                  <a:lnTo>
                    <a:pt x="117924" y="59070"/>
                  </a:lnTo>
                  <a:lnTo>
                    <a:pt x="117394" y="60964"/>
                  </a:lnTo>
                  <a:lnTo>
                    <a:pt x="117394" y="60964"/>
                  </a:lnTo>
                  <a:lnTo>
                    <a:pt x="119086" y="60118"/>
                  </a:lnTo>
                  <a:lnTo>
                    <a:pt x="120235" y="61065"/>
                  </a:lnTo>
                  <a:lnTo>
                    <a:pt x="121182" y="62744"/>
                  </a:lnTo>
                  <a:lnTo>
                    <a:pt x="122129" y="63906"/>
                  </a:lnTo>
                  <a:lnTo>
                    <a:pt x="122129" y="65484"/>
                  </a:lnTo>
                  <a:lnTo>
                    <a:pt x="122975" y="66318"/>
                  </a:lnTo>
                  <a:lnTo>
                    <a:pt x="124806" y="64853"/>
                  </a:lnTo>
                  <a:lnTo>
                    <a:pt x="124263" y="62542"/>
                  </a:lnTo>
                  <a:lnTo>
                    <a:pt x="122621" y="60850"/>
                  </a:lnTo>
                  <a:lnTo>
                    <a:pt x="122116" y="59802"/>
                  </a:lnTo>
                  <a:lnTo>
                    <a:pt x="123594" y="58540"/>
                  </a:lnTo>
                  <a:lnTo>
                    <a:pt x="123707" y="55699"/>
                  </a:lnTo>
                  <a:lnTo>
                    <a:pt x="124970" y="54651"/>
                  </a:lnTo>
                  <a:lnTo>
                    <a:pt x="126233" y="55383"/>
                  </a:lnTo>
                  <a:lnTo>
                    <a:pt x="128127" y="52125"/>
                  </a:lnTo>
                  <a:lnTo>
                    <a:pt x="129705" y="47289"/>
                  </a:lnTo>
                  <a:lnTo>
                    <a:pt x="128544" y="44031"/>
                  </a:lnTo>
                  <a:lnTo>
                    <a:pt x="127811" y="41102"/>
                  </a:lnTo>
                  <a:lnTo>
                    <a:pt x="126132" y="39523"/>
                  </a:lnTo>
                  <a:lnTo>
                    <a:pt x="123922" y="38892"/>
                  </a:lnTo>
                  <a:lnTo>
                    <a:pt x="122558" y="38362"/>
                  </a:lnTo>
                  <a:lnTo>
                    <a:pt x="121498" y="37516"/>
                  </a:lnTo>
                  <a:lnTo>
                    <a:pt x="123606" y="33311"/>
                  </a:lnTo>
                  <a:lnTo>
                    <a:pt x="124440" y="30533"/>
                  </a:lnTo>
                  <a:lnTo>
                    <a:pt x="126650" y="29220"/>
                  </a:lnTo>
                  <a:lnTo>
                    <a:pt x="130021" y="29220"/>
                  </a:lnTo>
                  <a:lnTo>
                    <a:pt x="132332" y="28588"/>
                  </a:lnTo>
                  <a:lnTo>
                    <a:pt x="132231" y="28588"/>
                  </a:lnTo>
                  <a:lnTo>
                    <a:pt x="132231" y="23222"/>
                  </a:lnTo>
                  <a:lnTo>
                    <a:pt x="135072" y="21959"/>
                  </a:lnTo>
                  <a:lnTo>
                    <a:pt x="135804" y="23853"/>
                  </a:lnTo>
                  <a:lnTo>
                    <a:pt x="136650" y="21959"/>
                  </a:lnTo>
                  <a:lnTo>
                    <a:pt x="136650" y="20065"/>
                  </a:lnTo>
                  <a:lnTo>
                    <a:pt x="138115" y="20899"/>
                  </a:lnTo>
                  <a:lnTo>
                    <a:pt x="137433" y="24788"/>
                  </a:lnTo>
                  <a:lnTo>
                    <a:pt x="136006" y="30571"/>
                  </a:lnTo>
                  <a:lnTo>
                    <a:pt x="136006" y="33942"/>
                  </a:lnTo>
                  <a:lnTo>
                    <a:pt x="139428" y="38677"/>
                  </a:lnTo>
                  <a:lnTo>
                    <a:pt x="140426" y="42049"/>
                  </a:lnTo>
                  <a:lnTo>
                    <a:pt x="140426" y="43412"/>
                  </a:lnTo>
                  <a:lnTo>
                    <a:pt x="141688" y="42364"/>
                  </a:lnTo>
                  <a:lnTo>
                    <a:pt x="141688" y="38993"/>
                  </a:lnTo>
                  <a:lnTo>
                    <a:pt x="143166" y="35622"/>
                  </a:lnTo>
                  <a:lnTo>
                    <a:pt x="142370" y="32894"/>
                  </a:lnTo>
                  <a:lnTo>
                    <a:pt x="142244" y="31316"/>
                  </a:lnTo>
                  <a:lnTo>
                    <a:pt x="141966" y="29220"/>
                  </a:lnTo>
                  <a:lnTo>
                    <a:pt x="140085" y="27742"/>
                  </a:lnTo>
                  <a:lnTo>
                    <a:pt x="139782" y="24800"/>
                  </a:lnTo>
                  <a:lnTo>
                    <a:pt x="142522" y="23020"/>
                  </a:lnTo>
                  <a:lnTo>
                    <a:pt x="144832" y="23336"/>
                  </a:lnTo>
                  <a:lnTo>
                    <a:pt x="144832" y="20697"/>
                  </a:lnTo>
                  <a:lnTo>
                    <a:pt x="145881" y="18967"/>
                  </a:lnTo>
                  <a:lnTo>
                    <a:pt x="148090" y="17855"/>
                  </a:lnTo>
                  <a:lnTo>
                    <a:pt x="148936" y="17855"/>
                  </a:lnTo>
                  <a:lnTo>
                    <a:pt x="147573" y="14067"/>
                  </a:lnTo>
                  <a:lnTo>
                    <a:pt x="144315" y="12868"/>
                  </a:lnTo>
                  <a:lnTo>
                    <a:pt x="144832" y="10784"/>
                  </a:lnTo>
                  <a:lnTo>
                    <a:pt x="144517" y="8751"/>
                  </a:lnTo>
                  <a:lnTo>
                    <a:pt x="144315" y="7577"/>
                  </a:lnTo>
                  <a:lnTo>
                    <a:pt x="146310" y="8613"/>
                  </a:lnTo>
                  <a:lnTo>
                    <a:pt x="147674" y="7565"/>
                  </a:lnTo>
                  <a:lnTo>
                    <a:pt x="148936" y="8398"/>
                  </a:lnTo>
                  <a:lnTo>
                    <a:pt x="149669" y="6188"/>
                  </a:lnTo>
                  <a:lnTo>
                    <a:pt x="148406" y="4509"/>
                  </a:lnTo>
                  <a:lnTo>
                    <a:pt x="147775" y="2084"/>
                  </a:lnTo>
                  <a:lnTo>
                    <a:pt x="144201" y="1567"/>
                  </a:lnTo>
                  <a:lnTo>
                    <a:pt x="144201" y="3031"/>
                  </a:lnTo>
                  <a:lnTo>
                    <a:pt x="142623" y="2981"/>
                  </a:lnTo>
                  <a:lnTo>
                    <a:pt x="141890" y="2084"/>
                  </a:lnTo>
                  <a:lnTo>
                    <a:pt x="134440" y="2084"/>
                  </a:lnTo>
                  <a:lnTo>
                    <a:pt x="131069" y="2400"/>
                  </a:lnTo>
                  <a:lnTo>
                    <a:pt x="133493" y="4774"/>
                  </a:lnTo>
                  <a:lnTo>
                    <a:pt x="130867" y="4799"/>
                  </a:lnTo>
                  <a:lnTo>
                    <a:pt x="130337" y="3499"/>
                  </a:lnTo>
                  <a:lnTo>
                    <a:pt x="127294" y="4837"/>
                  </a:lnTo>
                  <a:lnTo>
                    <a:pt x="124654" y="6504"/>
                  </a:lnTo>
                  <a:lnTo>
                    <a:pt x="123076" y="6504"/>
                  </a:lnTo>
                  <a:lnTo>
                    <a:pt x="122028" y="4294"/>
                  </a:lnTo>
                  <a:lnTo>
                    <a:pt x="119503" y="3928"/>
                  </a:lnTo>
                  <a:lnTo>
                    <a:pt x="117407" y="5115"/>
                  </a:lnTo>
                  <a:lnTo>
                    <a:pt x="114149" y="4016"/>
                  </a:lnTo>
                  <a:lnTo>
                    <a:pt x="112040" y="3158"/>
                  </a:lnTo>
                  <a:lnTo>
                    <a:pt x="107835" y="3461"/>
                  </a:lnTo>
                  <a:lnTo>
                    <a:pt x="106055" y="4610"/>
                  </a:lnTo>
                  <a:lnTo>
                    <a:pt x="107204" y="7767"/>
                  </a:lnTo>
                  <a:lnTo>
                    <a:pt x="104792" y="7767"/>
                  </a:lnTo>
                  <a:lnTo>
                    <a:pt x="103529" y="7653"/>
                  </a:lnTo>
                  <a:lnTo>
                    <a:pt x="101951" y="8448"/>
                  </a:lnTo>
                  <a:lnTo>
                    <a:pt x="102898" y="10153"/>
                  </a:lnTo>
                  <a:lnTo>
                    <a:pt x="100587" y="9484"/>
                  </a:lnTo>
                  <a:lnTo>
                    <a:pt x="99741" y="6529"/>
                  </a:lnTo>
                  <a:lnTo>
                    <a:pt x="97115" y="4319"/>
                  </a:lnTo>
                  <a:lnTo>
                    <a:pt x="93327" y="4837"/>
                  </a:lnTo>
                  <a:lnTo>
                    <a:pt x="94173" y="7577"/>
                  </a:lnTo>
                  <a:lnTo>
                    <a:pt x="91016" y="7463"/>
                  </a:lnTo>
                  <a:lnTo>
                    <a:pt x="89968" y="6100"/>
                  </a:lnTo>
                  <a:lnTo>
                    <a:pt x="87758" y="7249"/>
                  </a:lnTo>
                  <a:lnTo>
                    <a:pt x="86066" y="7779"/>
                  </a:lnTo>
                  <a:lnTo>
                    <a:pt x="83541" y="10822"/>
                  </a:lnTo>
                  <a:lnTo>
                    <a:pt x="83023" y="8827"/>
                  </a:lnTo>
                  <a:lnTo>
                    <a:pt x="85233" y="5468"/>
                  </a:lnTo>
                  <a:lnTo>
                    <a:pt x="84601" y="2312"/>
                  </a:lnTo>
                  <a:lnTo>
                    <a:pt x="8144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65"/>
            <p:cNvSpPr/>
            <p:nvPr/>
          </p:nvSpPr>
          <p:spPr>
            <a:xfrm>
              <a:off x="3167575" y="993250"/>
              <a:ext cx="3759100" cy="3349975"/>
            </a:xfrm>
            <a:custGeom>
              <a:avLst/>
              <a:gdLst/>
              <a:ahLst/>
              <a:cxnLst/>
              <a:rect l="l" t="t" r="r" b="b"/>
              <a:pathLst>
                <a:path w="150364" h="133999" extrusionOk="0">
                  <a:moveTo>
                    <a:pt x="81786" y="784"/>
                  </a:moveTo>
                  <a:lnTo>
                    <a:pt x="84653" y="2892"/>
                  </a:lnTo>
                  <a:lnTo>
                    <a:pt x="85234" y="5797"/>
                  </a:lnTo>
                  <a:lnTo>
                    <a:pt x="83024" y="9168"/>
                  </a:lnTo>
                  <a:lnTo>
                    <a:pt x="83731" y="11895"/>
                  </a:lnTo>
                  <a:lnTo>
                    <a:pt x="86597" y="8448"/>
                  </a:lnTo>
                  <a:lnTo>
                    <a:pt x="88239" y="7931"/>
                  </a:lnTo>
                  <a:lnTo>
                    <a:pt x="90209" y="6895"/>
                  </a:lnTo>
                  <a:lnTo>
                    <a:pt x="91193" y="8171"/>
                  </a:lnTo>
                  <a:lnTo>
                    <a:pt x="94931" y="8297"/>
                  </a:lnTo>
                  <a:lnTo>
                    <a:pt x="94931" y="8297"/>
                  </a:lnTo>
                  <a:lnTo>
                    <a:pt x="94072" y="5494"/>
                  </a:lnTo>
                  <a:lnTo>
                    <a:pt x="97355" y="5039"/>
                  </a:lnTo>
                  <a:lnTo>
                    <a:pt x="99805" y="7110"/>
                  </a:lnTo>
                  <a:lnTo>
                    <a:pt x="100664" y="10140"/>
                  </a:lnTo>
                  <a:lnTo>
                    <a:pt x="103871" y="11075"/>
                  </a:lnTo>
                  <a:lnTo>
                    <a:pt x="102722" y="8991"/>
                  </a:lnTo>
                  <a:lnTo>
                    <a:pt x="103922" y="8385"/>
                  </a:lnTo>
                  <a:lnTo>
                    <a:pt x="105121" y="8486"/>
                  </a:lnTo>
                  <a:lnTo>
                    <a:pt x="107987" y="8486"/>
                  </a:lnTo>
                  <a:lnTo>
                    <a:pt x="106763" y="5153"/>
                  </a:lnTo>
                  <a:lnTo>
                    <a:pt x="108265" y="4180"/>
                  </a:lnTo>
                  <a:lnTo>
                    <a:pt x="112319" y="3890"/>
                  </a:lnTo>
                  <a:lnTo>
                    <a:pt x="114377" y="4723"/>
                  </a:lnTo>
                  <a:lnTo>
                    <a:pt x="117761" y="5860"/>
                  </a:lnTo>
                  <a:lnTo>
                    <a:pt x="119895" y="4673"/>
                  </a:lnTo>
                  <a:lnTo>
                    <a:pt x="122142" y="5001"/>
                  </a:lnTo>
                  <a:lnTo>
                    <a:pt x="123216" y="7236"/>
                  </a:lnTo>
                  <a:lnTo>
                    <a:pt x="125084" y="7236"/>
                  </a:lnTo>
                  <a:lnTo>
                    <a:pt x="127749" y="5544"/>
                  </a:lnTo>
                  <a:lnTo>
                    <a:pt x="130489" y="4332"/>
                  </a:lnTo>
                  <a:lnTo>
                    <a:pt x="130981" y="5532"/>
                  </a:lnTo>
                  <a:lnTo>
                    <a:pt x="134580" y="5494"/>
                  </a:lnTo>
                  <a:lnTo>
                    <a:pt x="132105" y="3069"/>
                  </a:lnTo>
                  <a:lnTo>
                    <a:pt x="134769" y="2817"/>
                  </a:lnTo>
                  <a:lnTo>
                    <a:pt x="142080" y="2817"/>
                  </a:lnTo>
                  <a:lnTo>
                    <a:pt x="142813" y="3713"/>
                  </a:lnTo>
                  <a:lnTo>
                    <a:pt x="144858" y="3776"/>
                  </a:lnTo>
                  <a:lnTo>
                    <a:pt x="144858" y="2337"/>
                  </a:lnTo>
                  <a:lnTo>
                    <a:pt x="147864" y="2779"/>
                  </a:lnTo>
                  <a:lnTo>
                    <a:pt x="148432" y="4989"/>
                  </a:lnTo>
                  <a:lnTo>
                    <a:pt x="149657" y="6643"/>
                  </a:lnTo>
                  <a:lnTo>
                    <a:pt x="149101" y="8309"/>
                  </a:lnTo>
                  <a:lnTo>
                    <a:pt x="147990" y="7564"/>
                  </a:lnTo>
                  <a:lnTo>
                    <a:pt x="146601" y="8638"/>
                  </a:lnTo>
                  <a:lnTo>
                    <a:pt x="144214" y="7400"/>
                  </a:lnTo>
                  <a:lnTo>
                    <a:pt x="144846" y="11163"/>
                  </a:lnTo>
                  <a:lnTo>
                    <a:pt x="144278" y="13461"/>
                  </a:lnTo>
                  <a:lnTo>
                    <a:pt x="147662" y="14724"/>
                  </a:lnTo>
                  <a:lnTo>
                    <a:pt x="148823" y="17944"/>
                  </a:lnTo>
                  <a:lnTo>
                    <a:pt x="148356" y="17944"/>
                  </a:lnTo>
                  <a:lnTo>
                    <a:pt x="145995" y="19118"/>
                  </a:lnTo>
                  <a:lnTo>
                    <a:pt x="144846" y="21012"/>
                  </a:lnTo>
                  <a:lnTo>
                    <a:pt x="144846" y="23373"/>
                  </a:lnTo>
                  <a:lnTo>
                    <a:pt x="142775" y="23096"/>
                  </a:lnTo>
                  <a:lnTo>
                    <a:pt x="139770" y="25040"/>
                  </a:lnTo>
                  <a:lnTo>
                    <a:pt x="140111" y="28311"/>
                  </a:lnTo>
                  <a:lnTo>
                    <a:pt x="141992" y="29788"/>
                  </a:lnTo>
                  <a:lnTo>
                    <a:pt x="142257" y="31745"/>
                  </a:lnTo>
                  <a:lnTo>
                    <a:pt x="142396" y="33387"/>
                  </a:lnTo>
                  <a:lnTo>
                    <a:pt x="143154" y="36000"/>
                  </a:lnTo>
                  <a:lnTo>
                    <a:pt x="141727" y="39271"/>
                  </a:lnTo>
                  <a:lnTo>
                    <a:pt x="141702" y="42604"/>
                  </a:lnTo>
                  <a:lnTo>
                    <a:pt x="141070" y="43135"/>
                  </a:lnTo>
                  <a:lnTo>
                    <a:pt x="141070" y="42440"/>
                  </a:lnTo>
                  <a:lnTo>
                    <a:pt x="140060" y="38993"/>
                  </a:lnTo>
                  <a:lnTo>
                    <a:pt x="136651" y="34245"/>
                  </a:lnTo>
                  <a:lnTo>
                    <a:pt x="136651" y="31025"/>
                  </a:lnTo>
                  <a:lnTo>
                    <a:pt x="138078" y="25255"/>
                  </a:lnTo>
                  <a:lnTo>
                    <a:pt x="138797" y="21151"/>
                  </a:lnTo>
                  <a:lnTo>
                    <a:pt x="136663" y="19939"/>
                  </a:lnTo>
                  <a:lnTo>
                    <a:pt x="136663" y="22300"/>
                  </a:lnTo>
                  <a:lnTo>
                    <a:pt x="136158" y="23437"/>
                  </a:lnTo>
                  <a:lnTo>
                    <a:pt x="135578" y="21947"/>
                  </a:lnTo>
                  <a:lnTo>
                    <a:pt x="132244" y="23424"/>
                  </a:lnTo>
                  <a:lnTo>
                    <a:pt x="132244" y="28765"/>
                  </a:lnTo>
                  <a:lnTo>
                    <a:pt x="130312" y="29295"/>
                  </a:lnTo>
                  <a:lnTo>
                    <a:pt x="126890" y="29295"/>
                  </a:lnTo>
                  <a:lnTo>
                    <a:pt x="124504" y="30722"/>
                  </a:lnTo>
                  <a:lnTo>
                    <a:pt x="123645" y="33576"/>
                  </a:lnTo>
                  <a:lnTo>
                    <a:pt x="121435" y="38008"/>
                  </a:lnTo>
                  <a:lnTo>
                    <a:pt x="122685" y="39006"/>
                  </a:lnTo>
                  <a:lnTo>
                    <a:pt x="124163" y="39586"/>
                  </a:lnTo>
                  <a:lnTo>
                    <a:pt x="126297" y="40193"/>
                  </a:lnTo>
                  <a:lnTo>
                    <a:pt x="127862" y="41657"/>
                  </a:lnTo>
                  <a:lnTo>
                    <a:pt x="128582" y="44549"/>
                  </a:lnTo>
                  <a:lnTo>
                    <a:pt x="129706" y="47706"/>
                  </a:lnTo>
                  <a:lnTo>
                    <a:pt x="128178" y="52403"/>
                  </a:lnTo>
                  <a:lnTo>
                    <a:pt x="126461" y="55358"/>
                  </a:lnTo>
                  <a:lnTo>
                    <a:pt x="125274" y="54676"/>
                  </a:lnTo>
                  <a:lnTo>
                    <a:pt x="123733" y="55951"/>
                  </a:lnTo>
                  <a:lnTo>
                    <a:pt x="123620" y="58792"/>
                  </a:lnTo>
                  <a:lnTo>
                    <a:pt x="122067" y="60118"/>
                  </a:lnTo>
                  <a:lnTo>
                    <a:pt x="122673" y="61393"/>
                  </a:lnTo>
                  <a:lnTo>
                    <a:pt x="124314" y="63098"/>
                  </a:lnTo>
                  <a:lnTo>
                    <a:pt x="124807" y="65131"/>
                  </a:lnTo>
                  <a:lnTo>
                    <a:pt x="123342" y="66305"/>
                  </a:lnTo>
                  <a:lnTo>
                    <a:pt x="122786" y="65750"/>
                  </a:lnTo>
                  <a:lnTo>
                    <a:pt x="122786" y="64196"/>
                  </a:lnTo>
                  <a:lnTo>
                    <a:pt x="121801" y="62997"/>
                  </a:lnTo>
                  <a:lnTo>
                    <a:pt x="120854" y="61317"/>
                  </a:lnTo>
                  <a:lnTo>
                    <a:pt x="119465" y="60143"/>
                  </a:lnTo>
                  <a:lnTo>
                    <a:pt x="118241" y="60762"/>
                  </a:lnTo>
                  <a:lnTo>
                    <a:pt x="118241" y="60762"/>
                  </a:lnTo>
                  <a:lnTo>
                    <a:pt x="118645" y="59297"/>
                  </a:lnTo>
                  <a:lnTo>
                    <a:pt x="117079" y="58514"/>
                  </a:lnTo>
                  <a:lnTo>
                    <a:pt x="116132" y="60396"/>
                  </a:lnTo>
                  <a:lnTo>
                    <a:pt x="114112" y="61583"/>
                  </a:lnTo>
                  <a:lnTo>
                    <a:pt x="114970" y="62719"/>
                  </a:lnTo>
                  <a:lnTo>
                    <a:pt x="116056" y="63931"/>
                  </a:lnTo>
                  <a:lnTo>
                    <a:pt x="117622" y="63376"/>
                  </a:lnTo>
                  <a:lnTo>
                    <a:pt x="118607" y="63691"/>
                  </a:lnTo>
                  <a:lnTo>
                    <a:pt x="115968" y="65497"/>
                  </a:lnTo>
                  <a:lnTo>
                    <a:pt x="117597" y="67530"/>
                  </a:lnTo>
                  <a:lnTo>
                    <a:pt x="119011" y="70371"/>
                  </a:lnTo>
                  <a:lnTo>
                    <a:pt x="119011" y="73919"/>
                  </a:lnTo>
                  <a:lnTo>
                    <a:pt x="118266" y="76028"/>
                  </a:lnTo>
                  <a:lnTo>
                    <a:pt x="116574" y="79096"/>
                  </a:lnTo>
                  <a:lnTo>
                    <a:pt x="112824" y="80978"/>
                  </a:lnTo>
                  <a:lnTo>
                    <a:pt x="111245" y="82114"/>
                  </a:lnTo>
                  <a:lnTo>
                    <a:pt x="110740" y="80940"/>
                  </a:lnTo>
                  <a:lnTo>
                    <a:pt x="110462" y="81041"/>
                  </a:lnTo>
                  <a:cubicBezTo>
                    <a:pt x="110159" y="81142"/>
                    <a:pt x="108594" y="81697"/>
                    <a:pt x="108253" y="81912"/>
                  </a:cubicBezTo>
                  <a:cubicBezTo>
                    <a:pt x="107886" y="82165"/>
                    <a:pt x="107634" y="83276"/>
                    <a:pt x="107520" y="83907"/>
                  </a:cubicBezTo>
                  <a:lnTo>
                    <a:pt x="107495" y="84008"/>
                  </a:lnTo>
                  <a:lnTo>
                    <a:pt x="108341" y="85688"/>
                  </a:lnTo>
                  <a:lnTo>
                    <a:pt x="110197" y="87468"/>
                  </a:lnTo>
                  <a:lnTo>
                    <a:pt x="110197" y="90852"/>
                  </a:lnTo>
                  <a:cubicBezTo>
                    <a:pt x="110046" y="91092"/>
                    <a:pt x="109174" y="91824"/>
                    <a:pt x="108379" y="92430"/>
                  </a:cubicBezTo>
                  <a:lnTo>
                    <a:pt x="107760" y="92115"/>
                  </a:lnTo>
                  <a:lnTo>
                    <a:pt x="106093" y="90360"/>
                  </a:lnTo>
                  <a:lnTo>
                    <a:pt x="104161" y="88541"/>
                  </a:lnTo>
                  <a:lnTo>
                    <a:pt x="103164" y="89829"/>
                  </a:lnTo>
                  <a:lnTo>
                    <a:pt x="102823" y="92203"/>
                  </a:lnTo>
                  <a:lnTo>
                    <a:pt x="103492" y="93756"/>
                  </a:lnTo>
                  <a:lnTo>
                    <a:pt x="104679" y="95398"/>
                  </a:lnTo>
                  <a:lnTo>
                    <a:pt x="106321" y="96648"/>
                  </a:lnTo>
                  <a:lnTo>
                    <a:pt x="106611" y="98239"/>
                  </a:lnTo>
                  <a:lnTo>
                    <a:pt x="107028" y="99602"/>
                  </a:lnTo>
                  <a:lnTo>
                    <a:pt x="105689" y="99047"/>
                  </a:lnTo>
                  <a:lnTo>
                    <a:pt x="104313" y="97254"/>
                  </a:lnTo>
                  <a:lnTo>
                    <a:pt x="103290" y="95082"/>
                  </a:lnTo>
                  <a:lnTo>
                    <a:pt x="101371" y="94072"/>
                  </a:lnTo>
                  <a:lnTo>
                    <a:pt x="101371" y="90056"/>
                  </a:lnTo>
                  <a:lnTo>
                    <a:pt x="99351" y="85725"/>
                  </a:lnTo>
                  <a:lnTo>
                    <a:pt x="97583" y="86773"/>
                  </a:lnTo>
                  <a:lnTo>
                    <a:pt x="97583" y="83756"/>
                  </a:lnTo>
                  <a:lnTo>
                    <a:pt x="95739" y="82897"/>
                  </a:lnTo>
                  <a:lnTo>
                    <a:pt x="94944" y="79690"/>
                  </a:lnTo>
                  <a:lnTo>
                    <a:pt x="91774" y="80422"/>
                  </a:lnTo>
                  <a:lnTo>
                    <a:pt x="90423" y="82278"/>
                  </a:lnTo>
                  <a:lnTo>
                    <a:pt x="87431" y="84980"/>
                  </a:lnTo>
                  <a:lnTo>
                    <a:pt x="85372" y="86773"/>
                  </a:lnTo>
                  <a:lnTo>
                    <a:pt x="84324" y="88503"/>
                  </a:lnTo>
                  <a:lnTo>
                    <a:pt x="84324" y="91546"/>
                  </a:lnTo>
                  <a:lnTo>
                    <a:pt x="82961" y="93706"/>
                  </a:lnTo>
                  <a:lnTo>
                    <a:pt x="82620" y="92456"/>
                  </a:lnTo>
                  <a:lnTo>
                    <a:pt x="81142" y="89084"/>
                  </a:lnTo>
                  <a:lnTo>
                    <a:pt x="79791" y="86180"/>
                  </a:lnTo>
                  <a:lnTo>
                    <a:pt x="79160" y="83465"/>
                  </a:lnTo>
                  <a:lnTo>
                    <a:pt x="78377" y="80359"/>
                  </a:lnTo>
                  <a:lnTo>
                    <a:pt x="76837" y="82152"/>
                  </a:lnTo>
                  <a:lnTo>
                    <a:pt x="75890" y="82000"/>
                  </a:lnTo>
                  <a:lnTo>
                    <a:pt x="74602" y="79803"/>
                  </a:lnTo>
                  <a:lnTo>
                    <a:pt x="71773" y="77745"/>
                  </a:lnTo>
                  <a:lnTo>
                    <a:pt x="68326" y="78175"/>
                  </a:lnTo>
                  <a:lnTo>
                    <a:pt x="65687" y="77770"/>
                  </a:lnTo>
                  <a:lnTo>
                    <a:pt x="63957" y="76849"/>
                  </a:lnTo>
                  <a:lnTo>
                    <a:pt x="62113" y="76710"/>
                  </a:lnTo>
                  <a:lnTo>
                    <a:pt x="60118" y="75624"/>
                  </a:lnTo>
                  <a:lnTo>
                    <a:pt x="56999" y="73086"/>
                  </a:lnTo>
                  <a:lnTo>
                    <a:pt x="55737" y="75232"/>
                  </a:lnTo>
                  <a:lnTo>
                    <a:pt x="57782" y="76912"/>
                  </a:lnTo>
                  <a:lnTo>
                    <a:pt x="59108" y="79349"/>
                  </a:lnTo>
                  <a:lnTo>
                    <a:pt x="61419" y="79235"/>
                  </a:lnTo>
                  <a:lnTo>
                    <a:pt x="63717" y="78541"/>
                  </a:lnTo>
                  <a:lnTo>
                    <a:pt x="64954" y="79879"/>
                  </a:lnTo>
                  <a:lnTo>
                    <a:pt x="66394" y="81306"/>
                  </a:lnTo>
                  <a:lnTo>
                    <a:pt x="65636" y="83187"/>
                  </a:lnTo>
                  <a:lnTo>
                    <a:pt x="64538" y="85208"/>
                  </a:lnTo>
                  <a:lnTo>
                    <a:pt x="60775" y="87140"/>
                  </a:lnTo>
                  <a:lnTo>
                    <a:pt x="57025" y="87973"/>
                  </a:lnTo>
                  <a:lnTo>
                    <a:pt x="53805" y="89425"/>
                  </a:lnTo>
                  <a:lnTo>
                    <a:pt x="53388" y="88263"/>
                  </a:lnTo>
                  <a:lnTo>
                    <a:pt x="52100" y="85132"/>
                  </a:lnTo>
                  <a:lnTo>
                    <a:pt x="50105" y="83554"/>
                  </a:lnTo>
                  <a:lnTo>
                    <a:pt x="49297" y="81230"/>
                  </a:lnTo>
                  <a:lnTo>
                    <a:pt x="47782" y="78831"/>
                  </a:lnTo>
                  <a:lnTo>
                    <a:pt x="45117" y="75169"/>
                  </a:lnTo>
                  <a:lnTo>
                    <a:pt x="43387" y="75801"/>
                  </a:lnTo>
                  <a:lnTo>
                    <a:pt x="44284" y="77341"/>
                  </a:lnTo>
                  <a:lnTo>
                    <a:pt x="45332" y="80182"/>
                  </a:lnTo>
                  <a:lnTo>
                    <a:pt x="46203" y="81382"/>
                  </a:lnTo>
                  <a:lnTo>
                    <a:pt x="48325" y="86281"/>
                  </a:lnTo>
                  <a:lnTo>
                    <a:pt x="49726" y="87241"/>
                  </a:lnTo>
                  <a:lnTo>
                    <a:pt x="51772" y="89198"/>
                  </a:lnTo>
                  <a:lnTo>
                    <a:pt x="52264" y="90271"/>
                  </a:lnTo>
                  <a:lnTo>
                    <a:pt x="53009" y="92506"/>
                  </a:lnTo>
                  <a:lnTo>
                    <a:pt x="54550" y="91736"/>
                  </a:lnTo>
                  <a:lnTo>
                    <a:pt x="58287" y="91218"/>
                  </a:lnTo>
                  <a:lnTo>
                    <a:pt x="59525" y="90612"/>
                  </a:lnTo>
                  <a:lnTo>
                    <a:pt x="59904" y="91837"/>
                  </a:lnTo>
                  <a:cubicBezTo>
                    <a:pt x="59664" y="92443"/>
                    <a:pt x="59070" y="93946"/>
                    <a:pt x="59070" y="94362"/>
                  </a:cubicBezTo>
                  <a:cubicBezTo>
                    <a:pt x="59045" y="94615"/>
                    <a:pt x="58338" y="96016"/>
                    <a:pt x="57681" y="97191"/>
                  </a:cubicBezTo>
                  <a:lnTo>
                    <a:pt x="54487" y="99148"/>
                  </a:lnTo>
                  <a:lnTo>
                    <a:pt x="51784" y="102128"/>
                  </a:lnTo>
                  <a:lnTo>
                    <a:pt x="48855" y="104792"/>
                  </a:lnTo>
                  <a:lnTo>
                    <a:pt x="49474" y="106408"/>
                  </a:lnTo>
                  <a:lnTo>
                    <a:pt x="49411" y="108719"/>
                  </a:lnTo>
                  <a:lnTo>
                    <a:pt x="50257" y="110727"/>
                  </a:lnTo>
                  <a:lnTo>
                    <a:pt x="50257" y="113189"/>
                  </a:lnTo>
                  <a:lnTo>
                    <a:pt x="48767" y="115487"/>
                  </a:lnTo>
                  <a:lnTo>
                    <a:pt x="44587" y="118694"/>
                  </a:lnTo>
                  <a:lnTo>
                    <a:pt x="44587" y="120096"/>
                  </a:lnTo>
                  <a:lnTo>
                    <a:pt x="44297" y="123897"/>
                  </a:lnTo>
                  <a:lnTo>
                    <a:pt x="42845" y="123897"/>
                  </a:lnTo>
                  <a:lnTo>
                    <a:pt x="42175" y="126927"/>
                  </a:lnTo>
                  <a:lnTo>
                    <a:pt x="39713" y="129730"/>
                  </a:lnTo>
                  <a:lnTo>
                    <a:pt x="38084" y="131536"/>
                  </a:lnTo>
                  <a:lnTo>
                    <a:pt x="35647" y="133367"/>
                  </a:lnTo>
                  <a:lnTo>
                    <a:pt x="31404" y="133367"/>
                  </a:lnTo>
                  <a:lnTo>
                    <a:pt x="29776" y="130842"/>
                  </a:lnTo>
                  <a:lnTo>
                    <a:pt x="29371" y="128581"/>
                  </a:lnTo>
                  <a:lnTo>
                    <a:pt x="28210" y="126334"/>
                  </a:lnTo>
                  <a:lnTo>
                    <a:pt x="26278" y="123796"/>
                  </a:lnTo>
                  <a:lnTo>
                    <a:pt x="26278" y="120222"/>
                  </a:lnTo>
                  <a:lnTo>
                    <a:pt x="24384" y="117495"/>
                  </a:lnTo>
                  <a:lnTo>
                    <a:pt x="24384" y="115285"/>
                  </a:lnTo>
                  <a:lnTo>
                    <a:pt x="26278" y="112659"/>
                  </a:lnTo>
                  <a:lnTo>
                    <a:pt x="26278" y="109654"/>
                  </a:lnTo>
                  <a:lnTo>
                    <a:pt x="25672" y="106509"/>
                  </a:lnTo>
                  <a:lnTo>
                    <a:pt x="23563" y="103340"/>
                  </a:lnTo>
                  <a:lnTo>
                    <a:pt x="23992" y="99262"/>
                  </a:lnTo>
                  <a:lnTo>
                    <a:pt x="22679" y="97140"/>
                  </a:lnTo>
                  <a:lnTo>
                    <a:pt x="19838" y="97279"/>
                  </a:lnTo>
                  <a:lnTo>
                    <a:pt x="18916" y="95701"/>
                  </a:lnTo>
                  <a:lnTo>
                    <a:pt x="16353" y="95410"/>
                  </a:lnTo>
                  <a:lnTo>
                    <a:pt x="13600" y="96787"/>
                  </a:lnTo>
                  <a:lnTo>
                    <a:pt x="11113" y="96787"/>
                  </a:lnTo>
                  <a:lnTo>
                    <a:pt x="8486" y="97090"/>
                  </a:lnTo>
                  <a:lnTo>
                    <a:pt x="5570" y="95385"/>
                  </a:lnTo>
                  <a:lnTo>
                    <a:pt x="1453" y="91067"/>
                  </a:lnTo>
                  <a:lnTo>
                    <a:pt x="645" y="87746"/>
                  </a:lnTo>
                  <a:lnTo>
                    <a:pt x="1175" y="84905"/>
                  </a:lnTo>
                  <a:lnTo>
                    <a:pt x="658" y="82518"/>
                  </a:lnTo>
                  <a:lnTo>
                    <a:pt x="1642" y="80132"/>
                  </a:lnTo>
                  <a:lnTo>
                    <a:pt x="4029" y="76306"/>
                  </a:lnTo>
                  <a:lnTo>
                    <a:pt x="6681" y="74386"/>
                  </a:lnTo>
                  <a:lnTo>
                    <a:pt x="7325" y="72353"/>
                  </a:lnTo>
                  <a:lnTo>
                    <a:pt x="9055" y="70523"/>
                  </a:lnTo>
                  <a:lnTo>
                    <a:pt x="10683" y="68894"/>
                  </a:lnTo>
                  <a:lnTo>
                    <a:pt x="11870" y="69487"/>
                  </a:lnTo>
                  <a:lnTo>
                    <a:pt x="16328" y="67858"/>
                  </a:lnTo>
                  <a:lnTo>
                    <a:pt x="20457" y="67871"/>
                  </a:lnTo>
                  <a:lnTo>
                    <a:pt x="22490" y="67543"/>
                  </a:lnTo>
                  <a:lnTo>
                    <a:pt x="23639" y="67795"/>
                  </a:lnTo>
                  <a:lnTo>
                    <a:pt x="24005" y="70560"/>
                  </a:lnTo>
                  <a:lnTo>
                    <a:pt x="26619" y="71116"/>
                  </a:lnTo>
                  <a:lnTo>
                    <a:pt x="29334" y="73338"/>
                  </a:lnTo>
                  <a:lnTo>
                    <a:pt x="31152" y="71747"/>
                  </a:lnTo>
                  <a:lnTo>
                    <a:pt x="32894" y="71457"/>
                  </a:lnTo>
                  <a:lnTo>
                    <a:pt x="38349" y="73035"/>
                  </a:lnTo>
                  <a:lnTo>
                    <a:pt x="41784" y="72505"/>
                  </a:lnTo>
                  <a:lnTo>
                    <a:pt x="44739" y="71154"/>
                  </a:lnTo>
                  <a:lnTo>
                    <a:pt x="45648" y="67719"/>
                  </a:lnTo>
                  <a:lnTo>
                    <a:pt x="44461" y="65989"/>
                  </a:lnTo>
                  <a:lnTo>
                    <a:pt x="41910" y="67442"/>
                  </a:lnTo>
                  <a:lnTo>
                    <a:pt x="39347" y="66785"/>
                  </a:lnTo>
                  <a:lnTo>
                    <a:pt x="37819" y="65762"/>
                  </a:lnTo>
                  <a:lnTo>
                    <a:pt x="38715" y="63590"/>
                  </a:lnTo>
                  <a:lnTo>
                    <a:pt x="40067" y="62820"/>
                  </a:lnTo>
                  <a:lnTo>
                    <a:pt x="42466" y="62227"/>
                  </a:lnTo>
                  <a:lnTo>
                    <a:pt x="45610" y="63073"/>
                  </a:lnTo>
                  <a:lnTo>
                    <a:pt x="50244" y="62075"/>
                  </a:lnTo>
                  <a:lnTo>
                    <a:pt x="47946" y="60345"/>
                  </a:lnTo>
                  <a:lnTo>
                    <a:pt x="45458" y="57782"/>
                  </a:lnTo>
                  <a:lnTo>
                    <a:pt x="46304" y="55206"/>
                  </a:lnTo>
                  <a:lnTo>
                    <a:pt x="43501" y="56999"/>
                  </a:lnTo>
                  <a:lnTo>
                    <a:pt x="43602" y="58312"/>
                  </a:lnTo>
                  <a:lnTo>
                    <a:pt x="42289" y="58312"/>
                  </a:lnTo>
                  <a:lnTo>
                    <a:pt x="41632" y="55938"/>
                  </a:lnTo>
                  <a:lnTo>
                    <a:pt x="39511" y="56469"/>
                  </a:lnTo>
                  <a:lnTo>
                    <a:pt x="37832" y="60042"/>
                  </a:lnTo>
                  <a:lnTo>
                    <a:pt x="37933" y="62265"/>
                  </a:lnTo>
                  <a:lnTo>
                    <a:pt x="36632" y="62530"/>
                  </a:lnTo>
                  <a:lnTo>
                    <a:pt x="35167" y="62757"/>
                  </a:lnTo>
                  <a:lnTo>
                    <a:pt x="33639" y="64398"/>
                  </a:lnTo>
                  <a:lnTo>
                    <a:pt x="34776" y="65750"/>
                  </a:lnTo>
                  <a:lnTo>
                    <a:pt x="33829" y="66659"/>
                  </a:lnTo>
                  <a:lnTo>
                    <a:pt x="32427" y="65585"/>
                  </a:lnTo>
                  <a:lnTo>
                    <a:pt x="30988" y="61886"/>
                  </a:lnTo>
                  <a:lnTo>
                    <a:pt x="28033" y="58893"/>
                  </a:lnTo>
                  <a:lnTo>
                    <a:pt x="25242" y="56974"/>
                  </a:lnTo>
                  <a:lnTo>
                    <a:pt x="24636" y="59146"/>
                  </a:lnTo>
                  <a:lnTo>
                    <a:pt x="27136" y="61595"/>
                  </a:lnTo>
                  <a:lnTo>
                    <a:pt x="29712" y="63085"/>
                  </a:lnTo>
                  <a:lnTo>
                    <a:pt x="29574" y="63401"/>
                  </a:lnTo>
                  <a:lnTo>
                    <a:pt x="28172" y="62921"/>
                  </a:lnTo>
                  <a:lnTo>
                    <a:pt x="28172" y="64967"/>
                  </a:lnTo>
                  <a:lnTo>
                    <a:pt x="27541" y="65333"/>
                  </a:lnTo>
                  <a:lnTo>
                    <a:pt x="27541" y="64537"/>
                  </a:lnTo>
                  <a:lnTo>
                    <a:pt x="26720" y="63148"/>
                  </a:lnTo>
                  <a:lnTo>
                    <a:pt x="25255" y="61785"/>
                  </a:lnTo>
                  <a:lnTo>
                    <a:pt x="23273" y="59575"/>
                  </a:lnTo>
                  <a:lnTo>
                    <a:pt x="21467" y="59575"/>
                  </a:lnTo>
                  <a:lnTo>
                    <a:pt x="20141" y="60295"/>
                  </a:lnTo>
                  <a:lnTo>
                    <a:pt x="17515" y="59600"/>
                  </a:lnTo>
                  <a:lnTo>
                    <a:pt x="17174" y="61557"/>
                  </a:lnTo>
                  <a:lnTo>
                    <a:pt x="16277" y="61949"/>
                  </a:lnTo>
                  <a:lnTo>
                    <a:pt x="15179" y="63919"/>
                  </a:lnTo>
                  <a:lnTo>
                    <a:pt x="13386" y="66507"/>
                  </a:lnTo>
                  <a:lnTo>
                    <a:pt x="11391" y="66406"/>
                  </a:lnTo>
                  <a:lnTo>
                    <a:pt x="10065" y="67176"/>
                  </a:lnTo>
                  <a:lnTo>
                    <a:pt x="9143" y="66381"/>
                  </a:lnTo>
                  <a:lnTo>
                    <a:pt x="6719" y="65649"/>
                  </a:lnTo>
                  <a:lnTo>
                    <a:pt x="6719" y="60610"/>
                  </a:lnTo>
                  <a:lnTo>
                    <a:pt x="8827" y="59499"/>
                  </a:lnTo>
                  <a:lnTo>
                    <a:pt x="12413" y="59954"/>
                  </a:lnTo>
                  <a:lnTo>
                    <a:pt x="14156" y="58148"/>
                  </a:lnTo>
                  <a:lnTo>
                    <a:pt x="13070" y="55825"/>
                  </a:lnTo>
                  <a:lnTo>
                    <a:pt x="12110" y="55320"/>
                  </a:lnTo>
                  <a:lnTo>
                    <a:pt x="13045" y="55168"/>
                  </a:lnTo>
                  <a:lnTo>
                    <a:pt x="14749" y="55168"/>
                  </a:lnTo>
                  <a:lnTo>
                    <a:pt x="16694" y="53186"/>
                  </a:lnTo>
                  <a:lnTo>
                    <a:pt x="17616" y="49840"/>
                  </a:lnTo>
                  <a:lnTo>
                    <a:pt x="20381" y="48691"/>
                  </a:lnTo>
                  <a:lnTo>
                    <a:pt x="20608" y="45913"/>
                  </a:lnTo>
                  <a:lnTo>
                    <a:pt x="21568" y="44764"/>
                  </a:lnTo>
                  <a:lnTo>
                    <a:pt x="22250" y="45559"/>
                  </a:lnTo>
                  <a:lnTo>
                    <a:pt x="21442" y="48211"/>
                  </a:lnTo>
                  <a:lnTo>
                    <a:pt x="25924" y="48211"/>
                  </a:lnTo>
                  <a:lnTo>
                    <a:pt x="29788" y="47504"/>
                  </a:lnTo>
                  <a:lnTo>
                    <a:pt x="30558" y="44915"/>
                  </a:lnTo>
                  <a:lnTo>
                    <a:pt x="31733" y="43539"/>
                  </a:lnTo>
                  <a:lnTo>
                    <a:pt x="32023" y="41910"/>
                  </a:lnTo>
                  <a:lnTo>
                    <a:pt x="34687" y="41821"/>
                  </a:lnTo>
                  <a:lnTo>
                    <a:pt x="37390" y="40129"/>
                  </a:lnTo>
                  <a:lnTo>
                    <a:pt x="35369" y="38841"/>
                  </a:lnTo>
                  <a:lnTo>
                    <a:pt x="32768" y="39599"/>
                  </a:lnTo>
                  <a:lnTo>
                    <a:pt x="31253" y="39422"/>
                  </a:lnTo>
                  <a:lnTo>
                    <a:pt x="30205" y="36303"/>
                  </a:lnTo>
                  <a:lnTo>
                    <a:pt x="33147" y="32604"/>
                  </a:lnTo>
                  <a:lnTo>
                    <a:pt x="31202" y="31215"/>
                  </a:lnTo>
                  <a:lnTo>
                    <a:pt x="29586" y="32591"/>
                  </a:lnTo>
                  <a:lnTo>
                    <a:pt x="28955" y="34372"/>
                  </a:lnTo>
                  <a:lnTo>
                    <a:pt x="27136" y="35874"/>
                  </a:lnTo>
                  <a:lnTo>
                    <a:pt x="26897" y="38425"/>
                  </a:lnTo>
                  <a:lnTo>
                    <a:pt x="28462" y="40723"/>
                  </a:lnTo>
                  <a:cubicBezTo>
                    <a:pt x="28361" y="41241"/>
                    <a:pt x="28071" y="42667"/>
                    <a:pt x="28071" y="42933"/>
                  </a:cubicBezTo>
                  <a:cubicBezTo>
                    <a:pt x="28008" y="43147"/>
                    <a:pt x="27288" y="44233"/>
                    <a:pt x="26619" y="45155"/>
                  </a:cubicBezTo>
                  <a:lnTo>
                    <a:pt x="24131" y="44902"/>
                  </a:lnTo>
                  <a:lnTo>
                    <a:pt x="24308" y="43640"/>
                  </a:lnTo>
                  <a:lnTo>
                    <a:pt x="22553" y="40622"/>
                  </a:lnTo>
                  <a:lnTo>
                    <a:pt x="21076" y="42465"/>
                  </a:lnTo>
                  <a:lnTo>
                    <a:pt x="19687" y="42718"/>
                  </a:lnTo>
                  <a:lnTo>
                    <a:pt x="18740" y="39321"/>
                  </a:lnTo>
                  <a:lnTo>
                    <a:pt x="19510" y="37680"/>
                  </a:lnTo>
                  <a:lnTo>
                    <a:pt x="21985" y="35205"/>
                  </a:lnTo>
                  <a:lnTo>
                    <a:pt x="23386" y="32326"/>
                  </a:lnTo>
                  <a:lnTo>
                    <a:pt x="25874" y="28790"/>
                  </a:lnTo>
                  <a:lnTo>
                    <a:pt x="29712" y="24750"/>
                  </a:lnTo>
                  <a:lnTo>
                    <a:pt x="33021" y="23639"/>
                  </a:lnTo>
                  <a:lnTo>
                    <a:pt x="35294" y="24232"/>
                  </a:lnTo>
                  <a:lnTo>
                    <a:pt x="38008" y="25381"/>
                  </a:lnTo>
                  <a:lnTo>
                    <a:pt x="41481" y="27212"/>
                  </a:lnTo>
                  <a:lnTo>
                    <a:pt x="42188" y="29068"/>
                  </a:lnTo>
                  <a:lnTo>
                    <a:pt x="41039" y="29813"/>
                  </a:lnTo>
                  <a:lnTo>
                    <a:pt x="36556" y="28942"/>
                  </a:lnTo>
                  <a:lnTo>
                    <a:pt x="39284" y="30975"/>
                  </a:lnTo>
                  <a:lnTo>
                    <a:pt x="40976" y="34245"/>
                  </a:lnTo>
                  <a:lnTo>
                    <a:pt x="41910" y="32781"/>
                  </a:lnTo>
                  <a:lnTo>
                    <a:pt x="44436" y="32907"/>
                  </a:lnTo>
                  <a:lnTo>
                    <a:pt x="43135" y="30886"/>
                  </a:lnTo>
                  <a:lnTo>
                    <a:pt x="45181" y="29712"/>
                  </a:lnTo>
                  <a:lnTo>
                    <a:pt x="45471" y="27237"/>
                  </a:lnTo>
                  <a:lnTo>
                    <a:pt x="46191" y="27528"/>
                  </a:lnTo>
                  <a:lnTo>
                    <a:pt x="46809" y="30634"/>
                  </a:lnTo>
                  <a:lnTo>
                    <a:pt x="49082" y="27982"/>
                  </a:lnTo>
                  <a:lnTo>
                    <a:pt x="52971" y="25924"/>
                  </a:lnTo>
                  <a:lnTo>
                    <a:pt x="56330" y="25217"/>
                  </a:lnTo>
                  <a:lnTo>
                    <a:pt x="55648" y="23815"/>
                  </a:lnTo>
                  <a:lnTo>
                    <a:pt x="55863" y="23159"/>
                  </a:lnTo>
                  <a:lnTo>
                    <a:pt x="58224" y="23714"/>
                  </a:lnTo>
                  <a:lnTo>
                    <a:pt x="61596" y="25406"/>
                  </a:lnTo>
                  <a:lnTo>
                    <a:pt x="61596" y="23171"/>
                  </a:lnTo>
                  <a:lnTo>
                    <a:pt x="59449" y="21277"/>
                  </a:lnTo>
                  <a:lnTo>
                    <a:pt x="59500" y="18828"/>
                  </a:lnTo>
                  <a:lnTo>
                    <a:pt x="60245" y="15532"/>
                  </a:lnTo>
                  <a:lnTo>
                    <a:pt x="61457" y="15987"/>
                  </a:lnTo>
                  <a:lnTo>
                    <a:pt x="62252" y="17944"/>
                  </a:lnTo>
                  <a:lnTo>
                    <a:pt x="63300" y="20899"/>
                  </a:lnTo>
                  <a:lnTo>
                    <a:pt x="64614" y="24333"/>
                  </a:lnTo>
                  <a:lnTo>
                    <a:pt x="63464" y="26530"/>
                  </a:lnTo>
                  <a:lnTo>
                    <a:pt x="65813" y="27364"/>
                  </a:lnTo>
                  <a:lnTo>
                    <a:pt x="67114" y="25659"/>
                  </a:lnTo>
                  <a:lnTo>
                    <a:pt x="66470" y="24270"/>
                  </a:lnTo>
                  <a:cubicBezTo>
                    <a:pt x="67215" y="24106"/>
                    <a:pt x="67947" y="23879"/>
                    <a:pt x="68667" y="23601"/>
                  </a:cubicBezTo>
                  <a:lnTo>
                    <a:pt x="69134" y="23386"/>
                  </a:lnTo>
                  <a:lnTo>
                    <a:pt x="67530" y="22060"/>
                  </a:lnTo>
                  <a:lnTo>
                    <a:pt x="65952" y="21770"/>
                  </a:lnTo>
                  <a:lnTo>
                    <a:pt x="64715" y="17982"/>
                  </a:lnTo>
                  <a:lnTo>
                    <a:pt x="65864" y="17211"/>
                  </a:lnTo>
                  <a:lnTo>
                    <a:pt x="66407" y="15696"/>
                  </a:lnTo>
                  <a:lnTo>
                    <a:pt x="69071" y="17275"/>
                  </a:lnTo>
                  <a:lnTo>
                    <a:pt x="70750" y="16252"/>
                  </a:lnTo>
                  <a:lnTo>
                    <a:pt x="68313" y="14964"/>
                  </a:lnTo>
                  <a:lnTo>
                    <a:pt x="67152" y="13726"/>
                  </a:lnTo>
                  <a:lnTo>
                    <a:pt x="70321" y="11946"/>
                  </a:lnTo>
                  <a:lnTo>
                    <a:pt x="69033" y="10683"/>
                  </a:lnTo>
                  <a:lnTo>
                    <a:pt x="70460" y="7943"/>
                  </a:lnTo>
                  <a:lnTo>
                    <a:pt x="73743" y="5481"/>
                  </a:lnTo>
                  <a:lnTo>
                    <a:pt x="74501" y="2968"/>
                  </a:lnTo>
                  <a:lnTo>
                    <a:pt x="75624" y="1554"/>
                  </a:lnTo>
                  <a:lnTo>
                    <a:pt x="77468" y="1554"/>
                  </a:lnTo>
                  <a:lnTo>
                    <a:pt x="78554" y="4206"/>
                  </a:lnTo>
                  <a:lnTo>
                    <a:pt x="80019" y="2097"/>
                  </a:lnTo>
                  <a:lnTo>
                    <a:pt x="81786" y="784"/>
                  </a:lnTo>
                  <a:close/>
                  <a:moveTo>
                    <a:pt x="81786" y="1"/>
                  </a:moveTo>
                  <a:lnTo>
                    <a:pt x="79614" y="1605"/>
                  </a:lnTo>
                  <a:lnTo>
                    <a:pt x="78705" y="2880"/>
                  </a:lnTo>
                  <a:lnTo>
                    <a:pt x="77910" y="910"/>
                  </a:lnTo>
                  <a:lnTo>
                    <a:pt x="75334" y="910"/>
                  </a:lnTo>
                  <a:lnTo>
                    <a:pt x="73983" y="2615"/>
                  </a:lnTo>
                  <a:lnTo>
                    <a:pt x="73213" y="5090"/>
                  </a:lnTo>
                  <a:lnTo>
                    <a:pt x="70043" y="7476"/>
                  </a:lnTo>
                  <a:lnTo>
                    <a:pt x="68263" y="10784"/>
                  </a:lnTo>
                  <a:lnTo>
                    <a:pt x="69286" y="11794"/>
                  </a:lnTo>
                  <a:lnTo>
                    <a:pt x="66154" y="13562"/>
                  </a:lnTo>
                  <a:lnTo>
                    <a:pt x="67897" y="15431"/>
                  </a:lnTo>
                  <a:lnTo>
                    <a:pt x="69475" y="16277"/>
                  </a:lnTo>
                  <a:lnTo>
                    <a:pt x="69071" y="16517"/>
                  </a:lnTo>
                  <a:lnTo>
                    <a:pt x="66066" y="14737"/>
                  </a:lnTo>
                  <a:lnTo>
                    <a:pt x="65346" y="16795"/>
                  </a:lnTo>
                  <a:lnTo>
                    <a:pt x="63970" y="17704"/>
                  </a:lnTo>
                  <a:lnTo>
                    <a:pt x="65472" y="22313"/>
                  </a:lnTo>
                  <a:lnTo>
                    <a:pt x="67253" y="22654"/>
                  </a:lnTo>
                  <a:lnTo>
                    <a:pt x="67934" y="23209"/>
                  </a:lnTo>
                  <a:cubicBezTo>
                    <a:pt x="67290" y="23411"/>
                    <a:pt x="66634" y="23588"/>
                    <a:pt x="65965" y="23727"/>
                  </a:cubicBezTo>
                  <a:lnTo>
                    <a:pt x="65573" y="23803"/>
                  </a:lnTo>
                  <a:lnTo>
                    <a:pt x="66394" y="25571"/>
                  </a:lnTo>
                  <a:lnTo>
                    <a:pt x="65611" y="26606"/>
                  </a:lnTo>
                  <a:lnTo>
                    <a:pt x="64386" y="26177"/>
                  </a:lnTo>
                  <a:lnTo>
                    <a:pt x="65333" y="24371"/>
                  </a:lnTo>
                  <a:lnTo>
                    <a:pt x="63906" y="20671"/>
                  </a:lnTo>
                  <a:lnTo>
                    <a:pt x="62858" y="17717"/>
                  </a:lnTo>
                  <a:lnTo>
                    <a:pt x="61962" y="15482"/>
                  </a:lnTo>
                  <a:lnTo>
                    <a:pt x="59815" y="14686"/>
                  </a:lnTo>
                  <a:lnTo>
                    <a:pt x="58894" y="18714"/>
                  </a:lnTo>
                  <a:lnTo>
                    <a:pt x="58830" y="21555"/>
                  </a:lnTo>
                  <a:lnTo>
                    <a:pt x="60990" y="23449"/>
                  </a:lnTo>
                  <a:lnTo>
                    <a:pt x="60990" y="24371"/>
                  </a:lnTo>
                  <a:lnTo>
                    <a:pt x="58502" y="23121"/>
                  </a:lnTo>
                  <a:lnTo>
                    <a:pt x="55459" y="22401"/>
                  </a:lnTo>
                  <a:lnTo>
                    <a:pt x="54992" y="23853"/>
                  </a:lnTo>
                  <a:lnTo>
                    <a:pt x="55434" y="24762"/>
                  </a:lnTo>
                  <a:lnTo>
                    <a:pt x="52807" y="25305"/>
                  </a:lnTo>
                  <a:lnTo>
                    <a:pt x="48729" y="27439"/>
                  </a:lnTo>
                  <a:lnTo>
                    <a:pt x="47176" y="29232"/>
                  </a:lnTo>
                  <a:lnTo>
                    <a:pt x="46746" y="27073"/>
                  </a:lnTo>
                  <a:lnTo>
                    <a:pt x="44941" y="26316"/>
                  </a:lnTo>
                  <a:lnTo>
                    <a:pt x="44600" y="29321"/>
                  </a:lnTo>
                  <a:lnTo>
                    <a:pt x="42238" y="30672"/>
                  </a:lnTo>
                  <a:lnTo>
                    <a:pt x="43249" y="32212"/>
                  </a:lnTo>
                  <a:lnTo>
                    <a:pt x="41582" y="32137"/>
                  </a:lnTo>
                  <a:lnTo>
                    <a:pt x="41039" y="32983"/>
                  </a:lnTo>
                  <a:lnTo>
                    <a:pt x="39814" y="30634"/>
                  </a:lnTo>
                  <a:lnTo>
                    <a:pt x="39145" y="30078"/>
                  </a:lnTo>
                  <a:lnTo>
                    <a:pt x="41178" y="30482"/>
                  </a:lnTo>
                  <a:lnTo>
                    <a:pt x="42971" y="29321"/>
                  </a:lnTo>
                  <a:lnTo>
                    <a:pt x="41999" y="26770"/>
                  </a:lnTo>
                  <a:lnTo>
                    <a:pt x="38299" y="24813"/>
                  </a:lnTo>
                  <a:lnTo>
                    <a:pt x="35496" y="23639"/>
                  </a:lnTo>
                  <a:lnTo>
                    <a:pt x="32983" y="22982"/>
                  </a:lnTo>
                  <a:lnTo>
                    <a:pt x="29359" y="24194"/>
                  </a:lnTo>
                  <a:lnTo>
                    <a:pt x="25381" y="28386"/>
                  </a:lnTo>
                  <a:lnTo>
                    <a:pt x="22831" y="32010"/>
                  </a:lnTo>
                  <a:lnTo>
                    <a:pt x="21492" y="34801"/>
                  </a:lnTo>
                  <a:lnTo>
                    <a:pt x="19005" y="37276"/>
                  </a:lnTo>
                  <a:lnTo>
                    <a:pt x="18058" y="39258"/>
                  </a:lnTo>
                  <a:lnTo>
                    <a:pt x="19219" y="43438"/>
                  </a:lnTo>
                  <a:lnTo>
                    <a:pt x="21404" y="43046"/>
                  </a:lnTo>
                  <a:lnTo>
                    <a:pt x="22452" y="41733"/>
                  </a:lnTo>
                  <a:lnTo>
                    <a:pt x="23639" y="43766"/>
                  </a:lnTo>
                  <a:lnTo>
                    <a:pt x="23399" y="45458"/>
                  </a:lnTo>
                  <a:lnTo>
                    <a:pt x="26909" y="45824"/>
                  </a:lnTo>
                  <a:lnTo>
                    <a:pt x="27010" y="45673"/>
                  </a:lnTo>
                  <a:cubicBezTo>
                    <a:pt x="28702" y="43387"/>
                    <a:pt x="28702" y="43072"/>
                    <a:pt x="28702" y="42970"/>
                  </a:cubicBezTo>
                  <a:cubicBezTo>
                    <a:pt x="28702" y="42794"/>
                    <a:pt x="28904" y="41683"/>
                    <a:pt x="29106" y="40723"/>
                  </a:cubicBezTo>
                  <a:lnTo>
                    <a:pt x="29144" y="40597"/>
                  </a:lnTo>
                  <a:lnTo>
                    <a:pt x="27566" y="38261"/>
                  </a:lnTo>
                  <a:lnTo>
                    <a:pt x="27743" y="36190"/>
                  </a:lnTo>
                  <a:lnTo>
                    <a:pt x="29498" y="34750"/>
                  </a:lnTo>
                  <a:lnTo>
                    <a:pt x="30129" y="32957"/>
                  </a:lnTo>
                  <a:lnTo>
                    <a:pt x="31240" y="32010"/>
                  </a:lnTo>
                  <a:lnTo>
                    <a:pt x="32238" y="32730"/>
                  </a:lnTo>
                  <a:lnTo>
                    <a:pt x="29510" y="36177"/>
                  </a:lnTo>
                  <a:lnTo>
                    <a:pt x="30773" y="39991"/>
                  </a:lnTo>
                  <a:lnTo>
                    <a:pt x="32831" y="40243"/>
                  </a:lnTo>
                  <a:lnTo>
                    <a:pt x="35281" y="39523"/>
                  </a:lnTo>
                  <a:lnTo>
                    <a:pt x="36203" y="40129"/>
                  </a:lnTo>
                  <a:lnTo>
                    <a:pt x="34498" y="41190"/>
                  </a:lnTo>
                  <a:lnTo>
                    <a:pt x="31493" y="41291"/>
                  </a:lnTo>
                  <a:lnTo>
                    <a:pt x="31139" y="43248"/>
                  </a:lnTo>
                  <a:lnTo>
                    <a:pt x="30041" y="44549"/>
                  </a:lnTo>
                  <a:lnTo>
                    <a:pt x="29296" y="46948"/>
                  </a:lnTo>
                  <a:lnTo>
                    <a:pt x="25861" y="47592"/>
                  </a:lnTo>
                  <a:lnTo>
                    <a:pt x="22288" y="47592"/>
                  </a:lnTo>
                  <a:lnTo>
                    <a:pt x="22957" y="45420"/>
                  </a:lnTo>
                  <a:lnTo>
                    <a:pt x="21543" y="43804"/>
                  </a:lnTo>
                  <a:lnTo>
                    <a:pt x="19990" y="45660"/>
                  </a:lnTo>
                  <a:lnTo>
                    <a:pt x="19775" y="48261"/>
                  </a:lnTo>
                  <a:lnTo>
                    <a:pt x="17085" y="49385"/>
                  </a:lnTo>
                  <a:lnTo>
                    <a:pt x="16113" y="52857"/>
                  </a:lnTo>
                  <a:lnTo>
                    <a:pt x="14484" y="54524"/>
                  </a:lnTo>
                  <a:lnTo>
                    <a:pt x="12982" y="54524"/>
                  </a:lnTo>
                  <a:lnTo>
                    <a:pt x="10178" y="55004"/>
                  </a:lnTo>
                  <a:lnTo>
                    <a:pt x="12590" y="56279"/>
                  </a:lnTo>
                  <a:lnTo>
                    <a:pt x="13398" y="58022"/>
                  </a:lnTo>
                  <a:lnTo>
                    <a:pt x="12186" y="59285"/>
                  </a:lnTo>
                  <a:lnTo>
                    <a:pt x="8714" y="58855"/>
                  </a:lnTo>
                  <a:lnTo>
                    <a:pt x="6100" y="60232"/>
                  </a:lnTo>
                  <a:lnTo>
                    <a:pt x="6100" y="66116"/>
                  </a:lnTo>
                  <a:lnTo>
                    <a:pt x="8777" y="66899"/>
                  </a:lnTo>
                  <a:lnTo>
                    <a:pt x="10002" y="67947"/>
                  </a:lnTo>
                  <a:lnTo>
                    <a:pt x="11555" y="67038"/>
                  </a:lnTo>
                  <a:lnTo>
                    <a:pt x="13714" y="67151"/>
                  </a:lnTo>
                  <a:lnTo>
                    <a:pt x="15709" y="64247"/>
                  </a:lnTo>
                  <a:lnTo>
                    <a:pt x="16719" y="62441"/>
                  </a:lnTo>
                  <a:lnTo>
                    <a:pt x="17729" y="61999"/>
                  </a:lnTo>
                  <a:lnTo>
                    <a:pt x="18020" y="60383"/>
                  </a:lnTo>
                  <a:lnTo>
                    <a:pt x="20229" y="60964"/>
                  </a:lnTo>
                  <a:lnTo>
                    <a:pt x="21631" y="60194"/>
                  </a:lnTo>
                  <a:lnTo>
                    <a:pt x="22982" y="60194"/>
                  </a:lnTo>
                  <a:lnTo>
                    <a:pt x="24800" y="62227"/>
                  </a:lnTo>
                  <a:lnTo>
                    <a:pt x="26202" y="63502"/>
                  </a:lnTo>
                  <a:lnTo>
                    <a:pt x="26909" y="64702"/>
                  </a:lnTo>
                  <a:lnTo>
                    <a:pt x="26909" y="66444"/>
                  </a:lnTo>
                  <a:lnTo>
                    <a:pt x="28803" y="65333"/>
                  </a:lnTo>
                  <a:lnTo>
                    <a:pt x="28803" y="63805"/>
                  </a:lnTo>
                  <a:lnTo>
                    <a:pt x="29927" y="64171"/>
                  </a:lnTo>
                  <a:lnTo>
                    <a:pt x="30521" y="62807"/>
                  </a:lnTo>
                  <a:lnTo>
                    <a:pt x="27553" y="61115"/>
                  </a:lnTo>
                  <a:lnTo>
                    <a:pt x="25343" y="58956"/>
                  </a:lnTo>
                  <a:lnTo>
                    <a:pt x="25609" y="57997"/>
                  </a:lnTo>
                  <a:lnTo>
                    <a:pt x="27629" y="59386"/>
                  </a:lnTo>
                  <a:lnTo>
                    <a:pt x="30432" y="62176"/>
                  </a:lnTo>
                  <a:lnTo>
                    <a:pt x="31910" y="65977"/>
                  </a:lnTo>
                  <a:lnTo>
                    <a:pt x="33879" y="67492"/>
                  </a:lnTo>
                  <a:lnTo>
                    <a:pt x="35660" y="65800"/>
                  </a:lnTo>
                  <a:lnTo>
                    <a:pt x="34498" y="64424"/>
                  </a:lnTo>
                  <a:lnTo>
                    <a:pt x="35496" y="63338"/>
                  </a:lnTo>
                  <a:lnTo>
                    <a:pt x="36758" y="63148"/>
                  </a:lnTo>
                  <a:lnTo>
                    <a:pt x="38602" y="62782"/>
                  </a:lnTo>
                  <a:lnTo>
                    <a:pt x="38488" y="60168"/>
                  </a:lnTo>
                  <a:lnTo>
                    <a:pt x="39966" y="57012"/>
                  </a:lnTo>
                  <a:lnTo>
                    <a:pt x="41203" y="56696"/>
                  </a:lnTo>
                  <a:lnTo>
                    <a:pt x="41809" y="58944"/>
                  </a:lnTo>
                  <a:lnTo>
                    <a:pt x="44284" y="58944"/>
                  </a:lnTo>
                  <a:lnTo>
                    <a:pt x="44158" y="57315"/>
                  </a:lnTo>
                  <a:lnTo>
                    <a:pt x="45155" y="56683"/>
                  </a:lnTo>
                  <a:lnTo>
                    <a:pt x="44739" y="57946"/>
                  </a:lnTo>
                  <a:lnTo>
                    <a:pt x="47529" y="60812"/>
                  </a:lnTo>
                  <a:lnTo>
                    <a:pt x="48767" y="61747"/>
                  </a:lnTo>
                  <a:lnTo>
                    <a:pt x="45635" y="62416"/>
                  </a:lnTo>
                  <a:lnTo>
                    <a:pt x="42478" y="61570"/>
                  </a:lnTo>
                  <a:lnTo>
                    <a:pt x="39877" y="62214"/>
                  </a:lnTo>
                  <a:lnTo>
                    <a:pt x="38223" y="63136"/>
                  </a:lnTo>
                  <a:lnTo>
                    <a:pt x="37036" y="66002"/>
                  </a:lnTo>
                  <a:lnTo>
                    <a:pt x="39044" y="67341"/>
                  </a:lnTo>
                  <a:lnTo>
                    <a:pt x="41999" y="68111"/>
                  </a:lnTo>
                  <a:lnTo>
                    <a:pt x="44284" y="66823"/>
                  </a:lnTo>
                  <a:lnTo>
                    <a:pt x="44979" y="67833"/>
                  </a:lnTo>
                  <a:lnTo>
                    <a:pt x="44208" y="70712"/>
                  </a:lnTo>
                  <a:lnTo>
                    <a:pt x="41658" y="71886"/>
                  </a:lnTo>
                  <a:lnTo>
                    <a:pt x="38400" y="72391"/>
                  </a:lnTo>
                  <a:lnTo>
                    <a:pt x="32932" y="70813"/>
                  </a:lnTo>
                  <a:lnTo>
                    <a:pt x="30887" y="71154"/>
                  </a:lnTo>
                  <a:lnTo>
                    <a:pt x="29334" y="72518"/>
                  </a:lnTo>
                  <a:lnTo>
                    <a:pt x="26922" y="70535"/>
                  </a:lnTo>
                  <a:lnTo>
                    <a:pt x="24586" y="70030"/>
                  </a:lnTo>
                  <a:lnTo>
                    <a:pt x="24207" y="67277"/>
                  </a:lnTo>
                  <a:lnTo>
                    <a:pt x="22515" y="66899"/>
                  </a:lnTo>
                  <a:lnTo>
                    <a:pt x="20406" y="67252"/>
                  </a:lnTo>
                  <a:lnTo>
                    <a:pt x="16227" y="67227"/>
                  </a:lnTo>
                  <a:lnTo>
                    <a:pt x="11908" y="68805"/>
                  </a:lnTo>
                  <a:lnTo>
                    <a:pt x="10570" y="68136"/>
                  </a:lnTo>
                  <a:lnTo>
                    <a:pt x="8613" y="70081"/>
                  </a:lnTo>
                  <a:lnTo>
                    <a:pt x="6782" y="72025"/>
                  </a:lnTo>
                  <a:lnTo>
                    <a:pt x="6163" y="73995"/>
                  </a:lnTo>
                  <a:lnTo>
                    <a:pt x="3612" y="75826"/>
                  </a:lnTo>
                  <a:lnTo>
                    <a:pt x="1087" y="79854"/>
                  </a:lnTo>
                  <a:lnTo>
                    <a:pt x="1" y="82468"/>
                  </a:lnTo>
                  <a:lnTo>
                    <a:pt x="531" y="84917"/>
                  </a:lnTo>
                  <a:lnTo>
                    <a:pt x="14" y="87758"/>
                  </a:lnTo>
                  <a:lnTo>
                    <a:pt x="885" y="91382"/>
                  </a:lnTo>
                  <a:lnTo>
                    <a:pt x="5140" y="95852"/>
                  </a:lnTo>
                  <a:lnTo>
                    <a:pt x="8347" y="97746"/>
                  </a:lnTo>
                  <a:lnTo>
                    <a:pt x="11151" y="97418"/>
                  </a:lnTo>
                  <a:lnTo>
                    <a:pt x="13752" y="97418"/>
                  </a:lnTo>
                  <a:lnTo>
                    <a:pt x="16467" y="96054"/>
                  </a:lnTo>
                  <a:lnTo>
                    <a:pt x="18525" y="96294"/>
                  </a:lnTo>
                  <a:lnTo>
                    <a:pt x="19497" y="97923"/>
                  </a:lnTo>
                  <a:lnTo>
                    <a:pt x="22338" y="97784"/>
                  </a:lnTo>
                  <a:lnTo>
                    <a:pt x="23336" y="99400"/>
                  </a:lnTo>
                  <a:lnTo>
                    <a:pt x="22906" y="103492"/>
                  </a:lnTo>
                  <a:lnTo>
                    <a:pt x="25066" y="106686"/>
                  </a:lnTo>
                  <a:lnTo>
                    <a:pt x="25659" y="109717"/>
                  </a:lnTo>
                  <a:lnTo>
                    <a:pt x="25659" y="112457"/>
                  </a:lnTo>
                  <a:lnTo>
                    <a:pt x="23765" y="115083"/>
                  </a:lnTo>
                  <a:lnTo>
                    <a:pt x="23765" y="117697"/>
                  </a:lnTo>
                  <a:lnTo>
                    <a:pt x="25659" y="120437"/>
                  </a:lnTo>
                  <a:lnTo>
                    <a:pt x="25659" y="124010"/>
                  </a:lnTo>
                  <a:lnTo>
                    <a:pt x="27692" y="126675"/>
                  </a:lnTo>
                  <a:lnTo>
                    <a:pt x="28778" y="128733"/>
                  </a:lnTo>
                  <a:lnTo>
                    <a:pt x="29157" y="130993"/>
                  </a:lnTo>
                  <a:lnTo>
                    <a:pt x="31051" y="133998"/>
                  </a:lnTo>
                  <a:lnTo>
                    <a:pt x="35849" y="133998"/>
                  </a:lnTo>
                  <a:lnTo>
                    <a:pt x="38501" y="132003"/>
                  </a:lnTo>
                  <a:lnTo>
                    <a:pt x="40193" y="130160"/>
                  </a:lnTo>
                  <a:lnTo>
                    <a:pt x="42769" y="127243"/>
                  </a:lnTo>
                  <a:lnTo>
                    <a:pt x="43362" y="124541"/>
                  </a:lnTo>
                  <a:lnTo>
                    <a:pt x="44865" y="124541"/>
                  </a:lnTo>
                  <a:lnTo>
                    <a:pt x="45206" y="120121"/>
                  </a:lnTo>
                  <a:lnTo>
                    <a:pt x="45206" y="119010"/>
                  </a:lnTo>
                  <a:lnTo>
                    <a:pt x="49183" y="115954"/>
                  </a:lnTo>
                  <a:lnTo>
                    <a:pt x="50888" y="113379"/>
                  </a:lnTo>
                  <a:lnTo>
                    <a:pt x="50888" y="110651"/>
                  </a:lnTo>
                  <a:lnTo>
                    <a:pt x="50042" y="108606"/>
                  </a:lnTo>
                  <a:lnTo>
                    <a:pt x="50092" y="106295"/>
                  </a:lnTo>
                  <a:lnTo>
                    <a:pt x="49600" y="104969"/>
                  </a:lnTo>
                  <a:lnTo>
                    <a:pt x="52239" y="102570"/>
                  </a:lnTo>
                  <a:lnTo>
                    <a:pt x="54853" y="99653"/>
                  </a:lnTo>
                  <a:lnTo>
                    <a:pt x="58149" y="97645"/>
                  </a:lnTo>
                  <a:lnTo>
                    <a:pt x="58186" y="97570"/>
                  </a:lnTo>
                  <a:cubicBezTo>
                    <a:pt x="58641" y="96761"/>
                    <a:pt x="59702" y="94817"/>
                    <a:pt x="59702" y="94362"/>
                  </a:cubicBezTo>
                  <a:cubicBezTo>
                    <a:pt x="59702" y="94148"/>
                    <a:pt x="60131" y="92948"/>
                    <a:pt x="60522" y="91963"/>
                  </a:cubicBezTo>
                  <a:lnTo>
                    <a:pt x="60573" y="91862"/>
                  </a:lnTo>
                  <a:lnTo>
                    <a:pt x="59904" y="89716"/>
                  </a:lnTo>
                  <a:lnTo>
                    <a:pt x="58149" y="90587"/>
                  </a:lnTo>
                  <a:lnTo>
                    <a:pt x="54411" y="91117"/>
                  </a:lnTo>
                  <a:lnTo>
                    <a:pt x="53375" y="91610"/>
                  </a:lnTo>
                  <a:lnTo>
                    <a:pt x="52858" y="90031"/>
                  </a:lnTo>
                  <a:lnTo>
                    <a:pt x="52327" y="88870"/>
                  </a:lnTo>
                  <a:lnTo>
                    <a:pt x="50118" y="86748"/>
                  </a:lnTo>
                  <a:lnTo>
                    <a:pt x="48830" y="85852"/>
                  </a:lnTo>
                  <a:lnTo>
                    <a:pt x="46772" y="81104"/>
                  </a:lnTo>
                  <a:lnTo>
                    <a:pt x="45913" y="79917"/>
                  </a:lnTo>
                  <a:lnTo>
                    <a:pt x="44852" y="77076"/>
                  </a:lnTo>
                  <a:lnTo>
                    <a:pt x="44309" y="76142"/>
                  </a:lnTo>
                  <a:lnTo>
                    <a:pt x="44890" y="75927"/>
                  </a:lnTo>
                  <a:lnTo>
                    <a:pt x="47264" y="79185"/>
                  </a:lnTo>
                  <a:lnTo>
                    <a:pt x="48716" y="81470"/>
                  </a:lnTo>
                  <a:lnTo>
                    <a:pt x="49562" y="83945"/>
                  </a:lnTo>
                  <a:lnTo>
                    <a:pt x="51570" y="85523"/>
                  </a:lnTo>
                  <a:lnTo>
                    <a:pt x="52795" y="88478"/>
                  </a:lnTo>
                  <a:lnTo>
                    <a:pt x="53439" y="90271"/>
                  </a:lnTo>
                  <a:lnTo>
                    <a:pt x="57189" y="88579"/>
                  </a:lnTo>
                  <a:lnTo>
                    <a:pt x="60939" y="87746"/>
                  </a:lnTo>
                  <a:lnTo>
                    <a:pt x="65005" y="85675"/>
                  </a:lnTo>
                  <a:lnTo>
                    <a:pt x="66230" y="83453"/>
                  </a:lnTo>
                  <a:lnTo>
                    <a:pt x="67139" y="81154"/>
                  </a:lnTo>
                  <a:lnTo>
                    <a:pt x="65422" y="79437"/>
                  </a:lnTo>
                  <a:lnTo>
                    <a:pt x="63932" y="77821"/>
                  </a:lnTo>
                  <a:lnTo>
                    <a:pt x="61356" y="78616"/>
                  </a:lnTo>
                  <a:lnTo>
                    <a:pt x="59487" y="78705"/>
                  </a:lnTo>
                  <a:lnTo>
                    <a:pt x="58325" y="76571"/>
                  </a:lnTo>
                  <a:lnTo>
                    <a:pt x="56570" y="75094"/>
                  </a:lnTo>
                  <a:lnTo>
                    <a:pt x="57189" y="74045"/>
                  </a:lnTo>
                  <a:lnTo>
                    <a:pt x="59790" y="76154"/>
                  </a:lnTo>
                  <a:lnTo>
                    <a:pt x="61886" y="77303"/>
                  </a:lnTo>
                  <a:lnTo>
                    <a:pt x="63742" y="77442"/>
                  </a:lnTo>
                  <a:lnTo>
                    <a:pt x="65472" y="78364"/>
                  </a:lnTo>
                  <a:lnTo>
                    <a:pt x="68351" y="78818"/>
                  </a:lnTo>
                  <a:lnTo>
                    <a:pt x="71634" y="78414"/>
                  </a:lnTo>
                  <a:lnTo>
                    <a:pt x="74109" y="80195"/>
                  </a:lnTo>
                  <a:lnTo>
                    <a:pt x="75511" y="82569"/>
                  </a:lnTo>
                  <a:lnTo>
                    <a:pt x="77089" y="82834"/>
                  </a:lnTo>
                  <a:lnTo>
                    <a:pt x="78074" y="81697"/>
                  </a:lnTo>
                  <a:lnTo>
                    <a:pt x="78541" y="83617"/>
                  </a:lnTo>
                  <a:lnTo>
                    <a:pt x="79173" y="86357"/>
                  </a:lnTo>
                  <a:lnTo>
                    <a:pt x="80562" y="89349"/>
                  </a:lnTo>
                  <a:lnTo>
                    <a:pt x="82014" y="92670"/>
                  </a:lnTo>
                  <a:lnTo>
                    <a:pt x="82721" y="95246"/>
                  </a:lnTo>
                  <a:lnTo>
                    <a:pt x="84930" y="91723"/>
                  </a:lnTo>
                  <a:lnTo>
                    <a:pt x="84930" y="88668"/>
                  </a:lnTo>
                  <a:lnTo>
                    <a:pt x="85802" y="87215"/>
                  </a:lnTo>
                  <a:lnTo>
                    <a:pt x="87822" y="85460"/>
                  </a:lnTo>
                  <a:lnTo>
                    <a:pt x="90840" y="82720"/>
                  </a:lnTo>
                  <a:lnTo>
                    <a:pt x="92115" y="80990"/>
                  </a:lnTo>
                  <a:lnTo>
                    <a:pt x="94451" y="80447"/>
                  </a:lnTo>
                  <a:lnTo>
                    <a:pt x="95158" y="83339"/>
                  </a:lnTo>
                  <a:lnTo>
                    <a:pt x="96914" y="84160"/>
                  </a:lnTo>
                  <a:lnTo>
                    <a:pt x="96914" y="87885"/>
                  </a:lnTo>
                  <a:lnTo>
                    <a:pt x="99035" y="86622"/>
                  </a:lnTo>
                  <a:lnTo>
                    <a:pt x="100702" y="90132"/>
                  </a:lnTo>
                  <a:lnTo>
                    <a:pt x="100702" y="94451"/>
                  </a:lnTo>
                  <a:lnTo>
                    <a:pt x="102772" y="95549"/>
                  </a:lnTo>
                  <a:lnTo>
                    <a:pt x="103720" y="97557"/>
                  </a:lnTo>
                  <a:lnTo>
                    <a:pt x="105247" y="99565"/>
                  </a:lnTo>
                  <a:lnTo>
                    <a:pt x="107975" y="100701"/>
                  </a:lnTo>
                  <a:lnTo>
                    <a:pt x="107192" y="98100"/>
                  </a:lnTo>
                  <a:lnTo>
                    <a:pt x="106864" y="96294"/>
                  </a:lnTo>
                  <a:lnTo>
                    <a:pt x="105121" y="94994"/>
                  </a:lnTo>
                  <a:lnTo>
                    <a:pt x="104023" y="93478"/>
                  </a:lnTo>
                  <a:lnTo>
                    <a:pt x="103442" y="92127"/>
                  </a:lnTo>
                  <a:lnTo>
                    <a:pt x="103732" y="90082"/>
                  </a:lnTo>
                  <a:lnTo>
                    <a:pt x="104212" y="89476"/>
                  </a:lnTo>
                  <a:lnTo>
                    <a:pt x="105626" y="90801"/>
                  </a:lnTo>
                  <a:lnTo>
                    <a:pt x="107306" y="92595"/>
                  </a:lnTo>
                  <a:lnTo>
                    <a:pt x="108417" y="93163"/>
                  </a:lnTo>
                  <a:lnTo>
                    <a:pt x="108568" y="93049"/>
                  </a:lnTo>
                  <a:cubicBezTo>
                    <a:pt x="110803" y="91382"/>
                    <a:pt x="110803" y="91041"/>
                    <a:pt x="110803" y="90902"/>
                  </a:cubicBezTo>
                  <a:lnTo>
                    <a:pt x="110803" y="87203"/>
                  </a:lnTo>
                  <a:lnTo>
                    <a:pt x="108846" y="85359"/>
                  </a:lnTo>
                  <a:lnTo>
                    <a:pt x="108139" y="83932"/>
                  </a:lnTo>
                  <a:cubicBezTo>
                    <a:pt x="108265" y="83238"/>
                    <a:pt x="108480" y="82556"/>
                    <a:pt x="108581" y="82455"/>
                  </a:cubicBezTo>
                  <a:cubicBezTo>
                    <a:pt x="108758" y="82341"/>
                    <a:pt x="109654" y="82000"/>
                    <a:pt x="110374" y="81748"/>
                  </a:cubicBezTo>
                  <a:lnTo>
                    <a:pt x="110967" y="83099"/>
                  </a:lnTo>
                  <a:lnTo>
                    <a:pt x="113139" y="81521"/>
                  </a:lnTo>
                  <a:lnTo>
                    <a:pt x="117016" y="79589"/>
                  </a:lnTo>
                  <a:lnTo>
                    <a:pt x="118821" y="76293"/>
                  </a:lnTo>
                  <a:lnTo>
                    <a:pt x="119604" y="74083"/>
                  </a:lnTo>
                  <a:lnTo>
                    <a:pt x="119630" y="70232"/>
                  </a:lnTo>
                  <a:lnTo>
                    <a:pt x="118140" y="67227"/>
                  </a:lnTo>
                  <a:lnTo>
                    <a:pt x="116890" y="65649"/>
                  </a:lnTo>
                  <a:lnTo>
                    <a:pt x="118809" y="64348"/>
                  </a:lnTo>
                  <a:lnTo>
                    <a:pt x="119958" y="63451"/>
                  </a:lnTo>
                  <a:lnTo>
                    <a:pt x="117622" y="62719"/>
                  </a:lnTo>
                  <a:lnTo>
                    <a:pt x="116258" y="63212"/>
                  </a:lnTo>
                  <a:lnTo>
                    <a:pt x="115475" y="62340"/>
                  </a:lnTo>
                  <a:lnTo>
                    <a:pt x="115059" y="61772"/>
                  </a:lnTo>
                  <a:lnTo>
                    <a:pt x="116624" y="60863"/>
                  </a:lnTo>
                  <a:lnTo>
                    <a:pt x="117369" y="59373"/>
                  </a:lnTo>
                  <a:lnTo>
                    <a:pt x="117900" y="59638"/>
                  </a:lnTo>
                  <a:lnTo>
                    <a:pt x="117256" y="61974"/>
                  </a:lnTo>
                  <a:lnTo>
                    <a:pt x="119390" y="60901"/>
                  </a:lnTo>
                  <a:lnTo>
                    <a:pt x="120337" y="61684"/>
                  </a:lnTo>
                  <a:lnTo>
                    <a:pt x="121284" y="63350"/>
                  </a:lnTo>
                  <a:lnTo>
                    <a:pt x="122168" y="64424"/>
                  </a:lnTo>
                  <a:lnTo>
                    <a:pt x="122168" y="66015"/>
                  </a:lnTo>
                  <a:lnTo>
                    <a:pt x="123291" y="67151"/>
                  </a:lnTo>
                  <a:lnTo>
                    <a:pt x="125501" y="65383"/>
                  </a:lnTo>
                  <a:lnTo>
                    <a:pt x="124882" y="62782"/>
                  </a:lnTo>
                  <a:lnTo>
                    <a:pt x="123216" y="61078"/>
                  </a:lnTo>
                  <a:lnTo>
                    <a:pt x="122837" y="60295"/>
                  </a:lnTo>
                  <a:lnTo>
                    <a:pt x="124238" y="59095"/>
                  </a:lnTo>
                  <a:lnTo>
                    <a:pt x="124352" y="56254"/>
                  </a:lnTo>
                  <a:lnTo>
                    <a:pt x="125337" y="55433"/>
                  </a:lnTo>
                  <a:lnTo>
                    <a:pt x="126688" y="56229"/>
                  </a:lnTo>
                  <a:lnTo>
                    <a:pt x="128734" y="52693"/>
                  </a:lnTo>
                  <a:lnTo>
                    <a:pt x="130363" y="47693"/>
                  </a:lnTo>
                  <a:lnTo>
                    <a:pt x="129176" y="44359"/>
                  </a:lnTo>
                  <a:lnTo>
                    <a:pt x="128418" y="41329"/>
                  </a:lnTo>
                  <a:lnTo>
                    <a:pt x="126625" y="39650"/>
                  </a:lnTo>
                  <a:lnTo>
                    <a:pt x="124365" y="39006"/>
                  </a:lnTo>
                  <a:lnTo>
                    <a:pt x="123039" y="38501"/>
                  </a:lnTo>
                  <a:lnTo>
                    <a:pt x="122231" y="37844"/>
                  </a:lnTo>
                  <a:lnTo>
                    <a:pt x="124238" y="33816"/>
                  </a:lnTo>
                  <a:lnTo>
                    <a:pt x="125047" y="31152"/>
                  </a:lnTo>
                  <a:lnTo>
                    <a:pt x="127067" y="29939"/>
                  </a:lnTo>
                  <a:lnTo>
                    <a:pt x="130350" y="29939"/>
                  </a:lnTo>
                  <a:lnTo>
                    <a:pt x="135009" y="28677"/>
                  </a:lnTo>
                  <a:lnTo>
                    <a:pt x="132875" y="28677"/>
                  </a:lnTo>
                  <a:lnTo>
                    <a:pt x="132875" y="23841"/>
                  </a:lnTo>
                  <a:lnTo>
                    <a:pt x="135224" y="22793"/>
                  </a:lnTo>
                  <a:lnTo>
                    <a:pt x="136108" y="25091"/>
                  </a:lnTo>
                  <a:lnTo>
                    <a:pt x="137257" y="22490"/>
                  </a:lnTo>
                  <a:lnTo>
                    <a:pt x="137282" y="21025"/>
                  </a:lnTo>
                  <a:lnTo>
                    <a:pt x="138090" y="21479"/>
                  </a:lnTo>
                  <a:lnTo>
                    <a:pt x="137446" y="25129"/>
                  </a:lnTo>
                  <a:lnTo>
                    <a:pt x="136032" y="30912"/>
                  </a:lnTo>
                  <a:lnTo>
                    <a:pt x="136019" y="34447"/>
                  </a:lnTo>
                  <a:lnTo>
                    <a:pt x="139467" y="39220"/>
                  </a:lnTo>
                  <a:lnTo>
                    <a:pt x="140452" y="42491"/>
                  </a:lnTo>
                  <a:lnTo>
                    <a:pt x="140452" y="44486"/>
                  </a:lnTo>
                  <a:lnTo>
                    <a:pt x="142346" y="42907"/>
                  </a:lnTo>
                  <a:lnTo>
                    <a:pt x="142346" y="39460"/>
                  </a:lnTo>
                  <a:lnTo>
                    <a:pt x="143836" y="36051"/>
                  </a:lnTo>
                  <a:lnTo>
                    <a:pt x="143028" y="33273"/>
                  </a:lnTo>
                  <a:lnTo>
                    <a:pt x="142901" y="31682"/>
                  </a:lnTo>
                  <a:lnTo>
                    <a:pt x="142598" y="29447"/>
                  </a:lnTo>
                  <a:lnTo>
                    <a:pt x="140742" y="27982"/>
                  </a:lnTo>
                  <a:lnTo>
                    <a:pt x="140464" y="25356"/>
                  </a:lnTo>
                  <a:lnTo>
                    <a:pt x="142939" y="23740"/>
                  </a:lnTo>
                  <a:lnTo>
                    <a:pt x="145502" y="24093"/>
                  </a:lnTo>
                  <a:lnTo>
                    <a:pt x="145502" y="21189"/>
                  </a:lnTo>
                  <a:lnTo>
                    <a:pt x="146462" y="19611"/>
                  </a:lnTo>
                  <a:lnTo>
                    <a:pt x="148508" y="18588"/>
                  </a:lnTo>
                  <a:lnTo>
                    <a:pt x="149732" y="18588"/>
                  </a:lnTo>
                  <a:lnTo>
                    <a:pt x="148141" y="14231"/>
                  </a:lnTo>
                  <a:lnTo>
                    <a:pt x="145010" y="13070"/>
                  </a:lnTo>
                  <a:lnTo>
                    <a:pt x="145490" y="11214"/>
                  </a:lnTo>
                  <a:lnTo>
                    <a:pt x="145161" y="9105"/>
                  </a:lnTo>
                  <a:lnTo>
                    <a:pt x="145060" y="8562"/>
                  </a:lnTo>
                  <a:lnTo>
                    <a:pt x="146664" y="9395"/>
                  </a:lnTo>
                  <a:lnTo>
                    <a:pt x="148015" y="8360"/>
                  </a:lnTo>
                  <a:lnTo>
                    <a:pt x="149442" y="9307"/>
                  </a:lnTo>
                  <a:lnTo>
                    <a:pt x="150364" y="6542"/>
                  </a:lnTo>
                  <a:lnTo>
                    <a:pt x="149038" y="4774"/>
                  </a:lnTo>
                  <a:lnTo>
                    <a:pt x="148369" y="2223"/>
                  </a:lnTo>
                  <a:lnTo>
                    <a:pt x="144227" y="1605"/>
                  </a:lnTo>
                  <a:lnTo>
                    <a:pt x="144227" y="3120"/>
                  </a:lnTo>
                  <a:lnTo>
                    <a:pt x="143116" y="3082"/>
                  </a:lnTo>
                  <a:lnTo>
                    <a:pt x="142384" y="2185"/>
                  </a:lnTo>
                  <a:lnTo>
                    <a:pt x="134744" y="2185"/>
                  </a:lnTo>
                  <a:lnTo>
                    <a:pt x="130704" y="2564"/>
                  </a:lnTo>
                  <a:lnTo>
                    <a:pt x="133065" y="4875"/>
                  </a:lnTo>
                  <a:lnTo>
                    <a:pt x="131411" y="4888"/>
                  </a:lnTo>
                  <a:lnTo>
                    <a:pt x="130842" y="3486"/>
                  </a:lnTo>
                  <a:lnTo>
                    <a:pt x="127458" y="4989"/>
                  </a:lnTo>
                  <a:lnTo>
                    <a:pt x="124908" y="6605"/>
                  </a:lnTo>
                  <a:lnTo>
                    <a:pt x="123620" y="6605"/>
                  </a:lnTo>
                  <a:lnTo>
                    <a:pt x="122584" y="4420"/>
                  </a:lnTo>
                  <a:lnTo>
                    <a:pt x="119781" y="4016"/>
                  </a:lnTo>
                  <a:lnTo>
                    <a:pt x="117710" y="5178"/>
                  </a:lnTo>
                  <a:lnTo>
                    <a:pt x="114604" y="4143"/>
                  </a:lnTo>
                  <a:lnTo>
                    <a:pt x="112432" y="3259"/>
                  </a:lnTo>
                  <a:lnTo>
                    <a:pt x="108076" y="3574"/>
                  </a:lnTo>
                  <a:lnTo>
                    <a:pt x="106005" y="4900"/>
                  </a:lnTo>
                  <a:lnTo>
                    <a:pt x="107091" y="7842"/>
                  </a:lnTo>
                  <a:lnTo>
                    <a:pt x="105146" y="7842"/>
                  </a:lnTo>
                  <a:lnTo>
                    <a:pt x="103795" y="7729"/>
                  </a:lnTo>
                  <a:lnTo>
                    <a:pt x="101851" y="8714"/>
                  </a:lnTo>
                  <a:lnTo>
                    <a:pt x="102583" y="10039"/>
                  </a:lnTo>
                  <a:lnTo>
                    <a:pt x="102583" y="10039"/>
                  </a:lnTo>
                  <a:lnTo>
                    <a:pt x="101169" y="9623"/>
                  </a:lnTo>
                  <a:lnTo>
                    <a:pt x="100348" y="6744"/>
                  </a:lnTo>
                  <a:lnTo>
                    <a:pt x="97545" y="4370"/>
                  </a:lnTo>
                  <a:lnTo>
                    <a:pt x="93252" y="4963"/>
                  </a:lnTo>
                  <a:lnTo>
                    <a:pt x="94072" y="7628"/>
                  </a:lnTo>
                  <a:lnTo>
                    <a:pt x="91509" y="7539"/>
                  </a:lnTo>
                  <a:lnTo>
                    <a:pt x="90385" y="6074"/>
                  </a:lnTo>
                  <a:lnTo>
                    <a:pt x="87999" y="7337"/>
                  </a:lnTo>
                  <a:lnTo>
                    <a:pt x="86231" y="7893"/>
                  </a:lnTo>
                  <a:lnTo>
                    <a:pt x="84034" y="10544"/>
                  </a:lnTo>
                  <a:lnTo>
                    <a:pt x="83706" y="9282"/>
                  </a:lnTo>
                  <a:lnTo>
                    <a:pt x="85915" y="5923"/>
                  </a:lnTo>
                  <a:lnTo>
                    <a:pt x="85234" y="2526"/>
                  </a:lnTo>
                  <a:lnTo>
                    <a:pt x="8178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65"/>
            <p:cNvSpPr/>
            <p:nvPr/>
          </p:nvSpPr>
          <p:spPr>
            <a:xfrm>
              <a:off x="4467225" y="3815075"/>
              <a:ext cx="177425" cy="289800"/>
            </a:xfrm>
            <a:custGeom>
              <a:avLst/>
              <a:gdLst/>
              <a:ahLst/>
              <a:cxnLst/>
              <a:rect l="l" t="t" r="r" b="b"/>
              <a:pathLst>
                <a:path w="7097" h="11592" extrusionOk="0">
                  <a:moveTo>
                    <a:pt x="5683" y="0"/>
                  </a:moveTo>
                  <a:lnTo>
                    <a:pt x="4572" y="1339"/>
                  </a:lnTo>
                  <a:lnTo>
                    <a:pt x="2602" y="2513"/>
                  </a:lnTo>
                  <a:lnTo>
                    <a:pt x="1023" y="3271"/>
                  </a:lnTo>
                  <a:lnTo>
                    <a:pt x="1415" y="5809"/>
                  </a:lnTo>
                  <a:lnTo>
                    <a:pt x="1023" y="7362"/>
                  </a:lnTo>
                  <a:lnTo>
                    <a:pt x="1" y="8524"/>
                  </a:lnTo>
                  <a:lnTo>
                    <a:pt x="556" y="10809"/>
                  </a:lnTo>
                  <a:lnTo>
                    <a:pt x="2134" y="11592"/>
                  </a:lnTo>
                  <a:lnTo>
                    <a:pt x="3864" y="9849"/>
                  </a:lnTo>
                  <a:lnTo>
                    <a:pt x="5203" y="6541"/>
                  </a:lnTo>
                  <a:lnTo>
                    <a:pt x="6226" y="3384"/>
                  </a:lnTo>
                  <a:lnTo>
                    <a:pt x="7097" y="1655"/>
                  </a:lnTo>
                  <a:lnTo>
                    <a:pt x="6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65"/>
            <p:cNvSpPr/>
            <p:nvPr/>
          </p:nvSpPr>
          <p:spPr>
            <a:xfrm>
              <a:off x="4458375" y="3806875"/>
              <a:ext cx="194800" cy="307475"/>
            </a:xfrm>
            <a:custGeom>
              <a:avLst/>
              <a:gdLst/>
              <a:ahLst/>
              <a:cxnLst/>
              <a:rect l="l" t="t" r="r" b="b"/>
              <a:pathLst>
                <a:path w="7792" h="12299" extrusionOk="0">
                  <a:moveTo>
                    <a:pt x="6327" y="644"/>
                  </a:moveTo>
                  <a:lnTo>
                    <a:pt x="7097" y="1995"/>
                  </a:lnTo>
                  <a:lnTo>
                    <a:pt x="6277" y="3611"/>
                  </a:lnTo>
                  <a:lnTo>
                    <a:pt x="5266" y="6756"/>
                  </a:lnTo>
                  <a:lnTo>
                    <a:pt x="3953" y="10001"/>
                  </a:lnTo>
                  <a:lnTo>
                    <a:pt x="2413" y="11529"/>
                  </a:lnTo>
                  <a:lnTo>
                    <a:pt x="1175" y="10910"/>
                  </a:lnTo>
                  <a:lnTo>
                    <a:pt x="695" y="8940"/>
                  </a:lnTo>
                  <a:lnTo>
                    <a:pt x="1668" y="7829"/>
                  </a:lnTo>
                  <a:lnTo>
                    <a:pt x="2097" y="6149"/>
                  </a:lnTo>
                  <a:lnTo>
                    <a:pt x="1731" y="3776"/>
                  </a:lnTo>
                  <a:lnTo>
                    <a:pt x="3120" y="3119"/>
                  </a:lnTo>
                  <a:lnTo>
                    <a:pt x="5090" y="1932"/>
                  </a:lnTo>
                  <a:lnTo>
                    <a:pt x="6176" y="644"/>
                  </a:lnTo>
                  <a:close/>
                  <a:moveTo>
                    <a:pt x="5873" y="0"/>
                  </a:moveTo>
                  <a:lnTo>
                    <a:pt x="4711" y="1427"/>
                  </a:lnTo>
                  <a:lnTo>
                    <a:pt x="2817" y="2563"/>
                  </a:lnTo>
                  <a:lnTo>
                    <a:pt x="1024" y="3409"/>
                  </a:lnTo>
                  <a:lnTo>
                    <a:pt x="1440" y="6124"/>
                  </a:lnTo>
                  <a:lnTo>
                    <a:pt x="1087" y="7538"/>
                  </a:lnTo>
                  <a:lnTo>
                    <a:pt x="1" y="8776"/>
                  </a:lnTo>
                  <a:lnTo>
                    <a:pt x="632" y="11352"/>
                  </a:lnTo>
                  <a:lnTo>
                    <a:pt x="2552" y="12299"/>
                  </a:lnTo>
                  <a:lnTo>
                    <a:pt x="4420" y="10405"/>
                  </a:lnTo>
                  <a:lnTo>
                    <a:pt x="5847" y="6958"/>
                  </a:lnTo>
                  <a:lnTo>
                    <a:pt x="6845" y="3851"/>
                  </a:lnTo>
                  <a:lnTo>
                    <a:pt x="7792" y="1970"/>
                  </a:lnTo>
                  <a:lnTo>
                    <a:pt x="668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65"/>
            <p:cNvSpPr/>
            <p:nvPr/>
          </p:nvSpPr>
          <p:spPr>
            <a:xfrm>
              <a:off x="5304725" y="3312525"/>
              <a:ext cx="45475" cy="78625"/>
            </a:xfrm>
            <a:custGeom>
              <a:avLst/>
              <a:gdLst/>
              <a:ahLst/>
              <a:cxnLst/>
              <a:rect l="l" t="t" r="r" b="b"/>
              <a:pathLst>
                <a:path w="1819" h="3145" extrusionOk="0">
                  <a:moveTo>
                    <a:pt x="480" y="0"/>
                  </a:moveTo>
                  <a:lnTo>
                    <a:pt x="0" y="1654"/>
                  </a:lnTo>
                  <a:lnTo>
                    <a:pt x="480" y="3144"/>
                  </a:lnTo>
                  <a:lnTo>
                    <a:pt x="1503" y="2753"/>
                  </a:lnTo>
                  <a:lnTo>
                    <a:pt x="1818" y="1566"/>
                  </a:lnTo>
                  <a:lnTo>
                    <a:pt x="48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65"/>
            <p:cNvSpPr/>
            <p:nvPr/>
          </p:nvSpPr>
          <p:spPr>
            <a:xfrm>
              <a:off x="5296500" y="3296100"/>
              <a:ext cx="62525" cy="105475"/>
            </a:xfrm>
            <a:custGeom>
              <a:avLst/>
              <a:gdLst/>
              <a:ahLst/>
              <a:cxnLst/>
              <a:rect l="l" t="t" r="r" b="b"/>
              <a:pathLst>
                <a:path w="2501" h="4219" extrusionOk="0">
                  <a:moveTo>
                    <a:pt x="948" y="1301"/>
                  </a:moveTo>
                  <a:lnTo>
                    <a:pt x="1806" y="2311"/>
                  </a:lnTo>
                  <a:lnTo>
                    <a:pt x="1567" y="3170"/>
                  </a:lnTo>
                  <a:lnTo>
                    <a:pt x="1011" y="3397"/>
                  </a:lnTo>
                  <a:lnTo>
                    <a:pt x="657" y="2299"/>
                  </a:lnTo>
                  <a:lnTo>
                    <a:pt x="948" y="1301"/>
                  </a:lnTo>
                  <a:close/>
                  <a:moveTo>
                    <a:pt x="670" y="1"/>
                  </a:moveTo>
                  <a:lnTo>
                    <a:pt x="1" y="2311"/>
                  </a:lnTo>
                  <a:lnTo>
                    <a:pt x="607" y="4218"/>
                  </a:lnTo>
                  <a:lnTo>
                    <a:pt x="2097" y="3650"/>
                  </a:lnTo>
                  <a:lnTo>
                    <a:pt x="2501" y="2147"/>
                  </a:lnTo>
                  <a:lnTo>
                    <a:pt x="67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65"/>
            <p:cNvSpPr/>
            <p:nvPr/>
          </p:nvSpPr>
          <p:spPr>
            <a:xfrm>
              <a:off x="5643750" y="3420800"/>
              <a:ext cx="232675" cy="252250"/>
            </a:xfrm>
            <a:custGeom>
              <a:avLst/>
              <a:gdLst/>
              <a:ahLst/>
              <a:cxnLst/>
              <a:rect l="l" t="t" r="r" b="b"/>
              <a:pathLst>
                <a:path w="9307" h="10090" extrusionOk="0">
                  <a:moveTo>
                    <a:pt x="1" y="0"/>
                  </a:moveTo>
                  <a:lnTo>
                    <a:pt x="948" y="1301"/>
                  </a:lnTo>
                  <a:lnTo>
                    <a:pt x="2337" y="1553"/>
                  </a:lnTo>
                  <a:cubicBezTo>
                    <a:pt x="2337" y="1553"/>
                    <a:pt x="3536" y="3852"/>
                    <a:pt x="3688" y="4091"/>
                  </a:cubicBezTo>
                  <a:cubicBezTo>
                    <a:pt x="3852" y="4331"/>
                    <a:pt x="5897" y="8233"/>
                    <a:pt x="5897" y="8233"/>
                  </a:cubicBezTo>
                  <a:lnTo>
                    <a:pt x="7804" y="10089"/>
                  </a:lnTo>
                  <a:lnTo>
                    <a:pt x="8587" y="10089"/>
                  </a:lnTo>
                  <a:lnTo>
                    <a:pt x="9307" y="8119"/>
                  </a:lnTo>
                  <a:lnTo>
                    <a:pt x="7880" y="5039"/>
                  </a:lnTo>
                  <a:lnTo>
                    <a:pt x="4647" y="1882"/>
                  </a:lnTo>
                  <a:lnTo>
                    <a:pt x="3473" y="1061"/>
                  </a:lnTo>
                  <a:lnTo>
                    <a:pt x="197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65"/>
            <p:cNvSpPr/>
            <p:nvPr/>
          </p:nvSpPr>
          <p:spPr>
            <a:xfrm>
              <a:off x="5628275" y="3412900"/>
              <a:ext cx="256350" cy="268025"/>
            </a:xfrm>
            <a:custGeom>
              <a:avLst/>
              <a:gdLst/>
              <a:ahLst/>
              <a:cxnLst/>
              <a:rect l="l" t="t" r="r" b="b"/>
              <a:pathLst>
                <a:path w="10254" h="10721" extrusionOk="0">
                  <a:moveTo>
                    <a:pt x="2488" y="632"/>
                  </a:moveTo>
                  <a:lnTo>
                    <a:pt x="5052" y="2438"/>
                  </a:lnTo>
                  <a:lnTo>
                    <a:pt x="8246" y="5544"/>
                  </a:lnTo>
                  <a:lnTo>
                    <a:pt x="9585" y="8448"/>
                  </a:lnTo>
                  <a:lnTo>
                    <a:pt x="9004" y="10090"/>
                  </a:lnTo>
                  <a:lnTo>
                    <a:pt x="8562" y="10090"/>
                  </a:lnTo>
                  <a:lnTo>
                    <a:pt x="6782" y="8360"/>
                  </a:lnTo>
                  <a:cubicBezTo>
                    <a:pt x="6478" y="7792"/>
                    <a:pt x="4723" y="4471"/>
                    <a:pt x="4572" y="4231"/>
                  </a:cubicBezTo>
                  <a:cubicBezTo>
                    <a:pt x="4458" y="4067"/>
                    <a:pt x="3688" y="2614"/>
                    <a:pt x="3233" y="1731"/>
                  </a:cubicBezTo>
                  <a:lnTo>
                    <a:pt x="3158" y="1592"/>
                  </a:lnTo>
                  <a:lnTo>
                    <a:pt x="1743" y="1327"/>
                  </a:lnTo>
                  <a:lnTo>
                    <a:pt x="1238" y="632"/>
                  </a:lnTo>
                  <a:close/>
                  <a:moveTo>
                    <a:pt x="1" y="1"/>
                  </a:moveTo>
                  <a:lnTo>
                    <a:pt x="1390" y="1907"/>
                  </a:lnTo>
                  <a:lnTo>
                    <a:pt x="2741" y="2160"/>
                  </a:lnTo>
                  <a:cubicBezTo>
                    <a:pt x="3019" y="2690"/>
                    <a:pt x="3903" y="4370"/>
                    <a:pt x="4041" y="4584"/>
                  </a:cubicBezTo>
                  <a:cubicBezTo>
                    <a:pt x="4155" y="4748"/>
                    <a:pt x="5430" y="7135"/>
                    <a:pt x="6251" y="8701"/>
                  </a:cubicBezTo>
                  <a:lnTo>
                    <a:pt x="8297" y="10721"/>
                  </a:lnTo>
                  <a:lnTo>
                    <a:pt x="9433" y="10721"/>
                  </a:lnTo>
                  <a:lnTo>
                    <a:pt x="10254" y="8423"/>
                  </a:lnTo>
                  <a:lnTo>
                    <a:pt x="8789" y="5228"/>
                  </a:lnTo>
                  <a:lnTo>
                    <a:pt x="5443" y="1945"/>
                  </a:lnTo>
                  <a:lnTo>
                    <a:pt x="26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65"/>
            <p:cNvSpPr/>
            <p:nvPr/>
          </p:nvSpPr>
          <p:spPr>
            <a:xfrm>
              <a:off x="5873550" y="3662925"/>
              <a:ext cx="284775" cy="73250"/>
            </a:xfrm>
            <a:custGeom>
              <a:avLst/>
              <a:gdLst/>
              <a:ahLst/>
              <a:cxnLst/>
              <a:rect l="l" t="t" r="r" b="b"/>
              <a:pathLst>
                <a:path w="11391" h="2930" extrusionOk="0">
                  <a:moveTo>
                    <a:pt x="1150" y="0"/>
                  </a:moveTo>
                  <a:lnTo>
                    <a:pt x="1" y="998"/>
                  </a:lnTo>
                  <a:lnTo>
                    <a:pt x="2324" y="2058"/>
                  </a:lnTo>
                  <a:lnTo>
                    <a:pt x="5696" y="2930"/>
                  </a:lnTo>
                  <a:lnTo>
                    <a:pt x="11391" y="2930"/>
                  </a:lnTo>
                  <a:lnTo>
                    <a:pt x="8082" y="1667"/>
                  </a:lnTo>
                  <a:lnTo>
                    <a:pt x="5708" y="1667"/>
                  </a:lnTo>
                  <a:lnTo>
                    <a:pt x="1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65"/>
            <p:cNvSpPr/>
            <p:nvPr/>
          </p:nvSpPr>
          <p:spPr>
            <a:xfrm>
              <a:off x="5859050" y="3654075"/>
              <a:ext cx="342200" cy="90000"/>
            </a:xfrm>
            <a:custGeom>
              <a:avLst/>
              <a:gdLst/>
              <a:ahLst/>
              <a:cxnLst/>
              <a:rect l="l" t="t" r="r" b="b"/>
              <a:pathLst>
                <a:path w="13688" h="3600" extrusionOk="0">
                  <a:moveTo>
                    <a:pt x="1806" y="720"/>
                  </a:moveTo>
                  <a:lnTo>
                    <a:pt x="6187" y="2311"/>
                  </a:lnTo>
                  <a:lnTo>
                    <a:pt x="8599" y="2337"/>
                  </a:lnTo>
                  <a:lnTo>
                    <a:pt x="10266" y="2968"/>
                  </a:lnTo>
                  <a:lnTo>
                    <a:pt x="6314" y="2968"/>
                  </a:lnTo>
                  <a:lnTo>
                    <a:pt x="3043" y="2122"/>
                  </a:lnTo>
                  <a:lnTo>
                    <a:pt x="1174" y="1263"/>
                  </a:lnTo>
                  <a:lnTo>
                    <a:pt x="1806" y="720"/>
                  </a:lnTo>
                  <a:close/>
                  <a:moveTo>
                    <a:pt x="1667" y="1"/>
                  </a:moveTo>
                  <a:lnTo>
                    <a:pt x="0" y="1428"/>
                  </a:lnTo>
                  <a:lnTo>
                    <a:pt x="2829" y="2715"/>
                  </a:lnTo>
                  <a:lnTo>
                    <a:pt x="6200" y="3587"/>
                  </a:lnTo>
                  <a:lnTo>
                    <a:pt x="13688" y="3599"/>
                  </a:lnTo>
                  <a:lnTo>
                    <a:pt x="8763" y="1731"/>
                  </a:lnTo>
                  <a:lnTo>
                    <a:pt x="6352" y="1705"/>
                  </a:lnTo>
                  <a:lnTo>
                    <a:pt x="16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65"/>
            <p:cNvSpPr/>
            <p:nvPr/>
          </p:nvSpPr>
          <p:spPr>
            <a:xfrm>
              <a:off x="6185775" y="3706475"/>
              <a:ext cx="137975" cy="31600"/>
            </a:xfrm>
            <a:custGeom>
              <a:avLst/>
              <a:gdLst/>
              <a:ahLst/>
              <a:cxnLst/>
              <a:rect l="l" t="t" r="r" b="b"/>
              <a:pathLst>
                <a:path w="5519" h="1264" extrusionOk="0">
                  <a:moveTo>
                    <a:pt x="3397" y="1"/>
                  </a:moveTo>
                  <a:lnTo>
                    <a:pt x="0" y="556"/>
                  </a:lnTo>
                  <a:lnTo>
                    <a:pt x="1818" y="1263"/>
                  </a:lnTo>
                  <a:lnTo>
                    <a:pt x="5518" y="556"/>
                  </a:lnTo>
                  <a:lnTo>
                    <a:pt x="339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65"/>
            <p:cNvSpPr/>
            <p:nvPr/>
          </p:nvSpPr>
          <p:spPr>
            <a:xfrm>
              <a:off x="6156100" y="3698600"/>
              <a:ext cx="203625" cy="47675"/>
            </a:xfrm>
            <a:custGeom>
              <a:avLst/>
              <a:gdLst/>
              <a:ahLst/>
              <a:cxnLst/>
              <a:rect l="l" t="t" r="r" b="b"/>
              <a:pathLst>
                <a:path w="8145" h="1907" extrusionOk="0">
                  <a:moveTo>
                    <a:pt x="4571" y="644"/>
                  </a:moveTo>
                  <a:lnTo>
                    <a:pt x="5278" y="821"/>
                  </a:lnTo>
                  <a:lnTo>
                    <a:pt x="3031" y="1250"/>
                  </a:lnTo>
                  <a:lnTo>
                    <a:pt x="2374" y="998"/>
                  </a:lnTo>
                  <a:lnTo>
                    <a:pt x="4571" y="644"/>
                  </a:lnTo>
                  <a:close/>
                  <a:moveTo>
                    <a:pt x="4596" y="0"/>
                  </a:moveTo>
                  <a:lnTo>
                    <a:pt x="0" y="745"/>
                  </a:lnTo>
                  <a:lnTo>
                    <a:pt x="2968" y="1907"/>
                  </a:lnTo>
                  <a:lnTo>
                    <a:pt x="8145" y="922"/>
                  </a:lnTo>
                  <a:lnTo>
                    <a:pt x="45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65"/>
            <p:cNvSpPr/>
            <p:nvPr/>
          </p:nvSpPr>
          <p:spPr>
            <a:xfrm>
              <a:off x="6158300" y="3493725"/>
              <a:ext cx="139875" cy="161950"/>
            </a:xfrm>
            <a:custGeom>
              <a:avLst/>
              <a:gdLst/>
              <a:ahLst/>
              <a:cxnLst/>
              <a:rect l="l" t="t" r="r" b="b"/>
              <a:pathLst>
                <a:path w="5595" h="6478" extrusionOk="0">
                  <a:moveTo>
                    <a:pt x="3864" y="0"/>
                  </a:moveTo>
                  <a:lnTo>
                    <a:pt x="632" y="1579"/>
                  </a:lnTo>
                  <a:lnTo>
                    <a:pt x="1" y="4925"/>
                  </a:lnTo>
                  <a:lnTo>
                    <a:pt x="1099" y="6478"/>
                  </a:lnTo>
                  <a:lnTo>
                    <a:pt x="1730" y="4420"/>
                  </a:lnTo>
                  <a:lnTo>
                    <a:pt x="3473" y="6225"/>
                  </a:lnTo>
                  <a:lnTo>
                    <a:pt x="3473" y="4331"/>
                  </a:lnTo>
                  <a:lnTo>
                    <a:pt x="2678" y="3510"/>
                  </a:lnTo>
                  <a:lnTo>
                    <a:pt x="4104" y="2765"/>
                  </a:lnTo>
                  <a:lnTo>
                    <a:pt x="1895" y="2765"/>
                  </a:lnTo>
                  <a:lnTo>
                    <a:pt x="5594" y="1023"/>
                  </a:lnTo>
                  <a:lnTo>
                    <a:pt x="38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65"/>
            <p:cNvSpPr/>
            <p:nvPr/>
          </p:nvSpPr>
          <p:spPr>
            <a:xfrm>
              <a:off x="6149775" y="3484875"/>
              <a:ext cx="165125" cy="188175"/>
            </a:xfrm>
            <a:custGeom>
              <a:avLst/>
              <a:gdLst/>
              <a:ahLst/>
              <a:cxnLst/>
              <a:rect l="l" t="t" r="r" b="b"/>
              <a:pathLst>
                <a:path w="6605" h="7527" extrusionOk="0">
                  <a:moveTo>
                    <a:pt x="4193" y="708"/>
                  </a:moveTo>
                  <a:lnTo>
                    <a:pt x="5266" y="1339"/>
                  </a:lnTo>
                  <a:lnTo>
                    <a:pt x="1023" y="3334"/>
                  </a:lnTo>
                  <a:lnTo>
                    <a:pt x="1023" y="3334"/>
                  </a:lnTo>
                  <a:lnTo>
                    <a:pt x="1251" y="2147"/>
                  </a:lnTo>
                  <a:lnTo>
                    <a:pt x="4193" y="708"/>
                  </a:lnTo>
                  <a:close/>
                  <a:moveTo>
                    <a:pt x="3157" y="3423"/>
                  </a:moveTo>
                  <a:lnTo>
                    <a:pt x="2501" y="3776"/>
                  </a:lnTo>
                  <a:lnTo>
                    <a:pt x="3486" y="4812"/>
                  </a:lnTo>
                  <a:lnTo>
                    <a:pt x="3486" y="5796"/>
                  </a:lnTo>
                  <a:lnTo>
                    <a:pt x="1933" y="4168"/>
                  </a:lnTo>
                  <a:lnTo>
                    <a:pt x="1326" y="6125"/>
                  </a:lnTo>
                  <a:lnTo>
                    <a:pt x="670" y="5203"/>
                  </a:lnTo>
                  <a:lnTo>
                    <a:pt x="1011" y="3423"/>
                  </a:lnTo>
                  <a:close/>
                  <a:moveTo>
                    <a:pt x="4218" y="1"/>
                  </a:moveTo>
                  <a:lnTo>
                    <a:pt x="683" y="1718"/>
                  </a:lnTo>
                  <a:lnTo>
                    <a:pt x="1" y="5354"/>
                  </a:lnTo>
                  <a:lnTo>
                    <a:pt x="1554" y="7526"/>
                  </a:lnTo>
                  <a:lnTo>
                    <a:pt x="2210" y="5392"/>
                  </a:lnTo>
                  <a:lnTo>
                    <a:pt x="4117" y="7375"/>
                  </a:lnTo>
                  <a:lnTo>
                    <a:pt x="4117" y="4572"/>
                  </a:lnTo>
                  <a:lnTo>
                    <a:pt x="3536" y="3953"/>
                  </a:lnTo>
                  <a:lnTo>
                    <a:pt x="5708" y="2804"/>
                  </a:lnTo>
                  <a:lnTo>
                    <a:pt x="3650" y="2804"/>
                  </a:lnTo>
                  <a:lnTo>
                    <a:pt x="6605" y="1415"/>
                  </a:lnTo>
                  <a:lnTo>
                    <a:pt x="421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65"/>
            <p:cNvSpPr/>
            <p:nvPr/>
          </p:nvSpPr>
          <p:spPr>
            <a:xfrm>
              <a:off x="5945525" y="3367450"/>
              <a:ext cx="213125" cy="254775"/>
            </a:xfrm>
            <a:custGeom>
              <a:avLst/>
              <a:gdLst/>
              <a:ahLst/>
              <a:cxnLst/>
              <a:rect l="l" t="t" r="r" b="b"/>
              <a:pathLst>
                <a:path w="8525" h="10191" extrusionOk="0">
                  <a:moveTo>
                    <a:pt x="6542" y="0"/>
                  </a:moveTo>
                  <a:lnTo>
                    <a:pt x="3941" y="3119"/>
                  </a:lnTo>
                  <a:lnTo>
                    <a:pt x="2817" y="5291"/>
                  </a:lnTo>
                  <a:lnTo>
                    <a:pt x="935" y="5291"/>
                  </a:lnTo>
                  <a:lnTo>
                    <a:pt x="1" y="6869"/>
                  </a:lnTo>
                  <a:lnTo>
                    <a:pt x="1491" y="9067"/>
                  </a:lnTo>
                  <a:lnTo>
                    <a:pt x="2817" y="9546"/>
                  </a:lnTo>
                  <a:lnTo>
                    <a:pt x="4686" y="9344"/>
                  </a:lnTo>
                  <a:lnTo>
                    <a:pt x="6049" y="10190"/>
                  </a:lnTo>
                  <a:lnTo>
                    <a:pt x="7363" y="6516"/>
                  </a:lnTo>
                  <a:lnTo>
                    <a:pt x="8524" y="4874"/>
                  </a:lnTo>
                  <a:lnTo>
                    <a:pt x="7653" y="3384"/>
                  </a:lnTo>
                  <a:lnTo>
                    <a:pt x="8512" y="2134"/>
                  </a:lnTo>
                  <a:lnTo>
                    <a:pt x="65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65"/>
            <p:cNvSpPr/>
            <p:nvPr/>
          </p:nvSpPr>
          <p:spPr>
            <a:xfrm>
              <a:off x="5936075" y="3355775"/>
              <a:ext cx="232350" cy="278450"/>
            </a:xfrm>
            <a:custGeom>
              <a:avLst/>
              <a:gdLst/>
              <a:ahLst/>
              <a:cxnLst/>
              <a:rect l="l" t="t" r="r" b="b"/>
              <a:pathLst>
                <a:path w="9294" h="11138" extrusionOk="0">
                  <a:moveTo>
                    <a:pt x="6932" y="947"/>
                  </a:moveTo>
                  <a:lnTo>
                    <a:pt x="8486" y="2627"/>
                  </a:lnTo>
                  <a:lnTo>
                    <a:pt x="7652" y="3839"/>
                  </a:lnTo>
                  <a:lnTo>
                    <a:pt x="8523" y="5329"/>
                  </a:lnTo>
                  <a:lnTo>
                    <a:pt x="7475" y="6806"/>
                  </a:lnTo>
                  <a:lnTo>
                    <a:pt x="6263" y="10190"/>
                  </a:lnTo>
                  <a:lnTo>
                    <a:pt x="5139" y="9496"/>
                  </a:lnTo>
                  <a:lnTo>
                    <a:pt x="3220" y="9685"/>
                  </a:lnTo>
                  <a:lnTo>
                    <a:pt x="2071" y="9281"/>
                  </a:lnTo>
                  <a:lnTo>
                    <a:pt x="745" y="7324"/>
                  </a:lnTo>
                  <a:lnTo>
                    <a:pt x="1490" y="6074"/>
                  </a:lnTo>
                  <a:lnTo>
                    <a:pt x="3384" y="6074"/>
                  </a:lnTo>
                  <a:lnTo>
                    <a:pt x="4584" y="3763"/>
                  </a:lnTo>
                  <a:lnTo>
                    <a:pt x="6932" y="947"/>
                  </a:lnTo>
                  <a:close/>
                  <a:moveTo>
                    <a:pt x="6907" y="0"/>
                  </a:moveTo>
                  <a:lnTo>
                    <a:pt x="4079" y="3397"/>
                  </a:lnTo>
                  <a:lnTo>
                    <a:pt x="3005" y="5442"/>
                  </a:lnTo>
                  <a:lnTo>
                    <a:pt x="1137" y="5442"/>
                  </a:lnTo>
                  <a:lnTo>
                    <a:pt x="0" y="7336"/>
                  </a:lnTo>
                  <a:lnTo>
                    <a:pt x="1667" y="9799"/>
                  </a:lnTo>
                  <a:lnTo>
                    <a:pt x="3157" y="10329"/>
                  </a:lnTo>
                  <a:lnTo>
                    <a:pt x="4988" y="10140"/>
                  </a:lnTo>
                  <a:lnTo>
                    <a:pt x="6591" y="11137"/>
                  </a:lnTo>
                  <a:lnTo>
                    <a:pt x="8018" y="7147"/>
                  </a:lnTo>
                  <a:lnTo>
                    <a:pt x="9281" y="5379"/>
                  </a:lnTo>
                  <a:lnTo>
                    <a:pt x="8397" y="3877"/>
                  </a:lnTo>
                  <a:lnTo>
                    <a:pt x="9294" y="2576"/>
                  </a:lnTo>
                  <a:lnTo>
                    <a:pt x="6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65"/>
            <p:cNvSpPr/>
            <p:nvPr/>
          </p:nvSpPr>
          <p:spPr>
            <a:xfrm>
              <a:off x="6429775" y="3529075"/>
              <a:ext cx="453650" cy="254450"/>
            </a:xfrm>
            <a:custGeom>
              <a:avLst/>
              <a:gdLst/>
              <a:ahLst/>
              <a:cxnLst/>
              <a:rect l="l" t="t" r="r" b="b"/>
              <a:pathLst>
                <a:path w="18146" h="10178" extrusionOk="0">
                  <a:moveTo>
                    <a:pt x="1794" y="0"/>
                  </a:moveTo>
                  <a:lnTo>
                    <a:pt x="1" y="745"/>
                  </a:lnTo>
                  <a:lnTo>
                    <a:pt x="1705" y="2576"/>
                  </a:lnTo>
                  <a:lnTo>
                    <a:pt x="2223" y="4496"/>
                  </a:lnTo>
                  <a:lnTo>
                    <a:pt x="4281" y="4496"/>
                  </a:lnTo>
                  <a:lnTo>
                    <a:pt x="5847" y="5039"/>
                  </a:lnTo>
                  <a:lnTo>
                    <a:pt x="5847" y="6705"/>
                  </a:lnTo>
                  <a:lnTo>
                    <a:pt x="8764" y="8915"/>
                  </a:lnTo>
                  <a:lnTo>
                    <a:pt x="11214" y="8915"/>
                  </a:lnTo>
                  <a:lnTo>
                    <a:pt x="12236" y="7412"/>
                  </a:lnTo>
                  <a:lnTo>
                    <a:pt x="14055" y="8120"/>
                  </a:lnTo>
                  <a:lnTo>
                    <a:pt x="15633" y="10178"/>
                  </a:lnTo>
                  <a:lnTo>
                    <a:pt x="18146" y="10178"/>
                  </a:lnTo>
                  <a:lnTo>
                    <a:pt x="14522" y="5443"/>
                  </a:lnTo>
                  <a:lnTo>
                    <a:pt x="10431" y="3157"/>
                  </a:lnTo>
                  <a:lnTo>
                    <a:pt x="5531" y="1819"/>
                  </a:lnTo>
                  <a:lnTo>
                    <a:pt x="3650" y="2652"/>
                  </a:lnTo>
                  <a:lnTo>
                    <a:pt x="3094" y="733"/>
                  </a:lnTo>
                  <a:lnTo>
                    <a:pt x="17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65"/>
            <p:cNvSpPr/>
            <p:nvPr/>
          </p:nvSpPr>
          <p:spPr>
            <a:xfrm>
              <a:off x="6416200" y="3519925"/>
              <a:ext cx="483325" cy="271500"/>
            </a:xfrm>
            <a:custGeom>
              <a:avLst/>
              <a:gdLst/>
              <a:ahLst/>
              <a:cxnLst/>
              <a:rect l="l" t="t" r="r" b="b"/>
              <a:pathLst>
                <a:path w="19333" h="10860" extrusionOk="0">
                  <a:moveTo>
                    <a:pt x="2312" y="707"/>
                  </a:moveTo>
                  <a:lnTo>
                    <a:pt x="3372" y="1313"/>
                  </a:lnTo>
                  <a:lnTo>
                    <a:pt x="3991" y="3447"/>
                  </a:lnTo>
                  <a:lnTo>
                    <a:pt x="6112" y="2513"/>
                  </a:lnTo>
                  <a:lnTo>
                    <a:pt x="10860" y="3814"/>
                  </a:lnTo>
                  <a:lnTo>
                    <a:pt x="14863" y="6061"/>
                  </a:lnTo>
                  <a:lnTo>
                    <a:pt x="18058" y="10228"/>
                  </a:lnTo>
                  <a:lnTo>
                    <a:pt x="16328" y="10228"/>
                  </a:lnTo>
                  <a:lnTo>
                    <a:pt x="14787" y="8233"/>
                  </a:lnTo>
                  <a:lnTo>
                    <a:pt x="12653" y="7400"/>
                  </a:lnTo>
                  <a:lnTo>
                    <a:pt x="11580" y="8965"/>
                  </a:lnTo>
                  <a:lnTo>
                    <a:pt x="9408" y="8965"/>
                  </a:lnTo>
                  <a:lnTo>
                    <a:pt x="6706" y="6920"/>
                  </a:lnTo>
                  <a:lnTo>
                    <a:pt x="6706" y="5177"/>
                  </a:lnTo>
                  <a:lnTo>
                    <a:pt x="4913" y="4571"/>
                  </a:lnTo>
                  <a:lnTo>
                    <a:pt x="3006" y="4546"/>
                  </a:lnTo>
                  <a:lnTo>
                    <a:pt x="2526" y="2778"/>
                  </a:lnTo>
                  <a:lnTo>
                    <a:pt x="1074" y="1225"/>
                  </a:lnTo>
                  <a:lnTo>
                    <a:pt x="2312" y="707"/>
                  </a:lnTo>
                  <a:close/>
                  <a:moveTo>
                    <a:pt x="2362" y="0"/>
                  </a:moveTo>
                  <a:lnTo>
                    <a:pt x="1" y="998"/>
                  </a:lnTo>
                  <a:lnTo>
                    <a:pt x="1958" y="3094"/>
                  </a:lnTo>
                  <a:lnTo>
                    <a:pt x="2526" y="5177"/>
                  </a:lnTo>
                  <a:lnTo>
                    <a:pt x="4761" y="5177"/>
                  </a:lnTo>
                  <a:lnTo>
                    <a:pt x="6074" y="5632"/>
                  </a:lnTo>
                  <a:lnTo>
                    <a:pt x="6074" y="7223"/>
                  </a:lnTo>
                  <a:lnTo>
                    <a:pt x="9206" y="9597"/>
                  </a:lnTo>
                  <a:lnTo>
                    <a:pt x="11921" y="9597"/>
                  </a:lnTo>
                  <a:lnTo>
                    <a:pt x="12906" y="8170"/>
                  </a:lnTo>
                  <a:lnTo>
                    <a:pt x="14396" y="8751"/>
                  </a:lnTo>
                  <a:lnTo>
                    <a:pt x="16025" y="10859"/>
                  </a:lnTo>
                  <a:lnTo>
                    <a:pt x="19333" y="10859"/>
                  </a:lnTo>
                  <a:lnTo>
                    <a:pt x="15317" y="5607"/>
                  </a:lnTo>
                  <a:lnTo>
                    <a:pt x="11125" y="3245"/>
                  </a:lnTo>
                  <a:lnTo>
                    <a:pt x="6049" y="1844"/>
                  </a:lnTo>
                  <a:lnTo>
                    <a:pt x="4395" y="2576"/>
                  </a:lnTo>
                  <a:lnTo>
                    <a:pt x="3903" y="884"/>
                  </a:lnTo>
                  <a:lnTo>
                    <a:pt x="23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65"/>
            <p:cNvSpPr/>
            <p:nvPr/>
          </p:nvSpPr>
          <p:spPr>
            <a:xfrm>
              <a:off x="5992575" y="3785400"/>
              <a:ext cx="867500" cy="764650"/>
            </a:xfrm>
            <a:custGeom>
              <a:avLst/>
              <a:gdLst/>
              <a:ahLst/>
              <a:cxnLst/>
              <a:rect l="l" t="t" r="r" b="b"/>
              <a:pathLst>
                <a:path w="34700" h="30586" extrusionOk="0">
                  <a:moveTo>
                    <a:pt x="18082" y="1"/>
                  </a:moveTo>
                  <a:lnTo>
                    <a:pt x="15494" y="2602"/>
                  </a:lnTo>
                  <a:lnTo>
                    <a:pt x="13953" y="3574"/>
                  </a:lnTo>
                  <a:lnTo>
                    <a:pt x="12577" y="3006"/>
                  </a:lnTo>
                  <a:lnTo>
                    <a:pt x="9976" y="5430"/>
                  </a:lnTo>
                  <a:lnTo>
                    <a:pt x="8195" y="7627"/>
                  </a:lnTo>
                  <a:lnTo>
                    <a:pt x="4950" y="9572"/>
                  </a:lnTo>
                  <a:lnTo>
                    <a:pt x="1617" y="10228"/>
                  </a:lnTo>
                  <a:lnTo>
                    <a:pt x="0" y="12779"/>
                  </a:lnTo>
                  <a:lnTo>
                    <a:pt x="0" y="15999"/>
                  </a:lnTo>
                  <a:lnTo>
                    <a:pt x="973" y="20835"/>
                  </a:lnTo>
                  <a:lnTo>
                    <a:pt x="480" y="22704"/>
                  </a:lnTo>
                  <a:lnTo>
                    <a:pt x="1857" y="24244"/>
                  </a:lnTo>
                  <a:lnTo>
                    <a:pt x="5481" y="23424"/>
                  </a:lnTo>
                  <a:lnTo>
                    <a:pt x="9408" y="22211"/>
                  </a:lnTo>
                  <a:lnTo>
                    <a:pt x="12223" y="20999"/>
                  </a:lnTo>
                  <a:lnTo>
                    <a:pt x="16214" y="21365"/>
                  </a:lnTo>
                  <a:lnTo>
                    <a:pt x="18070" y="24964"/>
                  </a:lnTo>
                  <a:lnTo>
                    <a:pt x="20103" y="23184"/>
                  </a:lnTo>
                  <a:lnTo>
                    <a:pt x="20911" y="26833"/>
                  </a:lnTo>
                  <a:cubicBezTo>
                    <a:pt x="20911" y="26833"/>
                    <a:pt x="21719" y="29421"/>
                    <a:pt x="22047" y="29421"/>
                  </a:cubicBezTo>
                  <a:cubicBezTo>
                    <a:pt x="22349" y="29421"/>
                    <a:pt x="23677" y="30586"/>
                    <a:pt x="24015" y="30586"/>
                  </a:cubicBezTo>
                  <a:cubicBezTo>
                    <a:pt x="24045" y="30586"/>
                    <a:pt x="24067" y="30577"/>
                    <a:pt x="24080" y="30558"/>
                  </a:cubicBezTo>
                  <a:cubicBezTo>
                    <a:pt x="24232" y="30318"/>
                    <a:pt x="25621" y="29990"/>
                    <a:pt x="25621" y="29990"/>
                  </a:cubicBezTo>
                  <a:lnTo>
                    <a:pt x="28133" y="30229"/>
                  </a:lnTo>
                  <a:cubicBezTo>
                    <a:pt x="28133" y="30229"/>
                    <a:pt x="30735" y="28045"/>
                    <a:pt x="30735" y="27729"/>
                  </a:cubicBezTo>
                  <a:cubicBezTo>
                    <a:pt x="30735" y="27401"/>
                    <a:pt x="32831" y="23348"/>
                    <a:pt x="32831" y="23348"/>
                  </a:cubicBezTo>
                  <a:lnTo>
                    <a:pt x="34371" y="19699"/>
                  </a:lnTo>
                  <a:lnTo>
                    <a:pt x="34700" y="14193"/>
                  </a:lnTo>
                  <a:lnTo>
                    <a:pt x="31303" y="8107"/>
                  </a:lnTo>
                  <a:lnTo>
                    <a:pt x="30078" y="5114"/>
                  </a:lnTo>
                  <a:lnTo>
                    <a:pt x="29434" y="3081"/>
                  </a:lnTo>
                  <a:lnTo>
                    <a:pt x="27654" y="1"/>
                  </a:lnTo>
                  <a:lnTo>
                    <a:pt x="26025" y="3410"/>
                  </a:lnTo>
                  <a:lnTo>
                    <a:pt x="26113" y="4950"/>
                  </a:lnTo>
                  <a:lnTo>
                    <a:pt x="24333" y="6251"/>
                  </a:lnTo>
                  <a:lnTo>
                    <a:pt x="21971" y="4054"/>
                  </a:lnTo>
                  <a:lnTo>
                    <a:pt x="22224" y="1301"/>
                  </a:lnTo>
                  <a:lnTo>
                    <a:pt x="180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65"/>
            <p:cNvSpPr/>
            <p:nvPr/>
          </p:nvSpPr>
          <p:spPr>
            <a:xfrm>
              <a:off x="5985000" y="3768350"/>
              <a:ext cx="883600" cy="789850"/>
            </a:xfrm>
            <a:custGeom>
              <a:avLst/>
              <a:gdLst/>
              <a:ahLst/>
              <a:cxnLst/>
              <a:rect l="l" t="t" r="r" b="b"/>
              <a:pathLst>
                <a:path w="35344" h="31594" extrusionOk="0">
                  <a:moveTo>
                    <a:pt x="18474" y="1049"/>
                  </a:moveTo>
                  <a:lnTo>
                    <a:pt x="22186" y="2210"/>
                  </a:lnTo>
                  <a:lnTo>
                    <a:pt x="21946" y="4862"/>
                  </a:lnTo>
                  <a:lnTo>
                    <a:pt x="24598" y="7337"/>
                  </a:lnTo>
                  <a:lnTo>
                    <a:pt x="26732" y="5784"/>
                  </a:lnTo>
                  <a:lnTo>
                    <a:pt x="26643" y="4155"/>
                  </a:lnTo>
                  <a:lnTo>
                    <a:pt x="27969" y="1364"/>
                  </a:lnTo>
                  <a:lnTo>
                    <a:pt x="29447" y="3890"/>
                  </a:lnTo>
                  <a:lnTo>
                    <a:pt x="30091" y="5910"/>
                  </a:lnTo>
                  <a:lnTo>
                    <a:pt x="31315" y="8941"/>
                  </a:lnTo>
                  <a:lnTo>
                    <a:pt x="34674" y="14938"/>
                  </a:lnTo>
                  <a:lnTo>
                    <a:pt x="34359" y="20305"/>
                  </a:lnTo>
                  <a:lnTo>
                    <a:pt x="32856" y="23891"/>
                  </a:lnTo>
                  <a:cubicBezTo>
                    <a:pt x="31530" y="26442"/>
                    <a:pt x="30810" y="27932"/>
                    <a:pt x="30722" y="28336"/>
                  </a:cubicBezTo>
                  <a:cubicBezTo>
                    <a:pt x="30583" y="28601"/>
                    <a:pt x="29396" y="29687"/>
                    <a:pt x="28335" y="30596"/>
                  </a:cubicBezTo>
                  <a:lnTo>
                    <a:pt x="25898" y="30356"/>
                  </a:lnTo>
                  <a:lnTo>
                    <a:pt x="25848" y="30369"/>
                  </a:lnTo>
                  <a:cubicBezTo>
                    <a:pt x="25052" y="30558"/>
                    <a:pt x="24522" y="30747"/>
                    <a:pt x="24257" y="30937"/>
                  </a:cubicBezTo>
                  <a:cubicBezTo>
                    <a:pt x="23979" y="30773"/>
                    <a:pt x="23714" y="30596"/>
                    <a:pt x="23461" y="30406"/>
                  </a:cubicBezTo>
                  <a:cubicBezTo>
                    <a:pt x="22931" y="30028"/>
                    <a:pt x="22666" y="29851"/>
                    <a:pt x="22464" y="29800"/>
                  </a:cubicBezTo>
                  <a:cubicBezTo>
                    <a:pt x="22262" y="29560"/>
                    <a:pt x="21832" y="28411"/>
                    <a:pt x="21517" y="27439"/>
                  </a:cubicBezTo>
                  <a:lnTo>
                    <a:pt x="20595" y="23272"/>
                  </a:lnTo>
                  <a:lnTo>
                    <a:pt x="18474" y="25141"/>
                  </a:lnTo>
                  <a:lnTo>
                    <a:pt x="16706" y="21744"/>
                  </a:lnTo>
                  <a:lnTo>
                    <a:pt x="12463" y="21353"/>
                  </a:lnTo>
                  <a:lnTo>
                    <a:pt x="9610" y="22590"/>
                  </a:lnTo>
                  <a:lnTo>
                    <a:pt x="5708" y="23803"/>
                  </a:lnTo>
                  <a:lnTo>
                    <a:pt x="2261" y="24573"/>
                  </a:lnTo>
                  <a:lnTo>
                    <a:pt x="1124" y="23297"/>
                  </a:lnTo>
                  <a:lnTo>
                    <a:pt x="1591" y="21530"/>
                  </a:lnTo>
                  <a:lnTo>
                    <a:pt x="619" y="16681"/>
                  </a:lnTo>
                  <a:lnTo>
                    <a:pt x="619" y="13537"/>
                  </a:lnTo>
                  <a:lnTo>
                    <a:pt x="2109" y="11188"/>
                  </a:lnTo>
                  <a:lnTo>
                    <a:pt x="5316" y="10557"/>
                  </a:lnTo>
                  <a:lnTo>
                    <a:pt x="8662" y="8574"/>
                  </a:lnTo>
                  <a:lnTo>
                    <a:pt x="10493" y="6352"/>
                  </a:lnTo>
                  <a:lnTo>
                    <a:pt x="12943" y="4054"/>
                  </a:lnTo>
                  <a:lnTo>
                    <a:pt x="14282" y="4609"/>
                  </a:lnTo>
                  <a:lnTo>
                    <a:pt x="15961" y="3549"/>
                  </a:lnTo>
                  <a:lnTo>
                    <a:pt x="18474" y="1049"/>
                  </a:lnTo>
                  <a:close/>
                  <a:moveTo>
                    <a:pt x="27944" y="1"/>
                  </a:moveTo>
                  <a:lnTo>
                    <a:pt x="26025" y="4016"/>
                  </a:lnTo>
                  <a:lnTo>
                    <a:pt x="26100" y="5468"/>
                  </a:lnTo>
                  <a:lnTo>
                    <a:pt x="24674" y="6516"/>
                  </a:lnTo>
                  <a:lnTo>
                    <a:pt x="22615" y="4609"/>
                  </a:lnTo>
                  <a:lnTo>
                    <a:pt x="22868" y="1756"/>
                  </a:lnTo>
                  <a:lnTo>
                    <a:pt x="18310" y="316"/>
                  </a:lnTo>
                  <a:lnTo>
                    <a:pt x="15607" y="3018"/>
                  </a:lnTo>
                  <a:lnTo>
                    <a:pt x="14231" y="3890"/>
                  </a:lnTo>
                  <a:lnTo>
                    <a:pt x="12817" y="3309"/>
                  </a:lnTo>
                  <a:lnTo>
                    <a:pt x="10039" y="5910"/>
                  </a:lnTo>
                  <a:lnTo>
                    <a:pt x="8296" y="8057"/>
                  </a:lnTo>
                  <a:lnTo>
                    <a:pt x="5152" y="9951"/>
                  </a:lnTo>
                  <a:lnTo>
                    <a:pt x="1743" y="10633"/>
                  </a:lnTo>
                  <a:lnTo>
                    <a:pt x="0" y="13360"/>
                  </a:lnTo>
                  <a:lnTo>
                    <a:pt x="0" y="16744"/>
                  </a:lnTo>
                  <a:lnTo>
                    <a:pt x="947" y="21504"/>
                  </a:lnTo>
                  <a:lnTo>
                    <a:pt x="430" y="23462"/>
                  </a:lnTo>
                  <a:lnTo>
                    <a:pt x="2046" y="25267"/>
                  </a:lnTo>
                  <a:lnTo>
                    <a:pt x="5872" y="24409"/>
                  </a:lnTo>
                  <a:lnTo>
                    <a:pt x="9824" y="23184"/>
                  </a:lnTo>
                  <a:lnTo>
                    <a:pt x="12564" y="21997"/>
                  </a:lnTo>
                  <a:lnTo>
                    <a:pt x="16314" y="22338"/>
                  </a:lnTo>
                  <a:lnTo>
                    <a:pt x="18284" y="26151"/>
                  </a:lnTo>
                  <a:lnTo>
                    <a:pt x="20216" y="24459"/>
                  </a:lnTo>
                  <a:lnTo>
                    <a:pt x="20923" y="27616"/>
                  </a:lnTo>
                  <a:cubicBezTo>
                    <a:pt x="21795" y="30419"/>
                    <a:pt x="22136" y="30419"/>
                    <a:pt x="22325" y="30419"/>
                  </a:cubicBezTo>
                  <a:cubicBezTo>
                    <a:pt x="22590" y="30571"/>
                    <a:pt x="22855" y="30735"/>
                    <a:pt x="23095" y="30924"/>
                  </a:cubicBezTo>
                  <a:cubicBezTo>
                    <a:pt x="23752" y="31391"/>
                    <a:pt x="24067" y="31593"/>
                    <a:pt x="24320" y="31593"/>
                  </a:cubicBezTo>
                  <a:cubicBezTo>
                    <a:pt x="24345" y="31581"/>
                    <a:pt x="24383" y="31581"/>
                    <a:pt x="24421" y="31568"/>
                  </a:cubicBezTo>
                  <a:cubicBezTo>
                    <a:pt x="24509" y="31555"/>
                    <a:pt x="24598" y="31505"/>
                    <a:pt x="24648" y="31429"/>
                  </a:cubicBezTo>
                  <a:cubicBezTo>
                    <a:pt x="24749" y="31341"/>
                    <a:pt x="25355" y="31126"/>
                    <a:pt x="25962" y="30987"/>
                  </a:cubicBezTo>
                  <a:lnTo>
                    <a:pt x="28563" y="31240"/>
                  </a:lnTo>
                  <a:lnTo>
                    <a:pt x="28664" y="31151"/>
                  </a:lnTo>
                  <a:cubicBezTo>
                    <a:pt x="31366" y="28866"/>
                    <a:pt x="31366" y="28550"/>
                    <a:pt x="31366" y="28424"/>
                  </a:cubicBezTo>
                  <a:cubicBezTo>
                    <a:pt x="31416" y="28146"/>
                    <a:pt x="32464" y="26037"/>
                    <a:pt x="33449" y="24143"/>
                  </a:cubicBezTo>
                  <a:lnTo>
                    <a:pt x="34990" y="20494"/>
                  </a:lnTo>
                  <a:lnTo>
                    <a:pt x="35343" y="14787"/>
                  </a:lnTo>
                  <a:lnTo>
                    <a:pt x="31909" y="8663"/>
                  </a:lnTo>
                  <a:lnTo>
                    <a:pt x="30697" y="5683"/>
                  </a:lnTo>
                  <a:lnTo>
                    <a:pt x="30053" y="3662"/>
                  </a:lnTo>
                  <a:lnTo>
                    <a:pt x="2794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65"/>
            <p:cNvSpPr/>
            <p:nvPr/>
          </p:nvSpPr>
          <p:spPr>
            <a:xfrm>
              <a:off x="6575950" y="4616250"/>
              <a:ext cx="97550" cy="109575"/>
            </a:xfrm>
            <a:custGeom>
              <a:avLst/>
              <a:gdLst/>
              <a:ahLst/>
              <a:cxnLst/>
              <a:rect l="l" t="t" r="r" b="b"/>
              <a:pathLst>
                <a:path w="3902" h="4383" extrusionOk="0">
                  <a:moveTo>
                    <a:pt x="303" y="1"/>
                  </a:moveTo>
                  <a:lnTo>
                    <a:pt x="0" y="430"/>
                  </a:lnTo>
                  <a:lnTo>
                    <a:pt x="0" y="2955"/>
                  </a:lnTo>
                  <a:lnTo>
                    <a:pt x="1326" y="4382"/>
                  </a:lnTo>
                  <a:lnTo>
                    <a:pt x="3498" y="2753"/>
                  </a:lnTo>
                  <a:lnTo>
                    <a:pt x="3902" y="430"/>
                  </a:lnTo>
                  <a:lnTo>
                    <a:pt x="2273" y="1213"/>
                  </a:lnTo>
                  <a:lnTo>
                    <a:pt x="3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65"/>
            <p:cNvSpPr/>
            <p:nvPr/>
          </p:nvSpPr>
          <p:spPr>
            <a:xfrm>
              <a:off x="6568050" y="4609625"/>
              <a:ext cx="115875" cy="126600"/>
            </a:xfrm>
            <a:custGeom>
              <a:avLst/>
              <a:gdLst/>
              <a:ahLst/>
              <a:cxnLst/>
              <a:rect l="l" t="t" r="r" b="b"/>
              <a:pathLst>
                <a:path w="4635" h="5064" extrusionOk="0">
                  <a:moveTo>
                    <a:pt x="783" y="1"/>
                  </a:moveTo>
                  <a:lnTo>
                    <a:pt x="455" y="531"/>
                  </a:lnTo>
                  <a:lnTo>
                    <a:pt x="2564" y="1844"/>
                  </a:lnTo>
                  <a:lnTo>
                    <a:pt x="3814" y="1251"/>
                  </a:lnTo>
                  <a:lnTo>
                    <a:pt x="3536" y="2842"/>
                  </a:lnTo>
                  <a:lnTo>
                    <a:pt x="1680" y="4218"/>
                  </a:lnTo>
                  <a:lnTo>
                    <a:pt x="632" y="3094"/>
                  </a:lnTo>
                  <a:lnTo>
                    <a:pt x="632" y="695"/>
                  </a:lnTo>
                  <a:lnTo>
                    <a:pt x="0" y="695"/>
                  </a:lnTo>
                  <a:lnTo>
                    <a:pt x="0" y="3347"/>
                  </a:lnTo>
                  <a:lnTo>
                    <a:pt x="1592" y="5064"/>
                  </a:lnTo>
                  <a:lnTo>
                    <a:pt x="4104" y="3208"/>
                  </a:lnTo>
                  <a:lnTo>
                    <a:pt x="4635" y="139"/>
                  </a:lnTo>
                  <a:lnTo>
                    <a:pt x="2602" y="1124"/>
                  </a:lnTo>
                  <a:lnTo>
                    <a:pt x="78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65"/>
            <p:cNvSpPr/>
            <p:nvPr/>
          </p:nvSpPr>
          <p:spPr>
            <a:xfrm>
              <a:off x="6995150" y="4713800"/>
              <a:ext cx="195750" cy="190700"/>
            </a:xfrm>
            <a:custGeom>
              <a:avLst/>
              <a:gdLst/>
              <a:ahLst/>
              <a:cxnLst/>
              <a:rect l="l" t="t" r="r" b="b"/>
              <a:pathLst>
                <a:path w="7830" h="7628" extrusionOk="0">
                  <a:moveTo>
                    <a:pt x="6883" y="0"/>
                  </a:moveTo>
                  <a:lnTo>
                    <a:pt x="4648" y="1932"/>
                  </a:lnTo>
                  <a:lnTo>
                    <a:pt x="2615" y="2905"/>
                  </a:lnTo>
                  <a:lnTo>
                    <a:pt x="468" y="4660"/>
                  </a:lnTo>
                  <a:lnTo>
                    <a:pt x="1" y="5859"/>
                  </a:lnTo>
                  <a:lnTo>
                    <a:pt x="1958" y="7627"/>
                  </a:lnTo>
                  <a:lnTo>
                    <a:pt x="4471" y="4622"/>
                  </a:lnTo>
                  <a:lnTo>
                    <a:pt x="6921" y="2425"/>
                  </a:lnTo>
                  <a:lnTo>
                    <a:pt x="7830" y="1124"/>
                  </a:lnTo>
                  <a:lnTo>
                    <a:pt x="783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65"/>
            <p:cNvSpPr/>
            <p:nvPr/>
          </p:nvSpPr>
          <p:spPr>
            <a:xfrm>
              <a:off x="6985700" y="4705900"/>
              <a:ext cx="213100" cy="209650"/>
            </a:xfrm>
            <a:custGeom>
              <a:avLst/>
              <a:gdLst/>
              <a:ahLst/>
              <a:cxnLst/>
              <a:rect l="l" t="t" r="r" b="b"/>
              <a:pathLst>
                <a:path w="8524" h="8386" extrusionOk="0">
                  <a:moveTo>
                    <a:pt x="7905" y="632"/>
                  </a:moveTo>
                  <a:lnTo>
                    <a:pt x="7905" y="1339"/>
                  </a:lnTo>
                  <a:lnTo>
                    <a:pt x="7071" y="2526"/>
                  </a:lnTo>
                  <a:lnTo>
                    <a:pt x="4609" y="4736"/>
                  </a:lnTo>
                  <a:lnTo>
                    <a:pt x="2311" y="7489"/>
                  </a:lnTo>
                  <a:lnTo>
                    <a:pt x="758" y="6074"/>
                  </a:lnTo>
                  <a:lnTo>
                    <a:pt x="1111" y="5165"/>
                  </a:lnTo>
                  <a:lnTo>
                    <a:pt x="3169" y="3486"/>
                  </a:lnTo>
                  <a:lnTo>
                    <a:pt x="5165" y="2526"/>
                  </a:lnTo>
                  <a:lnTo>
                    <a:pt x="7387" y="632"/>
                  </a:lnTo>
                  <a:close/>
                  <a:moveTo>
                    <a:pt x="7147" y="1"/>
                  </a:moveTo>
                  <a:lnTo>
                    <a:pt x="4836" y="1971"/>
                  </a:lnTo>
                  <a:lnTo>
                    <a:pt x="2854" y="2943"/>
                  </a:lnTo>
                  <a:lnTo>
                    <a:pt x="568" y="4786"/>
                  </a:lnTo>
                  <a:lnTo>
                    <a:pt x="0" y="6251"/>
                  </a:lnTo>
                  <a:lnTo>
                    <a:pt x="2374" y="8385"/>
                  </a:lnTo>
                  <a:lnTo>
                    <a:pt x="5064" y="5165"/>
                  </a:lnTo>
                  <a:lnTo>
                    <a:pt x="7513" y="2981"/>
                  </a:lnTo>
                  <a:lnTo>
                    <a:pt x="8523" y="1541"/>
                  </a:lnTo>
                  <a:lnTo>
                    <a:pt x="85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65"/>
            <p:cNvSpPr/>
            <p:nvPr/>
          </p:nvSpPr>
          <p:spPr>
            <a:xfrm>
              <a:off x="7223700" y="4478300"/>
              <a:ext cx="126625" cy="235850"/>
            </a:xfrm>
            <a:custGeom>
              <a:avLst/>
              <a:gdLst/>
              <a:ahLst/>
              <a:cxnLst/>
              <a:rect l="l" t="t" r="r" b="b"/>
              <a:pathLst>
                <a:path w="5065" h="9434" extrusionOk="0">
                  <a:moveTo>
                    <a:pt x="607" y="1"/>
                  </a:moveTo>
                  <a:lnTo>
                    <a:pt x="1099" y="3334"/>
                  </a:lnTo>
                  <a:lnTo>
                    <a:pt x="1175" y="5557"/>
                  </a:lnTo>
                  <a:lnTo>
                    <a:pt x="266" y="5948"/>
                  </a:lnTo>
                  <a:lnTo>
                    <a:pt x="1087" y="7792"/>
                  </a:lnTo>
                  <a:cubicBezTo>
                    <a:pt x="1087" y="7792"/>
                    <a:pt x="1" y="8612"/>
                    <a:pt x="317" y="8827"/>
                  </a:cubicBezTo>
                  <a:cubicBezTo>
                    <a:pt x="569" y="9004"/>
                    <a:pt x="809" y="9206"/>
                    <a:pt x="1036" y="9433"/>
                  </a:cubicBezTo>
                  <a:lnTo>
                    <a:pt x="2640" y="7716"/>
                  </a:lnTo>
                  <a:lnTo>
                    <a:pt x="3448" y="5531"/>
                  </a:lnTo>
                  <a:lnTo>
                    <a:pt x="5064" y="5026"/>
                  </a:lnTo>
                  <a:lnTo>
                    <a:pt x="4092" y="4370"/>
                  </a:lnTo>
                  <a:lnTo>
                    <a:pt x="2791" y="4370"/>
                  </a:lnTo>
                  <a:lnTo>
                    <a:pt x="2665" y="733"/>
                  </a:lnTo>
                  <a:lnTo>
                    <a:pt x="60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65"/>
            <p:cNvSpPr/>
            <p:nvPr/>
          </p:nvSpPr>
          <p:spPr>
            <a:xfrm>
              <a:off x="7219600" y="4466625"/>
              <a:ext cx="149025" cy="258875"/>
            </a:xfrm>
            <a:custGeom>
              <a:avLst/>
              <a:gdLst/>
              <a:ahLst/>
              <a:cxnLst/>
              <a:rect l="l" t="t" r="r" b="b"/>
              <a:pathLst>
                <a:path w="5961" h="10355" extrusionOk="0">
                  <a:moveTo>
                    <a:pt x="1162" y="948"/>
                  </a:moveTo>
                  <a:lnTo>
                    <a:pt x="2526" y="1427"/>
                  </a:lnTo>
                  <a:lnTo>
                    <a:pt x="2652" y="5152"/>
                  </a:lnTo>
                  <a:lnTo>
                    <a:pt x="4155" y="5152"/>
                  </a:lnTo>
                  <a:lnTo>
                    <a:pt x="4509" y="5392"/>
                  </a:lnTo>
                  <a:lnTo>
                    <a:pt x="3372" y="5733"/>
                  </a:lnTo>
                  <a:lnTo>
                    <a:pt x="2539" y="8019"/>
                  </a:lnTo>
                  <a:lnTo>
                    <a:pt x="1188" y="9458"/>
                  </a:lnTo>
                  <a:cubicBezTo>
                    <a:pt x="1074" y="9344"/>
                    <a:pt x="922" y="9231"/>
                    <a:pt x="784" y="9117"/>
                  </a:cubicBezTo>
                  <a:cubicBezTo>
                    <a:pt x="973" y="8903"/>
                    <a:pt x="1200" y="8701"/>
                    <a:pt x="1440" y="8524"/>
                  </a:cubicBezTo>
                  <a:lnTo>
                    <a:pt x="1642" y="8360"/>
                  </a:lnTo>
                  <a:lnTo>
                    <a:pt x="847" y="6579"/>
                  </a:lnTo>
                  <a:lnTo>
                    <a:pt x="1667" y="6238"/>
                  </a:lnTo>
                  <a:lnTo>
                    <a:pt x="1566" y="3751"/>
                  </a:lnTo>
                  <a:lnTo>
                    <a:pt x="1162" y="948"/>
                  </a:lnTo>
                  <a:close/>
                  <a:moveTo>
                    <a:pt x="380" y="1"/>
                  </a:moveTo>
                  <a:lnTo>
                    <a:pt x="948" y="3814"/>
                  </a:lnTo>
                  <a:lnTo>
                    <a:pt x="1011" y="5822"/>
                  </a:lnTo>
                  <a:lnTo>
                    <a:pt x="1" y="6251"/>
                  </a:lnTo>
                  <a:lnTo>
                    <a:pt x="859" y="8158"/>
                  </a:lnTo>
                  <a:cubicBezTo>
                    <a:pt x="481" y="8473"/>
                    <a:pt x="114" y="8865"/>
                    <a:pt x="114" y="9193"/>
                  </a:cubicBezTo>
                  <a:cubicBezTo>
                    <a:pt x="114" y="9332"/>
                    <a:pt x="190" y="9471"/>
                    <a:pt x="304" y="9559"/>
                  </a:cubicBezTo>
                  <a:cubicBezTo>
                    <a:pt x="544" y="9723"/>
                    <a:pt x="771" y="9913"/>
                    <a:pt x="973" y="10127"/>
                  </a:cubicBezTo>
                  <a:lnTo>
                    <a:pt x="1200" y="10355"/>
                  </a:lnTo>
                  <a:lnTo>
                    <a:pt x="3044" y="8397"/>
                  </a:lnTo>
                  <a:lnTo>
                    <a:pt x="3852" y="6251"/>
                  </a:lnTo>
                  <a:lnTo>
                    <a:pt x="5961" y="5607"/>
                  </a:lnTo>
                  <a:lnTo>
                    <a:pt x="4357" y="4521"/>
                  </a:lnTo>
                  <a:lnTo>
                    <a:pt x="3258" y="4521"/>
                  </a:lnTo>
                  <a:lnTo>
                    <a:pt x="3132" y="973"/>
                  </a:lnTo>
                  <a:lnTo>
                    <a:pt x="3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65"/>
            <p:cNvSpPr/>
            <p:nvPr/>
          </p:nvSpPr>
          <p:spPr>
            <a:xfrm>
              <a:off x="6134625" y="2921400"/>
              <a:ext cx="43275" cy="96300"/>
            </a:xfrm>
            <a:custGeom>
              <a:avLst/>
              <a:gdLst/>
              <a:ahLst/>
              <a:cxnLst/>
              <a:rect l="l" t="t" r="r" b="b"/>
              <a:pathLst>
                <a:path w="1731" h="3852" extrusionOk="0">
                  <a:moveTo>
                    <a:pt x="1415" y="0"/>
                  </a:moveTo>
                  <a:lnTo>
                    <a:pt x="1" y="682"/>
                  </a:lnTo>
                  <a:lnTo>
                    <a:pt x="1" y="2627"/>
                  </a:lnTo>
                  <a:lnTo>
                    <a:pt x="1415" y="3852"/>
                  </a:lnTo>
                  <a:lnTo>
                    <a:pt x="1730" y="1920"/>
                  </a:lnTo>
                  <a:lnTo>
                    <a:pt x="141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65"/>
            <p:cNvSpPr/>
            <p:nvPr/>
          </p:nvSpPr>
          <p:spPr>
            <a:xfrm>
              <a:off x="6126725" y="2909725"/>
              <a:ext cx="59375" cy="122825"/>
            </a:xfrm>
            <a:custGeom>
              <a:avLst/>
              <a:gdLst/>
              <a:ahLst/>
              <a:cxnLst/>
              <a:rect l="l" t="t" r="r" b="b"/>
              <a:pathLst>
                <a:path w="2375" h="4913" extrusionOk="0">
                  <a:moveTo>
                    <a:pt x="1491" y="935"/>
                  </a:moveTo>
                  <a:lnTo>
                    <a:pt x="1731" y="2387"/>
                  </a:lnTo>
                  <a:lnTo>
                    <a:pt x="1516" y="3713"/>
                  </a:lnTo>
                  <a:lnTo>
                    <a:pt x="632" y="2955"/>
                  </a:lnTo>
                  <a:lnTo>
                    <a:pt x="632" y="1351"/>
                  </a:lnTo>
                  <a:lnTo>
                    <a:pt x="1491" y="935"/>
                  </a:lnTo>
                  <a:close/>
                  <a:moveTo>
                    <a:pt x="1983" y="0"/>
                  </a:moveTo>
                  <a:lnTo>
                    <a:pt x="1" y="960"/>
                  </a:lnTo>
                  <a:lnTo>
                    <a:pt x="1" y="3245"/>
                  </a:lnTo>
                  <a:lnTo>
                    <a:pt x="1958" y="4912"/>
                  </a:lnTo>
                  <a:lnTo>
                    <a:pt x="2375" y="2387"/>
                  </a:lnTo>
                  <a:lnTo>
                    <a:pt x="19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65"/>
            <p:cNvSpPr/>
            <p:nvPr/>
          </p:nvSpPr>
          <p:spPr>
            <a:xfrm>
              <a:off x="5917450" y="3060600"/>
              <a:ext cx="65350" cy="60650"/>
            </a:xfrm>
            <a:custGeom>
              <a:avLst/>
              <a:gdLst/>
              <a:ahLst/>
              <a:cxnLst/>
              <a:rect l="l" t="t" r="r" b="b"/>
              <a:pathLst>
                <a:path w="2614" h="2426" extrusionOk="0">
                  <a:moveTo>
                    <a:pt x="1099" y="1"/>
                  </a:moveTo>
                  <a:lnTo>
                    <a:pt x="0" y="1175"/>
                  </a:lnTo>
                  <a:lnTo>
                    <a:pt x="568" y="2425"/>
                  </a:lnTo>
                  <a:lnTo>
                    <a:pt x="1440" y="2425"/>
                  </a:lnTo>
                  <a:lnTo>
                    <a:pt x="2614" y="708"/>
                  </a:lnTo>
                  <a:lnTo>
                    <a:pt x="109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65"/>
            <p:cNvSpPr/>
            <p:nvPr/>
          </p:nvSpPr>
          <p:spPr>
            <a:xfrm>
              <a:off x="5908275" y="3050825"/>
              <a:ext cx="86225" cy="78325"/>
            </a:xfrm>
            <a:custGeom>
              <a:avLst/>
              <a:gdLst/>
              <a:ahLst/>
              <a:cxnLst/>
              <a:rect l="l" t="t" r="r" b="b"/>
              <a:pathLst>
                <a:path w="3449" h="3133" extrusionOk="0">
                  <a:moveTo>
                    <a:pt x="1541" y="771"/>
                  </a:moveTo>
                  <a:lnTo>
                    <a:pt x="2514" y="1225"/>
                  </a:lnTo>
                  <a:lnTo>
                    <a:pt x="1630" y="2501"/>
                  </a:lnTo>
                  <a:lnTo>
                    <a:pt x="1137" y="2501"/>
                  </a:lnTo>
                  <a:lnTo>
                    <a:pt x="746" y="1617"/>
                  </a:lnTo>
                  <a:lnTo>
                    <a:pt x="1541" y="771"/>
                  </a:lnTo>
                  <a:close/>
                  <a:moveTo>
                    <a:pt x="1390" y="1"/>
                  </a:moveTo>
                  <a:lnTo>
                    <a:pt x="1" y="1503"/>
                  </a:lnTo>
                  <a:lnTo>
                    <a:pt x="733" y="3132"/>
                  </a:lnTo>
                  <a:lnTo>
                    <a:pt x="1971" y="3132"/>
                  </a:lnTo>
                  <a:lnTo>
                    <a:pt x="3448" y="960"/>
                  </a:lnTo>
                  <a:lnTo>
                    <a:pt x="13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65"/>
            <p:cNvSpPr/>
            <p:nvPr/>
          </p:nvSpPr>
          <p:spPr>
            <a:xfrm>
              <a:off x="6168100" y="3083025"/>
              <a:ext cx="108300" cy="173650"/>
            </a:xfrm>
            <a:custGeom>
              <a:avLst/>
              <a:gdLst/>
              <a:ahLst/>
              <a:cxnLst/>
              <a:rect l="l" t="t" r="r" b="b"/>
              <a:pathLst>
                <a:path w="4332" h="6946" extrusionOk="0">
                  <a:moveTo>
                    <a:pt x="1578" y="0"/>
                  </a:moveTo>
                  <a:lnTo>
                    <a:pt x="707" y="1440"/>
                  </a:lnTo>
                  <a:lnTo>
                    <a:pt x="0" y="3132"/>
                  </a:lnTo>
                  <a:lnTo>
                    <a:pt x="783" y="5897"/>
                  </a:lnTo>
                  <a:lnTo>
                    <a:pt x="2399" y="5405"/>
                  </a:lnTo>
                  <a:lnTo>
                    <a:pt x="3472" y="6945"/>
                  </a:lnTo>
                  <a:lnTo>
                    <a:pt x="4331" y="5241"/>
                  </a:lnTo>
                  <a:lnTo>
                    <a:pt x="3472" y="3789"/>
                  </a:lnTo>
                  <a:lnTo>
                    <a:pt x="1818" y="2564"/>
                  </a:lnTo>
                  <a:lnTo>
                    <a:pt x="2399" y="1352"/>
                  </a:lnTo>
                  <a:lnTo>
                    <a:pt x="157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65"/>
            <p:cNvSpPr/>
            <p:nvPr/>
          </p:nvSpPr>
          <p:spPr>
            <a:xfrm>
              <a:off x="6159575" y="3067875"/>
              <a:ext cx="125650" cy="204275"/>
            </a:xfrm>
            <a:custGeom>
              <a:avLst/>
              <a:gdLst/>
              <a:ahLst/>
              <a:cxnLst/>
              <a:rect l="l" t="t" r="r" b="b"/>
              <a:pathLst>
                <a:path w="5026" h="8171" extrusionOk="0">
                  <a:moveTo>
                    <a:pt x="1932" y="1213"/>
                  </a:moveTo>
                  <a:lnTo>
                    <a:pt x="2399" y="1970"/>
                  </a:lnTo>
                  <a:lnTo>
                    <a:pt x="1768" y="3271"/>
                  </a:lnTo>
                  <a:lnTo>
                    <a:pt x="3574" y="4609"/>
                  </a:lnTo>
                  <a:lnTo>
                    <a:pt x="4319" y="5872"/>
                  </a:lnTo>
                  <a:lnTo>
                    <a:pt x="3763" y="6933"/>
                  </a:lnTo>
                  <a:lnTo>
                    <a:pt x="2866" y="5645"/>
                  </a:lnTo>
                  <a:lnTo>
                    <a:pt x="1351" y="6099"/>
                  </a:lnTo>
                  <a:lnTo>
                    <a:pt x="682" y="3763"/>
                  </a:lnTo>
                  <a:lnTo>
                    <a:pt x="1326" y="2197"/>
                  </a:lnTo>
                  <a:lnTo>
                    <a:pt x="1932" y="1213"/>
                  </a:lnTo>
                  <a:close/>
                  <a:moveTo>
                    <a:pt x="1907" y="0"/>
                  </a:moveTo>
                  <a:lnTo>
                    <a:pt x="758" y="1920"/>
                  </a:lnTo>
                  <a:lnTo>
                    <a:pt x="0" y="3725"/>
                  </a:lnTo>
                  <a:lnTo>
                    <a:pt x="909" y="6895"/>
                  </a:lnTo>
                  <a:lnTo>
                    <a:pt x="2614" y="6377"/>
                  </a:lnTo>
                  <a:lnTo>
                    <a:pt x="3851" y="8170"/>
                  </a:lnTo>
                  <a:lnTo>
                    <a:pt x="5026" y="5834"/>
                  </a:lnTo>
                  <a:lnTo>
                    <a:pt x="4079" y="4230"/>
                  </a:lnTo>
                  <a:lnTo>
                    <a:pt x="2551" y="3081"/>
                  </a:lnTo>
                  <a:lnTo>
                    <a:pt x="3094" y="1945"/>
                  </a:lnTo>
                  <a:lnTo>
                    <a:pt x="1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65"/>
            <p:cNvSpPr/>
            <p:nvPr/>
          </p:nvSpPr>
          <p:spPr>
            <a:xfrm>
              <a:off x="6241950" y="3244650"/>
              <a:ext cx="111475" cy="160375"/>
            </a:xfrm>
            <a:custGeom>
              <a:avLst/>
              <a:gdLst/>
              <a:ahLst/>
              <a:cxnLst/>
              <a:rect l="l" t="t" r="r" b="b"/>
              <a:pathLst>
                <a:path w="4459" h="6415" extrusionOk="0">
                  <a:moveTo>
                    <a:pt x="2248" y="0"/>
                  </a:moveTo>
                  <a:lnTo>
                    <a:pt x="1781" y="1693"/>
                  </a:lnTo>
                  <a:lnTo>
                    <a:pt x="2021" y="3069"/>
                  </a:lnTo>
                  <a:lnTo>
                    <a:pt x="518" y="3965"/>
                  </a:lnTo>
                  <a:lnTo>
                    <a:pt x="1" y="4281"/>
                  </a:lnTo>
                  <a:lnTo>
                    <a:pt x="1377" y="4912"/>
                  </a:lnTo>
                  <a:lnTo>
                    <a:pt x="2842" y="6415"/>
                  </a:lnTo>
                  <a:lnTo>
                    <a:pt x="4458" y="4912"/>
                  </a:lnTo>
                  <a:lnTo>
                    <a:pt x="3271" y="3208"/>
                  </a:lnTo>
                  <a:lnTo>
                    <a:pt x="3650" y="1541"/>
                  </a:lnTo>
                  <a:lnTo>
                    <a:pt x="224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65"/>
            <p:cNvSpPr/>
            <p:nvPr/>
          </p:nvSpPr>
          <p:spPr>
            <a:xfrm>
              <a:off x="6225225" y="3228550"/>
              <a:ext cx="138600" cy="187525"/>
            </a:xfrm>
            <a:custGeom>
              <a:avLst/>
              <a:gdLst/>
              <a:ahLst/>
              <a:cxnLst/>
              <a:rect l="l" t="t" r="r" b="b"/>
              <a:pathLst>
                <a:path w="5544" h="7501" extrusionOk="0">
                  <a:moveTo>
                    <a:pt x="3082" y="1276"/>
                  </a:moveTo>
                  <a:lnTo>
                    <a:pt x="3978" y="2273"/>
                  </a:lnTo>
                  <a:lnTo>
                    <a:pt x="3612" y="3915"/>
                  </a:lnTo>
                  <a:lnTo>
                    <a:pt x="4723" y="5519"/>
                  </a:lnTo>
                  <a:lnTo>
                    <a:pt x="3523" y="6617"/>
                  </a:lnTo>
                  <a:lnTo>
                    <a:pt x="2286" y="5342"/>
                  </a:lnTo>
                  <a:lnTo>
                    <a:pt x="1339" y="4887"/>
                  </a:lnTo>
                  <a:lnTo>
                    <a:pt x="3044" y="3877"/>
                  </a:lnTo>
                  <a:lnTo>
                    <a:pt x="2791" y="2362"/>
                  </a:lnTo>
                  <a:lnTo>
                    <a:pt x="3082" y="1276"/>
                  </a:lnTo>
                  <a:close/>
                  <a:moveTo>
                    <a:pt x="2766" y="1"/>
                  </a:moveTo>
                  <a:lnTo>
                    <a:pt x="2134" y="2324"/>
                  </a:lnTo>
                  <a:lnTo>
                    <a:pt x="2337" y="3549"/>
                  </a:lnTo>
                  <a:lnTo>
                    <a:pt x="1023" y="4344"/>
                  </a:lnTo>
                  <a:lnTo>
                    <a:pt x="1" y="4976"/>
                  </a:lnTo>
                  <a:lnTo>
                    <a:pt x="1857" y="5822"/>
                  </a:lnTo>
                  <a:lnTo>
                    <a:pt x="3498" y="7501"/>
                  </a:lnTo>
                  <a:lnTo>
                    <a:pt x="5544" y="5607"/>
                  </a:lnTo>
                  <a:lnTo>
                    <a:pt x="4281" y="3776"/>
                  </a:lnTo>
                  <a:lnTo>
                    <a:pt x="4660" y="2084"/>
                  </a:lnTo>
                  <a:lnTo>
                    <a:pt x="276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65"/>
            <p:cNvSpPr/>
            <p:nvPr/>
          </p:nvSpPr>
          <p:spPr>
            <a:xfrm>
              <a:off x="6323400" y="2434950"/>
              <a:ext cx="220375" cy="347575"/>
            </a:xfrm>
            <a:custGeom>
              <a:avLst/>
              <a:gdLst/>
              <a:ahLst/>
              <a:cxnLst/>
              <a:rect l="l" t="t" r="r" b="b"/>
              <a:pathLst>
                <a:path w="8815" h="13903" extrusionOk="0">
                  <a:moveTo>
                    <a:pt x="7766" y="0"/>
                  </a:moveTo>
                  <a:lnTo>
                    <a:pt x="6718" y="392"/>
                  </a:lnTo>
                  <a:lnTo>
                    <a:pt x="6301" y="2235"/>
                  </a:lnTo>
                  <a:lnTo>
                    <a:pt x="6150" y="4836"/>
                  </a:lnTo>
                  <a:lnTo>
                    <a:pt x="4433" y="5960"/>
                  </a:lnTo>
                  <a:lnTo>
                    <a:pt x="3877" y="7337"/>
                  </a:lnTo>
                  <a:lnTo>
                    <a:pt x="2248" y="7425"/>
                  </a:lnTo>
                  <a:lnTo>
                    <a:pt x="847" y="9104"/>
                  </a:lnTo>
                  <a:lnTo>
                    <a:pt x="1" y="10367"/>
                  </a:lnTo>
                  <a:lnTo>
                    <a:pt x="1187" y="12640"/>
                  </a:lnTo>
                  <a:lnTo>
                    <a:pt x="1932" y="13903"/>
                  </a:lnTo>
                  <a:lnTo>
                    <a:pt x="2652" y="11478"/>
                  </a:lnTo>
                  <a:lnTo>
                    <a:pt x="2248" y="10304"/>
                  </a:lnTo>
                  <a:lnTo>
                    <a:pt x="4256" y="9799"/>
                  </a:lnTo>
                  <a:lnTo>
                    <a:pt x="6011" y="9799"/>
                  </a:lnTo>
                  <a:lnTo>
                    <a:pt x="8814" y="7576"/>
                  </a:lnTo>
                  <a:lnTo>
                    <a:pt x="8499" y="4660"/>
                  </a:lnTo>
                  <a:lnTo>
                    <a:pt x="8814" y="2639"/>
                  </a:lnTo>
                  <a:lnTo>
                    <a:pt x="77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65"/>
            <p:cNvSpPr/>
            <p:nvPr/>
          </p:nvSpPr>
          <p:spPr>
            <a:xfrm>
              <a:off x="6314250" y="2424850"/>
              <a:ext cx="238050" cy="377575"/>
            </a:xfrm>
            <a:custGeom>
              <a:avLst/>
              <a:gdLst/>
              <a:ahLst/>
              <a:cxnLst/>
              <a:rect l="l" t="t" r="r" b="b"/>
              <a:pathLst>
                <a:path w="9522" h="15103" extrusionOk="0">
                  <a:moveTo>
                    <a:pt x="7955" y="808"/>
                  </a:moveTo>
                  <a:lnTo>
                    <a:pt x="8852" y="3069"/>
                  </a:lnTo>
                  <a:lnTo>
                    <a:pt x="8536" y="5051"/>
                  </a:lnTo>
                  <a:lnTo>
                    <a:pt x="8852" y="7842"/>
                  </a:lnTo>
                  <a:lnTo>
                    <a:pt x="6263" y="9887"/>
                  </a:lnTo>
                  <a:lnTo>
                    <a:pt x="4622" y="9887"/>
                  </a:lnTo>
                  <a:lnTo>
                    <a:pt x="2210" y="10493"/>
                  </a:lnTo>
                  <a:lnTo>
                    <a:pt x="2690" y="11895"/>
                  </a:lnTo>
                  <a:lnTo>
                    <a:pt x="2197" y="13536"/>
                  </a:lnTo>
                  <a:lnTo>
                    <a:pt x="1844" y="12905"/>
                  </a:lnTo>
                  <a:lnTo>
                    <a:pt x="733" y="10784"/>
                  </a:lnTo>
                  <a:lnTo>
                    <a:pt x="1478" y="9710"/>
                  </a:lnTo>
                  <a:lnTo>
                    <a:pt x="2778" y="8132"/>
                  </a:lnTo>
                  <a:lnTo>
                    <a:pt x="4470" y="8044"/>
                  </a:lnTo>
                  <a:lnTo>
                    <a:pt x="5064" y="6579"/>
                  </a:lnTo>
                  <a:lnTo>
                    <a:pt x="6819" y="5417"/>
                  </a:lnTo>
                  <a:lnTo>
                    <a:pt x="6983" y="2715"/>
                  </a:lnTo>
                  <a:lnTo>
                    <a:pt x="7349" y="1036"/>
                  </a:lnTo>
                  <a:lnTo>
                    <a:pt x="7955" y="808"/>
                  </a:lnTo>
                  <a:close/>
                  <a:moveTo>
                    <a:pt x="8309" y="0"/>
                  </a:moveTo>
                  <a:lnTo>
                    <a:pt x="6806" y="556"/>
                  </a:lnTo>
                  <a:lnTo>
                    <a:pt x="6364" y="2627"/>
                  </a:lnTo>
                  <a:lnTo>
                    <a:pt x="6200" y="5064"/>
                  </a:lnTo>
                  <a:lnTo>
                    <a:pt x="4546" y="6162"/>
                  </a:lnTo>
                  <a:lnTo>
                    <a:pt x="4028" y="7450"/>
                  </a:lnTo>
                  <a:lnTo>
                    <a:pt x="2463" y="7526"/>
                  </a:lnTo>
                  <a:lnTo>
                    <a:pt x="973" y="9319"/>
                  </a:lnTo>
                  <a:lnTo>
                    <a:pt x="0" y="10758"/>
                  </a:lnTo>
                  <a:lnTo>
                    <a:pt x="1276" y="13208"/>
                  </a:lnTo>
                  <a:lnTo>
                    <a:pt x="2387" y="15102"/>
                  </a:lnTo>
                  <a:lnTo>
                    <a:pt x="3347" y="11870"/>
                  </a:lnTo>
                  <a:lnTo>
                    <a:pt x="3031" y="10923"/>
                  </a:lnTo>
                  <a:lnTo>
                    <a:pt x="4660" y="10506"/>
                  </a:lnTo>
                  <a:lnTo>
                    <a:pt x="6491" y="10506"/>
                  </a:lnTo>
                  <a:lnTo>
                    <a:pt x="9521" y="8119"/>
                  </a:lnTo>
                  <a:lnTo>
                    <a:pt x="9180" y="5076"/>
                  </a:lnTo>
                  <a:lnTo>
                    <a:pt x="9509" y="3005"/>
                  </a:lnTo>
                  <a:lnTo>
                    <a:pt x="83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65"/>
            <p:cNvSpPr/>
            <p:nvPr/>
          </p:nvSpPr>
          <p:spPr>
            <a:xfrm>
              <a:off x="6470500" y="2285950"/>
              <a:ext cx="89675" cy="141450"/>
            </a:xfrm>
            <a:custGeom>
              <a:avLst/>
              <a:gdLst/>
              <a:ahLst/>
              <a:cxnLst/>
              <a:rect l="l" t="t" r="r" b="b"/>
              <a:pathLst>
                <a:path w="3587" h="5658" extrusionOk="0">
                  <a:moveTo>
                    <a:pt x="266" y="0"/>
                  </a:moveTo>
                  <a:lnTo>
                    <a:pt x="1" y="897"/>
                  </a:lnTo>
                  <a:lnTo>
                    <a:pt x="380" y="2677"/>
                  </a:lnTo>
                  <a:lnTo>
                    <a:pt x="76" y="3940"/>
                  </a:lnTo>
                  <a:lnTo>
                    <a:pt x="342" y="5657"/>
                  </a:lnTo>
                  <a:lnTo>
                    <a:pt x="2021" y="5657"/>
                  </a:lnTo>
                  <a:lnTo>
                    <a:pt x="1554" y="3801"/>
                  </a:lnTo>
                  <a:lnTo>
                    <a:pt x="1554" y="3801"/>
                  </a:lnTo>
                  <a:lnTo>
                    <a:pt x="2943" y="4420"/>
                  </a:lnTo>
                  <a:lnTo>
                    <a:pt x="3587" y="2677"/>
                  </a:lnTo>
                  <a:lnTo>
                    <a:pt x="3587" y="1566"/>
                  </a:lnTo>
                  <a:lnTo>
                    <a:pt x="1832" y="821"/>
                  </a:lnTo>
                  <a:lnTo>
                    <a:pt x="2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65"/>
            <p:cNvSpPr/>
            <p:nvPr/>
          </p:nvSpPr>
          <p:spPr>
            <a:xfrm>
              <a:off x="6462300" y="2274900"/>
              <a:ext cx="105775" cy="160375"/>
            </a:xfrm>
            <a:custGeom>
              <a:avLst/>
              <a:gdLst/>
              <a:ahLst/>
              <a:cxnLst/>
              <a:rect l="l" t="t" r="r" b="b"/>
              <a:pathLst>
                <a:path w="4231" h="6415" extrusionOk="0">
                  <a:moveTo>
                    <a:pt x="783" y="897"/>
                  </a:moveTo>
                  <a:lnTo>
                    <a:pt x="2033" y="1541"/>
                  </a:lnTo>
                  <a:lnTo>
                    <a:pt x="3599" y="2210"/>
                  </a:lnTo>
                  <a:lnTo>
                    <a:pt x="3599" y="3069"/>
                  </a:lnTo>
                  <a:lnTo>
                    <a:pt x="3094" y="4432"/>
                  </a:lnTo>
                  <a:lnTo>
                    <a:pt x="1427" y="3700"/>
                  </a:lnTo>
                  <a:lnTo>
                    <a:pt x="1945" y="5784"/>
                  </a:lnTo>
                  <a:lnTo>
                    <a:pt x="935" y="5784"/>
                  </a:lnTo>
                  <a:lnTo>
                    <a:pt x="733" y="4395"/>
                  </a:lnTo>
                  <a:lnTo>
                    <a:pt x="1036" y="3119"/>
                  </a:lnTo>
                  <a:lnTo>
                    <a:pt x="657" y="1352"/>
                  </a:lnTo>
                  <a:lnTo>
                    <a:pt x="783" y="897"/>
                  </a:lnTo>
                  <a:close/>
                  <a:moveTo>
                    <a:pt x="392" y="0"/>
                  </a:moveTo>
                  <a:lnTo>
                    <a:pt x="0" y="1326"/>
                  </a:lnTo>
                  <a:lnTo>
                    <a:pt x="379" y="3119"/>
                  </a:lnTo>
                  <a:lnTo>
                    <a:pt x="89" y="4369"/>
                  </a:lnTo>
                  <a:lnTo>
                    <a:pt x="404" y="6415"/>
                  </a:lnTo>
                  <a:lnTo>
                    <a:pt x="2753" y="6415"/>
                  </a:lnTo>
                  <a:lnTo>
                    <a:pt x="2336" y="4799"/>
                  </a:lnTo>
                  <a:lnTo>
                    <a:pt x="2336" y="4799"/>
                  </a:lnTo>
                  <a:lnTo>
                    <a:pt x="3448" y="5291"/>
                  </a:lnTo>
                  <a:lnTo>
                    <a:pt x="4205" y="3233"/>
                  </a:lnTo>
                  <a:lnTo>
                    <a:pt x="4230" y="1793"/>
                  </a:lnTo>
                  <a:lnTo>
                    <a:pt x="2299" y="985"/>
                  </a:lnTo>
                  <a:lnTo>
                    <a:pt x="3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65"/>
            <p:cNvSpPr/>
            <p:nvPr/>
          </p:nvSpPr>
          <p:spPr>
            <a:xfrm>
              <a:off x="6378950" y="1950375"/>
              <a:ext cx="126300" cy="303725"/>
            </a:xfrm>
            <a:custGeom>
              <a:avLst/>
              <a:gdLst/>
              <a:ahLst/>
              <a:cxnLst/>
              <a:rect l="l" t="t" r="r" b="b"/>
              <a:pathLst>
                <a:path w="5052" h="12149" extrusionOk="0">
                  <a:moveTo>
                    <a:pt x="708" y="1"/>
                  </a:moveTo>
                  <a:lnTo>
                    <a:pt x="1" y="1365"/>
                  </a:lnTo>
                  <a:lnTo>
                    <a:pt x="1428" y="5456"/>
                  </a:lnTo>
                  <a:lnTo>
                    <a:pt x="2211" y="7021"/>
                  </a:lnTo>
                  <a:lnTo>
                    <a:pt x="2211" y="8676"/>
                  </a:lnTo>
                  <a:lnTo>
                    <a:pt x="3271" y="12148"/>
                  </a:lnTo>
                  <a:lnTo>
                    <a:pt x="5052" y="12148"/>
                  </a:lnTo>
                  <a:lnTo>
                    <a:pt x="4168" y="8878"/>
                  </a:lnTo>
                  <a:lnTo>
                    <a:pt x="5052" y="8398"/>
                  </a:lnTo>
                  <a:lnTo>
                    <a:pt x="3360" y="5317"/>
                  </a:lnTo>
                  <a:lnTo>
                    <a:pt x="2185" y="2198"/>
                  </a:lnTo>
                  <a:lnTo>
                    <a:pt x="70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65"/>
            <p:cNvSpPr/>
            <p:nvPr/>
          </p:nvSpPr>
          <p:spPr>
            <a:xfrm>
              <a:off x="6370425" y="1934925"/>
              <a:ext cx="145575" cy="327050"/>
            </a:xfrm>
            <a:custGeom>
              <a:avLst/>
              <a:gdLst/>
              <a:ahLst/>
              <a:cxnLst/>
              <a:rect l="l" t="t" r="r" b="b"/>
              <a:pathLst>
                <a:path w="5823" h="13082" extrusionOk="0">
                  <a:moveTo>
                    <a:pt x="1074" y="1238"/>
                  </a:moveTo>
                  <a:lnTo>
                    <a:pt x="2249" y="2968"/>
                  </a:lnTo>
                  <a:lnTo>
                    <a:pt x="3423" y="6086"/>
                  </a:lnTo>
                  <a:lnTo>
                    <a:pt x="4963" y="8890"/>
                  </a:lnTo>
                  <a:lnTo>
                    <a:pt x="4143" y="9344"/>
                  </a:lnTo>
                  <a:lnTo>
                    <a:pt x="4976" y="12450"/>
                  </a:lnTo>
                  <a:lnTo>
                    <a:pt x="3852" y="12450"/>
                  </a:lnTo>
                  <a:lnTo>
                    <a:pt x="2867" y="9243"/>
                  </a:lnTo>
                  <a:lnTo>
                    <a:pt x="2867" y="7564"/>
                  </a:lnTo>
                  <a:lnTo>
                    <a:pt x="2072" y="5960"/>
                  </a:lnTo>
                  <a:lnTo>
                    <a:pt x="683" y="2008"/>
                  </a:lnTo>
                  <a:lnTo>
                    <a:pt x="1074" y="1238"/>
                  </a:lnTo>
                  <a:close/>
                  <a:moveTo>
                    <a:pt x="998" y="0"/>
                  </a:moveTo>
                  <a:lnTo>
                    <a:pt x="1" y="1957"/>
                  </a:lnTo>
                  <a:lnTo>
                    <a:pt x="1491" y="6213"/>
                  </a:lnTo>
                  <a:lnTo>
                    <a:pt x="2236" y="7715"/>
                  </a:lnTo>
                  <a:lnTo>
                    <a:pt x="2236" y="9294"/>
                  </a:lnTo>
                  <a:lnTo>
                    <a:pt x="3385" y="13082"/>
                  </a:lnTo>
                  <a:lnTo>
                    <a:pt x="5797" y="13082"/>
                  </a:lnTo>
                  <a:lnTo>
                    <a:pt x="4875" y="9660"/>
                  </a:lnTo>
                  <a:lnTo>
                    <a:pt x="5822" y="9142"/>
                  </a:lnTo>
                  <a:lnTo>
                    <a:pt x="3991" y="5834"/>
                  </a:lnTo>
                  <a:lnTo>
                    <a:pt x="2829" y="2715"/>
                  </a:lnTo>
                  <a:lnTo>
                    <a:pt x="99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65"/>
            <p:cNvSpPr/>
            <p:nvPr/>
          </p:nvSpPr>
          <p:spPr>
            <a:xfrm>
              <a:off x="5626075" y="893825"/>
              <a:ext cx="145875" cy="113350"/>
            </a:xfrm>
            <a:custGeom>
              <a:avLst/>
              <a:gdLst/>
              <a:ahLst/>
              <a:cxnLst/>
              <a:rect l="l" t="t" r="r" b="b"/>
              <a:pathLst>
                <a:path w="5835" h="4534" extrusionOk="0">
                  <a:moveTo>
                    <a:pt x="4142" y="0"/>
                  </a:moveTo>
                  <a:lnTo>
                    <a:pt x="2362" y="796"/>
                  </a:lnTo>
                  <a:lnTo>
                    <a:pt x="480" y="796"/>
                  </a:lnTo>
                  <a:lnTo>
                    <a:pt x="0" y="2425"/>
                  </a:lnTo>
                  <a:lnTo>
                    <a:pt x="2362" y="4533"/>
                  </a:lnTo>
                  <a:lnTo>
                    <a:pt x="4458" y="3334"/>
                  </a:lnTo>
                  <a:lnTo>
                    <a:pt x="5834" y="2273"/>
                  </a:lnTo>
                  <a:lnTo>
                    <a:pt x="5834" y="480"/>
                  </a:lnTo>
                  <a:lnTo>
                    <a:pt x="41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65"/>
            <p:cNvSpPr/>
            <p:nvPr/>
          </p:nvSpPr>
          <p:spPr>
            <a:xfrm>
              <a:off x="5617225" y="885625"/>
              <a:ext cx="162600" cy="131025"/>
            </a:xfrm>
            <a:custGeom>
              <a:avLst/>
              <a:gdLst/>
              <a:ahLst/>
              <a:cxnLst/>
              <a:rect l="l" t="t" r="r" b="b"/>
              <a:pathLst>
                <a:path w="6504" h="5241" extrusionOk="0">
                  <a:moveTo>
                    <a:pt x="4521" y="657"/>
                  </a:moveTo>
                  <a:lnTo>
                    <a:pt x="5872" y="1048"/>
                  </a:lnTo>
                  <a:lnTo>
                    <a:pt x="5872" y="2437"/>
                  </a:lnTo>
                  <a:lnTo>
                    <a:pt x="4660" y="3371"/>
                  </a:lnTo>
                  <a:lnTo>
                    <a:pt x="2766" y="4470"/>
                  </a:lnTo>
                  <a:lnTo>
                    <a:pt x="708" y="2652"/>
                  </a:lnTo>
                  <a:lnTo>
                    <a:pt x="1074" y="1452"/>
                  </a:lnTo>
                  <a:lnTo>
                    <a:pt x="2728" y="1452"/>
                  </a:lnTo>
                  <a:lnTo>
                    <a:pt x="4521" y="657"/>
                  </a:lnTo>
                  <a:close/>
                  <a:moveTo>
                    <a:pt x="4471" y="0"/>
                  </a:moveTo>
                  <a:lnTo>
                    <a:pt x="2653" y="821"/>
                  </a:lnTo>
                  <a:lnTo>
                    <a:pt x="607" y="821"/>
                  </a:lnTo>
                  <a:lnTo>
                    <a:pt x="1" y="2854"/>
                  </a:lnTo>
                  <a:lnTo>
                    <a:pt x="2678" y="5240"/>
                  </a:lnTo>
                  <a:lnTo>
                    <a:pt x="5001" y="3902"/>
                  </a:lnTo>
                  <a:lnTo>
                    <a:pt x="6504" y="2753"/>
                  </a:lnTo>
                  <a:lnTo>
                    <a:pt x="6504" y="581"/>
                  </a:lnTo>
                  <a:lnTo>
                    <a:pt x="447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65"/>
            <p:cNvSpPr/>
            <p:nvPr/>
          </p:nvSpPr>
          <p:spPr>
            <a:xfrm>
              <a:off x="5828725" y="897925"/>
              <a:ext cx="80850" cy="36650"/>
            </a:xfrm>
            <a:custGeom>
              <a:avLst/>
              <a:gdLst/>
              <a:ahLst/>
              <a:cxnLst/>
              <a:rect l="l" t="t" r="r" b="b"/>
              <a:pathLst>
                <a:path w="3234" h="1466" extrusionOk="0">
                  <a:moveTo>
                    <a:pt x="1" y="1"/>
                  </a:moveTo>
                  <a:lnTo>
                    <a:pt x="885" y="1465"/>
                  </a:lnTo>
                  <a:lnTo>
                    <a:pt x="3233" y="733"/>
                  </a:lnTo>
                  <a:lnTo>
                    <a:pt x="235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65"/>
            <p:cNvSpPr/>
            <p:nvPr/>
          </p:nvSpPr>
          <p:spPr>
            <a:xfrm>
              <a:off x="5814525" y="890350"/>
              <a:ext cx="111475" cy="53700"/>
            </a:xfrm>
            <a:custGeom>
              <a:avLst/>
              <a:gdLst/>
              <a:ahLst/>
              <a:cxnLst/>
              <a:rect l="l" t="t" r="r" b="b"/>
              <a:pathLst>
                <a:path w="4459" h="2148" extrusionOk="0">
                  <a:moveTo>
                    <a:pt x="2804" y="632"/>
                  </a:moveTo>
                  <a:lnTo>
                    <a:pt x="3157" y="922"/>
                  </a:lnTo>
                  <a:lnTo>
                    <a:pt x="1604" y="1402"/>
                  </a:lnTo>
                  <a:lnTo>
                    <a:pt x="1125" y="632"/>
                  </a:lnTo>
                  <a:close/>
                  <a:moveTo>
                    <a:pt x="1" y="0"/>
                  </a:moveTo>
                  <a:lnTo>
                    <a:pt x="1314" y="2147"/>
                  </a:lnTo>
                  <a:lnTo>
                    <a:pt x="4458" y="1175"/>
                  </a:lnTo>
                  <a:lnTo>
                    <a:pt x="303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65"/>
            <p:cNvSpPr/>
            <p:nvPr/>
          </p:nvSpPr>
          <p:spPr>
            <a:xfrm>
              <a:off x="5765925" y="1013475"/>
              <a:ext cx="80825" cy="48625"/>
            </a:xfrm>
            <a:custGeom>
              <a:avLst/>
              <a:gdLst/>
              <a:ahLst/>
              <a:cxnLst/>
              <a:rect l="l" t="t" r="r" b="b"/>
              <a:pathLst>
                <a:path w="3233" h="1945" extrusionOk="0">
                  <a:moveTo>
                    <a:pt x="0" y="0"/>
                  </a:moveTo>
                  <a:lnTo>
                    <a:pt x="871" y="1945"/>
                  </a:lnTo>
                  <a:lnTo>
                    <a:pt x="3233" y="972"/>
                  </a:lnTo>
                  <a:lnTo>
                    <a:pt x="1616" y="164"/>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65"/>
            <p:cNvSpPr/>
            <p:nvPr/>
          </p:nvSpPr>
          <p:spPr>
            <a:xfrm>
              <a:off x="5752975" y="1004300"/>
              <a:ext cx="113025" cy="68225"/>
            </a:xfrm>
            <a:custGeom>
              <a:avLst/>
              <a:gdLst/>
              <a:ahLst/>
              <a:cxnLst/>
              <a:rect l="l" t="t" r="r" b="b"/>
              <a:pathLst>
                <a:path w="4521" h="2729" extrusionOk="0">
                  <a:moveTo>
                    <a:pt x="1023" y="733"/>
                  </a:moveTo>
                  <a:lnTo>
                    <a:pt x="2046" y="847"/>
                  </a:lnTo>
                  <a:lnTo>
                    <a:pt x="2993" y="1314"/>
                  </a:lnTo>
                  <a:lnTo>
                    <a:pt x="1554" y="1908"/>
                  </a:lnTo>
                  <a:lnTo>
                    <a:pt x="1023" y="733"/>
                  </a:lnTo>
                  <a:close/>
                  <a:moveTo>
                    <a:pt x="0" y="1"/>
                  </a:moveTo>
                  <a:lnTo>
                    <a:pt x="1225" y="2728"/>
                  </a:lnTo>
                  <a:lnTo>
                    <a:pt x="4521" y="1365"/>
                  </a:lnTo>
                  <a:lnTo>
                    <a:pt x="2273" y="253"/>
                  </a:lnTo>
                  <a:lnTo>
                    <a:pt x="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65"/>
            <p:cNvSpPr/>
            <p:nvPr/>
          </p:nvSpPr>
          <p:spPr>
            <a:xfrm>
              <a:off x="4952100" y="890350"/>
              <a:ext cx="78950" cy="112725"/>
            </a:xfrm>
            <a:custGeom>
              <a:avLst/>
              <a:gdLst/>
              <a:ahLst/>
              <a:cxnLst/>
              <a:rect l="l" t="t" r="r" b="b"/>
              <a:pathLst>
                <a:path w="3158" h="4509" extrusionOk="0">
                  <a:moveTo>
                    <a:pt x="1" y="0"/>
                  </a:moveTo>
                  <a:lnTo>
                    <a:pt x="1" y="1882"/>
                  </a:lnTo>
                  <a:lnTo>
                    <a:pt x="960" y="4508"/>
                  </a:lnTo>
                  <a:lnTo>
                    <a:pt x="3157" y="2576"/>
                  </a:lnTo>
                  <a:lnTo>
                    <a:pt x="3157" y="1251"/>
                  </a:lnTo>
                  <a:lnTo>
                    <a:pt x="1"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65"/>
            <p:cNvSpPr/>
            <p:nvPr/>
          </p:nvSpPr>
          <p:spPr>
            <a:xfrm>
              <a:off x="4944200" y="878675"/>
              <a:ext cx="94750" cy="137975"/>
            </a:xfrm>
            <a:custGeom>
              <a:avLst/>
              <a:gdLst/>
              <a:ahLst/>
              <a:cxnLst/>
              <a:rect l="l" t="t" r="r" b="b"/>
              <a:pathLst>
                <a:path w="3790" h="5519" extrusionOk="0">
                  <a:moveTo>
                    <a:pt x="620" y="922"/>
                  </a:moveTo>
                  <a:lnTo>
                    <a:pt x="3145" y="1932"/>
                  </a:lnTo>
                  <a:lnTo>
                    <a:pt x="3145" y="2892"/>
                  </a:lnTo>
                  <a:lnTo>
                    <a:pt x="1415" y="4432"/>
                  </a:lnTo>
                  <a:lnTo>
                    <a:pt x="632" y="2298"/>
                  </a:lnTo>
                  <a:lnTo>
                    <a:pt x="620" y="922"/>
                  </a:lnTo>
                  <a:close/>
                  <a:moveTo>
                    <a:pt x="1" y="0"/>
                  </a:moveTo>
                  <a:lnTo>
                    <a:pt x="1" y="2349"/>
                  </a:lnTo>
                  <a:lnTo>
                    <a:pt x="1137" y="5518"/>
                  </a:lnTo>
                  <a:lnTo>
                    <a:pt x="3789" y="3182"/>
                  </a:lnTo>
                  <a:lnTo>
                    <a:pt x="3789" y="1503"/>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65"/>
            <p:cNvSpPr/>
            <p:nvPr/>
          </p:nvSpPr>
          <p:spPr>
            <a:xfrm>
              <a:off x="4770275" y="799125"/>
              <a:ext cx="164800" cy="161950"/>
            </a:xfrm>
            <a:custGeom>
              <a:avLst/>
              <a:gdLst/>
              <a:ahLst/>
              <a:cxnLst/>
              <a:rect l="l" t="t" r="r" b="b"/>
              <a:pathLst>
                <a:path w="6592" h="6478" extrusionOk="0">
                  <a:moveTo>
                    <a:pt x="1049" y="0"/>
                  </a:moveTo>
                  <a:lnTo>
                    <a:pt x="0" y="1856"/>
                  </a:lnTo>
                  <a:lnTo>
                    <a:pt x="948" y="4546"/>
                  </a:lnTo>
                  <a:lnTo>
                    <a:pt x="2539" y="6478"/>
                  </a:lnTo>
                  <a:lnTo>
                    <a:pt x="5064" y="6478"/>
                  </a:lnTo>
                  <a:lnTo>
                    <a:pt x="6592" y="6213"/>
                  </a:lnTo>
                  <a:lnTo>
                    <a:pt x="5695" y="3801"/>
                  </a:lnTo>
                  <a:lnTo>
                    <a:pt x="3296" y="2500"/>
                  </a:lnTo>
                  <a:lnTo>
                    <a:pt x="104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65"/>
            <p:cNvSpPr/>
            <p:nvPr/>
          </p:nvSpPr>
          <p:spPr>
            <a:xfrm>
              <a:off x="4761750" y="785550"/>
              <a:ext cx="184075" cy="183425"/>
            </a:xfrm>
            <a:custGeom>
              <a:avLst/>
              <a:gdLst/>
              <a:ahLst/>
              <a:cxnLst/>
              <a:rect l="l" t="t" r="r" b="b"/>
              <a:pathLst>
                <a:path w="7363" h="7337" extrusionOk="0">
                  <a:moveTo>
                    <a:pt x="1453" y="1074"/>
                  </a:moveTo>
                  <a:lnTo>
                    <a:pt x="3410" y="3245"/>
                  </a:lnTo>
                  <a:lnTo>
                    <a:pt x="5784" y="4559"/>
                  </a:lnTo>
                  <a:lnTo>
                    <a:pt x="6503" y="6516"/>
                  </a:lnTo>
                  <a:lnTo>
                    <a:pt x="5405" y="6705"/>
                  </a:lnTo>
                  <a:lnTo>
                    <a:pt x="3031" y="6705"/>
                  </a:lnTo>
                  <a:lnTo>
                    <a:pt x="1566" y="4937"/>
                  </a:lnTo>
                  <a:lnTo>
                    <a:pt x="695" y="2425"/>
                  </a:lnTo>
                  <a:lnTo>
                    <a:pt x="1453" y="1074"/>
                  </a:lnTo>
                  <a:close/>
                  <a:moveTo>
                    <a:pt x="1326" y="0"/>
                  </a:moveTo>
                  <a:lnTo>
                    <a:pt x="1" y="2374"/>
                  </a:lnTo>
                  <a:lnTo>
                    <a:pt x="985" y="5203"/>
                  </a:lnTo>
                  <a:lnTo>
                    <a:pt x="2728" y="7337"/>
                  </a:lnTo>
                  <a:lnTo>
                    <a:pt x="5468" y="7337"/>
                  </a:lnTo>
                  <a:lnTo>
                    <a:pt x="7362" y="7008"/>
                  </a:lnTo>
                  <a:lnTo>
                    <a:pt x="6289" y="4129"/>
                  </a:lnTo>
                  <a:lnTo>
                    <a:pt x="3839" y="2791"/>
                  </a:lnTo>
                  <a:lnTo>
                    <a:pt x="13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65"/>
            <p:cNvSpPr/>
            <p:nvPr/>
          </p:nvSpPr>
          <p:spPr>
            <a:xfrm>
              <a:off x="4392100" y="1174150"/>
              <a:ext cx="165750" cy="386075"/>
            </a:xfrm>
            <a:custGeom>
              <a:avLst/>
              <a:gdLst/>
              <a:ahLst/>
              <a:cxnLst/>
              <a:rect l="l" t="t" r="r" b="b"/>
              <a:pathLst>
                <a:path w="6630" h="15443" extrusionOk="0">
                  <a:moveTo>
                    <a:pt x="6629" y="0"/>
                  </a:moveTo>
                  <a:lnTo>
                    <a:pt x="4521" y="1036"/>
                  </a:lnTo>
                  <a:lnTo>
                    <a:pt x="2261" y="3056"/>
                  </a:lnTo>
                  <a:lnTo>
                    <a:pt x="0" y="6301"/>
                  </a:lnTo>
                  <a:lnTo>
                    <a:pt x="354" y="10594"/>
                  </a:lnTo>
                  <a:lnTo>
                    <a:pt x="51" y="12652"/>
                  </a:lnTo>
                  <a:lnTo>
                    <a:pt x="1288" y="15443"/>
                  </a:lnTo>
                  <a:lnTo>
                    <a:pt x="4357" y="15443"/>
                  </a:lnTo>
                  <a:lnTo>
                    <a:pt x="2425" y="11731"/>
                  </a:lnTo>
                  <a:lnTo>
                    <a:pt x="2955" y="7033"/>
                  </a:lnTo>
                  <a:lnTo>
                    <a:pt x="4634" y="4154"/>
                  </a:lnTo>
                  <a:lnTo>
                    <a:pt x="6629" y="1844"/>
                  </a:lnTo>
                  <a:lnTo>
                    <a:pt x="66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65"/>
            <p:cNvSpPr/>
            <p:nvPr/>
          </p:nvSpPr>
          <p:spPr>
            <a:xfrm>
              <a:off x="4383875" y="1161200"/>
              <a:ext cx="181875" cy="406925"/>
            </a:xfrm>
            <a:custGeom>
              <a:avLst/>
              <a:gdLst/>
              <a:ahLst/>
              <a:cxnLst/>
              <a:rect l="l" t="t" r="r" b="b"/>
              <a:pathLst>
                <a:path w="7275" h="16277" extrusionOk="0">
                  <a:moveTo>
                    <a:pt x="6643" y="1023"/>
                  </a:moveTo>
                  <a:lnTo>
                    <a:pt x="6643" y="2248"/>
                  </a:lnTo>
                  <a:lnTo>
                    <a:pt x="4686" y="4508"/>
                  </a:lnTo>
                  <a:lnTo>
                    <a:pt x="3006" y="7387"/>
                  </a:lnTo>
                  <a:lnTo>
                    <a:pt x="2425" y="12299"/>
                  </a:lnTo>
                  <a:lnTo>
                    <a:pt x="4168" y="15645"/>
                  </a:lnTo>
                  <a:lnTo>
                    <a:pt x="1819" y="15645"/>
                  </a:lnTo>
                  <a:lnTo>
                    <a:pt x="708" y="13120"/>
                  </a:lnTo>
                  <a:lnTo>
                    <a:pt x="999" y="11125"/>
                  </a:lnTo>
                  <a:lnTo>
                    <a:pt x="645" y="6895"/>
                  </a:lnTo>
                  <a:lnTo>
                    <a:pt x="2829" y="3789"/>
                  </a:lnTo>
                  <a:lnTo>
                    <a:pt x="5039" y="1806"/>
                  </a:lnTo>
                  <a:lnTo>
                    <a:pt x="6643" y="1023"/>
                  </a:lnTo>
                  <a:close/>
                  <a:moveTo>
                    <a:pt x="7274" y="0"/>
                  </a:moveTo>
                  <a:lnTo>
                    <a:pt x="4723" y="1263"/>
                  </a:lnTo>
                  <a:lnTo>
                    <a:pt x="2387" y="3347"/>
                  </a:lnTo>
                  <a:lnTo>
                    <a:pt x="1" y="6731"/>
                  </a:lnTo>
                  <a:lnTo>
                    <a:pt x="380" y="11112"/>
                  </a:lnTo>
                  <a:lnTo>
                    <a:pt x="64" y="13221"/>
                  </a:lnTo>
                  <a:lnTo>
                    <a:pt x="1415" y="16277"/>
                  </a:lnTo>
                  <a:lnTo>
                    <a:pt x="5203" y="16277"/>
                  </a:lnTo>
                  <a:lnTo>
                    <a:pt x="3069" y="12185"/>
                  </a:lnTo>
                  <a:lnTo>
                    <a:pt x="3587" y="7652"/>
                  </a:lnTo>
                  <a:lnTo>
                    <a:pt x="5203" y="4874"/>
                  </a:lnTo>
                  <a:lnTo>
                    <a:pt x="7274" y="2475"/>
                  </a:lnTo>
                  <a:lnTo>
                    <a:pt x="727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65"/>
            <p:cNvSpPr/>
            <p:nvPr/>
          </p:nvSpPr>
          <p:spPr>
            <a:xfrm>
              <a:off x="3327950" y="2153675"/>
              <a:ext cx="78950" cy="116200"/>
            </a:xfrm>
            <a:custGeom>
              <a:avLst/>
              <a:gdLst/>
              <a:ahLst/>
              <a:cxnLst/>
              <a:rect l="l" t="t" r="r" b="b"/>
              <a:pathLst>
                <a:path w="3158" h="4648" extrusionOk="0">
                  <a:moveTo>
                    <a:pt x="1288" y="1"/>
                  </a:moveTo>
                  <a:lnTo>
                    <a:pt x="1" y="1655"/>
                  </a:lnTo>
                  <a:lnTo>
                    <a:pt x="1" y="3069"/>
                  </a:lnTo>
                  <a:lnTo>
                    <a:pt x="1" y="3700"/>
                  </a:lnTo>
                  <a:lnTo>
                    <a:pt x="884" y="4647"/>
                  </a:lnTo>
                  <a:lnTo>
                    <a:pt x="2677" y="3915"/>
                  </a:lnTo>
                  <a:lnTo>
                    <a:pt x="3157" y="1731"/>
                  </a:lnTo>
                  <a:lnTo>
                    <a:pt x="3157" y="544"/>
                  </a:lnTo>
                  <a:lnTo>
                    <a:pt x="1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65"/>
            <p:cNvSpPr/>
            <p:nvPr/>
          </p:nvSpPr>
          <p:spPr>
            <a:xfrm>
              <a:off x="3320050" y="2144525"/>
              <a:ext cx="94725" cy="134825"/>
            </a:xfrm>
            <a:custGeom>
              <a:avLst/>
              <a:gdLst/>
              <a:ahLst/>
              <a:cxnLst/>
              <a:rect l="l" t="t" r="r" b="b"/>
              <a:pathLst>
                <a:path w="3789" h="5393" extrusionOk="0">
                  <a:moveTo>
                    <a:pt x="1718" y="720"/>
                  </a:moveTo>
                  <a:lnTo>
                    <a:pt x="3158" y="1150"/>
                  </a:lnTo>
                  <a:lnTo>
                    <a:pt x="3158" y="2059"/>
                  </a:lnTo>
                  <a:lnTo>
                    <a:pt x="2728" y="4054"/>
                  </a:lnTo>
                  <a:lnTo>
                    <a:pt x="1289" y="4647"/>
                  </a:lnTo>
                  <a:lnTo>
                    <a:pt x="632" y="3953"/>
                  </a:lnTo>
                  <a:lnTo>
                    <a:pt x="632" y="2122"/>
                  </a:lnTo>
                  <a:lnTo>
                    <a:pt x="1718" y="720"/>
                  </a:lnTo>
                  <a:close/>
                  <a:moveTo>
                    <a:pt x="1491" y="0"/>
                  </a:moveTo>
                  <a:lnTo>
                    <a:pt x="1" y="1907"/>
                  </a:lnTo>
                  <a:lnTo>
                    <a:pt x="1" y="4193"/>
                  </a:lnTo>
                  <a:lnTo>
                    <a:pt x="1125" y="5392"/>
                  </a:lnTo>
                  <a:lnTo>
                    <a:pt x="3271" y="4508"/>
                  </a:lnTo>
                  <a:lnTo>
                    <a:pt x="3789" y="2160"/>
                  </a:lnTo>
                  <a:lnTo>
                    <a:pt x="3789" y="682"/>
                  </a:lnTo>
                  <a:lnTo>
                    <a:pt x="149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65"/>
            <p:cNvSpPr/>
            <p:nvPr/>
          </p:nvSpPr>
          <p:spPr>
            <a:xfrm>
              <a:off x="3404025" y="2057075"/>
              <a:ext cx="144925" cy="252250"/>
            </a:xfrm>
            <a:custGeom>
              <a:avLst/>
              <a:gdLst/>
              <a:ahLst/>
              <a:cxnLst/>
              <a:rect l="l" t="t" r="r" b="b"/>
              <a:pathLst>
                <a:path w="5797" h="10090" extrusionOk="0">
                  <a:moveTo>
                    <a:pt x="2602" y="1"/>
                  </a:moveTo>
                  <a:lnTo>
                    <a:pt x="834" y="443"/>
                  </a:lnTo>
                  <a:lnTo>
                    <a:pt x="1" y="1680"/>
                  </a:lnTo>
                  <a:lnTo>
                    <a:pt x="2097" y="4408"/>
                  </a:lnTo>
                  <a:lnTo>
                    <a:pt x="2311" y="6201"/>
                  </a:lnTo>
                  <a:lnTo>
                    <a:pt x="746" y="7703"/>
                  </a:lnTo>
                  <a:lnTo>
                    <a:pt x="746" y="10090"/>
                  </a:lnTo>
                  <a:lnTo>
                    <a:pt x="5796" y="9155"/>
                  </a:lnTo>
                  <a:lnTo>
                    <a:pt x="5796" y="7564"/>
                  </a:lnTo>
                  <a:lnTo>
                    <a:pt x="4837" y="5266"/>
                  </a:lnTo>
                  <a:lnTo>
                    <a:pt x="2728" y="2753"/>
                  </a:lnTo>
                  <a:lnTo>
                    <a:pt x="3700" y="1213"/>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65"/>
            <p:cNvSpPr/>
            <p:nvPr/>
          </p:nvSpPr>
          <p:spPr>
            <a:xfrm>
              <a:off x="3394250" y="2048250"/>
              <a:ext cx="162600" cy="270550"/>
            </a:xfrm>
            <a:custGeom>
              <a:avLst/>
              <a:gdLst/>
              <a:ahLst/>
              <a:cxnLst/>
              <a:rect l="l" t="t" r="r" b="b"/>
              <a:pathLst>
                <a:path w="6504" h="10822" extrusionOk="0">
                  <a:moveTo>
                    <a:pt x="2879" y="707"/>
                  </a:moveTo>
                  <a:lnTo>
                    <a:pt x="3687" y="1604"/>
                  </a:lnTo>
                  <a:lnTo>
                    <a:pt x="2728" y="3132"/>
                  </a:lnTo>
                  <a:lnTo>
                    <a:pt x="4950" y="5783"/>
                  </a:lnTo>
                  <a:lnTo>
                    <a:pt x="5872" y="7980"/>
                  </a:lnTo>
                  <a:lnTo>
                    <a:pt x="5872" y="9243"/>
                  </a:lnTo>
                  <a:lnTo>
                    <a:pt x="1452" y="10064"/>
                  </a:lnTo>
                  <a:lnTo>
                    <a:pt x="1452" y="8195"/>
                  </a:lnTo>
                  <a:lnTo>
                    <a:pt x="3031" y="6667"/>
                  </a:lnTo>
                  <a:lnTo>
                    <a:pt x="2791" y="4634"/>
                  </a:lnTo>
                  <a:lnTo>
                    <a:pt x="783" y="2008"/>
                  </a:lnTo>
                  <a:lnTo>
                    <a:pt x="1414" y="1061"/>
                  </a:lnTo>
                  <a:lnTo>
                    <a:pt x="2879" y="707"/>
                  </a:lnTo>
                  <a:close/>
                  <a:moveTo>
                    <a:pt x="3094" y="0"/>
                  </a:moveTo>
                  <a:lnTo>
                    <a:pt x="1023" y="505"/>
                  </a:lnTo>
                  <a:lnTo>
                    <a:pt x="0" y="2046"/>
                  </a:lnTo>
                  <a:lnTo>
                    <a:pt x="2172" y="4887"/>
                  </a:lnTo>
                  <a:lnTo>
                    <a:pt x="2361" y="6440"/>
                  </a:lnTo>
                  <a:lnTo>
                    <a:pt x="821" y="7917"/>
                  </a:lnTo>
                  <a:lnTo>
                    <a:pt x="821" y="10822"/>
                  </a:lnTo>
                  <a:lnTo>
                    <a:pt x="6503" y="9774"/>
                  </a:lnTo>
                  <a:lnTo>
                    <a:pt x="6503" y="7917"/>
                  </a:lnTo>
                  <a:lnTo>
                    <a:pt x="5506" y="5493"/>
                  </a:lnTo>
                  <a:lnTo>
                    <a:pt x="3498" y="3094"/>
                  </a:lnTo>
                  <a:lnTo>
                    <a:pt x="4470" y="1541"/>
                  </a:lnTo>
                  <a:lnTo>
                    <a:pt x="309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65"/>
            <p:cNvSpPr/>
            <p:nvPr/>
          </p:nvSpPr>
          <p:spPr>
            <a:xfrm>
              <a:off x="3658775" y="1084500"/>
              <a:ext cx="236775" cy="215300"/>
            </a:xfrm>
            <a:custGeom>
              <a:avLst/>
              <a:gdLst/>
              <a:ahLst/>
              <a:cxnLst/>
              <a:rect l="l" t="t" r="r" b="b"/>
              <a:pathLst>
                <a:path w="9471" h="8612" extrusionOk="0">
                  <a:moveTo>
                    <a:pt x="3498" y="0"/>
                  </a:moveTo>
                  <a:lnTo>
                    <a:pt x="1907" y="972"/>
                  </a:lnTo>
                  <a:lnTo>
                    <a:pt x="1907" y="1692"/>
                  </a:lnTo>
                  <a:lnTo>
                    <a:pt x="1" y="2273"/>
                  </a:lnTo>
                  <a:lnTo>
                    <a:pt x="2173" y="5026"/>
                  </a:lnTo>
                  <a:lnTo>
                    <a:pt x="3801" y="6162"/>
                  </a:lnTo>
                  <a:lnTo>
                    <a:pt x="3271" y="6970"/>
                  </a:lnTo>
                  <a:lnTo>
                    <a:pt x="5254" y="8612"/>
                  </a:lnTo>
                  <a:lnTo>
                    <a:pt x="6327" y="4028"/>
                  </a:lnTo>
                  <a:lnTo>
                    <a:pt x="7488" y="5278"/>
                  </a:lnTo>
                  <a:lnTo>
                    <a:pt x="7122" y="7046"/>
                  </a:lnTo>
                  <a:lnTo>
                    <a:pt x="8537" y="7046"/>
                  </a:lnTo>
                  <a:lnTo>
                    <a:pt x="9471" y="5177"/>
                  </a:lnTo>
                  <a:lnTo>
                    <a:pt x="6150" y="2513"/>
                  </a:lnTo>
                  <a:lnTo>
                    <a:pt x="349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65"/>
            <p:cNvSpPr/>
            <p:nvPr/>
          </p:nvSpPr>
          <p:spPr>
            <a:xfrm>
              <a:off x="3645200" y="1074400"/>
              <a:ext cx="260450" cy="239600"/>
            </a:xfrm>
            <a:custGeom>
              <a:avLst/>
              <a:gdLst/>
              <a:ahLst/>
              <a:cxnLst/>
              <a:rect l="l" t="t" r="r" b="b"/>
              <a:pathLst>
                <a:path w="10418" h="9584" extrusionOk="0">
                  <a:moveTo>
                    <a:pt x="4003" y="796"/>
                  </a:moveTo>
                  <a:lnTo>
                    <a:pt x="6491" y="3157"/>
                  </a:lnTo>
                  <a:lnTo>
                    <a:pt x="9610" y="5670"/>
                  </a:lnTo>
                  <a:lnTo>
                    <a:pt x="8878" y="7134"/>
                  </a:lnTo>
                  <a:lnTo>
                    <a:pt x="8057" y="7134"/>
                  </a:lnTo>
                  <a:lnTo>
                    <a:pt x="8372" y="5581"/>
                  </a:lnTo>
                  <a:lnTo>
                    <a:pt x="6693" y="3788"/>
                  </a:lnTo>
                  <a:lnTo>
                    <a:pt x="5607" y="8460"/>
                  </a:lnTo>
                  <a:lnTo>
                    <a:pt x="4231" y="7324"/>
                  </a:lnTo>
                  <a:lnTo>
                    <a:pt x="4774" y="6478"/>
                  </a:lnTo>
                  <a:lnTo>
                    <a:pt x="2943" y="5202"/>
                  </a:lnTo>
                  <a:lnTo>
                    <a:pt x="1074" y="2841"/>
                  </a:lnTo>
                  <a:lnTo>
                    <a:pt x="2779" y="2323"/>
                  </a:lnTo>
                  <a:lnTo>
                    <a:pt x="2779" y="1553"/>
                  </a:lnTo>
                  <a:lnTo>
                    <a:pt x="4003" y="796"/>
                  </a:lnTo>
                  <a:close/>
                  <a:moveTo>
                    <a:pt x="4092" y="0"/>
                  </a:moveTo>
                  <a:lnTo>
                    <a:pt x="2147" y="1200"/>
                  </a:lnTo>
                  <a:lnTo>
                    <a:pt x="2147" y="1856"/>
                  </a:lnTo>
                  <a:lnTo>
                    <a:pt x="1" y="2513"/>
                  </a:lnTo>
                  <a:lnTo>
                    <a:pt x="2476" y="5632"/>
                  </a:lnTo>
                  <a:lnTo>
                    <a:pt x="3915" y="6654"/>
                  </a:lnTo>
                  <a:lnTo>
                    <a:pt x="3397" y="7437"/>
                  </a:lnTo>
                  <a:lnTo>
                    <a:pt x="5986" y="9584"/>
                  </a:lnTo>
                  <a:lnTo>
                    <a:pt x="7047" y="5076"/>
                  </a:lnTo>
                  <a:lnTo>
                    <a:pt x="7691" y="5771"/>
                  </a:lnTo>
                  <a:lnTo>
                    <a:pt x="7274" y="7778"/>
                  </a:lnTo>
                  <a:lnTo>
                    <a:pt x="9269" y="7778"/>
                  </a:lnTo>
                  <a:lnTo>
                    <a:pt x="10418" y="5505"/>
                  </a:lnTo>
                  <a:lnTo>
                    <a:pt x="6908" y="2690"/>
                  </a:lnTo>
                  <a:lnTo>
                    <a:pt x="40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65"/>
            <p:cNvSpPr/>
            <p:nvPr/>
          </p:nvSpPr>
          <p:spPr>
            <a:xfrm>
              <a:off x="3780950" y="1045975"/>
              <a:ext cx="134825" cy="91250"/>
            </a:xfrm>
            <a:custGeom>
              <a:avLst/>
              <a:gdLst/>
              <a:ahLst/>
              <a:cxnLst/>
              <a:rect l="l" t="t" r="r" b="b"/>
              <a:pathLst>
                <a:path w="5393" h="3650" extrusionOk="0">
                  <a:moveTo>
                    <a:pt x="1175" y="1"/>
                  </a:moveTo>
                  <a:lnTo>
                    <a:pt x="0" y="1137"/>
                  </a:lnTo>
                  <a:lnTo>
                    <a:pt x="2235" y="2842"/>
                  </a:lnTo>
                  <a:lnTo>
                    <a:pt x="3612" y="3650"/>
                  </a:lnTo>
                  <a:lnTo>
                    <a:pt x="5392" y="1819"/>
                  </a:lnTo>
                  <a:lnTo>
                    <a:pt x="4584" y="329"/>
                  </a:lnTo>
                  <a:lnTo>
                    <a:pt x="3208" y="1"/>
                  </a:lnTo>
                  <a:lnTo>
                    <a:pt x="2703" y="1137"/>
                  </a:lnTo>
                  <a:lnTo>
                    <a:pt x="11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65"/>
            <p:cNvSpPr/>
            <p:nvPr/>
          </p:nvSpPr>
          <p:spPr>
            <a:xfrm>
              <a:off x="3768950" y="1035550"/>
              <a:ext cx="156600" cy="111475"/>
            </a:xfrm>
            <a:custGeom>
              <a:avLst/>
              <a:gdLst/>
              <a:ahLst/>
              <a:cxnLst/>
              <a:rect l="l" t="t" r="r" b="b"/>
              <a:pathLst>
                <a:path w="6264" h="4459" extrusionOk="0">
                  <a:moveTo>
                    <a:pt x="3864" y="784"/>
                  </a:moveTo>
                  <a:lnTo>
                    <a:pt x="4849" y="1011"/>
                  </a:lnTo>
                  <a:lnTo>
                    <a:pt x="5481" y="2185"/>
                  </a:lnTo>
                  <a:lnTo>
                    <a:pt x="4041" y="3663"/>
                  </a:lnTo>
                  <a:lnTo>
                    <a:pt x="2905" y="3006"/>
                  </a:lnTo>
                  <a:lnTo>
                    <a:pt x="960" y="1529"/>
                  </a:lnTo>
                  <a:lnTo>
                    <a:pt x="1680" y="834"/>
                  </a:lnTo>
                  <a:lnTo>
                    <a:pt x="3309" y="2046"/>
                  </a:lnTo>
                  <a:lnTo>
                    <a:pt x="3864" y="784"/>
                  </a:lnTo>
                  <a:close/>
                  <a:moveTo>
                    <a:pt x="1629" y="1"/>
                  </a:moveTo>
                  <a:lnTo>
                    <a:pt x="0" y="1579"/>
                  </a:lnTo>
                  <a:lnTo>
                    <a:pt x="2564" y="3524"/>
                  </a:lnTo>
                  <a:lnTo>
                    <a:pt x="4142" y="4458"/>
                  </a:lnTo>
                  <a:lnTo>
                    <a:pt x="6264" y="2299"/>
                  </a:lnTo>
                  <a:lnTo>
                    <a:pt x="5279" y="468"/>
                  </a:lnTo>
                  <a:lnTo>
                    <a:pt x="3511" y="51"/>
                  </a:lnTo>
                  <a:lnTo>
                    <a:pt x="3056" y="1062"/>
                  </a:lnTo>
                  <a:lnTo>
                    <a:pt x="1629"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65"/>
            <p:cNvSpPr/>
            <p:nvPr/>
          </p:nvSpPr>
          <p:spPr>
            <a:xfrm>
              <a:off x="3098775" y="1751200"/>
              <a:ext cx="166375" cy="133550"/>
            </a:xfrm>
            <a:custGeom>
              <a:avLst/>
              <a:gdLst/>
              <a:ahLst/>
              <a:cxnLst/>
              <a:rect l="l" t="t" r="r" b="b"/>
              <a:pathLst>
                <a:path w="6655" h="5342" extrusionOk="0">
                  <a:moveTo>
                    <a:pt x="5619" y="0"/>
                  </a:moveTo>
                  <a:lnTo>
                    <a:pt x="4205" y="985"/>
                  </a:lnTo>
                  <a:lnTo>
                    <a:pt x="2475" y="1869"/>
                  </a:lnTo>
                  <a:lnTo>
                    <a:pt x="1288" y="404"/>
                  </a:lnTo>
                  <a:lnTo>
                    <a:pt x="0" y="1856"/>
                  </a:lnTo>
                  <a:lnTo>
                    <a:pt x="341" y="2829"/>
                  </a:lnTo>
                  <a:lnTo>
                    <a:pt x="341" y="4028"/>
                  </a:lnTo>
                  <a:lnTo>
                    <a:pt x="2766" y="5341"/>
                  </a:lnTo>
                  <a:lnTo>
                    <a:pt x="4963" y="4369"/>
                  </a:lnTo>
                  <a:lnTo>
                    <a:pt x="6655" y="2854"/>
                  </a:lnTo>
                  <a:lnTo>
                    <a:pt x="6655" y="1515"/>
                  </a:lnTo>
                  <a:lnTo>
                    <a:pt x="561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65"/>
            <p:cNvSpPr/>
            <p:nvPr/>
          </p:nvSpPr>
          <p:spPr>
            <a:xfrm>
              <a:off x="3089925" y="1740150"/>
              <a:ext cx="182800" cy="153450"/>
            </a:xfrm>
            <a:custGeom>
              <a:avLst/>
              <a:gdLst/>
              <a:ahLst/>
              <a:cxnLst/>
              <a:rect l="l" t="t" r="r" b="b"/>
              <a:pathLst>
                <a:path w="7312" h="6138" extrusionOk="0">
                  <a:moveTo>
                    <a:pt x="5885" y="884"/>
                  </a:moveTo>
                  <a:lnTo>
                    <a:pt x="6693" y="2046"/>
                  </a:lnTo>
                  <a:lnTo>
                    <a:pt x="6693" y="3157"/>
                  </a:lnTo>
                  <a:lnTo>
                    <a:pt x="5140" y="4546"/>
                  </a:lnTo>
                  <a:lnTo>
                    <a:pt x="3132" y="5443"/>
                  </a:lnTo>
                  <a:lnTo>
                    <a:pt x="1011" y="4281"/>
                  </a:lnTo>
                  <a:lnTo>
                    <a:pt x="1011" y="3271"/>
                  </a:lnTo>
                  <a:lnTo>
                    <a:pt x="708" y="2374"/>
                  </a:lnTo>
                  <a:lnTo>
                    <a:pt x="1630" y="1339"/>
                  </a:lnTo>
                  <a:lnTo>
                    <a:pt x="2741" y="2715"/>
                  </a:lnTo>
                  <a:lnTo>
                    <a:pt x="4698" y="1705"/>
                  </a:lnTo>
                  <a:lnTo>
                    <a:pt x="5885" y="884"/>
                  </a:lnTo>
                  <a:close/>
                  <a:moveTo>
                    <a:pt x="6049" y="0"/>
                  </a:moveTo>
                  <a:lnTo>
                    <a:pt x="4395" y="1162"/>
                  </a:lnTo>
                  <a:lnTo>
                    <a:pt x="2918" y="1920"/>
                  </a:lnTo>
                  <a:lnTo>
                    <a:pt x="1655" y="366"/>
                  </a:lnTo>
                  <a:lnTo>
                    <a:pt x="1" y="2235"/>
                  </a:lnTo>
                  <a:lnTo>
                    <a:pt x="380" y="3334"/>
                  </a:lnTo>
                  <a:lnTo>
                    <a:pt x="380" y="4660"/>
                  </a:lnTo>
                  <a:lnTo>
                    <a:pt x="3094" y="6137"/>
                  </a:lnTo>
                  <a:lnTo>
                    <a:pt x="5443" y="5102"/>
                  </a:lnTo>
                  <a:lnTo>
                    <a:pt x="7312" y="3435"/>
                  </a:lnTo>
                  <a:lnTo>
                    <a:pt x="7312" y="1856"/>
                  </a:lnTo>
                  <a:lnTo>
                    <a:pt x="604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65"/>
            <p:cNvSpPr/>
            <p:nvPr/>
          </p:nvSpPr>
          <p:spPr>
            <a:xfrm>
              <a:off x="3793250" y="2636350"/>
              <a:ext cx="57175" cy="35700"/>
            </a:xfrm>
            <a:custGeom>
              <a:avLst/>
              <a:gdLst/>
              <a:ahLst/>
              <a:cxnLst/>
              <a:rect l="l" t="t" r="r" b="b"/>
              <a:pathLst>
                <a:path w="2287" h="1428" extrusionOk="0">
                  <a:moveTo>
                    <a:pt x="1743" y="0"/>
                  </a:moveTo>
                  <a:lnTo>
                    <a:pt x="1" y="480"/>
                  </a:lnTo>
                  <a:lnTo>
                    <a:pt x="2286" y="1427"/>
                  </a:lnTo>
                  <a:lnTo>
                    <a:pt x="2286" y="1427"/>
                  </a:lnTo>
                  <a:lnTo>
                    <a:pt x="174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65"/>
            <p:cNvSpPr/>
            <p:nvPr/>
          </p:nvSpPr>
          <p:spPr>
            <a:xfrm>
              <a:off x="3768950" y="2626875"/>
              <a:ext cx="95675" cy="59375"/>
            </a:xfrm>
            <a:custGeom>
              <a:avLst/>
              <a:gdLst/>
              <a:ahLst/>
              <a:cxnLst/>
              <a:rect l="l" t="t" r="r" b="b"/>
              <a:pathLst>
                <a:path w="3827" h="2375" extrusionOk="0">
                  <a:moveTo>
                    <a:pt x="2526" y="758"/>
                  </a:moveTo>
                  <a:lnTo>
                    <a:pt x="2703" y="1238"/>
                  </a:lnTo>
                  <a:lnTo>
                    <a:pt x="1958" y="922"/>
                  </a:lnTo>
                  <a:lnTo>
                    <a:pt x="2526" y="758"/>
                  </a:lnTo>
                  <a:close/>
                  <a:moveTo>
                    <a:pt x="2905" y="0"/>
                  </a:moveTo>
                  <a:lnTo>
                    <a:pt x="0" y="796"/>
                  </a:lnTo>
                  <a:lnTo>
                    <a:pt x="3826" y="2374"/>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65"/>
            <p:cNvSpPr/>
            <p:nvPr/>
          </p:nvSpPr>
          <p:spPr>
            <a:xfrm>
              <a:off x="3702975" y="2517025"/>
              <a:ext cx="43275" cy="68200"/>
            </a:xfrm>
            <a:custGeom>
              <a:avLst/>
              <a:gdLst/>
              <a:ahLst/>
              <a:cxnLst/>
              <a:rect l="l" t="t" r="r" b="b"/>
              <a:pathLst>
                <a:path w="1731" h="2728" extrusionOk="0">
                  <a:moveTo>
                    <a:pt x="733" y="0"/>
                  </a:moveTo>
                  <a:cubicBezTo>
                    <a:pt x="493" y="164"/>
                    <a:pt x="0" y="1288"/>
                    <a:pt x="0" y="1288"/>
                  </a:cubicBezTo>
                  <a:lnTo>
                    <a:pt x="695" y="2728"/>
                  </a:lnTo>
                  <a:lnTo>
                    <a:pt x="1730" y="2728"/>
                  </a:lnTo>
                  <a:lnTo>
                    <a:pt x="73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65"/>
            <p:cNvSpPr/>
            <p:nvPr/>
          </p:nvSpPr>
          <p:spPr>
            <a:xfrm>
              <a:off x="3694450" y="2505025"/>
              <a:ext cx="62850" cy="88100"/>
            </a:xfrm>
            <a:custGeom>
              <a:avLst/>
              <a:gdLst/>
              <a:ahLst/>
              <a:cxnLst/>
              <a:rect l="l" t="t" r="r" b="b"/>
              <a:pathLst>
                <a:path w="2514" h="3524" extrusionOk="0">
                  <a:moveTo>
                    <a:pt x="973" y="1162"/>
                  </a:moveTo>
                  <a:lnTo>
                    <a:pt x="1604" y="2892"/>
                  </a:lnTo>
                  <a:lnTo>
                    <a:pt x="1225" y="2892"/>
                  </a:lnTo>
                  <a:lnTo>
                    <a:pt x="682" y="1756"/>
                  </a:lnTo>
                  <a:cubicBezTo>
                    <a:pt x="771" y="1554"/>
                    <a:pt x="884" y="1352"/>
                    <a:pt x="973" y="1162"/>
                  </a:cubicBezTo>
                  <a:close/>
                  <a:moveTo>
                    <a:pt x="1238" y="0"/>
                  </a:moveTo>
                  <a:lnTo>
                    <a:pt x="897" y="215"/>
                  </a:lnTo>
                  <a:cubicBezTo>
                    <a:pt x="619" y="405"/>
                    <a:pt x="253" y="1187"/>
                    <a:pt x="51" y="1642"/>
                  </a:cubicBezTo>
                  <a:lnTo>
                    <a:pt x="1" y="1768"/>
                  </a:lnTo>
                  <a:lnTo>
                    <a:pt x="834" y="3523"/>
                  </a:lnTo>
                  <a:lnTo>
                    <a:pt x="2513" y="3523"/>
                  </a:lnTo>
                  <a:lnTo>
                    <a:pt x="123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65"/>
            <p:cNvSpPr/>
            <p:nvPr/>
          </p:nvSpPr>
          <p:spPr>
            <a:xfrm>
              <a:off x="3696975" y="2570375"/>
              <a:ext cx="25275" cy="78000"/>
            </a:xfrm>
            <a:custGeom>
              <a:avLst/>
              <a:gdLst/>
              <a:ahLst/>
              <a:cxnLst/>
              <a:rect l="l" t="t" r="r" b="b"/>
              <a:pathLst>
                <a:path w="1011" h="3120" extrusionOk="0">
                  <a:moveTo>
                    <a:pt x="455" y="0"/>
                  </a:moveTo>
                  <a:lnTo>
                    <a:pt x="1" y="1402"/>
                  </a:lnTo>
                  <a:lnTo>
                    <a:pt x="581" y="3119"/>
                  </a:lnTo>
                  <a:lnTo>
                    <a:pt x="1011" y="3119"/>
                  </a:lnTo>
                  <a:lnTo>
                    <a:pt x="1011" y="278"/>
                  </a:lnTo>
                  <a:lnTo>
                    <a:pt x="4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65"/>
            <p:cNvSpPr/>
            <p:nvPr/>
          </p:nvSpPr>
          <p:spPr>
            <a:xfrm>
              <a:off x="3688775" y="2563750"/>
              <a:ext cx="43275" cy="92500"/>
            </a:xfrm>
            <a:custGeom>
              <a:avLst/>
              <a:gdLst/>
              <a:ahLst/>
              <a:cxnLst/>
              <a:rect l="l" t="t" r="r" b="b"/>
              <a:pathLst>
                <a:path w="1731" h="3700" extrusionOk="0">
                  <a:moveTo>
                    <a:pt x="1023" y="846"/>
                  </a:moveTo>
                  <a:lnTo>
                    <a:pt x="1074" y="871"/>
                  </a:lnTo>
                  <a:lnTo>
                    <a:pt x="1074" y="2765"/>
                  </a:lnTo>
                  <a:lnTo>
                    <a:pt x="695" y="1755"/>
                  </a:lnTo>
                  <a:lnTo>
                    <a:pt x="1023" y="846"/>
                  </a:lnTo>
                  <a:close/>
                  <a:moveTo>
                    <a:pt x="632" y="0"/>
                  </a:moveTo>
                  <a:lnTo>
                    <a:pt x="0" y="1755"/>
                  </a:lnTo>
                  <a:lnTo>
                    <a:pt x="720" y="3700"/>
                  </a:lnTo>
                  <a:lnTo>
                    <a:pt x="1730" y="3700"/>
                  </a:lnTo>
                  <a:lnTo>
                    <a:pt x="1730" y="493"/>
                  </a:lnTo>
                  <a:lnTo>
                    <a:pt x="63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65"/>
            <p:cNvSpPr/>
            <p:nvPr/>
          </p:nvSpPr>
          <p:spPr>
            <a:xfrm>
              <a:off x="4360850" y="1623350"/>
              <a:ext cx="47375" cy="27475"/>
            </a:xfrm>
            <a:custGeom>
              <a:avLst/>
              <a:gdLst/>
              <a:ahLst/>
              <a:cxnLst/>
              <a:rect l="l" t="t" r="r" b="b"/>
              <a:pathLst>
                <a:path w="1895" h="1099" extrusionOk="0">
                  <a:moveTo>
                    <a:pt x="0" y="0"/>
                  </a:moveTo>
                  <a:lnTo>
                    <a:pt x="556" y="1099"/>
                  </a:lnTo>
                  <a:lnTo>
                    <a:pt x="1326" y="947"/>
                  </a:lnTo>
                  <a:lnTo>
                    <a:pt x="18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65"/>
            <p:cNvSpPr/>
            <p:nvPr/>
          </p:nvSpPr>
          <p:spPr>
            <a:xfrm>
              <a:off x="4347900" y="1615450"/>
              <a:ext cx="74200" cy="44550"/>
            </a:xfrm>
            <a:custGeom>
              <a:avLst/>
              <a:gdLst/>
              <a:ahLst/>
              <a:cxnLst/>
              <a:rect l="l" t="t" r="r" b="b"/>
              <a:pathLst>
                <a:path w="2968" h="1782" extrusionOk="0">
                  <a:moveTo>
                    <a:pt x="1857" y="632"/>
                  </a:moveTo>
                  <a:lnTo>
                    <a:pt x="1642" y="973"/>
                  </a:lnTo>
                  <a:lnTo>
                    <a:pt x="1238" y="1061"/>
                  </a:lnTo>
                  <a:lnTo>
                    <a:pt x="1023" y="632"/>
                  </a:lnTo>
                  <a:close/>
                  <a:moveTo>
                    <a:pt x="0" y="1"/>
                  </a:moveTo>
                  <a:lnTo>
                    <a:pt x="897" y="1781"/>
                  </a:lnTo>
                  <a:lnTo>
                    <a:pt x="2046" y="1541"/>
                  </a:lnTo>
                  <a:lnTo>
                    <a:pt x="296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65"/>
            <p:cNvSpPr/>
            <p:nvPr/>
          </p:nvSpPr>
          <p:spPr>
            <a:xfrm>
              <a:off x="2445000" y="785850"/>
              <a:ext cx="922425" cy="1196450"/>
            </a:xfrm>
            <a:custGeom>
              <a:avLst/>
              <a:gdLst/>
              <a:ahLst/>
              <a:cxnLst/>
              <a:rect l="l" t="t" r="r" b="b"/>
              <a:pathLst>
                <a:path w="36897" h="47858" extrusionOk="0">
                  <a:moveTo>
                    <a:pt x="27288" y="1"/>
                  </a:moveTo>
                  <a:lnTo>
                    <a:pt x="21921" y="2324"/>
                  </a:lnTo>
                  <a:lnTo>
                    <a:pt x="20027" y="2375"/>
                  </a:lnTo>
                  <a:lnTo>
                    <a:pt x="19396" y="4067"/>
                  </a:lnTo>
                  <a:lnTo>
                    <a:pt x="20179" y="6378"/>
                  </a:lnTo>
                  <a:lnTo>
                    <a:pt x="18600" y="6378"/>
                  </a:lnTo>
                  <a:lnTo>
                    <a:pt x="18285" y="4016"/>
                  </a:lnTo>
                  <a:lnTo>
                    <a:pt x="17262" y="3625"/>
                  </a:lnTo>
                  <a:lnTo>
                    <a:pt x="16782" y="5203"/>
                  </a:lnTo>
                  <a:lnTo>
                    <a:pt x="15620" y="4850"/>
                  </a:lnTo>
                  <a:lnTo>
                    <a:pt x="15305" y="3006"/>
                  </a:lnTo>
                  <a:lnTo>
                    <a:pt x="13411" y="3322"/>
                  </a:lnTo>
                  <a:lnTo>
                    <a:pt x="11277" y="4105"/>
                  </a:lnTo>
                  <a:lnTo>
                    <a:pt x="9698" y="5683"/>
                  </a:lnTo>
                  <a:lnTo>
                    <a:pt x="7489" y="6163"/>
                  </a:lnTo>
                  <a:lnTo>
                    <a:pt x="6150" y="7893"/>
                  </a:lnTo>
                  <a:lnTo>
                    <a:pt x="6933" y="9080"/>
                  </a:lnTo>
                  <a:lnTo>
                    <a:pt x="5355" y="10418"/>
                  </a:lnTo>
                  <a:lnTo>
                    <a:pt x="2678" y="11529"/>
                  </a:lnTo>
                  <a:lnTo>
                    <a:pt x="784" y="11883"/>
                  </a:lnTo>
                  <a:lnTo>
                    <a:pt x="1251" y="13575"/>
                  </a:lnTo>
                  <a:lnTo>
                    <a:pt x="2678" y="13726"/>
                  </a:lnTo>
                  <a:lnTo>
                    <a:pt x="3069" y="14598"/>
                  </a:lnTo>
                  <a:lnTo>
                    <a:pt x="1" y="14838"/>
                  </a:lnTo>
                  <a:lnTo>
                    <a:pt x="1" y="16176"/>
                  </a:lnTo>
                  <a:lnTo>
                    <a:pt x="1731" y="17363"/>
                  </a:lnTo>
                  <a:cubicBezTo>
                    <a:pt x="1731" y="17363"/>
                    <a:pt x="1944" y="16942"/>
                    <a:pt x="2599" y="16942"/>
                  </a:cubicBezTo>
                  <a:cubicBezTo>
                    <a:pt x="2926" y="16942"/>
                    <a:pt x="3364" y="17047"/>
                    <a:pt x="3940" y="17363"/>
                  </a:cubicBezTo>
                  <a:cubicBezTo>
                    <a:pt x="5683" y="18310"/>
                    <a:pt x="5759" y="18310"/>
                    <a:pt x="5759" y="18310"/>
                  </a:cubicBezTo>
                  <a:lnTo>
                    <a:pt x="7337" y="21378"/>
                  </a:lnTo>
                  <a:lnTo>
                    <a:pt x="6946" y="25331"/>
                  </a:lnTo>
                  <a:lnTo>
                    <a:pt x="6946" y="29434"/>
                  </a:lnTo>
                  <a:lnTo>
                    <a:pt x="8436" y="29902"/>
                  </a:lnTo>
                  <a:lnTo>
                    <a:pt x="7615" y="31164"/>
                  </a:lnTo>
                  <a:lnTo>
                    <a:pt x="5683" y="30849"/>
                  </a:lnTo>
                  <a:lnTo>
                    <a:pt x="5683" y="33223"/>
                  </a:lnTo>
                  <a:lnTo>
                    <a:pt x="7173" y="34321"/>
                  </a:lnTo>
                  <a:lnTo>
                    <a:pt x="6074" y="36695"/>
                  </a:lnTo>
                  <a:lnTo>
                    <a:pt x="6541" y="40546"/>
                  </a:lnTo>
                  <a:lnTo>
                    <a:pt x="7135" y="43463"/>
                  </a:lnTo>
                  <a:lnTo>
                    <a:pt x="7627" y="46153"/>
                  </a:lnTo>
                  <a:lnTo>
                    <a:pt x="9218" y="45913"/>
                  </a:lnTo>
                  <a:lnTo>
                    <a:pt x="10885" y="47857"/>
                  </a:lnTo>
                  <a:lnTo>
                    <a:pt x="12186" y="45647"/>
                  </a:lnTo>
                  <a:lnTo>
                    <a:pt x="13310" y="42175"/>
                  </a:lnTo>
                  <a:lnTo>
                    <a:pt x="14812" y="39776"/>
                  </a:lnTo>
                  <a:lnTo>
                    <a:pt x="16946" y="39195"/>
                  </a:lnTo>
                  <a:lnTo>
                    <a:pt x="20103" y="37857"/>
                  </a:lnTo>
                  <a:lnTo>
                    <a:pt x="21770" y="35798"/>
                  </a:lnTo>
                  <a:lnTo>
                    <a:pt x="24762" y="35407"/>
                  </a:lnTo>
                  <a:lnTo>
                    <a:pt x="28462" y="33071"/>
                  </a:lnTo>
                  <a:lnTo>
                    <a:pt x="26480" y="32869"/>
                  </a:lnTo>
                  <a:lnTo>
                    <a:pt x="25545" y="32869"/>
                  </a:lnTo>
                  <a:lnTo>
                    <a:pt x="26480" y="30659"/>
                  </a:lnTo>
                  <a:lnTo>
                    <a:pt x="28462" y="32478"/>
                  </a:lnTo>
                  <a:lnTo>
                    <a:pt x="29232" y="30735"/>
                  </a:lnTo>
                  <a:lnTo>
                    <a:pt x="28538" y="28487"/>
                  </a:lnTo>
                  <a:lnTo>
                    <a:pt x="28538" y="28487"/>
                  </a:lnTo>
                  <a:cubicBezTo>
                    <a:pt x="28538" y="28487"/>
                    <a:pt x="28571" y="28497"/>
                    <a:pt x="28628" y="28497"/>
                  </a:cubicBezTo>
                  <a:cubicBezTo>
                    <a:pt x="28850" y="28497"/>
                    <a:pt x="29441" y="28361"/>
                    <a:pt x="29952" y="27048"/>
                  </a:cubicBezTo>
                  <a:cubicBezTo>
                    <a:pt x="30176" y="26473"/>
                    <a:pt x="30217" y="26354"/>
                    <a:pt x="30211" y="26354"/>
                  </a:cubicBezTo>
                  <a:lnTo>
                    <a:pt x="30211" y="26354"/>
                  </a:lnTo>
                  <a:cubicBezTo>
                    <a:pt x="30207" y="26354"/>
                    <a:pt x="30180" y="26414"/>
                    <a:pt x="30178" y="26414"/>
                  </a:cubicBezTo>
                  <a:cubicBezTo>
                    <a:pt x="30175" y="26414"/>
                    <a:pt x="30241" y="26250"/>
                    <a:pt x="30596" y="25381"/>
                  </a:cubicBezTo>
                  <a:cubicBezTo>
                    <a:pt x="31467" y="23260"/>
                    <a:pt x="31455" y="23247"/>
                    <a:pt x="31455" y="23247"/>
                  </a:cubicBezTo>
                  <a:cubicBezTo>
                    <a:pt x="31455" y="23247"/>
                    <a:pt x="32086" y="23007"/>
                    <a:pt x="31455" y="21593"/>
                  </a:cubicBezTo>
                  <a:cubicBezTo>
                    <a:pt x="30823" y="20179"/>
                    <a:pt x="29876" y="20722"/>
                    <a:pt x="30823" y="20166"/>
                  </a:cubicBezTo>
                  <a:lnTo>
                    <a:pt x="31770" y="19623"/>
                  </a:lnTo>
                  <a:lnTo>
                    <a:pt x="32642" y="19068"/>
                  </a:lnTo>
                  <a:lnTo>
                    <a:pt x="32250" y="16694"/>
                  </a:lnTo>
                  <a:lnTo>
                    <a:pt x="32642" y="14042"/>
                  </a:lnTo>
                  <a:lnTo>
                    <a:pt x="34611" y="11858"/>
                  </a:lnTo>
                  <a:lnTo>
                    <a:pt x="36354" y="9762"/>
                  </a:lnTo>
                  <a:lnTo>
                    <a:pt x="36897" y="8032"/>
                  </a:lnTo>
                  <a:lnTo>
                    <a:pt x="34851" y="7085"/>
                  </a:lnTo>
                  <a:lnTo>
                    <a:pt x="32566" y="7943"/>
                  </a:lnTo>
                  <a:lnTo>
                    <a:pt x="30280" y="10090"/>
                  </a:lnTo>
                  <a:lnTo>
                    <a:pt x="31770" y="7451"/>
                  </a:lnTo>
                  <a:lnTo>
                    <a:pt x="31859" y="7009"/>
                  </a:lnTo>
                  <a:lnTo>
                    <a:pt x="27439" y="7009"/>
                  </a:lnTo>
                  <a:lnTo>
                    <a:pt x="27351" y="5986"/>
                  </a:lnTo>
                  <a:lnTo>
                    <a:pt x="29232" y="5759"/>
                  </a:lnTo>
                  <a:lnTo>
                    <a:pt x="31859" y="5759"/>
                  </a:lnTo>
                  <a:lnTo>
                    <a:pt x="31543" y="3625"/>
                  </a:lnTo>
                  <a:lnTo>
                    <a:pt x="30672" y="1655"/>
                  </a:lnTo>
                  <a:lnTo>
                    <a:pt x="27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65"/>
            <p:cNvSpPr/>
            <p:nvPr/>
          </p:nvSpPr>
          <p:spPr>
            <a:xfrm>
              <a:off x="2437100" y="777350"/>
              <a:ext cx="939800" cy="1218525"/>
            </a:xfrm>
            <a:custGeom>
              <a:avLst/>
              <a:gdLst/>
              <a:ahLst/>
              <a:cxnLst/>
              <a:rect l="l" t="t" r="r" b="b"/>
              <a:pathLst>
                <a:path w="37592" h="48741" extrusionOk="0">
                  <a:moveTo>
                    <a:pt x="26909" y="31530"/>
                  </a:moveTo>
                  <a:lnTo>
                    <a:pt x="28601" y="33070"/>
                  </a:lnTo>
                  <a:lnTo>
                    <a:pt x="26796" y="32893"/>
                  </a:lnTo>
                  <a:lnTo>
                    <a:pt x="26341" y="32893"/>
                  </a:lnTo>
                  <a:lnTo>
                    <a:pt x="26909" y="31530"/>
                  </a:lnTo>
                  <a:close/>
                  <a:moveTo>
                    <a:pt x="27591" y="682"/>
                  </a:moveTo>
                  <a:lnTo>
                    <a:pt x="30748" y="2222"/>
                  </a:lnTo>
                  <a:lnTo>
                    <a:pt x="31543" y="4053"/>
                  </a:lnTo>
                  <a:lnTo>
                    <a:pt x="31809" y="5783"/>
                  </a:lnTo>
                  <a:lnTo>
                    <a:pt x="29498" y="5783"/>
                  </a:lnTo>
                  <a:lnTo>
                    <a:pt x="27339" y="6048"/>
                  </a:lnTo>
                  <a:lnTo>
                    <a:pt x="27465" y="7665"/>
                  </a:lnTo>
                  <a:lnTo>
                    <a:pt x="31796" y="7665"/>
                  </a:lnTo>
                  <a:lnTo>
                    <a:pt x="29321" y="12059"/>
                  </a:lnTo>
                  <a:lnTo>
                    <a:pt x="33046" y="8574"/>
                  </a:lnTo>
                  <a:lnTo>
                    <a:pt x="35155" y="7778"/>
                  </a:lnTo>
                  <a:lnTo>
                    <a:pt x="36834" y="8548"/>
                  </a:lnTo>
                  <a:lnTo>
                    <a:pt x="36380" y="9963"/>
                  </a:lnTo>
                  <a:lnTo>
                    <a:pt x="34700" y="11996"/>
                  </a:lnTo>
                  <a:lnTo>
                    <a:pt x="32667" y="14256"/>
                  </a:lnTo>
                  <a:lnTo>
                    <a:pt x="32250" y="17059"/>
                  </a:lnTo>
                  <a:lnTo>
                    <a:pt x="32617" y="19269"/>
                  </a:lnTo>
                  <a:lnTo>
                    <a:pt x="31935" y="19698"/>
                  </a:lnTo>
                  <a:cubicBezTo>
                    <a:pt x="31922" y="19711"/>
                    <a:pt x="31834" y="19761"/>
                    <a:pt x="30988" y="20254"/>
                  </a:cubicBezTo>
                  <a:cubicBezTo>
                    <a:pt x="30584" y="20494"/>
                    <a:pt x="30432" y="20582"/>
                    <a:pt x="30432" y="20809"/>
                  </a:cubicBezTo>
                  <a:cubicBezTo>
                    <a:pt x="30445" y="20986"/>
                    <a:pt x="30558" y="21125"/>
                    <a:pt x="30710" y="21188"/>
                  </a:cubicBezTo>
                  <a:cubicBezTo>
                    <a:pt x="30887" y="21289"/>
                    <a:pt x="31215" y="21466"/>
                    <a:pt x="31480" y="22072"/>
                  </a:cubicBezTo>
                  <a:cubicBezTo>
                    <a:pt x="31872" y="22943"/>
                    <a:pt x="31733" y="23259"/>
                    <a:pt x="31657" y="23309"/>
                  </a:cubicBezTo>
                  <a:lnTo>
                    <a:pt x="31455" y="23385"/>
                  </a:lnTo>
                  <a:lnTo>
                    <a:pt x="31455" y="23537"/>
                  </a:lnTo>
                  <a:cubicBezTo>
                    <a:pt x="31404" y="23676"/>
                    <a:pt x="31228" y="24118"/>
                    <a:pt x="30609" y="25620"/>
                  </a:cubicBezTo>
                  <a:cubicBezTo>
                    <a:pt x="30432" y="26062"/>
                    <a:pt x="30319" y="26353"/>
                    <a:pt x="30243" y="26555"/>
                  </a:cubicBezTo>
                  <a:lnTo>
                    <a:pt x="30218" y="26618"/>
                  </a:lnTo>
                  <a:cubicBezTo>
                    <a:pt x="30218" y="26618"/>
                    <a:pt x="30218" y="26630"/>
                    <a:pt x="30218" y="26630"/>
                  </a:cubicBezTo>
                  <a:cubicBezTo>
                    <a:pt x="30205" y="26681"/>
                    <a:pt x="30154" y="26832"/>
                    <a:pt x="29978" y="27287"/>
                  </a:cubicBezTo>
                  <a:cubicBezTo>
                    <a:pt x="29498" y="28499"/>
                    <a:pt x="29018" y="28537"/>
                    <a:pt x="28955" y="28537"/>
                  </a:cubicBezTo>
                  <a:lnTo>
                    <a:pt x="28399" y="28373"/>
                  </a:lnTo>
                  <a:lnTo>
                    <a:pt x="28399" y="28373"/>
                  </a:lnTo>
                  <a:lnTo>
                    <a:pt x="29220" y="31062"/>
                  </a:lnTo>
                  <a:lnTo>
                    <a:pt x="28677" y="32287"/>
                  </a:lnTo>
                  <a:lnTo>
                    <a:pt x="26682" y="30469"/>
                  </a:lnTo>
                  <a:lnTo>
                    <a:pt x="25394" y="33525"/>
                  </a:lnTo>
                  <a:lnTo>
                    <a:pt x="26758" y="33525"/>
                  </a:lnTo>
                  <a:lnTo>
                    <a:pt x="27844" y="33626"/>
                  </a:lnTo>
                  <a:lnTo>
                    <a:pt x="24977" y="35431"/>
                  </a:lnTo>
                  <a:lnTo>
                    <a:pt x="21922" y="35835"/>
                  </a:lnTo>
                  <a:lnTo>
                    <a:pt x="20230" y="37931"/>
                  </a:lnTo>
                  <a:lnTo>
                    <a:pt x="17199" y="39232"/>
                  </a:lnTo>
                  <a:lnTo>
                    <a:pt x="14939" y="39838"/>
                  </a:lnTo>
                  <a:lnTo>
                    <a:pt x="13360" y="42351"/>
                  </a:lnTo>
                  <a:lnTo>
                    <a:pt x="12211" y="45861"/>
                  </a:lnTo>
                  <a:lnTo>
                    <a:pt x="11163" y="47654"/>
                  </a:lnTo>
                  <a:lnTo>
                    <a:pt x="9661" y="45874"/>
                  </a:lnTo>
                  <a:lnTo>
                    <a:pt x="8209" y="46101"/>
                  </a:lnTo>
                  <a:lnTo>
                    <a:pt x="7767" y="43715"/>
                  </a:lnTo>
                  <a:lnTo>
                    <a:pt x="7173" y="40823"/>
                  </a:lnTo>
                  <a:lnTo>
                    <a:pt x="6719" y="37048"/>
                  </a:lnTo>
                  <a:lnTo>
                    <a:pt x="7893" y="34535"/>
                  </a:lnTo>
                  <a:lnTo>
                    <a:pt x="6315" y="33373"/>
                  </a:lnTo>
                  <a:lnTo>
                    <a:pt x="6315" y="31542"/>
                  </a:lnTo>
                  <a:lnTo>
                    <a:pt x="8082" y="31833"/>
                  </a:lnTo>
                  <a:lnTo>
                    <a:pt x="9244" y="30040"/>
                  </a:lnTo>
                  <a:lnTo>
                    <a:pt x="7577" y="29509"/>
                  </a:lnTo>
                  <a:lnTo>
                    <a:pt x="7577" y="25671"/>
                  </a:lnTo>
                  <a:lnTo>
                    <a:pt x="7981" y="21643"/>
                  </a:lnTo>
                  <a:lnTo>
                    <a:pt x="6277" y="18309"/>
                  </a:lnTo>
                  <a:lnTo>
                    <a:pt x="6125" y="18309"/>
                  </a:lnTo>
                  <a:cubicBezTo>
                    <a:pt x="6024" y="18271"/>
                    <a:pt x="5645" y="18082"/>
                    <a:pt x="4408" y="17413"/>
                  </a:cubicBezTo>
                  <a:cubicBezTo>
                    <a:pt x="3845" y="17104"/>
                    <a:pt x="3347" y="16952"/>
                    <a:pt x="2915" y="16952"/>
                  </a:cubicBezTo>
                  <a:cubicBezTo>
                    <a:pt x="2746" y="16952"/>
                    <a:pt x="2587" y="16975"/>
                    <a:pt x="2438" y="17021"/>
                  </a:cubicBezTo>
                  <a:cubicBezTo>
                    <a:pt x="2274" y="17072"/>
                    <a:pt x="2122" y="17147"/>
                    <a:pt x="1983" y="17261"/>
                  </a:cubicBezTo>
                  <a:lnTo>
                    <a:pt x="620" y="16339"/>
                  </a:lnTo>
                  <a:lnTo>
                    <a:pt x="620" y="15455"/>
                  </a:lnTo>
                  <a:lnTo>
                    <a:pt x="3852" y="15203"/>
                  </a:lnTo>
                  <a:lnTo>
                    <a:pt x="3208" y="13763"/>
                  </a:lnTo>
                  <a:lnTo>
                    <a:pt x="1819" y="13612"/>
                  </a:lnTo>
                  <a:lnTo>
                    <a:pt x="1504" y="12450"/>
                  </a:lnTo>
                  <a:lnTo>
                    <a:pt x="3057" y="12160"/>
                  </a:lnTo>
                  <a:lnTo>
                    <a:pt x="5797" y="11036"/>
                  </a:lnTo>
                  <a:lnTo>
                    <a:pt x="7678" y="9470"/>
                  </a:lnTo>
                  <a:lnTo>
                    <a:pt x="6857" y="8233"/>
                  </a:lnTo>
                  <a:lnTo>
                    <a:pt x="7994" y="6781"/>
                  </a:lnTo>
                  <a:lnTo>
                    <a:pt x="10178" y="6301"/>
                  </a:lnTo>
                  <a:lnTo>
                    <a:pt x="11769" y="4710"/>
                  </a:lnTo>
                  <a:lnTo>
                    <a:pt x="13777" y="3965"/>
                  </a:lnTo>
                  <a:lnTo>
                    <a:pt x="15355" y="3712"/>
                  </a:lnTo>
                  <a:lnTo>
                    <a:pt x="15646" y="5430"/>
                  </a:lnTo>
                  <a:lnTo>
                    <a:pt x="17325" y="5935"/>
                  </a:lnTo>
                  <a:lnTo>
                    <a:pt x="17792" y="4382"/>
                  </a:lnTo>
                  <a:lnTo>
                    <a:pt x="18323" y="4584"/>
                  </a:lnTo>
                  <a:lnTo>
                    <a:pt x="18651" y="7033"/>
                  </a:lnTo>
                  <a:lnTo>
                    <a:pt x="20949" y="7033"/>
                  </a:lnTo>
                  <a:lnTo>
                    <a:pt x="20053" y="4407"/>
                  </a:lnTo>
                  <a:lnTo>
                    <a:pt x="20570" y="3031"/>
                  </a:lnTo>
                  <a:lnTo>
                    <a:pt x="22250" y="2980"/>
                  </a:lnTo>
                  <a:lnTo>
                    <a:pt x="27591" y="682"/>
                  </a:lnTo>
                  <a:close/>
                  <a:moveTo>
                    <a:pt x="27604" y="0"/>
                  </a:moveTo>
                  <a:lnTo>
                    <a:pt x="22161" y="2361"/>
                  </a:lnTo>
                  <a:lnTo>
                    <a:pt x="20116" y="2424"/>
                  </a:lnTo>
                  <a:lnTo>
                    <a:pt x="19371" y="4407"/>
                  </a:lnTo>
                  <a:lnTo>
                    <a:pt x="20053" y="6415"/>
                  </a:lnTo>
                  <a:lnTo>
                    <a:pt x="19194" y="6415"/>
                  </a:lnTo>
                  <a:lnTo>
                    <a:pt x="18891" y="4142"/>
                  </a:lnTo>
                  <a:lnTo>
                    <a:pt x="17376" y="3548"/>
                  </a:lnTo>
                  <a:lnTo>
                    <a:pt x="16896" y="5152"/>
                  </a:lnTo>
                  <a:lnTo>
                    <a:pt x="16214" y="4937"/>
                  </a:lnTo>
                  <a:lnTo>
                    <a:pt x="15861" y="2993"/>
                  </a:lnTo>
                  <a:lnTo>
                    <a:pt x="13600" y="3359"/>
                  </a:lnTo>
                  <a:lnTo>
                    <a:pt x="11479" y="4154"/>
                  </a:lnTo>
                  <a:lnTo>
                    <a:pt x="9850" y="5733"/>
                  </a:lnTo>
                  <a:lnTo>
                    <a:pt x="7628" y="6200"/>
                  </a:lnTo>
                  <a:lnTo>
                    <a:pt x="6075" y="8208"/>
                  </a:lnTo>
                  <a:lnTo>
                    <a:pt x="6832" y="9344"/>
                  </a:lnTo>
                  <a:lnTo>
                    <a:pt x="5506" y="10480"/>
                  </a:lnTo>
                  <a:lnTo>
                    <a:pt x="2905" y="11541"/>
                  </a:lnTo>
                  <a:lnTo>
                    <a:pt x="708" y="11958"/>
                  </a:lnTo>
                  <a:lnTo>
                    <a:pt x="1339" y="14193"/>
                  </a:lnTo>
                  <a:lnTo>
                    <a:pt x="2792" y="14344"/>
                  </a:lnTo>
                  <a:lnTo>
                    <a:pt x="2918" y="14635"/>
                  </a:lnTo>
                  <a:lnTo>
                    <a:pt x="1" y="14862"/>
                  </a:lnTo>
                  <a:lnTo>
                    <a:pt x="1" y="16655"/>
                  </a:lnTo>
                  <a:lnTo>
                    <a:pt x="2173" y="18132"/>
                  </a:lnTo>
                  <a:lnTo>
                    <a:pt x="2337" y="17817"/>
                  </a:lnTo>
                  <a:cubicBezTo>
                    <a:pt x="2400" y="17716"/>
                    <a:pt x="2514" y="17640"/>
                    <a:pt x="2627" y="17615"/>
                  </a:cubicBezTo>
                  <a:cubicBezTo>
                    <a:pt x="2703" y="17592"/>
                    <a:pt x="2796" y="17576"/>
                    <a:pt x="2911" y="17576"/>
                  </a:cubicBezTo>
                  <a:cubicBezTo>
                    <a:pt x="3180" y="17576"/>
                    <a:pt x="3565" y="17663"/>
                    <a:pt x="4105" y="17956"/>
                  </a:cubicBezTo>
                  <a:cubicBezTo>
                    <a:pt x="5153" y="18536"/>
                    <a:pt x="5620" y="18764"/>
                    <a:pt x="5847" y="18865"/>
                  </a:cubicBezTo>
                  <a:lnTo>
                    <a:pt x="7325" y="21756"/>
                  </a:lnTo>
                  <a:lnTo>
                    <a:pt x="6933" y="25645"/>
                  </a:lnTo>
                  <a:lnTo>
                    <a:pt x="6933" y="29976"/>
                  </a:lnTo>
                  <a:lnTo>
                    <a:pt x="8259" y="30393"/>
                  </a:lnTo>
                  <a:lnTo>
                    <a:pt x="7767" y="31138"/>
                  </a:lnTo>
                  <a:lnTo>
                    <a:pt x="5671" y="30785"/>
                  </a:lnTo>
                  <a:lnTo>
                    <a:pt x="5671" y="33689"/>
                  </a:lnTo>
                  <a:lnTo>
                    <a:pt x="7097" y="34737"/>
                  </a:lnTo>
                  <a:lnTo>
                    <a:pt x="6062" y="36947"/>
                  </a:lnTo>
                  <a:lnTo>
                    <a:pt x="6554" y="40924"/>
                  </a:lnTo>
                  <a:lnTo>
                    <a:pt x="7148" y="43828"/>
                  </a:lnTo>
                  <a:lnTo>
                    <a:pt x="7691" y="46808"/>
                  </a:lnTo>
                  <a:lnTo>
                    <a:pt x="9408" y="46556"/>
                  </a:lnTo>
                  <a:lnTo>
                    <a:pt x="11252" y="48740"/>
                  </a:lnTo>
                  <a:lnTo>
                    <a:pt x="12780" y="46152"/>
                  </a:lnTo>
                  <a:lnTo>
                    <a:pt x="13916" y="42654"/>
                  </a:lnTo>
                  <a:lnTo>
                    <a:pt x="15343" y="40381"/>
                  </a:lnTo>
                  <a:lnTo>
                    <a:pt x="17388" y="39826"/>
                  </a:lnTo>
                  <a:lnTo>
                    <a:pt x="20621" y="38449"/>
                  </a:lnTo>
                  <a:lnTo>
                    <a:pt x="22250" y="36429"/>
                  </a:lnTo>
                  <a:lnTo>
                    <a:pt x="25116" y="36050"/>
                  </a:lnTo>
                  <a:lnTo>
                    <a:pt x="29738" y="33184"/>
                  </a:lnTo>
                  <a:lnTo>
                    <a:pt x="29005" y="33108"/>
                  </a:lnTo>
                  <a:lnTo>
                    <a:pt x="29877" y="31100"/>
                  </a:lnTo>
                  <a:lnTo>
                    <a:pt x="29270" y="29105"/>
                  </a:lnTo>
                  <a:cubicBezTo>
                    <a:pt x="29637" y="28979"/>
                    <a:pt x="30142" y="28600"/>
                    <a:pt x="30558" y="27514"/>
                  </a:cubicBezTo>
                  <a:cubicBezTo>
                    <a:pt x="30659" y="27274"/>
                    <a:pt x="30748" y="27022"/>
                    <a:pt x="30824" y="26782"/>
                  </a:cubicBezTo>
                  <a:lnTo>
                    <a:pt x="31202" y="25847"/>
                  </a:lnTo>
                  <a:cubicBezTo>
                    <a:pt x="31720" y="24585"/>
                    <a:pt x="31935" y="24054"/>
                    <a:pt x="32036" y="23815"/>
                  </a:cubicBezTo>
                  <a:cubicBezTo>
                    <a:pt x="32149" y="23726"/>
                    <a:pt x="32238" y="23600"/>
                    <a:pt x="32288" y="23474"/>
                  </a:cubicBezTo>
                  <a:cubicBezTo>
                    <a:pt x="32452" y="23070"/>
                    <a:pt x="32389" y="22514"/>
                    <a:pt x="32074" y="21807"/>
                  </a:cubicBezTo>
                  <a:cubicBezTo>
                    <a:pt x="31910" y="21403"/>
                    <a:pt x="31644" y="21062"/>
                    <a:pt x="31303" y="20797"/>
                  </a:cubicBezTo>
                  <a:cubicBezTo>
                    <a:pt x="31834" y="20494"/>
                    <a:pt x="32112" y="20329"/>
                    <a:pt x="32250" y="20228"/>
                  </a:cubicBezTo>
                  <a:lnTo>
                    <a:pt x="32263" y="20241"/>
                  </a:lnTo>
                  <a:lnTo>
                    <a:pt x="33311" y="19572"/>
                  </a:lnTo>
                  <a:lnTo>
                    <a:pt x="32894" y="17046"/>
                  </a:lnTo>
                  <a:lnTo>
                    <a:pt x="33261" y="14534"/>
                  </a:lnTo>
                  <a:lnTo>
                    <a:pt x="35167" y="12412"/>
                  </a:lnTo>
                  <a:lnTo>
                    <a:pt x="36897" y="10329"/>
                  </a:lnTo>
                  <a:lnTo>
                    <a:pt x="37592" y="8220"/>
                  </a:lnTo>
                  <a:lnTo>
                    <a:pt x="35167" y="7096"/>
                  </a:lnTo>
                  <a:lnTo>
                    <a:pt x="32756" y="8018"/>
                  </a:lnTo>
                  <a:lnTo>
                    <a:pt x="31872" y="8801"/>
                  </a:lnTo>
                  <a:lnTo>
                    <a:pt x="32364" y="7942"/>
                  </a:lnTo>
                  <a:lnTo>
                    <a:pt x="32541" y="7046"/>
                  </a:lnTo>
                  <a:lnTo>
                    <a:pt x="28046" y="7046"/>
                  </a:lnTo>
                  <a:lnTo>
                    <a:pt x="28008" y="6604"/>
                  </a:lnTo>
                  <a:lnTo>
                    <a:pt x="29536" y="6415"/>
                  </a:lnTo>
                  <a:lnTo>
                    <a:pt x="32541" y="6415"/>
                  </a:lnTo>
                  <a:lnTo>
                    <a:pt x="32162" y="3927"/>
                  </a:lnTo>
                  <a:lnTo>
                    <a:pt x="31228" y="1768"/>
                  </a:lnTo>
                  <a:lnTo>
                    <a:pt x="2760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65"/>
            <p:cNvSpPr/>
            <p:nvPr/>
          </p:nvSpPr>
          <p:spPr>
            <a:xfrm>
              <a:off x="2067150" y="740400"/>
              <a:ext cx="667350" cy="530050"/>
            </a:xfrm>
            <a:custGeom>
              <a:avLst/>
              <a:gdLst/>
              <a:ahLst/>
              <a:cxnLst/>
              <a:rect l="l" t="t" r="r" b="b"/>
              <a:pathLst>
                <a:path w="26694" h="21202" extrusionOk="0">
                  <a:moveTo>
                    <a:pt x="19218" y="1"/>
                  </a:moveTo>
                  <a:lnTo>
                    <a:pt x="14635" y="556"/>
                  </a:lnTo>
                  <a:lnTo>
                    <a:pt x="11415" y="1895"/>
                  </a:lnTo>
                  <a:lnTo>
                    <a:pt x="10228" y="3157"/>
                  </a:lnTo>
                  <a:lnTo>
                    <a:pt x="12122" y="5165"/>
                  </a:lnTo>
                  <a:lnTo>
                    <a:pt x="14016" y="6100"/>
                  </a:lnTo>
                  <a:lnTo>
                    <a:pt x="11099" y="6163"/>
                  </a:lnTo>
                  <a:lnTo>
                    <a:pt x="9041" y="4660"/>
                  </a:lnTo>
                  <a:lnTo>
                    <a:pt x="8814" y="2766"/>
                  </a:lnTo>
                  <a:lnTo>
                    <a:pt x="7627" y="2286"/>
                  </a:lnTo>
                  <a:lnTo>
                    <a:pt x="5190" y="6706"/>
                  </a:lnTo>
                  <a:lnTo>
                    <a:pt x="4786" y="9711"/>
                  </a:lnTo>
                  <a:lnTo>
                    <a:pt x="5733" y="11756"/>
                  </a:lnTo>
                  <a:lnTo>
                    <a:pt x="7627" y="12236"/>
                  </a:lnTo>
                  <a:lnTo>
                    <a:pt x="8650" y="13688"/>
                  </a:lnTo>
                  <a:lnTo>
                    <a:pt x="6288" y="13082"/>
                  </a:lnTo>
                  <a:lnTo>
                    <a:pt x="5101" y="14509"/>
                  </a:lnTo>
                  <a:lnTo>
                    <a:pt x="2816" y="14509"/>
                  </a:lnTo>
                  <a:lnTo>
                    <a:pt x="1642" y="14004"/>
                  </a:lnTo>
                  <a:lnTo>
                    <a:pt x="417" y="12741"/>
                  </a:lnTo>
                  <a:cubicBezTo>
                    <a:pt x="177" y="12905"/>
                    <a:pt x="0" y="14332"/>
                    <a:pt x="0" y="14332"/>
                  </a:cubicBezTo>
                  <a:lnTo>
                    <a:pt x="1212" y="15822"/>
                  </a:lnTo>
                  <a:lnTo>
                    <a:pt x="631" y="18007"/>
                  </a:lnTo>
                  <a:lnTo>
                    <a:pt x="51" y="19459"/>
                  </a:lnTo>
                  <a:lnTo>
                    <a:pt x="3914" y="20494"/>
                  </a:lnTo>
                  <a:lnTo>
                    <a:pt x="6566" y="21201"/>
                  </a:lnTo>
                  <a:lnTo>
                    <a:pt x="7551" y="20810"/>
                  </a:lnTo>
                  <a:lnTo>
                    <a:pt x="7551" y="19232"/>
                  </a:lnTo>
                  <a:lnTo>
                    <a:pt x="5809" y="18689"/>
                  </a:lnTo>
                  <a:lnTo>
                    <a:pt x="3927" y="18032"/>
                  </a:lnTo>
                  <a:lnTo>
                    <a:pt x="3296" y="16403"/>
                  </a:lnTo>
                  <a:lnTo>
                    <a:pt x="4748" y="16138"/>
                  </a:lnTo>
                  <a:lnTo>
                    <a:pt x="7071" y="17653"/>
                  </a:lnTo>
                  <a:lnTo>
                    <a:pt x="9129" y="17653"/>
                  </a:lnTo>
                  <a:lnTo>
                    <a:pt x="11024" y="18348"/>
                  </a:lnTo>
                  <a:lnTo>
                    <a:pt x="11806" y="15140"/>
                  </a:lnTo>
                  <a:lnTo>
                    <a:pt x="13625" y="13398"/>
                  </a:lnTo>
                  <a:lnTo>
                    <a:pt x="15115" y="12224"/>
                  </a:lnTo>
                  <a:lnTo>
                    <a:pt x="15115" y="10405"/>
                  </a:lnTo>
                  <a:lnTo>
                    <a:pt x="18587" y="9231"/>
                  </a:lnTo>
                  <a:lnTo>
                    <a:pt x="21277" y="7728"/>
                  </a:lnTo>
                  <a:lnTo>
                    <a:pt x="23322" y="5986"/>
                  </a:lnTo>
                  <a:lnTo>
                    <a:pt x="25494" y="5216"/>
                  </a:lnTo>
                  <a:lnTo>
                    <a:pt x="26694" y="3322"/>
                  </a:lnTo>
                  <a:lnTo>
                    <a:pt x="25671" y="1390"/>
                  </a:lnTo>
                  <a:lnTo>
                    <a:pt x="2276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65"/>
            <p:cNvSpPr/>
            <p:nvPr/>
          </p:nvSpPr>
          <p:spPr>
            <a:xfrm>
              <a:off x="2057975" y="732525"/>
              <a:ext cx="685375" cy="546450"/>
            </a:xfrm>
            <a:custGeom>
              <a:avLst/>
              <a:gdLst/>
              <a:ahLst/>
              <a:cxnLst/>
              <a:rect l="l" t="t" r="r" b="b"/>
              <a:pathLst>
                <a:path w="27415" h="21858" extrusionOk="0">
                  <a:moveTo>
                    <a:pt x="23058" y="631"/>
                  </a:moveTo>
                  <a:lnTo>
                    <a:pt x="25811" y="1919"/>
                  </a:lnTo>
                  <a:lnTo>
                    <a:pt x="26682" y="3599"/>
                  </a:lnTo>
                  <a:lnTo>
                    <a:pt x="25646" y="5240"/>
                  </a:lnTo>
                  <a:lnTo>
                    <a:pt x="23576" y="5998"/>
                  </a:lnTo>
                  <a:lnTo>
                    <a:pt x="21480" y="7753"/>
                  </a:lnTo>
                  <a:lnTo>
                    <a:pt x="18853" y="9230"/>
                  </a:lnTo>
                  <a:lnTo>
                    <a:pt x="15166" y="10493"/>
                  </a:lnTo>
                  <a:lnTo>
                    <a:pt x="15166" y="12387"/>
                  </a:lnTo>
                  <a:lnTo>
                    <a:pt x="13764" y="13486"/>
                  </a:lnTo>
                  <a:lnTo>
                    <a:pt x="11883" y="15291"/>
                  </a:lnTo>
                  <a:lnTo>
                    <a:pt x="11163" y="18246"/>
                  </a:lnTo>
                  <a:lnTo>
                    <a:pt x="9597" y="17678"/>
                  </a:lnTo>
                  <a:lnTo>
                    <a:pt x="7539" y="17665"/>
                  </a:lnTo>
                  <a:lnTo>
                    <a:pt x="5191" y="16125"/>
                  </a:lnTo>
                  <a:lnTo>
                    <a:pt x="3233" y="16478"/>
                  </a:lnTo>
                  <a:lnTo>
                    <a:pt x="4067" y="18600"/>
                  </a:lnTo>
                  <a:lnTo>
                    <a:pt x="6087" y="19307"/>
                  </a:lnTo>
                  <a:lnTo>
                    <a:pt x="7602" y="19786"/>
                  </a:lnTo>
                  <a:lnTo>
                    <a:pt x="7602" y="20910"/>
                  </a:lnTo>
                  <a:lnTo>
                    <a:pt x="6921" y="21188"/>
                  </a:lnTo>
                  <a:lnTo>
                    <a:pt x="847" y="19559"/>
                  </a:lnTo>
                  <a:lnTo>
                    <a:pt x="1301" y="18398"/>
                  </a:lnTo>
                  <a:lnTo>
                    <a:pt x="1920" y="16062"/>
                  </a:lnTo>
                  <a:lnTo>
                    <a:pt x="695" y="14559"/>
                  </a:lnTo>
                  <a:cubicBezTo>
                    <a:pt x="733" y="14243"/>
                    <a:pt x="796" y="13915"/>
                    <a:pt x="872" y="13612"/>
                  </a:cubicBezTo>
                  <a:lnTo>
                    <a:pt x="1769" y="14534"/>
                  </a:lnTo>
                  <a:lnTo>
                    <a:pt x="3057" y="15114"/>
                  </a:lnTo>
                  <a:lnTo>
                    <a:pt x="5620" y="15140"/>
                  </a:lnTo>
                  <a:lnTo>
                    <a:pt x="6769" y="13751"/>
                  </a:lnTo>
                  <a:lnTo>
                    <a:pt x="9762" y="14521"/>
                  </a:lnTo>
                  <a:lnTo>
                    <a:pt x="8183" y="12261"/>
                  </a:lnTo>
                  <a:lnTo>
                    <a:pt x="6327" y="11794"/>
                  </a:lnTo>
                  <a:lnTo>
                    <a:pt x="5481" y="9963"/>
                  </a:lnTo>
                  <a:lnTo>
                    <a:pt x="5860" y="7122"/>
                  </a:lnTo>
                  <a:lnTo>
                    <a:pt x="8133" y="3005"/>
                  </a:lnTo>
                  <a:lnTo>
                    <a:pt x="8890" y="3296"/>
                  </a:lnTo>
                  <a:lnTo>
                    <a:pt x="9130" y="5152"/>
                  </a:lnTo>
                  <a:lnTo>
                    <a:pt x="11365" y="6793"/>
                  </a:lnTo>
                  <a:lnTo>
                    <a:pt x="15684" y="6692"/>
                  </a:lnTo>
                  <a:lnTo>
                    <a:pt x="12678" y="5228"/>
                  </a:lnTo>
                  <a:lnTo>
                    <a:pt x="11024" y="3472"/>
                  </a:lnTo>
                  <a:lnTo>
                    <a:pt x="11971" y="2475"/>
                  </a:lnTo>
                  <a:lnTo>
                    <a:pt x="15090" y="1174"/>
                  </a:lnTo>
                  <a:lnTo>
                    <a:pt x="19585" y="631"/>
                  </a:lnTo>
                  <a:close/>
                  <a:moveTo>
                    <a:pt x="19548" y="0"/>
                  </a:moveTo>
                  <a:lnTo>
                    <a:pt x="14977" y="556"/>
                  </a:lnTo>
                  <a:lnTo>
                    <a:pt x="11656" y="1919"/>
                  </a:lnTo>
                  <a:lnTo>
                    <a:pt x="10166" y="3472"/>
                  </a:lnTo>
                  <a:lnTo>
                    <a:pt x="12262" y="5695"/>
                  </a:lnTo>
                  <a:lnTo>
                    <a:pt x="13083" y="6124"/>
                  </a:lnTo>
                  <a:lnTo>
                    <a:pt x="11567" y="6162"/>
                  </a:lnTo>
                  <a:lnTo>
                    <a:pt x="9724" y="4798"/>
                  </a:lnTo>
                  <a:lnTo>
                    <a:pt x="9471" y="2854"/>
                  </a:lnTo>
                  <a:lnTo>
                    <a:pt x="7868" y="2210"/>
                  </a:lnTo>
                  <a:lnTo>
                    <a:pt x="5279" y="6869"/>
                  </a:lnTo>
                  <a:lnTo>
                    <a:pt x="4837" y="10064"/>
                  </a:lnTo>
                  <a:lnTo>
                    <a:pt x="5885" y="12337"/>
                  </a:lnTo>
                  <a:lnTo>
                    <a:pt x="7804" y="12816"/>
                  </a:lnTo>
                  <a:lnTo>
                    <a:pt x="8272" y="13486"/>
                  </a:lnTo>
                  <a:lnTo>
                    <a:pt x="6542" y="13044"/>
                  </a:lnTo>
                  <a:lnTo>
                    <a:pt x="5330" y="14508"/>
                  </a:lnTo>
                  <a:lnTo>
                    <a:pt x="3259" y="14508"/>
                  </a:lnTo>
                  <a:lnTo>
                    <a:pt x="2185" y="14054"/>
                  </a:lnTo>
                  <a:lnTo>
                    <a:pt x="822" y="12652"/>
                  </a:lnTo>
                  <a:lnTo>
                    <a:pt x="607" y="12791"/>
                  </a:lnTo>
                  <a:cubicBezTo>
                    <a:pt x="519" y="12854"/>
                    <a:pt x="253" y="13031"/>
                    <a:pt x="51" y="14609"/>
                  </a:cubicBezTo>
                  <a:lnTo>
                    <a:pt x="39" y="14748"/>
                  </a:lnTo>
                  <a:lnTo>
                    <a:pt x="1238" y="16213"/>
                  </a:lnTo>
                  <a:lnTo>
                    <a:pt x="708" y="18208"/>
                  </a:lnTo>
                  <a:lnTo>
                    <a:pt x="1" y="19989"/>
                  </a:lnTo>
                  <a:lnTo>
                    <a:pt x="6946" y="21857"/>
                  </a:lnTo>
                  <a:lnTo>
                    <a:pt x="8234" y="21340"/>
                  </a:lnTo>
                  <a:lnTo>
                    <a:pt x="8234" y="19319"/>
                  </a:lnTo>
                  <a:lnTo>
                    <a:pt x="6289" y="18701"/>
                  </a:lnTo>
                  <a:lnTo>
                    <a:pt x="4547" y="18094"/>
                  </a:lnTo>
                  <a:lnTo>
                    <a:pt x="4092" y="16958"/>
                  </a:lnTo>
                  <a:lnTo>
                    <a:pt x="5052" y="16781"/>
                  </a:lnTo>
                  <a:lnTo>
                    <a:pt x="7350" y="18284"/>
                  </a:lnTo>
                  <a:lnTo>
                    <a:pt x="9433" y="18284"/>
                  </a:lnTo>
                  <a:lnTo>
                    <a:pt x="11605" y="19079"/>
                  </a:lnTo>
                  <a:lnTo>
                    <a:pt x="12464" y="15620"/>
                  </a:lnTo>
                  <a:lnTo>
                    <a:pt x="14181" y="13953"/>
                  </a:lnTo>
                  <a:lnTo>
                    <a:pt x="15797" y="12690"/>
                  </a:lnTo>
                  <a:lnTo>
                    <a:pt x="15797" y="10948"/>
                  </a:lnTo>
                  <a:lnTo>
                    <a:pt x="19106" y="9811"/>
                  </a:lnTo>
                  <a:lnTo>
                    <a:pt x="21833" y="8283"/>
                  </a:lnTo>
                  <a:lnTo>
                    <a:pt x="23853" y="6579"/>
                  </a:lnTo>
                  <a:lnTo>
                    <a:pt x="26063" y="5783"/>
                  </a:lnTo>
                  <a:lnTo>
                    <a:pt x="27414" y="3637"/>
                  </a:lnTo>
                  <a:lnTo>
                    <a:pt x="26265" y="1452"/>
                  </a:lnTo>
                  <a:lnTo>
                    <a:pt x="232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65"/>
            <p:cNvSpPr/>
            <p:nvPr/>
          </p:nvSpPr>
          <p:spPr>
            <a:xfrm>
              <a:off x="2007475" y="1152350"/>
              <a:ext cx="49275" cy="59075"/>
            </a:xfrm>
            <a:custGeom>
              <a:avLst/>
              <a:gdLst/>
              <a:ahLst/>
              <a:cxnLst/>
              <a:rect l="l" t="t" r="r" b="b"/>
              <a:pathLst>
                <a:path w="1971" h="2363" extrusionOk="0">
                  <a:moveTo>
                    <a:pt x="1339" y="1"/>
                  </a:moveTo>
                  <a:cubicBezTo>
                    <a:pt x="1023" y="241"/>
                    <a:pt x="1" y="1554"/>
                    <a:pt x="1" y="1554"/>
                  </a:cubicBezTo>
                  <a:lnTo>
                    <a:pt x="1339" y="2362"/>
                  </a:lnTo>
                  <a:lnTo>
                    <a:pt x="1970" y="1188"/>
                  </a:lnTo>
                  <a:lnTo>
                    <a:pt x="133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65"/>
            <p:cNvSpPr/>
            <p:nvPr/>
          </p:nvSpPr>
          <p:spPr>
            <a:xfrm>
              <a:off x="1995800" y="1140375"/>
              <a:ext cx="70100" cy="82100"/>
            </a:xfrm>
            <a:custGeom>
              <a:avLst/>
              <a:gdLst/>
              <a:ahLst/>
              <a:cxnLst/>
              <a:rect l="l" t="t" r="r" b="b"/>
              <a:pathLst>
                <a:path w="2804" h="3284" extrusionOk="0">
                  <a:moveTo>
                    <a:pt x="1730" y="998"/>
                  </a:moveTo>
                  <a:lnTo>
                    <a:pt x="2084" y="1667"/>
                  </a:lnTo>
                  <a:lnTo>
                    <a:pt x="1692" y="2399"/>
                  </a:lnTo>
                  <a:lnTo>
                    <a:pt x="935" y="1945"/>
                  </a:lnTo>
                  <a:cubicBezTo>
                    <a:pt x="1200" y="1629"/>
                    <a:pt x="1516" y="1250"/>
                    <a:pt x="1730" y="998"/>
                  </a:cubicBezTo>
                  <a:close/>
                  <a:moveTo>
                    <a:pt x="1920" y="0"/>
                  </a:moveTo>
                  <a:lnTo>
                    <a:pt x="1617" y="227"/>
                  </a:lnTo>
                  <a:cubicBezTo>
                    <a:pt x="1288" y="480"/>
                    <a:pt x="392" y="1616"/>
                    <a:pt x="228" y="1844"/>
                  </a:cubicBezTo>
                  <a:lnTo>
                    <a:pt x="0" y="2121"/>
                  </a:lnTo>
                  <a:lnTo>
                    <a:pt x="1932" y="3283"/>
                  </a:lnTo>
                  <a:lnTo>
                    <a:pt x="2804" y="1654"/>
                  </a:lnTo>
                  <a:lnTo>
                    <a:pt x="192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65"/>
            <p:cNvSpPr/>
            <p:nvPr/>
          </p:nvSpPr>
          <p:spPr>
            <a:xfrm>
              <a:off x="2092700" y="954125"/>
              <a:ext cx="54950" cy="101675"/>
            </a:xfrm>
            <a:custGeom>
              <a:avLst/>
              <a:gdLst/>
              <a:ahLst/>
              <a:cxnLst/>
              <a:rect l="l" t="t" r="r" b="b"/>
              <a:pathLst>
                <a:path w="2198" h="4067" extrusionOk="0">
                  <a:moveTo>
                    <a:pt x="1125" y="0"/>
                  </a:moveTo>
                  <a:lnTo>
                    <a:pt x="1" y="2096"/>
                  </a:lnTo>
                  <a:lnTo>
                    <a:pt x="455" y="4066"/>
                  </a:lnTo>
                  <a:lnTo>
                    <a:pt x="847" y="4066"/>
                  </a:lnTo>
                  <a:lnTo>
                    <a:pt x="847" y="2488"/>
                  </a:lnTo>
                  <a:lnTo>
                    <a:pt x="2198" y="1717"/>
                  </a:lnTo>
                  <a:lnTo>
                    <a:pt x="11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65"/>
            <p:cNvSpPr/>
            <p:nvPr/>
          </p:nvSpPr>
          <p:spPr>
            <a:xfrm>
              <a:off x="2084500" y="938325"/>
              <a:ext cx="73900" cy="125350"/>
            </a:xfrm>
            <a:custGeom>
              <a:avLst/>
              <a:gdLst/>
              <a:ahLst/>
              <a:cxnLst/>
              <a:rect l="l" t="t" r="r" b="b"/>
              <a:pathLst>
                <a:path w="2956" h="5014" extrusionOk="0">
                  <a:moveTo>
                    <a:pt x="1478" y="1263"/>
                  </a:moveTo>
                  <a:lnTo>
                    <a:pt x="2084" y="2236"/>
                  </a:lnTo>
                  <a:lnTo>
                    <a:pt x="859" y="2943"/>
                  </a:lnTo>
                  <a:lnTo>
                    <a:pt x="859" y="3637"/>
                  </a:lnTo>
                  <a:lnTo>
                    <a:pt x="670" y="2779"/>
                  </a:lnTo>
                  <a:lnTo>
                    <a:pt x="1478" y="1263"/>
                  </a:lnTo>
                  <a:close/>
                  <a:moveTo>
                    <a:pt x="1440" y="1"/>
                  </a:moveTo>
                  <a:lnTo>
                    <a:pt x="1" y="2690"/>
                  </a:lnTo>
                  <a:lnTo>
                    <a:pt x="531" y="5014"/>
                  </a:lnTo>
                  <a:lnTo>
                    <a:pt x="1491" y="5014"/>
                  </a:lnTo>
                  <a:lnTo>
                    <a:pt x="1491" y="3296"/>
                  </a:lnTo>
                  <a:lnTo>
                    <a:pt x="2955" y="2463"/>
                  </a:lnTo>
                  <a:lnTo>
                    <a:pt x="144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65"/>
            <p:cNvSpPr/>
            <p:nvPr/>
          </p:nvSpPr>
          <p:spPr>
            <a:xfrm>
              <a:off x="1999575" y="874575"/>
              <a:ext cx="83050" cy="141750"/>
            </a:xfrm>
            <a:custGeom>
              <a:avLst/>
              <a:gdLst/>
              <a:ahLst/>
              <a:cxnLst/>
              <a:rect l="l" t="t" r="r" b="b"/>
              <a:pathLst>
                <a:path w="3322" h="5670" extrusionOk="0">
                  <a:moveTo>
                    <a:pt x="796" y="0"/>
                  </a:moveTo>
                  <a:lnTo>
                    <a:pt x="796" y="1882"/>
                  </a:lnTo>
                  <a:lnTo>
                    <a:pt x="1" y="2601"/>
                  </a:lnTo>
                  <a:lnTo>
                    <a:pt x="1264" y="4407"/>
                  </a:lnTo>
                  <a:lnTo>
                    <a:pt x="1617" y="5670"/>
                  </a:lnTo>
                  <a:lnTo>
                    <a:pt x="3322" y="2286"/>
                  </a:lnTo>
                  <a:lnTo>
                    <a:pt x="3322" y="631"/>
                  </a:lnTo>
                  <a:lnTo>
                    <a:pt x="79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65"/>
            <p:cNvSpPr/>
            <p:nvPr/>
          </p:nvSpPr>
          <p:spPr>
            <a:xfrm>
              <a:off x="1989175" y="864475"/>
              <a:ext cx="101025" cy="173625"/>
            </a:xfrm>
            <a:custGeom>
              <a:avLst/>
              <a:gdLst/>
              <a:ahLst/>
              <a:cxnLst/>
              <a:rect l="l" t="t" r="r" b="b"/>
              <a:pathLst>
                <a:path w="4041" h="6945" extrusionOk="0">
                  <a:moveTo>
                    <a:pt x="1528" y="808"/>
                  </a:moveTo>
                  <a:lnTo>
                    <a:pt x="3422" y="1275"/>
                  </a:lnTo>
                  <a:lnTo>
                    <a:pt x="3422" y="2614"/>
                  </a:lnTo>
                  <a:lnTo>
                    <a:pt x="2109" y="5202"/>
                  </a:lnTo>
                  <a:lnTo>
                    <a:pt x="1970" y="4735"/>
                  </a:lnTo>
                  <a:lnTo>
                    <a:pt x="834" y="3043"/>
                  </a:lnTo>
                  <a:lnTo>
                    <a:pt x="1528" y="2437"/>
                  </a:lnTo>
                  <a:lnTo>
                    <a:pt x="1528" y="808"/>
                  </a:lnTo>
                  <a:close/>
                  <a:moveTo>
                    <a:pt x="884" y="0"/>
                  </a:moveTo>
                  <a:lnTo>
                    <a:pt x="884" y="2147"/>
                  </a:lnTo>
                  <a:lnTo>
                    <a:pt x="0" y="2955"/>
                  </a:lnTo>
                  <a:lnTo>
                    <a:pt x="1389" y="4950"/>
                  </a:lnTo>
                  <a:lnTo>
                    <a:pt x="1932" y="6945"/>
                  </a:lnTo>
                  <a:lnTo>
                    <a:pt x="4041" y="2765"/>
                  </a:lnTo>
                  <a:lnTo>
                    <a:pt x="4041" y="783"/>
                  </a:lnTo>
                  <a:lnTo>
                    <a:pt x="88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65"/>
            <p:cNvSpPr/>
            <p:nvPr/>
          </p:nvSpPr>
          <p:spPr>
            <a:xfrm>
              <a:off x="1924775" y="1047875"/>
              <a:ext cx="106400" cy="104500"/>
            </a:xfrm>
            <a:custGeom>
              <a:avLst/>
              <a:gdLst/>
              <a:ahLst/>
              <a:cxnLst/>
              <a:rect l="l" t="t" r="r" b="b"/>
              <a:pathLst>
                <a:path w="4256" h="4180" extrusionOk="0">
                  <a:moveTo>
                    <a:pt x="0" y="0"/>
                  </a:moveTo>
                  <a:lnTo>
                    <a:pt x="0" y="1894"/>
                  </a:lnTo>
                  <a:lnTo>
                    <a:pt x="1263" y="2690"/>
                  </a:lnTo>
                  <a:lnTo>
                    <a:pt x="947" y="4180"/>
                  </a:lnTo>
                  <a:cubicBezTo>
                    <a:pt x="947" y="4180"/>
                    <a:pt x="2481" y="3571"/>
                    <a:pt x="2595" y="3571"/>
                  </a:cubicBezTo>
                  <a:cubicBezTo>
                    <a:pt x="2599" y="3571"/>
                    <a:pt x="2601" y="3572"/>
                    <a:pt x="2601" y="3574"/>
                  </a:cubicBezTo>
                  <a:cubicBezTo>
                    <a:pt x="2601" y="3574"/>
                    <a:pt x="2602" y="3575"/>
                    <a:pt x="2602" y="3575"/>
                  </a:cubicBezTo>
                  <a:cubicBezTo>
                    <a:pt x="2638" y="3575"/>
                    <a:pt x="4256" y="1389"/>
                    <a:pt x="4256" y="1389"/>
                  </a:cubicBezTo>
                  <a:lnTo>
                    <a:pt x="3296" y="0"/>
                  </a:lnTo>
                  <a:lnTo>
                    <a:pt x="2147" y="796"/>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65"/>
            <p:cNvSpPr/>
            <p:nvPr/>
          </p:nvSpPr>
          <p:spPr>
            <a:xfrm>
              <a:off x="1916875" y="1036500"/>
              <a:ext cx="124100" cy="128500"/>
            </a:xfrm>
            <a:custGeom>
              <a:avLst/>
              <a:gdLst/>
              <a:ahLst/>
              <a:cxnLst/>
              <a:rect l="l" t="t" r="r" b="b"/>
              <a:pathLst>
                <a:path w="4964" h="5140" extrusionOk="0">
                  <a:moveTo>
                    <a:pt x="3524" y="897"/>
                  </a:moveTo>
                  <a:lnTo>
                    <a:pt x="4180" y="1844"/>
                  </a:lnTo>
                  <a:cubicBezTo>
                    <a:pt x="3675" y="2526"/>
                    <a:pt x="2968" y="3473"/>
                    <a:pt x="2753" y="3738"/>
                  </a:cubicBezTo>
                  <a:cubicBezTo>
                    <a:pt x="2577" y="3789"/>
                    <a:pt x="2261" y="3903"/>
                    <a:pt x="1693" y="4130"/>
                  </a:cubicBezTo>
                  <a:lnTo>
                    <a:pt x="1933" y="2981"/>
                  </a:lnTo>
                  <a:lnTo>
                    <a:pt x="632" y="2173"/>
                  </a:lnTo>
                  <a:lnTo>
                    <a:pt x="632" y="910"/>
                  </a:lnTo>
                  <a:lnTo>
                    <a:pt x="2501" y="1604"/>
                  </a:lnTo>
                  <a:lnTo>
                    <a:pt x="3524" y="897"/>
                  </a:lnTo>
                  <a:close/>
                  <a:moveTo>
                    <a:pt x="1" y="1"/>
                  </a:moveTo>
                  <a:lnTo>
                    <a:pt x="1" y="2526"/>
                  </a:lnTo>
                  <a:lnTo>
                    <a:pt x="1225" y="3284"/>
                  </a:lnTo>
                  <a:lnTo>
                    <a:pt x="834" y="5140"/>
                  </a:lnTo>
                  <a:lnTo>
                    <a:pt x="1377" y="4925"/>
                  </a:lnTo>
                  <a:cubicBezTo>
                    <a:pt x="1996" y="4685"/>
                    <a:pt x="2690" y="4420"/>
                    <a:pt x="2905" y="4344"/>
                  </a:cubicBezTo>
                  <a:cubicBezTo>
                    <a:pt x="2916" y="4347"/>
                    <a:pt x="2927" y="4348"/>
                    <a:pt x="2938" y="4348"/>
                  </a:cubicBezTo>
                  <a:cubicBezTo>
                    <a:pt x="3130" y="4348"/>
                    <a:pt x="3368" y="4002"/>
                    <a:pt x="4824" y="2021"/>
                  </a:cubicBezTo>
                  <a:lnTo>
                    <a:pt x="4963" y="1832"/>
                  </a:lnTo>
                  <a:lnTo>
                    <a:pt x="3688" y="13"/>
                  </a:lnTo>
                  <a:lnTo>
                    <a:pt x="2412" y="885"/>
                  </a:lnTo>
                  <a:lnTo>
                    <a:pt x="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65"/>
            <p:cNvSpPr/>
            <p:nvPr/>
          </p:nvSpPr>
          <p:spPr>
            <a:xfrm>
              <a:off x="1706650" y="1016300"/>
              <a:ext cx="192575" cy="136400"/>
            </a:xfrm>
            <a:custGeom>
              <a:avLst/>
              <a:gdLst/>
              <a:ahLst/>
              <a:cxnLst/>
              <a:rect l="l" t="t" r="r" b="b"/>
              <a:pathLst>
                <a:path w="7703" h="5456" extrusionOk="0">
                  <a:moveTo>
                    <a:pt x="2412" y="1"/>
                  </a:moveTo>
                  <a:lnTo>
                    <a:pt x="1616" y="518"/>
                  </a:lnTo>
                  <a:cubicBezTo>
                    <a:pt x="1376" y="594"/>
                    <a:pt x="0" y="2147"/>
                    <a:pt x="0" y="2147"/>
                  </a:cubicBezTo>
                  <a:lnTo>
                    <a:pt x="859" y="4029"/>
                  </a:lnTo>
                  <a:lnTo>
                    <a:pt x="1692" y="5456"/>
                  </a:lnTo>
                  <a:lnTo>
                    <a:pt x="4142" y="4849"/>
                  </a:lnTo>
                  <a:lnTo>
                    <a:pt x="5253" y="4269"/>
                  </a:lnTo>
                  <a:lnTo>
                    <a:pt x="7387" y="4837"/>
                  </a:lnTo>
                  <a:lnTo>
                    <a:pt x="7703" y="2652"/>
                  </a:lnTo>
                  <a:lnTo>
                    <a:pt x="6907" y="480"/>
                  </a:lnTo>
                  <a:lnTo>
                    <a:pt x="5013" y="1819"/>
                  </a:lnTo>
                  <a:lnTo>
                    <a:pt x="4520" y="2968"/>
                  </a:lnTo>
                  <a:lnTo>
                    <a:pt x="3043" y="2652"/>
                  </a:lnTo>
                  <a:lnTo>
                    <a:pt x="3043" y="1263"/>
                  </a:lnTo>
                  <a:lnTo>
                    <a:pt x="241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65"/>
            <p:cNvSpPr/>
            <p:nvPr/>
          </p:nvSpPr>
          <p:spPr>
            <a:xfrm>
              <a:off x="1697800" y="1004950"/>
              <a:ext cx="209625" cy="156600"/>
            </a:xfrm>
            <a:custGeom>
              <a:avLst/>
              <a:gdLst/>
              <a:ahLst/>
              <a:cxnLst/>
              <a:rect l="l" t="t" r="r" b="b"/>
              <a:pathLst>
                <a:path w="8385" h="6264" extrusionOk="0">
                  <a:moveTo>
                    <a:pt x="2652" y="909"/>
                  </a:moveTo>
                  <a:lnTo>
                    <a:pt x="3094" y="1793"/>
                  </a:lnTo>
                  <a:lnTo>
                    <a:pt x="3094" y="3359"/>
                  </a:lnTo>
                  <a:lnTo>
                    <a:pt x="5064" y="3788"/>
                  </a:lnTo>
                  <a:lnTo>
                    <a:pt x="5632" y="2475"/>
                  </a:lnTo>
                  <a:lnTo>
                    <a:pt x="7122" y="1427"/>
                  </a:lnTo>
                  <a:lnTo>
                    <a:pt x="7728" y="3132"/>
                  </a:lnTo>
                  <a:lnTo>
                    <a:pt x="7476" y="4887"/>
                  </a:lnTo>
                  <a:lnTo>
                    <a:pt x="5582" y="4382"/>
                  </a:lnTo>
                  <a:lnTo>
                    <a:pt x="4395" y="5000"/>
                  </a:lnTo>
                  <a:lnTo>
                    <a:pt x="2210" y="5531"/>
                  </a:lnTo>
                  <a:lnTo>
                    <a:pt x="1503" y="4356"/>
                  </a:lnTo>
                  <a:lnTo>
                    <a:pt x="733" y="2664"/>
                  </a:lnTo>
                  <a:cubicBezTo>
                    <a:pt x="1288" y="2033"/>
                    <a:pt x="1920" y="1364"/>
                    <a:pt x="2084" y="1263"/>
                  </a:cubicBezTo>
                  <a:lnTo>
                    <a:pt x="2652" y="909"/>
                  </a:lnTo>
                  <a:close/>
                  <a:moveTo>
                    <a:pt x="2917" y="0"/>
                  </a:moveTo>
                  <a:lnTo>
                    <a:pt x="1831" y="682"/>
                  </a:lnTo>
                  <a:cubicBezTo>
                    <a:pt x="1705" y="745"/>
                    <a:pt x="1352" y="1010"/>
                    <a:pt x="139" y="2387"/>
                  </a:cubicBezTo>
                  <a:lnTo>
                    <a:pt x="0" y="2551"/>
                  </a:lnTo>
                  <a:lnTo>
                    <a:pt x="947" y="4647"/>
                  </a:lnTo>
                  <a:lnTo>
                    <a:pt x="1907" y="6263"/>
                  </a:lnTo>
                  <a:lnTo>
                    <a:pt x="4584" y="5606"/>
                  </a:lnTo>
                  <a:lnTo>
                    <a:pt x="5645" y="5051"/>
                  </a:lnTo>
                  <a:lnTo>
                    <a:pt x="8006" y="5682"/>
                  </a:lnTo>
                  <a:lnTo>
                    <a:pt x="8385" y="3068"/>
                  </a:lnTo>
                  <a:lnTo>
                    <a:pt x="7438" y="429"/>
                  </a:lnTo>
                  <a:lnTo>
                    <a:pt x="5127" y="2058"/>
                  </a:lnTo>
                  <a:lnTo>
                    <a:pt x="4710" y="3043"/>
                  </a:lnTo>
                  <a:lnTo>
                    <a:pt x="3738" y="2841"/>
                  </a:lnTo>
                  <a:lnTo>
                    <a:pt x="3738" y="1642"/>
                  </a:lnTo>
                  <a:lnTo>
                    <a:pt x="291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65"/>
            <p:cNvSpPr/>
            <p:nvPr/>
          </p:nvSpPr>
          <p:spPr>
            <a:xfrm>
              <a:off x="1640975" y="919700"/>
              <a:ext cx="161975" cy="96625"/>
            </a:xfrm>
            <a:custGeom>
              <a:avLst/>
              <a:gdLst/>
              <a:ahLst/>
              <a:cxnLst/>
              <a:rect l="l" t="t" r="r" b="b"/>
              <a:pathLst>
                <a:path w="6479" h="3865" extrusionOk="0">
                  <a:moveTo>
                    <a:pt x="5203" y="1"/>
                  </a:moveTo>
                  <a:lnTo>
                    <a:pt x="3549" y="632"/>
                  </a:lnTo>
                  <a:lnTo>
                    <a:pt x="783" y="1819"/>
                  </a:lnTo>
                  <a:lnTo>
                    <a:pt x="1" y="3334"/>
                  </a:lnTo>
                  <a:lnTo>
                    <a:pt x="1579" y="3865"/>
                  </a:lnTo>
                  <a:lnTo>
                    <a:pt x="3157" y="3334"/>
                  </a:lnTo>
                  <a:lnTo>
                    <a:pt x="4572" y="3094"/>
                  </a:lnTo>
                  <a:lnTo>
                    <a:pt x="5759" y="1933"/>
                  </a:lnTo>
                  <a:lnTo>
                    <a:pt x="6478" y="708"/>
                  </a:lnTo>
                  <a:lnTo>
                    <a:pt x="52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65"/>
            <p:cNvSpPr/>
            <p:nvPr/>
          </p:nvSpPr>
          <p:spPr>
            <a:xfrm>
              <a:off x="1629625" y="910875"/>
              <a:ext cx="184375" cy="113650"/>
            </a:xfrm>
            <a:custGeom>
              <a:avLst/>
              <a:gdLst/>
              <a:ahLst/>
              <a:cxnLst/>
              <a:rect l="l" t="t" r="r" b="b"/>
              <a:pathLst>
                <a:path w="7375" h="4546" extrusionOk="0">
                  <a:moveTo>
                    <a:pt x="5632" y="707"/>
                  </a:moveTo>
                  <a:lnTo>
                    <a:pt x="6503" y="1175"/>
                  </a:lnTo>
                  <a:lnTo>
                    <a:pt x="5960" y="2084"/>
                  </a:lnTo>
                  <a:lnTo>
                    <a:pt x="4874" y="3144"/>
                  </a:lnTo>
                  <a:lnTo>
                    <a:pt x="3561" y="3372"/>
                  </a:lnTo>
                  <a:lnTo>
                    <a:pt x="2033" y="3877"/>
                  </a:lnTo>
                  <a:lnTo>
                    <a:pt x="909" y="3511"/>
                  </a:lnTo>
                  <a:lnTo>
                    <a:pt x="1477" y="2412"/>
                  </a:lnTo>
                  <a:lnTo>
                    <a:pt x="4116" y="1276"/>
                  </a:lnTo>
                  <a:lnTo>
                    <a:pt x="5632" y="707"/>
                  </a:lnTo>
                  <a:close/>
                  <a:moveTo>
                    <a:pt x="5682" y="0"/>
                  </a:moveTo>
                  <a:lnTo>
                    <a:pt x="3877" y="695"/>
                  </a:lnTo>
                  <a:lnTo>
                    <a:pt x="1010" y="1920"/>
                  </a:lnTo>
                  <a:lnTo>
                    <a:pt x="0" y="3877"/>
                  </a:lnTo>
                  <a:lnTo>
                    <a:pt x="2033" y="4546"/>
                  </a:lnTo>
                  <a:lnTo>
                    <a:pt x="3687" y="4003"/>
                  </a:lnTo>
                  <a:lnTo>
                    <a:pt x="5177" y="3750"/>
                  </a:lnTo>
                  <a:lnTo>
                    <a:pt x="6427" y="2513"/>
                  </a:lnTo>
                  <a:lnTo>
                    <a:pt x="7374" y="947"/>
                  </a:lnTo>
                  <a:lnTo>
                    <a:pt x="568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65"/>
            <p:cNvSpPr/>
            <p:nvPr/>
          </p:nvSpPr>
          <p:spPr>
            <a:xfrm>
              <a:off x="1843950" y="961050"/>
              <a:ext cx="72950" cy="40125"/>
            </a:xfrm>
            <a:custGeom>
              <a:avLst/>
              <a:gdLst/>
              <a:ahLst/>
              <a:cxnLst/>
              <a:rect l="l" t="t" r="r" b="b"/>
              <a:pathLst>
                <a:path w="2918" h="1605" extrusionOk="0">
                  <a:moveTo>
                    <a:pt x="392" y="1"/>
                  </a:moveTo>
                  <a:lnTo>
                    <a:pt x="1" y="594"/>
                  </a:lnTo>
                  <a:lnTo>
                    <a:pt x="1024" y="1605"/>
                  </a:lnTo>
                  <a:lnTo>
                    <a:pt x="2211" y="670"/>
                  </a:lnTo>
                  <a:lnTo>
                    <a:pt x="291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65"/>
            <p:cNvSpPr/>
            <p:nvPr/>
          </p:nvSpPr>
          <p:spPr>
            <a:xfrm>
              <a:off x="1833850" y="953475"/>
              <a:ext cx="102950" cy="58125"/>
            </a:xfrm>
            <a:custGeom>
              <a:avLst/>
              <a:gdLst/>
              <a:ahLst/>
              <a:cxnLst/>
              <a:rect l="l" t="t" r="r" b="b"/>
              <a:pathLst>
                <a:path w="4118" h="2325" extrusionOk="0">
                  <a:moveTo>
                    <a:pt x="2526" y="632"/>
                  </a:moveTo>
                  <a:lnTo>
                    <a:pt x="1453" y="1491"/>
                  </a:lnTo>
                  <a:lnTo>
                    <a:pt x="809" y="860"/>
                  </a:lnTo>
                  <a:lnTo>
                    <a:pt x="973" y="632"/>
                  </a:lnTo>
                  <a:close/>
                  <a:moveTo>
                    <a:pt x="632" y="1"/>
                  </a:moveTo>
                  <a:lnTo>
                    <a:pt x="1" y="948"/>
                  </a:lnTo>
                  <a:lnTo>
                    <a:pt x="1402" y="2324"/>
                  </a:lnTo>
                  <a:lnTo>
                    <a:pt x="2829" y="1213"/>
                  </a:lnTo>
                  <a:lnTo>
                    <a:pt x="411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65"/>
            <p:cNvSpPr/>
            <p:nvPr/>
          </p:nvSpPr>
          <p:spPr>
            <a:xfrm>
              <a:off x="1900150" y="882450"/>
              <a:ext cx="40425" cy="51500"/>
            </a:xfrm>
            <a:custGeom>
              <a:avLst/>
              <a:gdLst/>
              <a:ahLst/>
              <a:cxnLst/>
              <a:rect l="l" t="t" r="r" b="b"/>
              <a:pathLst>
                <a:path w="1617" h="2060" extrusionOk="0">
                  <a:moveTo>
                    <a:pt x="354" y="1"/>
                  </a:moveTo>
                  <a:lnTo>
                    <a:pt x="0" y="708"/>
                  </a:lnTo>
                  <a:lnTo>
                    <a:pt x="695" y="1137"/>
                  </a:lnTo>
                  <a:lnTo>
                    <a:pt x="1351" y="2059"/>
                  </a:lnTo>
                  <a:lnTo>
                    <a:pt x="1617" y="1339"/>
                  </a:lnTo>
                  <a:lnTo>
                    <a:pt x="1617" y="316"/>
                  </a:lnTo>
                  <a:lnTo>
                    <a:pt x="354"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65"/>
            <p:cNvSpPr/>
            <p:nvPr/>
          </p:nvSpPr>
          <p:spPr>
            <a:xfrm>
              <a:off x="1889725" y="873000"/>
              <a:ext cx="58750" cy="77975"/>
            </a:xfrm>
            <a:custGeom>
              <a:avLst/>
              <a:gdLst/>
              <a:ahLst/>
              <a:cxnLst/>
              <a:rect l="l" t="t" r="r" b="b"/>
              <a:pathLst>
                <a:path w="2350" h="3119" extrusionOk="0">
                  <a:moveTo>
                    <a:pt x="948" y="745"/>
                  </a:moveTo>
                  <a:lnTo>
                    <a:pt x="1718" y="934"/>
                  </a:lnTo>
                  <a:lnTo>
                    <a:pt x="1718" y="1654"/>
                  </a:lnTo>
                  <a:lnTo>
                    <a:pt x="1680" y="1768"/>
                  </a:lnTo>
                  <a:lnTo>
                    <a:pt x="1364" y="1326"/>
                  </a:lnTo>
                  <a:lnTo>
                    <a:pt x="821" y="972"/>
                  </a:lnTo>
                  <a:lnTo>
                    <a:pt x="948" y="745"/>
                  </a:lnTo>
                  <a:close/>
                  <a:moveTo>
                    <a:pt x="607" y="0"/>
                  </a:moveTo>
                  <a:lnTo>
                    <a:pt x="1" y="1200"/>
                  </a:lnTo>
                  <a:lnTo>
                    <a:pt x="885" y="1755"/>
                  </a:lnTo>
                  <a:lnTo>
                    <a:pt x="1857" y="3119"/>
                  </a:lnTo>
                  <a:lnTo>
                    <a:pt x="2324" y="1818"/>
                  </a:lnTo>
                  <a:lnTo>
                    <a:pt x="2349" y="442"/>
                  </a:lnTo>
                  <a:lnTo>
                    <a:pt x="6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65"/>
            <p:cNvSpPr/>
            <p:nvPr/>
          </p:nvSpPr>
          <p:spPr>
            <a:xfrm>
              <a:off x="1439900" y="1099950"/>
              <a:ext cx="185325" cy="192275"/>
            </a:xfrm>
            <a:custGeom>
              <a:avLst/>
              <a:gdLst/>
              <a:ahLst/>
              <a:cxnLst/>
              <a:rect l="l" t="t" r="r" b="b"/>
              <a:pathLst>
                <a:path w="7413" h="7691" extrusionOk="0">
                  <a:moveTo>
                    <a:pt x="5682" y="1"/>
                  </a:moveTo>
                  <a:lnTo>
                    <a:pt x="3826" y="354"/>
                  </a:lnTo>
                  <a:cubicBezTo>
                    <a:pt x="3586" y="544"/>
                    <a:pt x="2374" y="834"/>
                    <a:pt x="2374" y="834"/>
                  </a:cubicBezTo>
                  <a:lnTo>
                    <a:pt x="2374" y="2337"/>
                  </a:lnTo>
                  <a:lnTo>
                    <a:pt x="1111" y="3991"/>
                  </a:lnTo>
                  <a:lnTo>
                    <a:pt x="0" y="4900"/>
                  </a:lnTo>
                  <a:lnTo>
                    <a:pt x="632" y="7691"/>
                  </a:lnTo>
                  <a:lnTo>
                    <a:pt x="2058" y="7691"/>
                  </a:lnTo>
                  <a:lnTo>
                    <a:pt x="4293" y="5254"/>
                  </a:lnTo>
                  <a:lnTo>
                    <a:pt x="5834" y="4622"/>
                  </a:lnTo>
                  <a:lnTo>
                    <a:pt x="7412" y="3650"/>
                  </a:lnTo>
                  <a:lnTo>
                    <a:pt x="7412" y="1705"/>
                  </a:lnTo>
                  <a:lnTo>
                    <a:pt x="6238" y="910"/>
                  </a:lnTo>
                  <a:lnTo>
                    <a:pt x="56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65"/>
            <p:cNvSpPr/>
            <p:nvPr/>
          </p:nvSpPr>
          <p:spPr>
            <a:xfrm>
              <a:off x="1431375" y="1091425"/>
              <a:ext cx="201725" cy="208700"/>
            </a:xfrm>
            <a:custGeom>
              <a:avLst/>
              <a:gdLst/>
              <a:ahLst/>
              <a:cxnLst/>
              <a:rect l="l" t="t" r="r" b="b"/>
              <a:pathLst>
                <a:path w="8069" h="8348" extrusionOk="0">
                  <a:moveTo>
                    <a:pt x="5859" y="708"/>
                  </a:moveTo>
                  <a:lnTo>
                    <a:pt x="6301" y="1428"/>
                  </a:lnTo>
                  <a:lnTo>
                    <a:pt x="7438" y="2223"/>
                  </a:lnTo>
                  <a:lnTo>
                    <a:pt x="7438" y="3814"/>
                  </a:lnTo>
                  <a:lnTo>
                    <a:pt x="6049" y="4673"/>
                  </a:lnTo>
                  <a:lnTo>
                    <a:pt x="4521" y="5304"/>
                  </a:lnTo>
                  <a:lnTo>
                    <a:pt x="2260" y="7716"/>
                  </a:lnTo>
                  <a:lnTo>
                    <a:pt x="1225" y="7716"/>
                  </a:lnTo>
                  <a:lnTo>
                    <a:pt x="695" y="5367"/>
                  </a:lnTo>
                  <a:lnTo>
                    <a:pt x="1642" y="4584"/>
                  </a:lnTo>
                  <a:lnTo>
                    <a:pt x="3018" y="2791"/>
                  </a:lnTo>
                  <a:lnTo>
                    <a:pt x="3018" y="1428"/>
                  </a:lnTo>
                  <a:cubicBezTo>
                    <a:pt x="3422" y="1327"/>
                    <a:pt x="4003" y="1163"/>
                    <a:pt x="4281" y="998"/>
                  </a:cubicBezTo>
                  <a:lnTo>
                    <a:pt x="5859" y="708"/>
                  </a:lnTo>
                  <a:close/>
                  <a:moveTo>
                    <a:pt x="6175" y="1"/>
                  </a:moveTo>
                  <a:lnTo>
                    <a:pt x="4117" y="380"/>
                  </a:lnTo>
                  <a:lnTo>
                    <a:pt x="4028" y="405"/>
                  </a:lnTo>
                  <a:lnTo>
                    <a:pt x="3965" y="443"/>
                  </a:lnTo>
                  <a:cubicBezTo>
                    <a:pt x="3851" y="544"/>
                    <a:pt x="3182" y="733"/>
                    <a:pt x="2639" y="872"/>
                  </a:cubicBezTo>
                  <a:lnTo>
                    <a:pt x="2399" y="923"/>
                  </a:lnTo>
                  <a:lnTo>
                    <a:pt x="2399" y="2564"/>
                  </a:lnTo>
                  <a:lnTo>
                    <a:pt x="1225" y="4105"/>
                  </a:lnTo>
                  <a:lnTo>
                    <a:pt x="0" y="5115"/>
                  </a:lnTo>
                  <a:lnTo>
                    <a:pt x="733" y="8347"/>
                  </a:lnTo>
                  <a:lnTo>
                    <a:pt x="2538" y="8347"/>
                  </a:lnTo>
                  <a:lnTo>
                    <a:pt x="4836" y="5847"/>
                  </a:lnTo>
                  <a:lnTo>
                    <a:pt x="6352" y="5228"/>
                  </a:lnTo>
                  <a:lnTo>
                    <a:pt x="8069" y="4168"/>
                  </a:lnTo>
                  <a:lnTo>
                    <a:pt x="8069" y="1870"/>
                  </a:lnTo>
                  <a:lnTo>
                    <a:pt x="6806" y="1024"/>
                  </a:lnTo>
                  <a:lnTo>
                    <a:pt x="6175"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65"/>
            <p:cNvSpPr/>
            <p:nvPr/>
          </p:nvSpPr>
          <p:spPr>
            <a:xfrm>
              <a:off x="1514700" y="1211400"/>
              <a:ext cx="329275" cy="270225"/>
            </a:xfrm>
            <a:custGeom>
              <a:avLst/>
              <a:gdLst/>
              <a:ahLst/>
              <a:cxnLst/>
              <a:rect l="l" t="t" r="r" b="b"/>
              <a:pathLst>
                <a:path w="13171" h="10809" extrusionOk="0">
                  <a:moveTo>
                    <a:pt x="12072" y="0"/>
                  </a:moveTo>
                  <a:lnTo>
                    <a:pt x="9623" y="480"/>
                  </a:lnTo>
                  <a:lnTo>
                    <a:pt x="8676" y="4180"/>
                  </a:lnTo>
                  <a:lnTo>
                    <a:pt x="7678" y="3536"/>
                  </a:lnTo>
                  <a:lnTo>
                    <a:pt x="8297" y="1503"/>
                  </a:lnTo>
                  <a:lnTo>
                    <a:pt x="4925" y="707"/>
                  </a:lnTo>
                  <a:lnTo>
                    <a:pt x="1440" y="1818"/>
                  </a:lnTo>
                  <a:lnTo>
                    <a:pt x="1074" y="2993"/>
                  </a:lnTo>
                  <a:lnTo>
                    <a:pt x="2791" y="3574"/>
                  </a:lnTo>
                  <a:lnTo>
                    <a:pt x="1" y="3940"/>
                  </a:lnTo>
                  <a:lnTo>
                    <a:pt x="1" y="6389"/>
                  </a:lnTo>
                  <a:lnTo>
                    <a:pt x="2842" y="6389"/>
                  </a:lnTo>
                  <a:lnTo>
                    <a:pt x="3549" y="6781"/>
                  </a:lnTo>
                  <a:lnTo>
                    <a:pt x="632" y="7021"/>
                  </a:lnTo>
                  <a:lnTo>
                    <a:pt x="1503" y="8637"/>
                  </a:lnTo>
                  <a:lnTo>
                    <a:pt x="1819" y="10177"/>
                  </a:lnTo>
                  <a:lnTo>
                    <a:pt x="4736" y="10177"/>
                  </a:lnTo>
                  <a:lnTo>
                    <a:pt x="6706" y="9142"/>
                  </a:lnTo>
                  <a:lnTo>
                    <a:pt x="8751" y="10809"/>
                  </a:lnTo>
                  <a:lnTo>
                    <a:pt x="10570" y="10089"/>
                  </a:lnTo>
                  <a:lnTo>
                    <a:pt x="11529" y="8789"/>
                  </a:lnTo>
                  <a:lnTo>
                    <a:pt x="10102" y="5695"/>
                  </a:lnTo>
                  <a:lnTo>
                    <a:pt x="11201" y="2614"/>
                  </a:lnTo>
                  <a:lnTo>
                    <a:pt x="13171" y="1111"/>
                  </a:lnTo>
                  <a:lnTo>
                    <a:pt x="1207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65"/>
            <p:cNvSpPr/>
            <p:nvPr/>
          </p:nvSpPr>
          <p:spPr>
            <a:xfrm>
              <a:off x="1506825" y="1202875"/>
              <a:ext cx="349150" cy="287600"/>
            </a:xfrm>
            <a:custGeom>
              <a:avLst/>
              <a:gdLst/>
              <a:ahLst/>
              <a:cxnLst/>
              <a:rect l="l" t="t" r="r" b="b"/>
              <a:pathLst>
                <a:path w="13966" h="11504" extrusionOk="0">
                  <a:moveTo>
                    <a:pt x="12274" y="682"/>
                  </a:moveTo>
                  <a:lnTo>
                    <a:pt x="13006" y="1414"/>
                  </a:lnTo>
                  <a:lnTo>
                    <a:pt x="11238" y="2766"/>
                  </a:lnTo>
                  <a:lnTo>
                    <a:pt x="10064" y="6061"/>
                  </a:lnTo>
                  <a:lnTo>
                    <a:pt x="11478" y="9092"/>
                  </a:lnTo>
                  <a:lnTo>
                    <a:pt x="10683" y="10178"/>
                  </a:lnTo>
                  <a:lnTo>
                    <a:pt x="9129" y="10784"/>
                  </a:lnTo>
                  <a:lnTo>
                    <a:pt x="7059" y="9117"/>
                  </a:lnTo>
                  <a:lnTo>
                    <a:pt x="4975" y="10203"/>
                  </a:lnTo>
                  <a:lnTo>
                    <a:pt x="2399" y="10203"/>
                  </a:lnTo>
                  <a:lnTo>
                    <a:pt x="2134" y="8915"/>
                  </a:lnTo>
                  <a:lnTo>
                    <a:pt x="1465" y="7640"/>
                  </a:lnTo>
                  <a:lnTo>
                    <a:pt x="4937" y="7349"/>
                  </a:lnTo>
                  <a:lnTo>
                    <a:pt x="3245" y="6415"/>
                  </a:lnTo>
                  <a:lnTo>
                    <a:pt x="644" y="6415"/>
                  </a:lnTo>
                  <a:lnTo>
                    <a:pt x="644" y="4559"/>
                  </a:lnTo>
                  <a:lnTo>
                    <a:pt x="4495" y="4053"/>
                  </a:lnTo>
                  <a:lnTo>
                    <a:pt x="1781" y="3132"/>
                  </a:lnTo>
                  <a:lnTo>
                    <a:pt x="2008" y="2399"/>
                  </a:lnTo>
                  <a:lnTo>
                    <a:pt x="5253" y="1377"/>
                  </a:lnTo>
                  <a:lnTo>
                    <a:pt x="8208" y="2071"/>
                  </a:lnTo>
                  <a:lnTo>
                    <a:pt x="7627" y="4003"/>
                  </a:lnTo>
                  <a:lnTo>
                    <a:pt x="9193" y="5026"/>
                  </a:lnTo>
                  <a:lnTo>
                    <a:pt x="10190" y="1086"/>
                  </a:lnTo>
                  <a:lnTo>
                    <a:pt x="12274" y="682"/>
                  </a:lnTo>
                  <a:close/>
                  <a:moveTo>
                    <a:pt x="12488" y="0"/>
                  </a:moveTo>
                  <a:lnTo>
                    <a:pt x="9685" y="543"/>
                  </a:lnTo>
                  <a:lnTo>
                    <a:pt x="8801" y="4016"/>
                  </a:lnTo>
                  <a:lnTo>
                    <a:pt x="8372" y="3738"/>
                  </a:lnTo>
                  <a:lnTo>
                    <a:pt x="9003" y="1616"/>
                  </a:lnTo>
                  <a:lnTo>
                    <a:pt x="5228" y="733"/>
                  </a:lnTo>
                  <a:lnTo>
                    <a:pt x="1503" y="1907"/>
                  </a:lnTo>
                  <a:lnTo>
                    <a:pt x="998" y="3536"/>
                  </a:lnTo>
                  <a:lnTo>
                    <a:pt x="1717" y="3788"/>
                  </a:lnTo>
                  <a:lnTo>
                    <a:pt x="0" y="4003"/>
                  </a:lnTo>
                  <a:lnTo>
                    <a:pt x="0" y="7046"/>
                  </a:lnTo>
                  <a:lnTo>
                    <a:pt x="1010" y="7046"/>
                  </a:lnTo>
                  <a:lnTo>
                    <a:pt x="442" y="7097"/>
                  </a:lnTo>
                  <a:lnTo>
                    <a:pt x="1515" y="9079"/>
                  </a:lnTo>
                  <a:lnTo>
                    <a:pt x="1882" y="10834"/>
                  </a:lnTo>
                  <a:lnTo>
                    <a:pt x="5127" y="10834"/>
                  </a:lnTo>
                  <a:lnTo>
                    <a:pt x="6983" y="9862"/>
                  </a:lnTo>
                  <a:lnTo>
                    <a:pt x="9016" y="11503"/>
                  </a:lnTo>
                  <a:lnTo>
                    <a:pt x="11087" y="10708"/>
                  </a:lnTo>
                  <a:lnTo>
                    <a:pt x="12210" y="9167"/>
                  </a:lnTo>
                  <a:lnTo>
                    <a:pt x="10758" y="6023"/>
                  </a:lnTo>
                  <a:lnTo>
                    <a:pt x="11781" y="3144"/>
                  </a:lnTo>
                  <a:lnTo>
                    <a:pt x="13966" y="1490"/>
                  </a:lnTo>
                  <a:lnTo>
                    <a:pt x="1248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65"/>
            <p:cNvSpPr/>
            <p:nvPr/>
          </p:nvSpPr>
          <p:spPr>
            <a:xfrm>
              <a:off x="1843950" y="1219275"/>
              <a:ext cx="96625" cy="163875"/>
            </a:xfrm>
            <a:custGeom>
              <a:avLst/>
              <a:gdLst/>
              <a:ahLst/>
              <a:cxnLst/>
              <a:rect l="l" t="t" r="r" b="b"/>
              <a:pathLst>
                <a:path w="3865" h="6555" extrusionOk="0">
                  <a:moveTo>
                    <a:pt x="2602" y="1"/>
                  </a:moveTo>
                  <a:lnTo>
                    <a:pt x="2046" y="1339"/>
                  </a:lnTo>
                  <a:lnTo>
                    <a:pt x="1466" y="3334"/>
                  </a:lnTo>
                  <a:lnTo>
                    <a:pt x="1024" y="1642"/>
                  </a:lnTo>
                  <a:lnTo>
                    <a:pt x="1" y="3246"/>
                  </a:lnTo>
                  <a:lnTo>
                    <a:pt x="392" y="5026"/>
                  </a:lnTo>
                  <a:lnTo>
                    <a:pt x="1024" y="6554"/>
                  </a:lnTo>
                  <a:lnTo>
                    <a:pt x="3057" y="5014"/>
                  </a:lnTo>
                  <a:lnTo>
                    <a:pt x="3865" y="3221"/>
                  </a:lnTo>
                  <a:lnTo>
                    <a:pt x="3865" y="1339"/>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65"/>
            <p:cNvSpPr/>
            <p:nvPr/>
          </p:nvSpPr>
          <p:spPr>
            <a:xfrm>
              <a:off x="1835425" y="1205075"/>
              <a:ext cx="113050" cy="190700"/>
            </a:xfrm>
            <a:custGeom>
              <a:avLst/>
              <a:gdLst/>
              <a:ahLst/>
              <a:cxnLst/>
              <a:rect l="l" t="t" r="r" b="b"/>
              <a:pathLst>
                <a:path w="4522" h="7628" extrusionOk="0">
                  <a:moveTo>
                    <a:pt x="3044" y="1150"/>
                  </a:moveTo>
                  <a:lnTo>
                    <a:pt x="3890" y="2034"/>
                  </a:lnTo>
                  <a:lnTo>
                    <a:pt x="3890" y="3726"/>
                  </a:lnTo>
                  <a:lnTo>
                    <a:pt x="3145" y="5380"/>
                  </a:lnTo>
                  <a:lnTo>
                    <a:pt x="1503" y="6630"/>
                  </a:lnTo>
                  <a:lnTo>
                    <a:pt x="1049" y="5519"/>
                  </a:lnTo>
                  <a:lnTo>
                    <a:pt x="683" y="3877"/>
                  </a:lnTo>
                  <a:lnTo>
                    <a:pt x="1238" y="2981"/>
                  </a:lnTo>
                  <a:lnTo>
                    <a:pt x="1781" y="5089"/>
                  </a:lnTo>
                  <a:lnTo>
                    <a:pt x="2678" y="2034"/>
                  </a:lnTo>
                  <a:lnTo>
                    <a:pt x="3044" y="1150"/>
                  </a:lnTo>
                  <a:close/>
                  <a:moveTo>
                    <a:pt x="2842" y="1"/>
                  </a:moveTo>
                  <a:lnTo>
                    <a:pt x="2084" y="1819"/>
                  </a:lnTo>
                  <a:lnTo>
                    <a:pt x="1819" y="2715"/>
                  </a:lnTo>
                  <a:lnTo>
                    <a:pt x="1491" y="1427"/>
                  </a:lnTo>
                  <a:lnTo>
                    <a:pt x="1" y="3763"/>
                  </a:lnTo>
                  <a:lnTo>
                    <a:pt x="443" y="5708"/>
                  </a:lnTo>
                  <a:lnTo>
                    <a:pt x="1238" y="7627"/>
                  </a:lnTo>
                  <a:lnTo>
                    <a:pt x="3650" y="5784"/>
                  </a:lnTo>
                  <a:lnTo>
                    <a:pt x="4496" y="3915"/>
                  </a:lnTo>
                  <a:lnTo>
                    <a:pt x="4521" y="1781"/>
                  </a:lnTo>
                  <a:lnTo>
                    <a:pt x="28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65"/>
            <p:cNvSpPr/>
            <p:nvPr/>
          </p:nvSpPr>
          <p:spPr>
            <a:xfrm>
              <a:off x="1794700" y="1458875"/>
              <a:ext cx="74850" cy="69800"/>
            </a:xfrm>
            <a:custGeom>
              <a:avLst/>
              <a:gdLst/>
              <a:ahLst/>
              <a:cxnLst/>
              <a:rect l="l" t="t" r="r" b="b"/>
              <a:pathLst>
                <a:path w="2994" h="2792" extrusionOk="0">
                  <a:moveTo>
                    <a:pt x="1971" y="1"/>
                  </a:moveTo>
                  <a:lnTo>
                    <a:pt x="872" y="847"/>
                  </a:lnTo>
                  <a:lnTo>
                    <a:pt x="1" y="1465"/>
                  </a:lnTo>
                  <a:lnTo>
                    <a:pt x="1504" y="2791"/>
                  </a:lnTo>
                  <a:lnTo>
                    <a:pt x="2994" y="2791"/>
                  </a:lnTo>
                  <a:lnTo>
                    <a:pt x="1971"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65"/>
            <p:cNvSpPr/>
            <p:nvPr/>
          </p:nvSpPr>
          <p:spPr>
            <a:xfrm>
              <a:off x="1782075" y="1445925"/>
              <a:ext cx="98850" cy="90625"/>
            </a:xfrm>
            <a:custGeom>
              <a:avLst/>
              <a:gdLst/>
              <a:ahLst/>
              <a:cxnLst/>
              <a:rect l="l" t="t" r="r" b="b"/>
              <a:pathLst>
                <a:path w="3954" h="3625" extrusionOk="0">
                  <a:moveTo>
                    <a:pt x="2324" y="1024"/>
                  </a:moveTo>
                  <a:lnTo>
                    <a:pt x="3057" y="2994"/>
                  </a:lnTo>
                  <a:lnTo>
                    <a:pt x="2122" y="2994"/>
                  </a:lnTo>
                  <a:lnTo>
                    <a:pt x="1011" y="2009"/>
                  </a:lnTo>
                  <a:lnTo>
                    <a:pt x="2324" y="1024"/>
                  </a:lnTo>
                  <a:close/>
                  <a:moveTo>
                    <a:pt x="2627" y="1"/>
                  </a:moveTo>
                  <a:lnTo>
                    <a:pt x="1188" y="1112"/>
                  </a:lnTo>
                  <a:lnTo>
                    <a:pt x="1" y="1958"/>
                  </a:lnTo>
                  <a:lnTo>
                    <a:pt x="1882" y="3625"/>
                  </a:lnTo>
                  <a:lnTo>
                    <a:pt x="3953" y="3625"/>
                  </a:lnTo>
                  <a:lnTo>
                    <a:pt x="262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65"/>
            <p:cNvSpPr/>
            <p:nvPr/>
          </p:nvSpPr>
          <p:spPr>
            <a:xfrm>
              <a:off x="241275" y="1079650"/>
              <a:ext cx="2559200" cy="3887025"/>
            </a:xfrm>
            <a:custGeom>
              <a:avLst/>
              <a:gdLst/>
              <a:ahLst/>
              <a:cxnLst/>
              <a:rect l="l" t="t" r="r" b="b"/>
              <a:pathLst>
                <a:path w="102368" h="155481" extrusionOk="0">
                  <a:moveTo>
                    <a:pt x="22033" y="0"/>
                  </a:moveTo>
                  <a:cubicBezTo>
                    <a:pt x="21541" y="0"/>
                    <a:pt x="20848" y="207"/>
                    <a:pt x="19875" y="825"/>
                  </a:cubicBezTo>
                  <a:cubicBezTo>
                    <a:pt x="16958" y="2669"/>
                    <a:pt x="16718" y="2669"/>
                    <a:pt x="16718" y="2669"/>
                  </a:cubicBezTo>
                  <a:lnTo>
                    <a:pt x="14357" y="4096"/>
                  </a:lnTo>
                  <a:lnTo>
                    <a:pt x="14357" y="5043"/>
                  </a:lnTo>
                  <a:lnTo>
                    <a:pt x="15304" y="8351"/>
                  </a:lnTo>
                  <a:lnTo>
                    <a:pt x="15532" y="10056"/>
                  </a:lnTo>
                  <a:lnTo>
                    <a:pt x="13423" y="9450"/>
                  </a:lnTo>
                  <a:lnTo>
                    <a:pt x="12665" y="8869"/>
                  </a:lnTo>
                  <a:lnTo>
                    <a:pt x="10051" y="10043"/>
                  </a:lnTo>
                  <a:lnTo>
                    <a:pt x="9319" y="11584"/>
                  </a:lnTo>
                  <a:lnTo>
                    <a:pt x="9319" y="12606"/>
                  </a:lnTo>
                  <a:lnTo>
                    <a:pt x="11920" y="12998"/>
                  </a:lnTo>
                  <a:lnTo>
                    <a:pt x="13890" y="12846"/>
                  </a:lnTo>
                  <a:lnTo>
                    <a:pt x="13890" y="12846"/>
                  </a:lnTo>
                  <a:lnTo>
                    <a:pt x="12236" y="14854"/>
                  </a:lnTo>
                  <a:lnTo>
                    <a:pt x="9281" y="15447"/>
                  </a:lnTo>
                  <a:lnTo>
                    <a:pt x="7324" y="17884"/>
                  </a:lnTo>
                  <a:lnTo>
                    <a:pt x="5922" y="20094"/>
                  </a:lnTo>
                  <a:lnTo>
                    <a:pt x="6478" y="22228"/>
                  </a:lnTo>
                  <a:lnTo>
                    <a:pt x="7665" y="23491"/>
                  </a:lnTo>
                  <a:lnTo>
                    <a:pt x="9559" y="25069"/>
                  </a:lnTo>
                  <a:cubicBezTo>
                    <a:pt x="9559" y="25069"/>
                    <a:pt x="8448" y="26534"/>
                    <a:pt x="8372" y="26862"/>
                  </a:cubicBezTo>
                  <a:cubicBezTo>
                    <a:pt x="8296" y="27191"/>
                    <a:pt x="2841" y="30196"/>
                    <a:pt x="2841" y="30196"/>
                  </a:cubicBezTo>
                  <a:lnTo>
                    <a:pt x="0" y="31610"/>
                  </a:lnTo>
                  <a:lnTo>
                    <a:pt x="0" y="31610"/>
                  </a:lnTo>
                  <a:lnTo>
                    <a:pt x="4344" y="30903"/>
                  </a:lnTo>
                  <a:lnTo>
                    <a:pt x="10178" y="28529"/>
                  </a:lnTo>
                  <a:lnTo>
                    <a:pt x="12476" y="25852"/>
                  </a:lnTo>
                  <a:lnTo>
                    <a:pt x="14446" y="24110"/>
                  </a:lnTo>
                  <a:lnTo>
                    <a:pt x="16883" y="22380"/>
                  </a:lnTo>
                  <a:lnTo>
                    <a:pt x="15393" y="25132"/>
                  </a:lnTo>
                  <a:lnTo>
                    <a:pt x="17287" y="24741"/>
                  </a:lnTo>
                  <a:cubicBezTo>
                    <a:pt x="17287" y="24741"/>
                    <a:pt x="19648" y="24034"/>
                    <a:pt x="19812" y="23794"/>
                  </a:cubicBezTo>
                  <a:cubicBezTo>
                    <a:pt x="19818" y="23784"/>
                    <a:pt x="19832" y="23779"/>
                    <a:pt x="19854" y="23779"/>
                  </a:cubicBezTo>
                  <a:cubicBezTo>
                    <a:pt x="20342" y="23779"/>
                    <a:pt x="24610" y="26319"/>
                    <a:pt x="24610" y="26319"/>
                  </a:cubicBezTo>
                  <a:lnTo>
                    <a:pt x="26113" y="29085"/>
                  </a:lnTo>
                  <a:lnTo>
                    <a:pt x="26820" y="33100"/>
                  </a:lnTo>
                  <a:lnTo>
                    <a:pt x="26189" y="36105"/>
                  </a:lnTo>
                  <a:lnTo>
                    <a:pt x="25633" y="38151"/>
                  </a:lnTo>
                  <a:lnTo>
                    <a:pt x="26429" y="40045"/>
                  </a:lnTo>
                  <a:lnTo>
                    <a:pt x="27376" y="37040"/>
                  </a:lnTo>
                  <a:lnTo>
                    <a:pt x="28474" y="36105"/>
                  </a:lnTo>
                  <a:lnTo>
                    <a:pt x="29194" y="40512"/>
                  </a:lnTo>
                  <a:lnTo>
                    <a:pt x="30457" y="43505"/>
                  </a:lnTo>
                  <a:lnTo>
                    <a:pt x="28083" y="42015"/>
                  </a:lnTo>
                  <a:lnTo>
                    <a:pt x="27856" y="43505"/>
                  </a:lnTo>
                  <a:lnTo>
                    <a:pt x="29585" y="47293"/>
                  </a:lnTo>
                  <a:lnTo>
                    <a:pt x="29346" y="49894"/>
                  </a:lnTo>
                  <a:lnTo>
                    <a:pt x="28083" y="52419"/>
                  </a:lnTo>
                  <a:lnTo>
                    <a:pt x="27616" y="56763"/>
                  </a:lnTo>
                  <a:lnTo>
                    <a:pt x="27931" y="61258"/>
                  </a:lnTo>
                  <a:lnTo>
                    <a:pt x="29661" y="64011"/>
                  </a:lnTo>
                  <a:lnTo>
                    <a:pt x="31404" y="65198"/>
                  </a:lnTo>
                  <a:lnTo>
                    <a:pt x="32666" y="68670"/>
                  </a:lnTo>
                  <a:lnTo>
                    <a:pt x="33538" y="71713"/>
                  </a:lnTo>
                  <a:lnTo>
                    <a:pt x="34081" y="73708"/>
                  </a:lnTo>
                  <a:lnTo>
                    <a:pt x="36631" y="76398"/>
                  </a:lnTo>
                  <a:lnTo>
                    <a:pt x="36631" y="76398"/>
                  </a:lnTo>
                  <a:lnTo>
                    <a:pt x="36050" y="73241"/>
                  </a:lnTo>
                  <a:lnTo>
                    <a:pt x="34560" y="71347"/>
                  </a:lnTo>
                  <a:lnTo>
                    <a:pt x="33929" y="66852"/>
                  </a:lnTo>
                  <a:lnTo>
                    <a:pt x="35343" y="68506"/>
                  </a:lnTo>
                  <a:lnTo>
                    <a:pt x="36215" y="71713"/>
                  </a:lnTo>
                  <a:lnTo>
                    <a:pt x="38424" y="73784"/>
                  </a:lnTo>
                  <a:lnTo>
                    <a:pt x="40470" y="77332"/>
                  </a:lnTo>
                  <a:lnTo>
                    <a:pt x="40634" y="79618"/>
                  </a:lnTo>
                  <a:lnTo>
                    <a:pt x="42288" y="81436"/>
                  </a:lnTo>
                  <a:lnTo>
                    <a:pt x="46241" y="82623"/>
                  </a:lnTo>
                  <a:lnTo>
                    <a:pt x="49082" y="84113"/>
                  </a:lnTo>
                  <a:lnTo>
                    <a:pt x="49940" y="83557"/>
                  </a:lnTo>
                  <a:lnTo>
                    <a:pt x="52541" y="85616"/>
                  </a:lnTo>
                  <a:lnTo>
                    <a:pt x="55458" y="86247"/>
                  </a:lnTo>
                  <a:lnTo>
                    <a:pt x="57428" y="88457"/>
                  </a:lnTo>
                  <a:lnTo>
                    <a:pt x="58855" y="90035"/>
                  </a:lnTo>
                  <a:lnTo>
                    <a:pt x="61380" y="91373"/>
                  </a:lnTo>
                  <a:lnTo>
                    <a:pt x="62643" y="90275"/>
                  </a:lnTo>
                  <a:lnTo>
                    <a:pt x="64221" y="92081"/>
                  </a:lnTo>
                  <a:lnTo>
                    <a:pt x="63906" y="95553"/>
                  </a:lnTo>
                  <a:lnTo>
                    <a:pt x="62378" y="97346"/>
                  </a:lnTo>
                  <a:lnTo>
                    <a:pt x="61595" y="99644"/>
                  </a:lnTo>
                  <a:lnTo>
                    <a:pt x="61355" y="101854"/>
                  </a:lnTo>
                  <a:lnTo>
                    <a:pt x="60875" y="103028"/>
                  </a:lnTo>
                  <a:lnTo>
                    <a:pt x="63325" y="105629"/>
                  </a:lnTo>
                  <a:lnTo>
                    <a:pt x="65459" y="108862"/>
                  </a:lnTo>
                  <a:lnTo>
                    <a:pt x="67580" y="112170"/>
                  </a:lnTo>
                  <a:lnTo>
                    <a:pt x="69550" y="113281"/>
                  </a:lnTo>
                  <a:lnTo>
                    <a:pt x="70813" y="115011"/>
                  </a:lnTo>
                  <a:lnTo>
                    <a:pt x="71293" y="119746"/>
                  </a:lnTo>
                  <a:lnTo>
                    <a:pt x="71532" y="123610"/>
                  </a:lnTo>
                  <a:lnTo>
                    <a:pt x="71293" y="127562"/>
                  </a:lnTo>
                  <a:lnTo>
                    <a:pt x="71444" y="129608"/>
                  </a:lnTo>
                  <a:lnTo>
                    <a:pt x="70661" y="132765"/>
                  </a:lnTo>
                  <a:lnTo>
                    <a:pt x="70585" y="135214"/>
                  </a:lnTo>
                  <a:lnTo>
                    <a:pt x="70813" y="138220"/>
                  </a:lnTo>
                  <a:lnTo>
                    <a:pt x="72151" y="139167"/>
                  </a:lnTo>
                  <a:lnTo>
                    <a:pt x="70346" y="143334"/>
                  </a:lnTo>
                  <a:lnTo>
                    <a:pt x="71684" y="145392"/>
                  </a:lnTo>
                  <a:lnTo>
                    <a:pt x="72000" y="147210"/>
                  </a:lnTo>
                  <a:lnTo>
                    <a:pt x="73225" y="150998"/>
                  </a:lnTo>
                  <a:lnTo>
                    <a:pt x="75548" y="154344"/>
                  </a:lnTo>
                  <a:lnTo>
                    <a:pt x="77278" y="155481"/>
                  </a:lnTo>
                  <a:lnTo>
                    <a:pt x="80283" y="155481"/>
                  </a:lnTo>
                  <a:lnTo>
                    <a:pt x="81546" y="153991"/>
                  </a:lnTo>
                  <a:lnTo>
                    <a:pt x="78313" y="152248"/>
                  </a:lnTo>
                  <a:lnTo>
                    <a:pt x="77126" y="149331"/>
                  </a:lnTo>
                  <a:cubicBezTo>
                    <a:pt x="77126" y="149331"/>
                    <a:pt x="75864" y="148826"/>
                    <a:pt x="77050" y="147399"/>
                  </a:cubicBezTo>
                  <a:cubicBezTo>
                    <a:pt x="78237" y="145985"/>
                    <a:pt x="78237" y="145960"/>
                    <a:pt x="78237" y="145960"/>
                  </a:cubicBezTo>
                  <a:lnTo>
                    <a:pt x="78553" y="144925"/>
                  </a:lnTo>
                  <a:lnTo>
                    <a:pt x="76899" y="143738"/>
                  </a:lnTo>
                  <a:lnTo>
                    <a:pt x="77758" y="142083"/>
                  </a:lnTo>
                  <a:lnTo>
                    <a:pt x="78553" y="141528"/>
                  </a:lnTo>
                  <a:lnTo>
                    <a:pt x="78945" y="139318"/>
                  </a:lnTo>
                  <a:lnTo>
                    <a:pt x="78389" y="138055"/>
                  </a:lnTo>
                  <a:lnTo>
                    <a:pt x="78465" y="136957"/>
                  </a:lnTo>
                  <a:lnTo>
                    <a:pt x="79892" y="137108"/>
                  </a:lnTo>
                  <a:lnTo>
                    <a:pt x="79967" y="135530"/>
                  </a:lnTo>
                  <a:lnTo>
                    <a:pt x="79967" y="134962"/>
                  </a:lnTo>
                  <a:lnTo>
                    <a:pt x="81861" y="134406"/>
                  </a:lnTo>
                  <a:lnTo>
                    <a:pt x="83755" y="133926"/>
                  </a:lnTo>
                  <a:lnTo>
                    <a:pt x="83755" y="131805"/>
                  </a:lnTo>
                  <a:lnTo>
                    <a:pt x="83604" y="130542"/>
                  </a:lnTo>
                  <a:lnTo>
                    <a:pt x="83516" y="129595"/>
                  </a:lnTo>
                  <a:lnTo>
                    <a:pt x="86205" y="130063"/>
                  </a:lnTo>
                  <a:lnTo>
                    <a:pt x="87821" y="128484"/>
                  </a:lnTo>
                  <a:lnTo>
                    <a:pt x="89261" y="126047"/>
                  </a:lnTo>
                  <a:lnTo>
                    <a:pt x="90612" y="124065"/>
                  </a:lnTo>
                  <a:lnTo>
                    <a:pt x="91079" y="121312"/>
                  </a:lnTo>
                  <a:lnTo>
                    <a:pt x="93605" y="119570"/>
                  </a:lnTo>
                  <a:lnTo>
                    <a:pt x="96294" y="118155"/>
                  </a:lnTo>
                  <a:lnTo>
                    <a:pt x="97633" y="117360"/>
                  </a:lnTo>
                  <a:lnTo>
                    <a:pt x="98188" y="113572"/>
                  </a:lnTo>
                  <a:lnTo>
                    <a:pt x="99047" y="110415"/>
                  </a:lnTo>
                  <a:lnTo>
                    <a:pt x="99451" y="108445"/>
                  </a:lnTo>
                  <a:lnTo>
                    <a:pt x="101257" y="106160"/>
                  </a:lnTo>
                  <a:lnTo>
                    <a:pt x="102368" y="104190"/>
                  </a:lnTo>
                  <a:lnTo>
                    <a:pt x="101332" y="102296"/>
                  </a:lnTo>
                  <a:cubicBezTo>
                    <a:pt x="101332" y="102296"/>
                    <a:pt x="101888" y="102220"/>
                    <a:pt x="98655" y="100957"/>
                  </a:cubicBezTo>
                  <a:lnTo>
                    <a:pt x="95423" y="99695"/>
                  </a:lnTo>
                  <a:lnTo>
                    <a:pt x="93529" y="99379"/>
                  </a:lnTo>
                  <a:lnTo>
                    <a:pt x="91471" y="98596"/>
                  </a:lnTo>
                  <a:lnTo>
                    <a:pt x="89185" y="97649"/>
                  </a:lnTo>
                  <a:lnTo>
                    <a:pt x="88011" y="94884"/>
                  </a:lnTo>
                  <a:lnTo>
                    <a:pt x="86508" y="92750"/>
                  </a:lnTo>
                  <a:lnTo>
                    <a:pt x="83124" y="91651"/>
                  </a:lnTo>
                  <a:lnTo>
                    <a:pt x="80914" y="91411"/>
                  </a:lnTo>
                  <a:lnTo>
                    <a:pt x="78616" y="89202"/>
                  </a:lnTo>
                  <a:lnTo>
                    <a:pt x="76571" y="88015"/>
                  </a:lnTo>
                  <a:lnTo>
                    <a:pt x="74121" y="87787"/>
                  </a:lnTo>
                  <a:lnTo>
                    <a:pt x="71596" y="87156"/>
                  </a:lnTo>
                  <a:lnTo>
                    <a:pt x="68755" y="87232"/>
                  </a:lnTo>
                  <a:cubicBezTo>
                    <a:pt x="68755" y="87232"/>
                    <a:pt x="65522" y="88179"/>
                    <a:pt x="65446" y="88495"/>
                  </a:cubicBezTo>
                  <a:cubicBezTo>
                    <a:pt x="65358" y="88810"/>
                    <a:pt x="64903" y="90174"/>
                    <a:pt x="64903" y="90174"/>
                  </a:cubicBezTo>
                  <a:lnTo>
                    <a:pt x="63325" y="88911"/>
                  </a:lnTo>
                  <a:lnTo>
                    <a:pt x="61595" y="89467"/>
                  </a:lnTo>
                  <a:lnTo>
                    <a:pt x="59852" y="88596"/>
                  </a:lnTo>
                  <a:lnTo>
                    <a:pt x="58590" y="85994"/>
                  </a:lnTo>
                  <a:lnTo>
                    <a:pt x="59385" y="83949"/>
                  </a:lnTo>
                  <a:lnTo>
                    <a:pt x="57491" y="83317"/>
                  </a:lnTo>
                  <a:lnTo>
                    <a:pt x="54966" y="83002"/>
                  </a:lnTo>
                  <a:lnTo>
                    <a:pt x="55673" y="81032"/>
                  </a:lnTo>
                  <a:lnTo>
                    <a:pt x="56380" y="79643"/>
                  </a:lnTo>
                  <a:lnTo>
                    <a:pt x="56532" y="78507"/>
                  </a:lnTo>
                  <a:lnTo>
                    <a:pt x="53779" y="78507"/>
                  </a:lnTo>
                  <a:lnTo>
                    <a:pt x="52592" y="80476"/>
                  </a:lnTo>
                  <a:lnTo>
                    <a:pt x="49915" y="81423"/>
                  </a:lnTo>
                  <a:lnTo>
                    <a:pt x="47933" y="78747"/>
                  </a:lnTo>
                  <a:lnTo>
                    <a:pt x="47541" y="75160"/>
                  </a:lnTo>
                  <a:lnTo>
                    <a:pt x="48412" y="72218"/>
                  </a:lnTo>
                  <a:lnTo>
                    <a:pt x="51165" y="70173"/>
                  </a:lnTo>
                  <a:lnTo>
                    <a:pt x="54095" y="69769"/>
                  </a:lnTo>
                  <a:lnTo>
                    <a:pt x="55433" y="70880"/>
                  </a:lnTo>
                  <a:lnTo>
                    <a:pt x="56064" y="69693"/>
                  </a:lnTo>
                  <a:lnTo>
                    <a:pt x="58198" y="69693"/>
                  </a:lnTo>
                  <a:lnTo>
                    <a:pt x="60964" y="70552"/>
                  </a:lnTo>
                  <a:lnTo>
                    <a:pt x="61191" y="72521"/>
                  </a:lnTo>
                  <a:lnTo>
                    <a:pt x="62529" y="74567"/>
                  </a:lnTo>
                  <a:lnTo>
                    <a:pt x="62933" y="72484"/>
                  </a:lnTo>
                  <a:lnTo>
                    <a:pt x="62769" y="68759"/>
                  </a:lnTo>
                  <a:lnTo>
                    <a:pt x="63805" y="66852"/>
                  </a:lnTo>
                  <a:lnTo>
                    <a:pt x="66797" y="64806"/>
                  </a:lnTo>
                  <a:lnTo>
                    <a:pt x="68300" y="62281"/>
                  </a:lnTo>
                  <a:lnTo>
                    <a:pt x="69083" y="60248"/>
                  </a:lnTo>
                  <a:lnTo>
                    <a:pt x="71684" y="57697"/>
                  </a:lnTo>
                  <a:lnTo>
                    <a:pt x="73338" y="57697"/>
                  </a:lnTo>
                  <a:lnTo>
                    <a:pt x="74197" y="55412"/>
                  </a:lnTo>
                  <a:lnTo>
                    <a:pt x="76722" y="53758"/>
                  </a:lnTo>
                  <a:lnTo>
                    <a:pt x="77833" y="55488"/>
                  </a:lnTo>
                  <a:lnTo>
                    <a:pt x="79879" y="54187"/>
                  </a:lnTo>
                  <a:lnTo>
                    <a:pt x="83351" y="52748"/>
                  </a:lnTo>
                  <a:lnTo>
                    <a:pt x="82569" y="51876"/>
                  </a:lnTo>
                  <a:lnTo>
                    <a:pt x="79412" y="52104"/>
                  </a:lnTo>
                  <a:lnTo>
                    <a:pt x="78692" y="50525"/>
                  </a:lnTo>
                  <a:lnTo>
                    <a:pt x="78692" y="49187"/>
                  </a:lnTo>
                  <a:lnTo>
                    <a:pt x="77833" y="48707"/>
                  </a:lnTo>
                  <a:lnTo>
                    <a:pt x="76091" y="49502"/>
                  </a:lnTo>
                  <a:lnTo>
                    <a:pt x="78540" y="48240"/>
                  </a:lnTo>
                  <a:lnTo>
                    <a:pt x="80902" y="48240"/>
                  </a:lnTo>
                  <a:lnTo>
                    <a:pt x="83111" y="48391"/>
                  </a:lnTo>
                  <a:lnTo>
                    <a:pt x="85725" y="46901"/>
                  </a:lnTo>
                  <a:cubicBezTo>
                    <a:pt x="85725" y="46901"/>
                    <a:pt x="87619" y="45474"/>
                    <a:pt x="87695" y="45361"/>
                  </a:cubicBezTo>
                  <a:cubicBezTo>
                    <a:pt x="87771" y="45247"/>
                    <a:pt x="86041" y="42204"/>
                    <a:pt x="86041" y="42204"/>
                  </a:cubicBezTo>
                  <a:lnTo>
                    <a:pt x="83983" y="40297"/>
                  </a:lnTo>
                  <a:lnTo>
                    <a:pt x="83591" y="38151"/>
                  </a:lnTo>
                  <a:lnTo>
                    <a:pt x="83111" y="33820"/>
                  </a:lnTo>
                  <a:lnTo>
                    <a:pt x="81066" y="36105"/>
                  </a:lnTo>
                  <a:lnTo>
                    <a:pt x="79172" y="35701"/>
                  </a:lnTo>
                  <a:lnTo>
                    <a:pt x="78856" y="33656"/>
                  </a:lnTo>
                  <a:lnTo>
                    <a:pt x="79639" y="32203"/>
                  </a:lnTo>
                  <a:lnTo>
                    <a:pt x="77909" y="31724"/>
                  </a:lnTo>
                  <a:lnTo>
                    <a:pt x="76798" y="30575"/>
                  </a:lnTo>
                  <a:lnTo>
                    <a:pt x="73957" y="30575"/>
                  </a:lnTo>
                  <a:lnTo>
                    <a:pt x="73098" y="30650"/>
                  </a:lnTo>
                  <a:lnTo>
                    <a:pt x="73010" y="33491"/>
                  </a:lnTo>
                  <a:lnTo>
                    <a:pt x="71671" y="34918"/>
                  </a:lnTo>
                  <a:lnTo>
                    <a:pt x="72467" y="36156"/>
                  </a:lnTo>
                  <a:lnTo>
                    <a:pt x="72694" y="38479"/>
                  </a:lnTo>
                  <a:lnTo>
                    <a:pt x="70573" y="40285"/>
                  </a:lnTo>
                  <a:lnTo>
                    <a:pt x="68603" y="40979"/>
                  </a:lnTo>
                  <a:lnTo>
                    <a:pt x="68603" y="44136"/>
                  </a:lnTo>
                  <a:lnTo>
                    <a:pt x="67340" y="44767"/>
                  </a:lnTo>
                  <a:lnTo>
                    <a:pt x="65913" y="42962"/>
                  </a:lnTo>
                  <a:lnTo>
                    <a:pt x="66545" y="40196"/>
                  </a:lnTo>
                  <a:lnTo>
                    <a:pt x="64386" y="39098"/>
                  </a:lnTo>
                  <a:lnTo>
                    <a:pt x="62113" y="37747"/>
                  </a:lnTo>
                  <a:lnTo>
                    <a:pt x="61115" y="36888"/>
                  </a:lnTo>
                  <a:lnTo>
                    <a:pt x="60092" y="36888"/>
                  </a:lnTo>
                  <a:lnTo>
                    <a:pt x="59852" y="34123"/>
                  </a:lnTo>
                  <a:lnTo>
                    <a:pt x="60244" y="31686"/>
                  </a:lnTo>
                  <a:lnTo>
                    <a:pt x="61088" y="29679"/>
                  </a:lnTo>
                  <a:lnTo>
                    <a:pt x="61088" y="29679"/>
                  </a:lnTo>
                  <a:cubicBezTo>
                    <a:pt x="61170" y="29674"/>
                    <a:pt x="61518" y="29543"/>
                    <a:pt x="62694" y="28958"/>
                  </a:cubicBezTo>
                  <a:cubicBezTo>
                    <a:pt x="63454" y="28578"/>
                    <a:pt x="63639" y="28510"/>
                    <a:pt x="63679" y="28510"/>
                  </a:cubicBezTo>
                  <a:cubicBezTo>
                    <a:pt x="63702" y="28510"/>
                    <a:pt x="63680" y="28531"/>
                    <a:pt x="63688" y="28531"/>
                  </a:cubicBezTo>
                  <a:cubicBezTo>
                    <a:pt x="63704" y="28531"/>
                    <a:pt x="63843" y="28444"/>
                    <a:pt x="64739" y="27910"/>
                  </a:cubicBezTo>
                  <a:cubicBezTo>
                    <a:pt x="66873" y="26648"/>
                    <a:pt x="66873" y="26648"/>
                    <a:pt x="66873" y="26648"/>
                  </a:cubicBezTo>
                  <a:lnTo>
                    <a:pt x="68451" y="25145"/>
                  </a:lnTo>
                  <a:lnTo>
                    <a:pt x="69714" y="23870"/>
                  </a:lnTo>
                  <a:lnTo>
                    <a:pt x="70585" y="23642"/>
                  </a:lnTo>
                  <a:lnTo>
                    <a:pt x="73969" y="23642"/>
                  </a:lnTo>
                  <a:lnTo>
                    <a:pt x="74121" y="21597"/>
                  </a:lnTo>
                  <a:lnTo>
                    <a:pt x="75144" y="19779"/>
                  </a:lnTo>
                  <a:lnTo>
                    <a:pt x="74677" y="18049"/>
                  </a:lnTo>
                  <a:lnTo>
                    <a:pt x="73035" y="16660"/>
                  </a:lnTo>
                  <a:lnTo>
                    <a:pt x="71987" y="18693"/>
                  </a:lnTo>
                  <a:lnTo>
                    <a:pt x="70371" y="19943"/>
                  </a:lnTo>
                  <a:lnTo>
                    <a:pt x="69234" y="20726"/>
                  </a:lnTo>
                  <a:lnTo>
                    <a:pt x="69234" y="18276"/>
                  </a:lnTo>
                  <a:lnTo>
                    <a:pt x="69487" y="17013"/>
                  </a:lnTo>
                  <a:lnTo>
                    <a:pt x="69487" y="17013"/>
                  </a:lnTo>
                  <a:lnTo>
                    <a:pt x="68439" y="17960"/>
                  </a:lnTo>
                  <a:lnTo>
                    <a:pt x="67403" y="15599"/>
                  </a:lnTo>
                  <a:lnTo>
                    <a:pt x="68565" y="14336"/>
                  </a:lnTo>
                  <a:lnTo>
                    <a:pt x="69373" y="12594"/>
                  </a:lnTo>
                  <a:lnTo>
                    <a:pt x="70636" y="9841"/>
                  </a:lnTo>
                  <a:lnTo>
                    <a:pt x="71633" y="9450"/>
                  </a:lnTo>
                  <a:lnTo>
                    <a:pt x="73401" y="7783"/>
                  </a:lnTo>
                  <a:lnTo>
                    <a:pt x="72618" y="7379"/>
                  </a:lnTo>
                  <a:lnTo>
                    <a:pt x="71633" y="7240"/>
                  </a:lnTo>
                  <a:lnTo>
                    <a:pt x="69234" y="7240"/>
                  </a:lnTo>
                  <a:lnTo>
                    <a:pt x="69234" y="9450"/>
                  </a:lnTo>
                  <a:lnTo>
                    <a:pt x="67164" y="12152"/>
                  </a:lnTo>
                  <a:lnTo>
                    <a:pt x="65408" y="14854"/>
                  </a:lnTo>
                  <a:lnTo>
                    <a:pt x="66280" y="16091"/>
                  </a:lnTo>
                  <a:lnTo>
                    <a:pt x="65926" y="18516"/>
                  </a:lnTo>
                  <a:lnTo>
                    <a:pt x="62921" y="20094"/>
                  </a:lnTo>
                  <a:lnTo>
                    <a:pt x="62921" y="18276"/>
                  </a:lnTo>
                  <a:lnTo>
                    <a:pt x="61191" y="18124"/>
                  </a:lnTo>
                  <a:lnTo>
                    <a:pt x="59701" y="19299"/>
                  </a:lnTo>
                  <a:lnTo>
                    <a:pt x="57845" y="16698"/>
                  </a:lnTo>
                  <a:lnTo>
                    <a:pt x="55673" y="16698"/>
                  </a:lnTo>
                  <a:lnTo>
                    <a:pt x="54966" y="18049"/>
                  </a:lnTo>
                  <a:lnTo>
                    <a:pt x="54259" y="19071"/>
                  </a:lnTo>
                  <a:lnTo>
                    <a:pt x="53223" y="16786"/>
                  </a:lnTo>
                  <a:cubicBezTo>
                    <a:pt x="53223" y="16786"/>
                    <a:pt x="52623" y="16998"/>
                    <a:pt x="52038" y="16998"/>
                  </a:cubicBezTo>
                  <a:cubicBezTo>
                    <a:pt x="51500" y="16998"/>
                    <a:pt x="50974" y="16819"/>
                    <a:pt x="50938" y="16129"/>
                  </a:cubicBezTo>
                  <a:cubicBezTo>
                    <a:pt x="50862" y="14690"/>
                    <a:pt x="50862" y="14677"/>
                    <a:pt x="50862" y="14677"/>
                  </a:cubicBezTo>
                  <a:lnTo>
                    <a:pt x="47629" y="11672"/>
                  </a:lnTo>
                  <a:lnTo>
                    <a:pt x="46594" y="10952"/>
                  </a:lnTo>
                  <a:lnTo>
                    <a:pt x="44788" y="11268"/>
                  </a:lnTo>
                  <a:lnTo>
                    <a:pt x="43993" y="8869"/>
                  </a:lnTo>
                  <a:lnTo>
                    <a:pt x="42579" y="8427"/>
                  </a:lnTo>
                  <a:lnTo>
                    <a:pt x="39030" y="8869"/>
                  </a:lnTo>
                  <a:lnTo>
                    <a:pt x="36972" y="8427"/>
                  </a:lnTo>
                  <a:lnTo>
                    <a:pt x="34295" y="6141"/>
                  </a:lnTo>
                  <a:lnTo>
                    <a:pt x="30747" y="4462"/>
                  </a:lnTo>
                  <a:lnTo>
                    <a:pt x="28159" y="1962"/>
                  </a:lnTo>
                  <a:lnTo>
                    <a:pt x="26037" y="194"/>
                  </a:lnTo>
                  <a:lnTo>
                    <a:pt x="23196" y="825"/>
                  </a:lnTo>
                  <a:cubicBezTo>
                    <a:pt x="23196" y="825"/>
                    <a:pt x="23017" y="0"/>
                    <a:pt x="2203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65"/>
            <p:cNvSpPr/>
            <p:nvPr/>
          </p:nvSpPr>
          <p:spPr>
            <a:xfrm>
              <a:off x="238125" y="1071925"/>
              <a:ext cx="2568675" cy="3902025"/>
            </a:xfrm>
            <a:custGeom>
              <a:avLst/>
              <a:gdLst/>
              <a:ahLst/>
              <a:cxnLst/>
              <a:rect l="l" t="t" r="r" b="b"/>
              <a:pathLst>
                <a:path w="102747" h="156081" extrusionOk="0">
                  <a:moveTo>
                    <a:pt x="61468" y="29836"/>
                  </a:moveTo>
                  <a:cubicBezTo>
                    <a:pt x="61506" y="29899"/>
                    <a:pt x="61519" y="29962"/>
                    <a:pt x="61506" y="30025"/>
                  </a:cubicBezTo>
                  <a:lnTo>
                    <a:pt x="61342" y="29899"/>
                  </a:lnTo>
                  <a:lnTo>
                    <a:pt x="61468" y="29836"/>
                  </a:lnTo>
                  <a:close/>
                  <a:moveTo>
                    <a:pt x="101181" y="102504"/>
                  </a:moveTo>
                  <a:lnTo>
                    <a:pt x="101282" y="102542"/>
                  </a:lnTo>
                  <a:lnTo>
                    <a:pt x="101193" y="102718"/>
                  </a:lnTo>
                  <a:cubicBezTo>
                    <a:pt x="101155" y="102655"/>
                    <a:pt x="101143" y="102567"/>
                    <a:pt x="101181" y="102504"/>
                  </a:cubicBezTo>
                  <a:close/>
                  <a:moveTo>
                    <a:pt x="22159" y="618"/>
                  </a:moveTo>
                  <a:cubicBezTo>
                    <a:pt x="22328" y="618"/>
                    <a:pt x="22461" y="648"/>
                    <a:pt x="22565" y="692"/>
                  </a:cubicBezTo>
                  <a:cubicBezTo>
                    <a:pt x="22779" y="781"/>
                    <a:pt x="22943" y="970"/>
                    <a:pt x="23019" y="1198"/>
                  </a:cubicBezTo>
                  <a:lnTo>
                    <a:pt x="23385" y="1437"/>
                  </a:lnTo>
                  <a:lnTo>
                    <a:pt x="26075" y="844"/>
                  </a:lnTo>
                  <a:lnTo>
                    <a:pt x="28057" y="2498"/>
                  </a:lnTo>
                  <a:lnTo>
                    <a:pt x="30658" y="4998"/>
                  </a:lnTo>
                  <a:lnTo>
                    <a:pt x="34257" y="6716"/>
                  </a:lnTo>
                  <a:lnTo>
                    <a:pt x="36909" y="8976"/>
                  </a:lnTo>
                  <a:lnTo>
                    <a:pt x="37048" y="9052"/>
                  </a:lnTo>
                  <a:lnTo>
                    <a:pt x="39093" y="9481"/>
                  </a:lnTo>
                  <a:lnTo>
                    <a:pt x="39207" y="9481"/>
                  </a:lnTo>
                  <a:lnTo>
                    <a:pt x="42679" y="9052"/>
                  </a:lnTo>
                  <a:lnTo>
                    <a:pt x="43879" y="9430"/>
                  </a:lnTo>
                  <a:lnTo>
                    <a:pt x="44624" y="11678"/>
                  </a:lnTo>
                  <a:lnTo>
                    <a:pt x="44978" y="11893"/>
                  </a:lnTo>
                  <a:lnTo>
                    <a:pt x="46657" y="11590"/>
                  </a:lnTo>
                  <a:lnTo>
                    <a:pt x="47541" y="12208"/>
                  </a:lnTo>
                  <a:lnTo>
                    <a:pt x="50685" y="15125"/>
                  </a:lnTo>
                  <a:cubicBezTo>
                    <a:pt x="50698" y="15302"/>
                    <a:pt x="50710" y="15668"/>
                    <a:pt x="50761" y="16464"/>
                  </a:cubicBezTo>
                  <a:cubicBezTo>
                    <a:pt x="50761" y="16830"/>
                    <a:pt x="50937" y="17183"/>
                    <a:pt x="51253" y="17385"/>
                  </a:cubicBezTo>
                  <a:cubicBezTo>
                    <a:pt x="51517" y="17561"/>
                    <a:pt x="51851" y="17620"/>
                    <a:pt x="52180" y="17620"/>
                  </a:cubicBezTo>
                  <a:cubicBezTo>
                    <a:pt x="52561" y="17620"/>
                    <a:pt x="52935" y="17541"/>
                    <a:pt x="53185" y="17474"/>
                  </a:cubicBezTo>
                  <a:lnTo>
                    <a:pt x="54094" y="19507"/>
                  </a:lnTo>
                  <a:lnTo>
                    <a:pt x="54637" y="19557"/>
                  </a:lnTo>
                  <a:lnTo>
                    <a:pt x="55370" y="18497"/>
                  </a:lnTo>
                  <a:lnTo>
                    <a:pt x="55988" y="17322"/>
                  </a:lnTo>
                  <a:lnTo>
                    <a:pt x="57807" y="17322"/>
                  </a:lnTo>
                  <a:lnTo>
                    <a:pt x="59562" y="19784"/>
                  </a:lnTo>
                  <a:lnTo>
                    <a:pt x="60016" y="19848"/>
                  </a:lnTo>
                  <a:lnTo>
                    <a:pt x="61418" y="18762"/>
                  </a:lnTo>
                  <a:lnTo>
                    <a:pt x="62744" y="18875"/>
                  </a:lnTo>
                  <a:lnTo>
                    <a:pt x="62744" y="20403"/>
                  </a:lnTo>
                  <a:lnTo>
                    <a:pt x="63198" y="20681"/>
                  </a:lnTo>
                  <a:lnTo>
                    <a:pt x="66204" y="19103"/>
                  </a:lnTo>
                  <a:lnTo>
                    <a:pt x="66355" y="18875"/>
                  </a:lnTo>
                  <a:lnTo>
                    <a:pt x="66709" y="16451"/>
                  </a:lnTo>
                  <a:lnTo>
                    <a:pt x="66658" y="16224"/>
                  </a:lnTo>
                  <a:lnTo>
                    <a:pt x="65913" y="15150"/>
                  </a:lnTo>
                  <a:lnTo>
                    <a:pt x="67542" y="12650"/>
                  </a:lnTo>
                  <a:lnTo>
                    <a:pt x="69613" y="9961"/>
                  </a:lnTo>
                  <a:lnTo>
                    <a:pt x="69676" y="9771"/>
                  </a:lnTo>
                  <a:lnTo>
                    <a:pt x="69676" y="7877"/>
                  </a:lnTo>
                  <a:lnTo>
                    <a:pt x="71709" y="7877"/>
                  </a:lnTo>
                  <a:lnTo>
                    <a:pt x="72631" y="8004"/>
                  </a:lnTo>
                  <a:lnTo>
                    <a:pt x="72984" y="8180"/>
                  </a:lnTo>
                  <a:lnTo>
                    <a:pt x="71570" y="9493"/>
                  </a:lnTo>
                  <a:lnTo>
                    <a:pt x="70636" y="9872"/>
                  </a:lnTo>
                  <a:lnTo>
                    <a:pt x="70472" y="10024"/>
                  </a:lnTo>
                  <a:lnTo>
                    <a:pt x="68413" y="14469"/>
                  </a:lnTo>
                  <a:lnTo>
                    <a:pt x="67290" y="15693"/>
                  </a:lnTo>
                  <a:lnTo>
                    <a:pt x="67226" y="16034"/>
                  </a:lnTo>
                  <a:lnTo>
                    <a:pt x="68274" y="18408"/>
                  </a:lnTo>
                  <a:lnTo>
                    <a:pt x="68780" y="18509"/>
                  </a:lnTo>
                  <a:lnTo>
                    <a:pt x="69108" y="18206"/>
                  </a:lnTo>
                  <a:lnTo>
                    <a:pt x="69108" y="18206"/>
                  </a:lnTo>
                  <a:lnTo>
                    <a:pt x="69045" y="18522"/>
                  </a:lnTo>
                  <a:lnTo>
                    <a:pt x="69045" y="21035"/>
                  </a:lnTo>
                  <a:lnTo>
                    <a:pt x="69537" y="21287"/>
                  </a:lnTo>
                  <a:lnTo>
                    <a:pt x="70686" y="20504"/>
                  </a:lnTo>
                  <a:lnTo>
                    <a:pt x="72315" y="19254"/>
                  </a:lnTo>
                  <a:lnTo>
                    <a:pt x="73262" y="17474"/>
                  </a:lnTo>
                  <a:lnTo>
                    <a:pt x="74525" y="18534"/>
                  </a:lnTo>
                  <a:lnTo>
                    <a:pt x="74929" y="20050"/>
                  </a:lnTo>
                  <a:lnTo>
                    <a:pt x="73982" y="21742"/>
                  </a:lnTo>
                  <a:lnTo>
                    <a:pt x="73805" y="23636"/>
                  </a:lnTo>
                  <a:lnTo>
                    <a:pt x="70699" y="23636"/>
                  </a:lnTo>
                  <a:lnTo>
                    <a:pt x="69752" y="23863"/>
                  </a:lnTo>
                  <a:lnTo>
                    <a:pt x="69613" y="23951"/>
                  </a:lnTo>
                  <a:lnTo>
                    <a:pt x="68350" y="25227"/>
                  </a:lnTo>
                  <a:lnTo>
                    <a:pt x="66797" y="26704"/>
                  </a:lnTo>
                  <a:cubicBezTo>
                    <a:pt x="66721" y="26755"/>
                    <a:pt x="66368" y="26982"/>
                    <a:pt x="64701" y="27954"/>
                  </a:cubicBezTo>
                  <a:lnTo>
                    <a:pt x="64171" y="28270"/>
                  </a:lnTo>
                  <a:lnTo>
                    <a:pt x="63779" y="28510"/>
                  </a:lnTo>
                  <a:cubicBezTo>
                    <a:pt x="63602" y="28535"/>
                    <a:pt x="63299" y="28674"/>
                    <a:pt x="62668" y="28990"/>
                  </a:cubicBezTo>
                  <a:cubicBezTo>
                    <a:pt x="61443" y="29608"/>
                    <a:pt x="61216" y="29684"/>
                    <a:pt x="61178" y="29684"/>
                  </a:cubicBezTo>
                  <a:lnTo>
                    <a:pt x="61178" y="29785"/>
                  </a:lnTo>
                  <a:lnTo>
                    <a:pt x="61039" y="29684"/>
                  </a:lnTo>
                  <a:cubicBezTo>
                    <a:pt x="60938" y="29747"/>
                    <a:pt x="60875" y="29861"/>
                    <a:pt x="60862" y="29974"/>
                  </a:cubicBezTo>
                  <a:lnTo>
                    <a:pt x="60079" y="31868"/>
                  </a:lnTo>
                  <a:lnTo>
                    <a:pt x="59663" y="34381"/>
                  </a:lnTo>
                  <a:lnTo>
                    <a:pt x="59663" y="34457"/>
                  </a:lnTo>
                  <a:lnTo>
                    <a:pt x="59890" y="37222"/>
                  </a:lnTo>
                  <a:lnTo>
                    <a:pt x="60206" y="37500"/>
                  </a:lnTo>
                  <a:lnTo>
                    <a:pt x="61115" y="37500"/>
                  </a:lnTo>
                  <a:lnTo>
                    <a:pt x="62075" y="38321"/>
                  </a:lnTo>
                  <a:lnTo>
                    <a:pt x="64360" y="39685"/>
                  </a:lnTo>
                  <a:lnTo>
                    <a:pt x="66317" y="40669"/>
                  </a:lnTo>
                  <a:lnTo>
                    <a:pt x="65736" y="43195"/>
                  </a:lnTo>
                  <a:lnTo>
                    <a:pt x="65800" y="43460"/>
                  </a:lnTo>
                  <a:lnTo>
                    <a:pt x="67214" y="45278"/>
                  </a:lnTo>
                  <a:lnTo>
                    <a:pt x="67605" y="45354"/>
                  </a:lnTo>
                  <a:lnTo>
                    <a:pt x="68868" y="44723"/>
                  </a:lnTo>
                  <a:lnTo>
                    <a:pt x="69045" y="44445"/>
                  </a:lnTo>
                  <a:lnTo>
                    <a:pt x="69045" y="41516"/>
                  </a:lnTo>
                  <a:lnTo>
                    <a:pt x="70800" y="40884"/>
                  </a:lnTo>
                  <a:lnTo>
                    <a:pt x="73035" y="39028"/>
                  </a:lnTo>
                  <a:lnTo>
                    <a:pt x="73136" y="38750"/>
                  </a:lnTo>
                  <a:lnTo>
                    <a:pt x="72909" y="36414"/>
                  </a:lnTo>
                  <a:lnTo>
                    <a:pt x="72858" y="36275"/>
                  </a:lnTo>
                  <a:lnTo>
                    <a:pt x="72201" y="35253"/>
                  </a:lnTo>
                  <a:lnTo>
                    <a:pt x="73376" y="34015"/>
                  </a:lnTo>
                  <a:lnTo>
                    <a:pt x="73464" y="33800"/>
                  </a:lnTo>
                  <a:lnTo>
                    <a:pt x="73527" y="31250"/>
                  </a:lnTo>
                  <a:lnTo>
                    <a:pt x="74095" y="31199"/>
                  </a:lnTo>
                  <a:lnTo>
                    <a:pt x="76798" y="31199"/>
                  </a:lnTo>
                  <a:lnTo>
                    <a:pt x="77808" y="32247"/>
                  </a:lnTo>
                  <a:lnTo>
                    <a:pt x="77947" y="32323"/>
                  </a:lnTo>
                  <a:lnTo>
                    <a:pt x="79298" y="32702"/>
                  </a:lnTo>
                  <a:lnTo>
                    <a:pt x="78704" y="33813"/>
                  </a:lnTo>
                  <a:lnTo>
                    <a:pt x="78666" y="34015"/>
                  </a:lnTo>
                  <a:lnTo>
                    <a:pt x="78982" y="36061"/>
                  </a:lnTo>
                  <a:lnTo>
                    <a:pt x="79235" y="36326"/>
                  </a:lnTo>
                  <a:lnTo>
                    <a:pt x="81129" y="36730"/>
                  </a:lnTo>
                  <a:lnTo>
                    <a:pt x="81419" y="36629"/>
                  </a:lnTo>
                  <a:lnTo>
                    <a:pt x="82998" y="34861"/>
                  </a:lnTo>
                  <a:lnTo>
                    <a:pt x="83402" y="38523"/>
                  </a:lnTo>
                  <a:lnTo>
                    <a:pt x="83793" y="40657"/>
                  </a:lnTo>
                  <a:lnTo>
                    <a:pt x="83894" y="40834"/>
                  </a:lnTo>
                  <a:lnTo>
                    <a:pt x="85902" y="42715"/>
                  </a:lnTo>
                  <a:cubicBezTo>
                    <a:pt x="86558" y="43864"/>
                    <a:pt x="87253" y="45127"/>
                    <a:pt x="87455" y="45569"/>
                  </a:cubicBezTo>
                  <a:cubicBezTo>
                    <a:pt x="87152" y="45821"/>
                    <a:pt x="86369" y="46415"/>
                    <a:pt x="85687" y="46932"/>
                  </a:cubicBezTo>
                  <a:lnTo>
                    <a:pt x="83162" y="48385"/>
                  </a:lnTo>
                  <a:lnTo>
                    <a:pt x="81028" y="48220"/>
                  </a:lnTo>
                  <a:lnTo>
                    <a:pt x="78654" y="48220"/>
                  </a:lnTo>
                  <a:lnTo>
                    <a:pt x="78515" y="48258"/>
                  </a:lnTo>
                  <a:lnTo>
                    <a:pt x="76065" y="49521"/>
                  </a:lnTo>
                  <a:lnTo>
                    <a:pt x="76343" y="50089"/>
                  </a:lnTo>
                  <a:lnTo>
                    <a:pt x="77934" y="49369"/>
                  </a:lnTo>
                  <a:lnTo>
                    <a:pt x="78502" y="49685"/>
                  </a:lnTo>
                  <a:lnTo>
                    <a:pt x="78502" y="50834"/>
                  </a:lnTo>
                  <a:lnTo>
                    <a:pt x="79235" y="52539"/>
                  </a:lnTo>
                  <a:lnTo>
                    <a:pt x="79550" y="52728"/>
                  </a:lnTo>
                  <a:lnTo>
                    <a:pt x="82556" y="52514"/>
                  </a:lnTo>
                  <a:lnTo>
                    <a:pt x="82934" y="52930"/>
                  </a:lnTo>
                  <a:lnTo>
                    <a:pt x="79828" y="54231"/>
                  </a:lnTo>
                  <a:lnTo>
                    <a:pt x="78048" y="55355"/>
                  </a:lnTo>
                  <a:lnTo>
                    <a:pt x="77113" y="53890"/>
                  </a:lnTo>
                  <a:lnTo>
                    <a:pt x="76671" y="53802"/>
                  </a:lnTo>
                  <a:lnTo>
                    <a:pt x="74146" y="55456"/>
                  </a:lnTo>
                  <a:lnTo>
                    <a:pt x="74032" y="55607"/>
                  </a:lnTo>
                  <a:lnTo>
                    <a:pt x="73237" y="57691"/>
                  </a:lnTo>
                  <a:lnTo>
                    <a:pt x="71797" y="57691"/>
                  </a:lnTo>
                  <a:lnTo>
                    <a:pt x="71583" y="57779"/>
                  </a:lnTo>
                  <a:lnTo>
                    <a:pt x="68982" y="60330"/>
                  </a:lnTo>
                  <a:lnTo>
                    <a:pt x="68136" y="62426"/>
                  </a:lnTo>
                  <a:lnTo>
                    <a:pt x="66671" y="64888"/>
                  </a:lnTo>
                  <a:lnTo>
                    <a:pt x="63741" y="66908"/>
                  </a:lnTo>
                  <a:lnTo>
                    <a:pt x="63640" y="67009"/>
                  </a:lnTo>
                  <a:lnTo>
                    <a:pt x="62618" y="68916"/>
                  </a:lnTo>
                  <a:lnTo>
                    <a:pt x="62580" y="69068"/>
                  </a:lnTo>
                  <a:lnTo>
                    <a:pt x="62731" y="72767"/>
                  </a:lnTo>
                  <a:lnTo>
                    <a:pt x="62491" y="74043"/>
                  </a:lnTo>
                  <a:lnTo>
                    <a:pt x="61620" y="72717"/>
                  </a:lnTo>
                  <a:lnTo>
                    <a:pt x="61393" y="70823"/>
                  </a:lnTo>
                  <a:lnTo>
                    <a:pt x="61178" y="70558"/>
                  </a:lnTo>
                  <a:lnTo>
                    <a:pt x="58413" y="69686"/>
                  </a:lnTo>
                  <a:lnTo>
                    <a:pt x="56190" y="69674"/>
                  </a:lnTo>
                  <a:lnTo>
                    <a:pt x="55913" y="69838"/>
                  </a:lnTo>
                  <a:lnTo>
                    <a:pt x="55471" y="70684"/>
                  </a:lnTo>
                  <a:lnTo>
                    <a:pt x="54423" y="69838"/>
                  </a:lnTo>
                  <a:lnTo>
                    <a:pt x="54183" y="69762"/>
                  </a:lnTo>
                  <a:lnTo>
                    <a:pt x="51266" y="70166"/>
                  </a:lnTo>
                  <a:lnTo>
                    <a:pt x="51114" y="70229"/>
                  </a:lnTo>
                  <a:lnTo>
                    <a:pt x="48362" y="72287"/>
                  </a:lnTo>
                  <a:lnTo>
                    <a:pt x="48248" y="72452"/>
                  </a:lnTo>
                  <a:lnTo>
                    <a:pt x="47377" y="75381"/>
                  </a:lnTo>
                  <a:lnTo>
                    <a:pt x="47377" y="75507"/>
                  </a:lnTo>
                  <a:lnTo>
                    <a:pt x="47768" y="79093"/>
                  </a:lnTo>
                  <a:lnTo>
                    <a:pt x="47819" y="79245"/>
                  </a:lnTo>
                  <a:lnTo>
                    <a:pt x="49801" y="81934"/>
                  </a:lnTo>
                  <a:lnTo>
                    <a:pt x="50155" y="82048"/>
                  </a:lnTo>
                  <a:lnTo>
                    <a:pt x="52832" y="81101"/>
                  </a:lnTo>
                  <a:lnTo>
                    <a:pt x="52996" y="80962"/>
                  </a:lnTo>
                  <a:lnTo>
                    <a:pt x="54082" y="79144"/>
                  </a:lnTo>
                  <a:lnTo>
                    <a:pt x="56304" y="79144"/>
                  </a:lnTo>
                  <a:lnTo>
                    <a:pt x="56203" y="79876"/>
                  </a:lnTo>
                  <a:lnTo>
                    <a:pt x="55496" y="81240"/>
                  </a:lnTo>
                  <a:lnTo>
                    <a:pt x="54789" y="83210"/>
                  </a:lnTo>
                  <a:lnTo>
                    <a:pt x="55054" y="83639"/>
                  </a:lnTo>
                  <a:lnTo>
                    <a:pt x="57516" y="83930"/>
                  </a:lnTo>
                  <a:lnTo>
                    <a:pt x="59095" y="84460"/>
                  </a:lnTo>
                  <a:lnTo>
                    <a:pt x="58413" y="86202"/>
                  </a:lnTo>
                  <a:lnTo>
                    <a:pt x="58425" y="86455"/>
                  </a:lnTo>
                  <a:lnTo>
                    <a:pt x="59688" y="89056"/>
                  </a:lnTo>
                  <a:lnTo>
                    <a:pt x="59840" y="89195"/>
                  </a:lnTo>
                  <a:lnTo>
                    <a:pt x="61569" y="90066"/>
                  </a:lnTo>
                  <a:lnTo>
                    <a:pt x="61809" y="90079"/>
                  </a:lnTo>
                  <a:lnTo>
                    <a:pt x="63388" y="89586"/>
                  </a:lnTo>
                  <a:lnTo>
                    <a:pt x="64827" y="90735"/>
                  </a:lnTo>
                  <a:lnTo>
                    <a:pt x="65320" y="90597"/>
                  </a:lnTo>
                  <a:cubicBezTo>
                    <a:pt x="65345" y="90546"/>
                    <a:pt x="65749" y="89397"/>
                    <a:pt x="65863" y="88980"/>
                  </a:cubicBezTo>
                  <a:cubicBezTo>
                    <a:pt x="66166" y="88766"/>
                    <a:pt x="67656" y="88261"/>
                    <a:pt x="68944" y="87882"/>
                  </a:cubicBezTo>
                  <a:lnTo>
                    <a:pt x="71696" y="87806"/>
                  </a:lnTo>
                  <a:lnTo>
                    <a:pt x="74222" y="88437"/>
                  </a:lnTo>
                  <a:lnTo>
                    <a:pt x="76596" y="88665"/>
                  </a:lnTo>
                  <a:lnTo>
                    <a:pt x="78553" y="89788"/>
                  </a:lnTo>
                  <a:lnTo>
                    <a:pt x="80813" y="91973"/>
                  </a:lnTo>
                  <a:lnTo>
                    <a:pt x="81002" y="92061"/>
                  </a:lnTo>
                  <a:lnTo>
                    <a:pt x="83174" y="92289"/>
                  </a:lnTo>
                  <a:lnTo>
                    <a:pt x="86432" y="93362"/>
                  </a:lnTo>
                  <a:lnTo>
                    <a:pt x="87846" y="95370"/>
                  </a:lnTo>
                  <a:lnTo>
                    <a:pt x="89021" y="98097"/>
                  </a:lnTo>
                  <a:lnTo>
                    <a:pt x="89185" y="98274"/>
                  </a:lnTo>
                  <a:lnTo>
                    <a:pt x="91470" y="99221"/>
                  </a:lnTo>
                  <a:lnTo>
                    <a:pt x="93529" y="100016"/>
                  </a:lnTo>
                  <a:lnTo>
                    <a:pt x="95448" y="100345"/>
                  </a:lnTo>
                  <a:lnTo>
                    <a:pt x="98655" y="101595"/>
                  </a:lnTo>
                  <a:cubicBezTo>
                    <a:pt x="100625" y="102365"/>
                    <a:pt x="101092" y="102655"/>
                    <a:pt x="101193" y="102731"/>
                  </a:cubicBezTo>
                  <a:lnTo>
                    <a:pt x="101168" y="102782"/>
                  </a:lnTo>
                  <a:lnTo>
                    <a:pt x="102115" y="104524"/>
                  </a:lnTo>
                  <a:lnTo>
                    <a:pt x="101130" y="106305"/>
                  </a:lnTo>
                  <a:lnTo>
                    <a:pt x="99312" y="108590"/>
                  </a:lnTo>
                  <a:lnTo>
                    <a:pt x="99249" y="108716"/>
                  </a:lnTo>
                  <a:lnTo>
                    <a:pt x="98857" y="110673"/>
                  </a:lnTo>
                  <a:lnTo>
                    <a:pt x="97986" y="113855"/>
                  </a:lnTo>
                  <a:lnTo>
                    <a:pt x="97456" y="117492"/>
                  </a:lnTo>
                  <a:lnTo>
                    <a:pt x="96256" y="118199"/>
                  </a:lnTo>
                  <a:lnTo>
                    <a:pt x="93541" y="119639"/>
                  </a:lnTo>
                  <a:lnTo>
                    <a:pt x="91016" y="121369"/>
                  </a:lnTo>
                  <a:lnTo>
                    <a:pt x="90889" y="121583"/>
                  </a:lnTo>
                  <a:lnTo>
                    <a:pt x="90422" y="124260"/>
                  </a:lnTo>
                  <a:lnTo>
                    <a:pt x="89096" y="126192"/>
                  </a:lnTo>
                  <a:lnTo>
                    <a:pt x="87682" y="128604"/>
                  </a:lnTo>
                  <a:lnTo>
                    <a:pt x="86205" y="130031"/>
                  </a:lnTo>
                  <a:lnTo>
                    <a:pt x="83679" y="129589"/>
                  </a:lnTo>
                  <a:lnTo>
                    <a:pt x="83313" y="129930"/>
                  </a:lnTo>
                  <a:lnTo>
                    <a:pt x="83389" y="130889"/>
                  </a:lnTo>
                  <a:lnTo>
                    <a:pt x="83553" y="132114"/>
                  </a:lnTo>
                  <a:lnTo>
                    <a:pt x="83553" y="134008"/>
                  </a:lnTo>
                  <a:lnTo>
                    <a:pt x="81886" y="134412"/>
                  </a:lnTo>
                  <a:lnTo>
                    <a:pt x="79992" y="134968"/>
                  </a:lnTo>
                  <a:lnTo>
                    <a:pt x="79765" y="135271"/>
                  </a:lnTo>
                  <a:lnTo>
                    <a:pt x="79765" y="135801"/>
                  </a:lnTo>
                  <a:lnTo>
                    <a:pt x="79702" y="137039"/>
                  </a:lnTo>
                  <a:lnTo>
                    <a:pt x="78616" y="136912"/>
                  </a:lnTo>
                  <a:lnTo>
                    <a:pt x="78262" y="137215"/>
                  </a:lnTo>
                  <a:lnTo>
                    <a:pt x="78187" y="138314"/>
                  </a:lnTo>
                  <a:lnTo>
                    <a:pt x="78212" y="138465"/>
                  </a:lnTo>
                  <a:lnTo>
                    <a:pt x="78730" y="139640"/>
                  </a:lnTo>
                  <a:lnTo>
                    <a:pt x="78376" y="141622"/>
                  </a:lnTo>
                  <a:lnTo>
                    <a:pt x="77694" y="142102"/>
                  </a:lnTo>
                  <a:lnTo>
                    <a:pt x="77593" y="142216"/>
                  </a:lnTo>
                  <a:lnTo>
                    <a:pt x="76722" y="143882"/>
                  </a:lnTo>
                  <a:lnTo>
                    <a:pt x="76823" y="144274"/>
                  </a:lnTo>
                  <a:lnTo>
                    <a:pt x="78300" y="145335"/>
                  </a:lnTo>
                  <a:lnTo>
                    <a:pt x="78060" y="146105"/>
                  </a:lnTo>
                  <a:cubicBezTo>
                    <a:pt x="77997" y="146181"/>
                    <a:pt x="77757" y="146484"/>
                    <a:pt x="76924" y="147481"/>
                  </a:cubicBezTo>
                  <a:cubicBezTo>
                    <a:pt x="76444" y="148062"/>
                    <a:pt x="76255" y="148592"/>
                    <a:pt x="76381" y="149059"/>
                  </a:cubicBezTo>
                  <a:cubicBezTo>
                    <a:pt x="76469" y="149388"/>
                    <a:pt x="76697" y="149678"/>
                    <a:pt x="77000" y="149842"/>
                  </a:cubicBezTo>
                  <a:lnTo>
                    <a:pt x="78136" y="152646"/>
                  </a:lnTo>
                  <a:lnTo>
                    <a:pt x="78275" y="152810"/>
                  </a:lnTo>
                  <a:lnTo>
                    <a:pt x="81167" y="154363"/>
                  </a:lnTo>
                  <a:lnTo>
                    <a:pt x="80245" y="155449"/>
                  </a:lnTo>
                  <a:lnTo>
                    <a:pt x="77492" y="155449"/>
                  </a:lnTo>
                  <a:lnTo>
                    <a:pt x="75889" y="154401"/>
                  </a:lnTo>
                  <a:lnTo>
                    <a:pt x="73628" y="151130"/>
                  </a:lnTo>
                  <a:lnTo>
                    <a:pt x="72429" y="147443"/>
                  </a:lnTo>
                  <a:lnTo>
                    <a:pt x="72113" y="145625"/>
                  </a:lnTo>
                  <a:lnTo>
                    <a:pt x="70825" y="143605"/>
                  </a:lnTo>
                  <a:lnTo>
                    <a:pt x="72568" y="139577"/>
                  </a:lnTo>
                  <a:lnTo>
                    <a:pt x="72454" y="139198"/>
                  </a:lnTo>
                  <a:lnTo>
                    <a:pt x="71242" y="138327"/>
                  </a:lnTo>
                  <a:lnTo>
                    <a:pt x="71014" y="135523"/>
                  </a:lnTo>
                  <a:lnTo>
                    <a:pt x="71090" y="133112"/>
                  </a:lnTo>
                  <a:lnTo>
                    <a:pt x="71873" y="129993"/>
                  </a:lnTo>
                  <a:lnTo>
                    <a:pt x="71886" y="129892"/>
                  </a:lnTo>
                  <a:lnTo>
                    <a:pt x="71722" y="127884"/>
                  </a:lnTo>
                  <a:lnTo>
                    <a:pt x="71962" y="123907"/>
                  </a:lnTo>
                  <a:lnTo>
                    <a:pt x="71722" y="120030"/>
                  </a:lnTo>
                  <a:lnTo>
                    <a:pt x="71242" y="115295"/>
                  </a:lnTo>
                  <a:lnTo>
                    <a:pt x="71191" y="115131"/>
                  </a:lnTo>
                  <a:lnTo>
                    <a:pt x="69929" y="113401"/>
                  </a:lnTo>
                  <a:lnTo>
                    <a:pt x="67921" y="112252"/>
                  </a:lnTo>
                  <a:lnTo>
                    <a:pt x="65837" y="109007"/>
                  </a:lnTo>
                  <a:lnTo>
                    <a:pt x="63678" y="105724"/>
                  </a:lnTo>
                  <a:lnTo>
                    <a:pt x="61367" y="103274"/>
                  </a:lnTo>
                  <a:lnTo>
                    <a:pt x="61772" y="102277"/>
                  </a:lnTo>
                  <a:lnTo>
                    <a:pt x="62024" y="100029"/>
                  </a:lnTo>
                  <a:lnTo>
                    <a:pt x="62782" y="97832"/>
                  </a:lnTo>
                  <a:lnTo>
                    <a:pt x="64246" y="96051"/>
                  </a:lnTo>
                  <a:lnTo>
                    <a:pt x="64322" y="95887"/>
                  </a:lnTo>
                  <a:lnTo>
                    <a:pt x="64638" y="92415"/>
                  </a:lnTo>
                  <a:lnTo>
                    <a:pt x="64562" y="92175"/>
                  </a:lnTo>
                  <a:lnTo>
                    <a:pt x="62971" y="90369"/>
                  </a:lnTo>
                  <a:lnTo>
                    <a:pt x="62529" y="90344"/>
                  </a:lnTo>
                  <a:lnTo>
                    <a:pt x="61431" y="91304"/>
                  </a:lnTo>
                  <a:lnTo>
                    <a:pt x="59145" y="90091"/>
                  </a:lnTo>
                  <a:lnTo>
                    <a:pt x="55799" y="86341"/>
                  </a:lnTo>
                  <a:lnTo>
                    <a:pt x="55622" y="86253"/>
                  </a:lnTo>
                  <a:lnTo>
                    <a:pt x="52781" y="85634"/>
                  </a:lnTo>
                  <a:lnTo>
                    <a:pt x="50243" y="83626"/>
                  </a:lnTo>
                  <a:lnTo>
                    <a:pt x="49877" y="83614"/>
                  </a:lnTo>
                  <a:lnTo>
                    <a:pt x="49157" y="84068"/>
                  </a:lnTo>
                  <a:lnTo>
                    <a:pt x="46430" y="82629"/>
                  </a:lnTo>
                  <a:lnTo>
                    <a:pt x="42566" y="81467"/>
                  </a:lnTo>
                  <a:lnTo>
                    <a:pt x="41051" y="79801"/>
                  </a:lnTo>
                  <a:lnTo>
                    <a:pt x="40899" y="77629"/>
                  </a:lnTo>
                  <a:lnTo>
                    <a:pt x="40861" y="77490"/>
                  </a:lnTo>
                  <a:lnTo>
                    <a:pt x="38803" y="73942"/>
                  </a:lnTo>
                  <a:lnTo>
                    <a:pt x="36606" y="71858"/>
                  </a:lnTo>
                  <a:lnTo>
                    <a:pt x="35760" y="68739"/>
                  </a:lnTo>
                  <a:lnTo>
                    <a:pt x="34282" y="66959"/>
                  </a:lnTo>
                  <a:lnTo>
                    <a:pt x="33727" y="67199"/>
                  </a:lnTo>
                  <a:lnTo>
                    <a:pt x="34358" y="71694"/>
                  </a:lnTo>
                  <a:lnTo>
                    <a:pt x="34421" y="71858"/>
                  </a:lnTo>
                  <a:lnTo>
                    <a:pt x="35873" y="73689"/>
                  </a:lnTo>
                  <a:lnTo>
                    <a:pt x="36240" y="75722"/>
                  </a:lnTo>
                  <a:lnTo>
                    <a:pt x="36240" y="75722"/>
                  </a:lnTo>
                  <a:lnTo>
                    <a:pt x="34484" y="73866"/>
                  </a:lnTo>
                  <a:lnTo>
                    <a:pt x="33070" y="68878"/>
                  </a:lnTo>
                  <a:lnTo>
                    <a:pt x="31808" y="65406"/>
                  </a:lnTo>
                  <a:lnTo>
                    <a:pt x="31694" y="65242"/>
                  </a:lnTo>
                  <a:lnTo>
                    <a:pt x="30014" y="64093"/>
                  </a:lnTo>
                  <a:lnTo>
                    <a:pt x="28360" y="61454"/>
                  </a:lnTo>
                  <a:lnTo>
                    <a:pt x="28045" y="57097"/>
                  </a:lnTo>
                  <a:lnTo>
                    <a:pt x="28512" y="52817"/>
                  </a:lnTo>
                  <a:lnTo>
                    <a:pt x="29749" y="50354"/>
                  </a:lnTo>
                  <a:lnTo>
                    <a:pt x="30014" y="47627"/>
                  </a:lnTo>
                  <a:lnTo>
                    <a:pt x="29989" y="47475"/>
                  </a:lnTo>
                  <a:lnTo>
                    <a:pt x="28310" y="43776"/>
                  </a:lnTo>
                  <a:lnTo>
                    <a:pt x="28449" y="42841"/>
                  </a:lnTo>
                  <a:lnTo>
                    <a:pt x="30419" y="44079"/>
                  </a:lnTo>
                  <a:lnTo>
                    <a:pt x="30873" y="43700"/>
                  </a:lnTo>
                  <a:lnTo>
                    <a:pt x="29623" y="40733"/>
                  </a:lnTo>
                  <a:lnTo>
                    <a:pt x="28916" y="36364"/>
                  </a:lnTo>
                  <a:lnTo>
                    <a:pt x="28411" y="36174"/>
                  </a:lnTo>
                  <a:lnTo>
                    <a:pt x="27300" y="37109"/>
                  </a:lnTo>
                  <a:lnTo>
                    <a:pt x="27211" y="37260"/>
                  </a:lnTo>
                  <a:lnTo>
                    <a:pt x="26517" y="39432"/>
                  </a:lnTo>
                  <a:lnTo>
                    <a:pt x="26100" y="38435"/>
                  </a:lnTo>
                  <a:lnTo>
                    <a:pt x="26630" y="36477"/>
                  </a:lnTo>
                  <a:lnTo>
                    <a:pt x="27262" y="33472"/>
                  </a:lnTo>
                  <a:lnTo>
                    <a:pt x="27262" y="33358"/>
                  </a:lnTo>
                  <a:lnTo>
                    <a:pt x="26555" y="29330"/>
                  </a:lnTo>
                  <a:lnTo>
                    <a:pt x="25027" y="26477"/>
                  </a:lnTo>
                  <a:lnTo>
                    <a:pt x="24901" y="26363"/>
                  </a:lnTo>
                  <a:cubicBezTo>
                    <a:pt x="21319" y="24236"/>
                    <a:pt x="20275" y="23768"/>
                    <a:pt x="19914" y="23768"/>
                  </a:cubicBezTo>
                  <a:cubicBezTo>
                    <a:pt x="19779" y="23768"/>
                    <a:pt x="19739" y="23832"/>
                    <a:pt x="19698" y="23901"/>
                  </a:cubicBezTo>
                  <a:cubicBezTo>
                    <a:pt x="19521" y="24040"/>
                    <a:pt x="18322" y="24444"/>
                    <a:pt x="17337" y="24747"/>
                  </a:cubicBezTo>
                  <a:lnTo>
                    <a:pt x="16112" y="24999"/>
                  </a:lnTo>
                  <a:lnTo>
                    <a:pt x="17299" y="22840"/>
                  </a:lnTo>
                  <a:lnTo>
                    <a:pt x="16832" y="22436"/>
                  </a:lnTo>
                  <a:lnTo>
                    <a:pt x="14370" y="24191"/>
                  </a:lnTo>
                  <a:lnTo>
                    <a:pt x="12362" y="25959"/>
                  </a:lnTo>
                  <a:lnTo>
                    <a:pt x="10127" y="28573"/>
                  </a:lnTo>
                  <a:lnTo>
                    <a:pt x="4394" y="30896"/>
                  </a:lnTo>
                  <a:lnTo>
                    <a:pt x="2134" y="31262"/>
                  </a:lnTo>
                  <a:lnTo>
                    <a:pt x="3132" y="30770"/>
                  </a:lnTo>
                  <a:cubicBezTo>
                    <a:pt x="8687" y="27702"/>
                    <a:pt x="8763" y="27399"/>
                    <a:pt x="8801" y="27247"/>
                  </a:cubicBezTo>
                  <a:cubicBezTo>
                    <a:pt x="8852" y="27058"/>
                    <a:pt x="9432" y="26224"/>
                    <a:pt x="9937" y="25555"/>
                  </a:cubicBezTo>
                  <a:lnTo>
                    <a:pt x="9887" y="25126"/>
                  </a:lnTo>
                  <a:lnTo>
                    <a:pt x="8018" y="23573"/>
                  </a:lnTo>
                  <a:lnTo>
                    <a:pt x="6882" y="22373"/>
                  </a:lnTo>
                  <a:lnTo>
                    <a:pt x="6389" y="20454"/>
                  </a:lnTo>
                  <a:lnTo>
                    <a:pt x="7702" y="18396"/>
                  </a:lnTo>
                  <a:lnTo>
                    <a:pt x="9584" y="16034"/>
                  </a:lnTo>
                  <a:lnTo>
                    <a:pt x="12425" y="15466"/>
                  </a:lnTo>
                  <a:lnTo>
                    <a:pt x="12602" y="15365"/>
                  </a:lnTo>
                  <a:lnTo>
                    <a:pt x="14256" y="13332"/>
                  </a:lnTo>
                  <a:lnTo>
                    <a:pt x="13991" y="12814"/>
                  </a:lnTo>
                  <a:lnTo>
                    <a:pt x="12059" y="12979"/>
                  </a:lnTo>
                  <a:lnTo>
                    <a:pt x="9761" y="12625"/>
                  </a:lnTo>
                  <a:lnTo>
                    <a:pt x="9761" y="11943"/>
                  </a:lnTo>
                  <a:lnTo>
                    <a:pt x="10405" y="10579"/>
                  </a:lnTo>
                  <a:lnTo>
                    <a:pt x="12753" y="9531"/>
                  </a:lnTo>
                  <a:lnTo>
                    <a:pt x="13347" y="9999"/>
                  </a:lnTo>
                  <a:lnTo>
                    <a:pt x="15582" y="10655"/>
                  </a:lnTo>
                  <a:lnTo>
                    <a:pt x="15986" y="10302"/>
                  </a:lnTo>
                  <a:lnTo>
                    <a:pt x="15733" y="8572"/>
                  </a:lnTo>
                  <a:lnTo>
                    <a:pt x="14799" y="5301"/>
                  </a:lnTo>
                  <a:lnTo>
                    <a:pt x="14799" y="4582"/>
                  </a:lnTo>
                  <a:lnTo>
                    <a:pt x="16996" y="3268"/>
                  </a:lnTo>
                  <a:cubicBezTo>
                    <a:pt x="17249" y="3167"/>
                    <a:pt x="17943" y="2814"/>
                    <a:pt x="20178" y="1387"/>
                  </a:cubicBezTo>
                  <a:cubicBezTo>
                    <a:pt x="21117" y="797"/>
                    <a:pt x="21746" y="618"/>
                    <a:pt x="22159" y="618"/>
                  </a:cubicBezTo>
                  <a:close/>
                  <a:moveTo>
                    <a:pt x="22164" y="0"/>
                  </a:moveTo>
                  <a:cubicBezTo>
                    <a:pt x="21532" y="0"/>
                    <a:pt x="20754" y="291"/>
                    <a:pt x="19837" y="869"/>
                  </a:cubicBezTo>
                  <a:cubicBezTo>
                    <a:pt x="17274" y="2498"/>
                    <a:pt x="16819" y="2675"/>
                    <a:pt x="16781" y="2688"/>
                  </a:cubicBezTo>
                  <a:lnTo>
                    <a:pt x="14332" y="4127"/>
                  </a:lnTo>
                  <a:lnTo>
                    <a:pt x="14180" y="4392"/>
                  </a:lnTo>
                  <a:lnTo>
                    <a:pt x="14180" y="5339"/>
                  </a:lnTo>
                  <a:lnTo>
                    <a:pt x="15127" y="8698"/>
                  </a:lnTo>
                  <a:lnTo>
                    <a:pt x="15291" y="9923"/>
                  </a:lnTo>
                  <a:lnTo>
                    <a:pt x="13688" y="9468"/>
                  </a:lnTo>
                  <a:lnTo>
                    <a:pt x="12993" y="8925"/>
                  </a:lnTo>
                  <a:lnTo>
                    <a:pt x="12665" y="8875"/>
                  </a:lnTo>
                  <a:lnTo>
                    <a:pt x="10051" y="10062"/>
                  </a:lnTo>
                  <a:lnTo>
                    <a:pt x="9887" y="10213"/>
                  </a:lnTo>
                  <a:lnTo>
                    <a:pt x="9155" y="11754"/>
                  </a:lnTo>
                  <a:lnTo>
                    <a:pt x="9129" y="12915"/>
                  </a:lnTo>
                  <a:lnTo>
                    <a:pt x="9395" y="13231"/>
                  </a:lnTo>
                  <a:lnTo>
                    <a:pt x="11983" y="13623"/>
                  </a:lnTo>
                  <a:lnTo>
                    <a:pt x="12059" y="13623"/>
                  </a:lnTo>
                  <a:lnTo>
                    <a:pt x="13284" y="13521"/>
                  </a:lnTo>
                  <a:lnTo>
                    <a:pt x="12185" y="14873"/>
                  </a:lnTo>
                  <a:lnTo>
                    <a:pt x="9344" y="15441"/>
                  </a:lnTo>
                  <a:lnTo>
                    <a:pt x="9155" y="15554"/>
                  </a:lnTo>
                  <a:lnTo>
                    <a:pt x="7185" y="18029"/>
                  </a:lnTo>
                  <a:lnTo>
                    <a:pt x="5771" y="20239"/>
                  </a:lnTo>
                  <a:lnTo>
                    <a:pt x="5733" y="20479"/>
                  </a:lnTo>
                  <a:lnTo>
                    <a:pt x="6288" y="22613"/>
                  </a:lnTo>
                  <a:lnTo>
                    <a:pt x="6364" y="22752"/>
                  </a:lnTo>
                  <a:lnTo>
                    <a:pt x="7576" y="24040"/>
                  </a:lnTo>
                  <a:lnTo>
                    <a:pt x="9243" y="25416"/>
                  </a:lnTo>
                  <a:cubicBezTo>
                    <a:pt x="8877" y="25909"/>
                    <a:pt x="8334" y="26679"/>
                    <a:pt x="8208" y="27032"/>
                  </a:cubicBezTo>
                  <a:cubicBezTo>
                    <a:pt x="7841" y="27386"/>
                    <a:pt x="4874" y="29091"/>
                    <a:pt x="2841" y="30214"/>
                  </a:cubicBezTo>
                  <a:lnTo>
                    <a:pt x="0" y="31629"/>
                  </a:lnTo>
                  <a:lnTo>
                    <a:pt x="189" y="32222"/>
                  </a:lnTo>
                  <a:lnTo>
                    <a:pt x="4533" y="31515"/>
                  </a:lnTo>
                  <a:lnTo>
                    <a:pt x="10430" y="29128"/>
                  </a:lnTo>
                  <a:lnTo>
                    <a:pt x="10556" y="29040"/>
                  </a:lnTo>
                  <a:lnTo>
                    <a:pt x="12804" y="26388"/>
                  </a:lnTo>
                  <a:lnTo>
                    <a:pt x="14748" y="24684"/>
                  </a:lnTo>
                  <a:lnTo>
                    <a:pt x="16087" y="23737"/>
                  </a:lnTo>
                  <a:lnTo>
                    <a:pt x="15241" y="25302"/>
                  </a:lnTo>
                  <a:lnTo>
                    <a:pt x="15582" y="25757"/>
                  </a:lnTo>
                  <a:lnTo>
                    <a:pt x="17488" y="25366"/>
                  </a:lnTo>
                  <a:cubicBezTo>
                    <a:pt x="19180" y="24861"/>
                    <a:pt x="19787" y="24595"/>
                    <a:pt x="20026" y="24431"/>
                  </a:cubicBezTo>
                  <a:cubicBezTo>
                    <a:pt x="20544" y="24595"/>
                    <a:pt x="22628" y="25757"/>
                    <a:pt x="24496" y="26868"/>
                  </a:cubicBezTo>
                  <a:lnTo>
                    <a:pt x="25936" y="29507"/>
                  </a:lnTo>
                  <a:lnTo>
                    <a:pt x="26618" y="33409"/>
                  </a:lnTo>
                  <a:lnTo>
                    <a:pt x="26012" y="36338"/>
                  </a:lnTo>
                  <a:lnTo>
                    <a:pt x="25456" y="38384"/>
                  </a:lnTo>
                  <a:lnTo>
                    <a:pt x="25469" y="38586"/>
                  </a:lnTo>
                  <a:lnTo>
                    <a:pt x="26264" y="40480"/>
                  </a:lnTo>
                  <a:lnTo>
                    <a:pt x="26858" y="40455"/>
                  </a:lnTo>
                  <a:lnTo>
                    <a:pt x="27767" y="37538"/>
                  </a:lnTo>
                  <a:lnTo>
                    <a:pt x="28373" y="37033"/>
                  </a:lnTo>
                  <a:lnTo>
                    <a:pt x="29004" y="40884"/>
                  </a:lnTo>
                  <a:lnTo>
                    <a:pt x="29888" y="43018"/>
                  </a:lnTo>
                  <a:lnTo>
                    <a:pt x="28360" y="42058"/>
                  </a:lnTo>
                  <a:lnTo>
                    <a:pt x="27893" y="42273"/>
                  </a:lnTo>
                  <a:lnTo>
                    <a:pt x="27653" y="43763"/>
                  </a:lnTo>
                  <a:lnTo>
                    <a:pt x="27678" y="43953"/>
                  </a:lnTo>
                  <a:lnTo>
                    <a:pt x="29383" y="47652"/>
                  </a:lnTo>
                  <a:lnTo>
                    <a:pt x="29156" y="50114"/>
                  </a:lnTo>
                  <a:lnTo>
                    <a:pt x="27918" y="52589"/>
                  </a:lnTo>
                  <a:lnTo>
                    <a:pt x="27413" y="57085"/>
                  </a:lnTo>
                  <a:lnTo>
                    <a:pt x="27729" y="61580"/>
                  </a:lnTo>
                  <a:lnTo>
                    <a:pt x="27779" y="61719"/>
                  </a:lnTo>
                  <a:lnTo>
                    <a:pt x="29522" y="64484"/>
                  </a:lnTo>
                  <a:lnTo>
                    <a:pt x="31252" y="65696"/>
                  </a:lnTo>
                  <a:lnTo>
                    <a:pt x="32464" y="69030"/>
                  </a:lnTo>
                  <a:lnTo>
                    <a:pt x="33891" y="74080"/>
                  </a:lnTo>
                  <a:lnTo>
                    <a:pt x="33967" y="74219"/>
                  </a:lnTo>
                  <a:lnTo>
                    <a:pt x="36505" y="76896"/>
                  </a:lnTo>
                  <a:lnTo>
                    <a:pt x="37048" y="76631"/>
                  </a:lnTo>
                  <a:lnTo>
                    <a:pt x="36467" y="73474"/>
                  </a:lnTo>
                  <a:lnTo>
                    <a:pt x="36404" y="73335"/>
                  </a:lnTo>
                  <a:lnTo>
                    <a:pt x="34964" y="71505"/>
                  </a:lnTo>
                  <a:lnTo>
                    <a:pt x="34484" y="68171"/>
                  </a:lnTo>
                  <a:lnTo>
                    <a:pt x="34484" y="68171"/>
                  </a:lnTo>
                  <a:lnTo>
                    <a:pt x="35166" y="68954"/>
                  </a:lnTo>
                  <a:lnTo>
                    <a:pt x="36012" y="72098"/>
                  </a:lnTo>
                  <a:lnTo>
                    <a:pt x="36101" y="72237"/>
                  </a:lnTo>
                  <a:lnTo>
                    <a:pt x="38273" y="74295"/>
                  </a:lnTo>
                  <a:lnTo>
                    <a:pt x="40268" y="77730"/>
                  </a:lnTo>
                  <a:lnTo>
                    <a:pt x="40419" y="79939"/>
                  </a:lnTo>
                  <a:lnTo>
                    <a:pt x="40508" y="80141"/>
                  </a:lnTo>
                  <a:lnTo>
                    <a:pt x="42162" y="81947"/>
                  </a:lnTo>
                  <a:lnTo>
                    <a:pt x="42301" y="82035"/>
                  </a:lnTo>
                  <a:lnTo>
                    <a:pt x="46202" y="83197"/>
                  </a:lnTo>
                  <a:lnTo>
                    <a:pt x="49043" y="84700"/>
                  </a:lnTo>
                  <a:lnTo>
                    <a:pt x="49359" y="84687"/>
                  </a:lnTo>
                  <a:lnTo>
                    <a:pt x="50028" y="84245"/>
                  </a:lnTo>
                  <a:lnTo>
                    <a:pt x="52453" y="86165"/>
                  </a:lnTo>
                  <a:lnTo>
                    <a:pt x="52592" y="86228"/>
                  </a:lnTo>
                  <a:lnTo>
                    <a:pt x="55407" y="86834"/>
                  </a:lnTo>
                  <a:lnTo>
                    <a:pt x="58716" y="90546"/>
                  </a:lnTo>
                  <a:lnTo>
                    <a:pt x="61330" y="91960"/>
                  </a:lnTo>
                  <a:lnTo>
                    <a:pt x="61683" y="91910"/>
                  </a:lnTo>
                  <a:lnTo>
                    <a:pt x="62706" y="91013"/>
                  </a:lnTo>
                  <a:lnTo>
                    <a:pt x="63994" y="92491"/>
                  </a:lnTo>
                  <a:lnTo>
                    <a:pt x="63691" y="95723"/>
                  </a:lnTo>
                  <a:lnTo>
                    <a:pt x="62251" y="97466"/>
                  </a:lnTo>
                  <a:lnTo>
                    <a:pt x="61405" y="99840"/>
                  </a:lnTo>
                  <a:lnTo>
                    <a:pt x="61165" y="102074"/>
                  </a:lnTo>
                  <a:lnTo>
                    <a:pt x="60711" y="103224"/>
                  </a:lnTo>
                  <a:lnTo>
                    <a:pt x="60774" y="103552"/>
                  </a:lnTo>
                  <a:lnTo>
                    <a:pt x="63186" y="106115"/>
                  </a:lnTo>
                  <a:lnTo>
                    <a:pt x="65320" y="109335"/>
                  </a:lnTo>
                  <a:lnTo>
                    <a:pt x="67441" y="112656"/>
                  </a:lnTo>
                  <a:lnTo>
                    <a:pt x="67555" y="112757"/>
                  </a:lnTo>
                  <a:lnTo>
                    <a:pt x="69461" y="113818"/>
                  </a:lnTo>
                  <a:lnTo>
                    <a:pt x="70623" y="115421"/>
                  </a:lnTo>
                  <a:lnTo>
                    <a:pt x="71090" y="120055"/>
                  </a:lnTo>
                  <a:lnTo>
                    <a:pt x="71330" y="123881"/>
                  </a:lnTo>
                  <a:lnTo>
                    <a:pt x="71090" y="127871"/>
                  </a:lnTo>
                  <a:lnTo>
                    <a:pt x="71254" y="129866"/>
                  </a:lnTo>
                  <a:lnTo>
                    <a:pt x="70472" y="132973"/>
                  </a:lnTo>
                  <a:lnTo>
                    <a:pt x="70383" y="135511"/>
                  </a:lnTo>
                  <a:lnTo>
                    <a:pt x="70623" y="138516"/>
                  </a:lnTo>
                  <a:lnTo>
                    <a:pt x="70749" y="138743"/>
                  </a:lnTo>
                  <a:lnTo>
                    <a:pt x="71886" y="139539"/>
                  </a:lnTo>
                  <a:lnTo>
                    <a:pt x="70168" y="143491"/>
                  </a:lnTo>
                  <a:lnTo>
                    <a:pt x="70194" y="143794"/>
                  </a:lnTo>
                  <a:lnTo>
                    <a:pt x="71507" y="145789"/>
                  </a:lnTo>
                  <a:lnTo>
                    <a:pt x="71823" y="147582"/>
                  </a:lnTo>
                  <a:lnTo>
                    <a:pt x="73035" y="151370"/>
                  </a:lnTo>
                  <a:lnTo>
                    <a:pt x="75409" y="154805"/>
                  </a:lnTo>
                  <a:lnTo>
                    <a:pt x="77227" y="156030"/>
                  </a:lnTo>
                  <a:lnTo>
                    <a:pt x="77391" y="156080"/>
                  </a:lnTo>
                  <a:lnTo>
                    <a:pt x="80396" y="156080"/>
                  </a:lnTo>
                  <a:lnTo>
                    <a:pt x="80624" y="155966"/>
                  </a:lnTo>
                  <a:lnTo>
                    <a:pt x="81886" y="154476"/>
                  </a:lnTo>
                  <a:lnTo>
                    <a:pt x="81798" y="153984"/>
                  </a:lnTo>
                  <a:lnTo>
                    <a:pt x="78666" y="152305"/>
                  </a:lnTo>
                  <a:lnTo>
                    <a:pt x="77530" y="149501"/>
                  </a:lnTo>
                  <a:lnTo>
                    <a:pt x="77353" y="149325"/>
                  </a:lnTo>
                  <a:cubicBezTo>
                    <a:pt x="77176" y="149249"/>
                    <a:pt x="77038" y="149097"/>
                    <a:pt x="76974" y="148908"/>
                  </a:cubicBezTo>
                  <a:cubicBezTo>
                    <a:pt x="76911" y="148643"/>
                    <a:pt x="77063" y="148289"/>
                    <a:pt x="77391" y="147885"/>
                  </a:cubicBezTo>
                  <a:cubicBezTo>
                    <a:pt x="78363" y="146723"/>
                    <a:pt x="78591" y="146458"/>
                    <a:pt x="78641" y="146332"/>
                  </a:cubicBezTo>
                  <a:lnTo>
                    <a:pt x="78957" y="145309"/>
                  </a:lnTo>
                  <a:lnTo>
                    <a:pt x="78831" y="144956"/>
                  </a:lnTo>
                  <a:lnTo>
                    <a:pt x="77404" y="143933"/>
                  </a:lnTo>
                  <a:lnTo>
                    <a:pt x="78111" y="142582"/>
                  </a:lnTo>
                  <a:lnTo>
                    <a:pt x="78831" y="142077"/>
                  </a:lnTo>
                  <a:lnTo>
                    <a:pt x="78957" y="141862"/>
                  </a:lnTo>
                  <a:lnTo>
                    <a:pt x="79361" y="139652"/>
                  </a:lnTo>
                  <a:lnTo>
                    <a:pt x="79336" y="139476"/>
                  </a:lnTo>
                  <a:lnTo>
                    <a:pt x="78818" y="138289"/>
                  </a:lnTo>
                  <a:lnTo>
                    <a:pt x="78869" y="137582"/>
                  </a:lnTo>
                  <a:lnTo>
                    <a:pt x="79954" y="137708"/>
                  </a:lnTo>
                  <a:lnTo>
                    <a:pt x="80308" y="137417"/>
                  </a:lnTo>
                  <a:lnTo>
                    <a:pt x="80384" y="135814"/>
                  </a:lnTo>
                  <a:lnTo>
                    <a:pt x="80384" y="135498"/>
                  </a:lnTo>
                  <a:lnTo>
                    <a:pt x="82038" y="135018"/>
                  </a:lnTo>
                  <a:lnTo>
                    <a:pt x="83932" y="134551"/>
                  </a:lnTo>
                  <a:lnTo>
                    <a:pt x="84172" y="134235"/>
                  </a:lnTo>
                  <a:lnTo>
                    <a:pt x="84172" y="132076"/>
                  </a:lnTo>
                  <a:lnTo>
                    <a:pt x="84020" y="130826"/>
                  </a:lnTo>
                  <a:lnTo>
                    <a:pt x="83970" y="130283"/>
                  </a:lnTo>
                  <a:lnTo>
                    <a:pt x="86243" y="130675"/>
                  </a:lnTo>
                  <a:lnTo>
                    <a:pt x="86521" y="130586"/>
                  </a:lnTo>
                  <a:lnTo>
                    <a:pt x="88137" y="129008"/>
                  </a:lnTo>
                  <a:lnTo>
                    <a:pt x="89614" y="126520"/>
                  </a:lnTo>
                  <a:lnTo>
                    <a:pt x="90965" y="124551"/>
                  </a:lnTo>
                  <a:lnTo>
                    <a:pt x="91470" y="121798"/>
                  </a:lnTo>
                  <a:lnTo>
                    <a:pt x="93857" y="120156"/>
                  </a:lnTo>
                  <a:lnTo>
                    <a:pt x="96546" y="118742"/>
                  </a:lnTo>
                  <a:lnTo>
                    <a:pt x="97897" y="117947"/>
                  </a:lnTo>
                  <a:lnTo>
                    <a:pt x="98049" y="117719"/>
                  </a:lnTo>
                  <a:lnTo>
                    <a:pt x="98592" y="113982"/>
                  </a:lnTo>
                  <a:lnTo>
                    <a:pt x="99463" y="110800"/>
                  </a:lnTo>
                  <a:lnTo>
                    <a:pt x="99842" y="108906"/>
                  </a:lnTo>
                  <a:lnTo>
                    <a:pt x="101648" y="106645"/>
                  </a:lnTo>
                  <a:lnTo>
                    <a:pt x="102746" y="104676"/>
                  </a:lnTo>
                  <a:lnTo>
                    <a:pt x="102746" y="104373"/>
                  </a:lnTo>
                  <a:lnTo>
                    <a:pt x="101799" y="102617"/>
                  </a:lnTo>
                  <a:cubicBezTo>
                    <a:pt x="101824" y="102352"/>
                    <a:pt x="101774" y="102125"/>
                    <a:pt x="98882" y="100989"/>
                  </a:cubicBezTo>
                  <a:lnTo>
                    <a:pt x="95650" y="99726"/>
                  </a:lnTo>
                  <a:lnTo>
                    <a:pt x="93718" y="99410"/>
                  </a:lnTo>
                  <a:lnTo>
                    <a:pt x="91710" y="98627"/>
                  </a:lnTo>
                  <a:lnTo>
                    <a:pt x="89551" y="97731"/>
                  </a:lnTo>
                  <a:lnTo>
                    <a:pt x="88415" y="95092"/>
                  </a:lnTo>
                  <a:lnTo>
                    <a:pt x="86887" y="92907"/>
                  </a:lnTo>
                  <a:lnTo>
                    <a:pt x="86735" y="92794"/>
                  </a:lnTo>
                  <a:lnTo>
                    <a:pt x="83338" y="91682"/>
                  </a:lnTo>
                  <a:lnTo>
                    <a:pt x="81179" y="91455"/>
                  </a:lnTo>
                  <a:lnTo>
                    <a:pt x="78970" y="89321"/>
                  </a:lnTo>
                  <a:lnTo>
                    <a:pt x="76861" y="88084"/>
                  </a:lnTo>
                  <a:lnTo>
                    <a:pt x="74335" y="87819"/>
                  </a:lnTo>
                  <a:lnTo>
                    <a:pt x="71810" y="87187"/>
                  </a:lnTo>
                  <a:lnTo>
                    <a:pt x="71722" y="87175"/>
                  </a:lnTo>
                  <a:lnTo>
                    <a:pt x="68881" y="87263"/>
                  </a:lnTo>
                  <a:lnTo>
                    <a:pt x="68792" y="87276"/>
                  </a:lnTo>
                  <a:cubicBezTo>
                    <a:pt x="65395" y="88273"/>
                    <a:pt x="65320" y="88576"/>
                    <a:pt x="65269" y="88753"/>
                  </a:cubicBezTo>
                  <a:cubicBezTo>
                    <a:pt x="65219" y="88942"/>
                    <a:pt x="65029" y="89523"/>
                    <a:pt x="64878" y="89965"/>
                  </a:cubicBezTo>
                  <a:lnTo>
                    <a:pt x="63640" y="88993"/>
                  </a:lnTo>
                  <a:lnTo>
                    <a:pt x="63350" y="88930"/>
                  </a:lnTo>
                  <a:lnTo>
                    <a:pt x="61734" y="89448"/>
                  </a:lnTo>
                  <a:lnTo>
                    <a:pt x="60218" y="88690"/>
                  </a:lnTo>
                  <a:lnTo>
                    <a:pt x="59057" y="86303"/>
                  </a:lnTo>
                  <a:lnTo>
                    <a:pt x="59802" y="84384"/>
                  </a:lnTo>
                  <a:lnTo>
                    <a:pt x="59600" y="83967"/>
                  </a:lnTo>
                  <a:lnTo>
                    <a:pt x="57655" y="83311"/>
                  </a:lnTo>
                  <a:lnTo>
                    <a:pt x="55521" y="83046"/>
                  </a:lnTo>
                  <a:lnTo>
                    <a:pt x="56077" y="81480"/>
                  </a:lnTo>
                  <a:lnTo>
                    <a:pt x="56796" y="80104"/>
                  </a:lnTo>
                  <a:lnTo>
                    <a:pt x="56986" y="78853"/>
                  </a:lnTo>
                  <a:lnTo>
                    <a:pt x="56670" y="78500"/>
                  </a:lnTo>
                  <a:lnTo>
                    <a:pt x="53905" y="78500"/>
                  </a:lnTo>
                  <a:lnTo>
                    <a:pt x="53640" y="78651"/>
                  </a:lnTo>
                  <a:lnTo>
                    <a:pt x="52516" y="80533"/>
                  </a:lnTo>
                  <a:lnTo>
                    <a:pt x="50155" y="81366"/>
                  </a:lnTo>
                  <a:lnTo>
                    <a:pt x="48374" y="78942"/>
                  </a:lnTo>
                  <a:lnTo>
                    <a:pt x="47995" y="75495"/>
                  </a:lnTo>
                  <a:lnTo>
                    <a:pt x="48816" y="72717"/>
                  </a:lnTo>
                  <a:lnTo>
                    <a:pt x="51443" y="70772"/>
                  </a:lnTo>
                  <a:lnTo>
                    <a:pt x="54132" y="70393"/>
                  </a:lnTo>
                  <a:lnTo>
                    <a:pt x="55370" y="71416"/>
                  </a:lnTo>
                  <a:lnTo>
                    <a:pt x="55849" y="71315"/>
                  </a:lnTo>
                  <a:lnTo>
                    <a:pt x="56392" y="70305"/>
                  </a:lnTo>
                  <a:lnTo>
                    <a:pt x="58286" y="70305"/>
                  </a:lnTo>
                  <a:lnTo>
                    <a:pt x="60799" y="71088"/>
                  </a:lnTo>
                  <a:lnTo>
                    <a:pt x="61014" y="72856"/>
                  </a:lnTo>
                  <a:lnTo>
                    <a:pt x="61064" y="72995"/>
                  </a:lnTo>
                  <a:lnTo>
                    <a:pt x="62403" y="75040"/>
                  </a:lnTo>
                  <a:lnTo>
                    <a:pt x="62971" y="74926"/>
                  </a:lnTo>
                  <a:lnTo>
                    <a:pt x="63363" y="72843"/>
                  </a:lnTo>
                  <a:lnTo>
                    <a:pt x="63363" y="72767"/>
                  </a:lnTo>
                  <a:lnTo>
                    <a:pt x="63211" y="69131"/>
                  </a:lnTo>
                  <a:lnTo>
                    <a:pt x="64158" y="67376"/>
                  </a:lnTo>
                  <a:lnTo>
                    <a:pt x="67087" y="65355"/>
                  </a:lnTo>
                  <a:lnTo>
                    <a:pt x="68704" y="62691"/>
                  </a:lnTo>
                  <a:lnTo>
                    <a:pt x="69461" y="60721"/>
                  </a:lnTo>
                  <a:lnTo>
                    <a:pt x="71924" y="58322"/>
                  </a:lnTo>
                  <a:lnTo>
                    <a:pt x="73452" y="58322"/>
                  </a:lnTo>
                  <a:lnTo>
                    <a:pt x="73755" y="58107"/>
                  </a:lnTo>
                  <a:lnTo>
                    <a:pt x="74575" y="55923"/>
                  </a:lnTo>
                  <a:lnTo>
                    <a:pt x="76747" y="54496"/>
                  </a:lnTo>
                  <a:lnTo>
                    <a:pt x="77682" y="55961"/>
                  </a:lnTo>
                  <a:lnTo>
                    <a:pt x="78124" y="56062"/>
                  </a:lnTo>
                  <a:lnTo>
                    <a:pt x="80119" y="54786"/>
                  </a:lnTo>
                  <a:lnTo>
                    <a:pt x="83591" y="53347"/>
                  </a:lnTo>
                  <a:lnTo>
                    <a:pt x="83705" y="52855"/>
                  </a:lnTo>
                  <a:lnTo>
                    <a:pt x="82909" y="51983"/>
                  </a:lnTo>
                  <a:lnTo>
                    <a:pt x="82657" y="51870"/>
                  </a:lnTo>
                  <a:lnTo>
                    <a:pt x="79715" y="52084"/>
                  </a:lnTo>
                  <a:lnTo>
                    <a:pt x="79134" y="50771"/>
                  </a:lnTo>
                  <a:lnTo>
                    <a:pt x="79134" y="49496"/>
                  </a:lnTo>
                  <a:lnTo>
                    <a:pt x="78970" y="49218"/>
                  </a:lnTo>
                  <a:lnTo>
                    <a:pt x="78528" y="48978"/>
                  </a:lnTo>
                  <a:lnTo>
                    <a:pt x="78742" y="48864"/>
                  </a:lnTo>
                  <a:lnTo>
                    <a:pt x="81002" y="48864"/>
                  </a:lnTo>
                  <a:lnTo>
                    <a:pt x="83212" y="49029"/>
                  </a:lnTo>
                  <a:lnTo>
                    <a:pt x="83389" y="48991"/>
                  </a:lnTo>
                  <a:lnTo>
                    <a:pt x="86028" y="47463"/>
                  </a:lnTo>
                  <a:cubicBezTo>
                    <a:pt x="87973" y="46023"/>
                    <a:pt x="88048" y="45910"/>
                    <a:pt x="88074" y="45847"/>
                  </a:cubicBezTo>
                  <a:cubicBezTo>
                    <a:pt x="88213" y="45657"/>
                    <a:pt x="88263" y="45569"/>
                    <a:pt x="86432" y="42362"/>
                  </a:cubicBezTo>
                  <a:lnTo>
                    <a:pt x="84399" y="40455"/>
                  </a:lnTo>
                  <a:lnTo>
                    <a:pt x="84033" y="38435"/>
                  </a:lnTo>
                  <a:lnTo>
                    <a:pt x="83553" y="34103"/>
                  </a:lnTo>
                  <a:lnTo>
                    <a:pt x="83010" y="33927"/>
                  </a:lnTo>
                  <a:lnTo>
                    <a:pt x="81078" y="36086"/>
                  </a:lnTo>
                  <a:lnTo>
                    <a:pt x="79576" y="35758"/>
                  </a:lnTo>
                  <a:lnTo>
                    <a:pt x="79310" y="34028"/>
                  </a:lnTo>
                  <a:lnTo>
                    <a:pt x="80055" y="32677"/>
                  </a:lnTo>
                  <a:lnTo>
                    <a:pt x="79866" y="32222"/>
                  </a:lnTo>
                  <a:lnTo>
                    <a:pt x="78212" y="31755"/>
                  </a:lnTo>
                  <a:lnTo>
                    <a:pt x="77164" y="30669"/>
                  </a:lnTo>
                  <a:lnTo>
                    <a:pt x="76937" y="30568"/>
                  </a:lnTo>
                  <a:lnTo>
                    <a:pt x="74070" y="30568"/>
                  </a:lnTo>
                  <a:lnTo>
                    <a:pt x="73199" y="30656"/>
                  </a:lnTo>
                  <a:lnTo>
                    <a:pt x="72921" y="30959"/>
                  </a:lnTo>
                  <a:lnTo>
                    <a:pt x="72845" y="33674"/>
                  </a:lnTo>
                  <a:lnTo>
                    <a:pt x="71583" y="35013"/>
                  </a:lnTo>
                  <a:lnTo>
                    <a:pt x="71545" y="35391"/>
                  </a:lnTo>
                  <a:lnTo>
                    <a:pt x="72290" y="36566"/>
                  </a:lnTo>
                  <a:lnTo>
                    <a:pt x="72492" y="38662"/>
                  </a:lnTo>
                  <a:lnTo>
                    <a:pt x="70535" y="40316"/>
                  </a:lnTo>
                  <a:lnTo>
                    <a:pt x="68615" y="40998"/>
                  </a:lnTo>
                  <a:lnTo>
                    <a:pt x="68401" y="41288"/>
                  </a:lnTo>
                  <a:lnTo>
                    <a:pt x="68401" y="44256"/>
                  </a:lnTo>
                  <a:lnTo>
                    <a:pt x="67555" y="44685"/>
                  </a:lnTo>
                  <a:lnTo>
                    <a:pt x="66380" y="43195"/>
                  </a:lnTo>
                  <a:lnTo>
                    <a:pt x="66974" y="40581"/>
                  </a:lnTo>
                  <a:lnTo>
                    <a:pt x="66822" y="40228"/>
                  </a:lnTo>
                  <a:lnTo>
                    <a:pt x="64676" y="39142"/>
                  </a:lnTo>
                  <a:lnTo>
                    <a:pt x="62453" y="37816"/>
                  </a:lnTo>
                  <a:lnTo>
                    <a:pt x="61443" y="36957"/>
                  </a:lnTo>
                  <a:lnTo>
                    <a:pt x="61241" y="36881"/>
                  </a:lnTo>
                  <a:lnTo>
                    <a:pt x="60509" y="36881"/>
                  </a:lnTo>
                  <a:lnTo>
                    <a:pt x="60307" y="34444"/>
                  </a:lnTo>
                  <a:lnTo>
                    <a:pt x="60686" y="32083"/>
                  </a:lnTo>
                  <a:lnTo>
                    <a:pt x="61456" y="30252"/>
                  </a:lnTo>
                  <a:cubicBezTo>
                    <a:pt x="61974" y="30050"/>
                    <a:pt x="62479" y="29823"/>
                    <a:pt x="62971" y="29558"/>
                  </a:cubicBezTo>
                  <a:cubicBezTo>
                    <a:pt x="63413" y="29330"/>
                    <a:pt x="63640" y="29229"/>
                    <a:pt x="63754" y="29179"/>
                  </a:cubicBezTo>
                  <a:cubicBezTo>
                    <a:pt x="63761" y="29180"/>
                    <a:pt x="63768" y="29180"/>
                    <a:pt x="63775" y="29180"/>
                  </a:cubicBezTo>
                  <a:cubicBezTo>
                    <a:pt x="63887" y="29180"/>
                    <a:pt x="64048" y="29086"/>
                    <a:pt x="64499" y="28813"/>
                  </a:cubicBezTo>
                  <a:lnTo>
                    <a:pt x="65029" y="28497"/>
                  </a:lnTo>
                  <a:cubicBezTo>
                    <a:pt x="66469" y="27638"/>
                    <a:pt x="66999" y="27323"/>
                    <a:pt x="67201" y="27171"/>
                  </a:cubicBezTo>
                  <a:lnTo>
                    <a:pt x="67214" y="27184"/>
                  </a:lnTo>
                  <a:lnTo>
                    <a:pt x="68792" y="25681"/>
                  </a:lnTo>
                  <a:lnTo>
                    <a:pt x="69992" y="24456"/>
                  </a:lnTo>
                  <a:lnTo>
                    <a:pt x="70737" y="24267"/>
                  </a:lnTo>
                  <a:lnTo>
                    <a:pt x="74083" y="24267"/>
                  </a:lnTo>
                  <a:lnTo>
                    <a:pt x="74399" y="23977"/>
                  </a:lnTo>
                  <a:lnTo>
                    <a:pt x="74550" y="21994"/>
                  </a:lnTo>
                  <a:lnTo>
                    <a:pt x="75548" y="20252"/>
                  </a:lnTo>
                  <a:lnTo>
                    <a:pt x="75573" y="20012"/>
                  </a:lnTo>
                  <a:lnTo>
                    <a:pt x="75106" y="18269"/>
                  </a:lnTo>
                  <a:lnTo>
                    <a:pt x="75005" y="18118"/>
                  </a:lnTo>
                  <a:lnTo>
                    <a:pt x="73363" y="16741"/>
                  </a:lnTo>
                  <a:lnTo>
                    <a:pt x="72883" y="16830"/>
                  </a:lnTo>
                  <a:lnTo>
                    <a:pt x="71873" y="18800"/>
                  </a:lnTo>
                  <a:lnTo>
                    <a:pt x="70320" y="19999"/>
                  </a:lnTo>
                  <a:lnTo>
                    <a:pt x="69676" y="20441"/>
                  </a:lnTo>
                  <a:lnTo>
                    <a:pt x="69676" y="18623"/>
                  </a:lnTo>
                  <a:lnTo>
                    <a:pt x="69929" y="17385"/>
                  </a:lnTo>
                  <a:lnTo>
                    <a:pt x="69411" y="17082"/>
                  </a:lnTo>
                  <a:lnTo>
                    <a:pt x="68691" y="17739"/>
                  </a:lnTo>
                  <a:lnTo>
                    <a:pt x="67896" y="15959"/>
                  </a:lnTo>
                  <a:lnTo>
                    <a:pt x="68918" y="14860"/>
                  </a:lnTo>
                  <a:lnTo>
                    <a:pt x="71002" y="10403"/>
                  </a:lnTo>
                  <a:lnTo>
                    <a:pt x="71873" y="10049"/>
                  </a:lnTo>
                  <a:lnTo>
                    <a:pt x="73767" y="8332"/>
                  </a:lnTo>
                  <a:lnTo>
                    <a:pt x="73691" y="7827"/>
                  </a:lnTo>
                  <a:lnTo>
                    <a:pt x="72896" y="7410"/>
                  </a:lnTo>
                  <a:lnTo>
                    <a:pt x="71785" y="7233"/>
                  </a:lnTo>
                  <a:lnTo>
                    <a:pt x="69373" y="7233"/>
                  </a:lnTo>
                  <a:lnTo>
                    <a:pt x="69057" y="7549"/>
                  </a:lnTo>
                  <a:lnTo>
                    <a:pt x="69057" y="9658"/>
                  </a:lnTo>
                  <a:lnTo>
                    <a:pt x="67037" y="12284"/>
                  </a:lnTo>
                  <a:lnTo>
                    <a:pt x="65294" y="14986"/>
                  </a:lnTo>
                  <a:lnTo>
                    <a:pt x="65294" y="15340"/>
                  </a:lnTo>
                  <a:lnTo>
                    <a:pt x="66077" y="16476"/>
                  </a:lnTo>
                  <a:lnTo>
                    <a:pt x="65762" y="18623"/>
                  </a:lnTo>
                  <a:lnTo>
                    <a:pt x="63375" y="19885"/>
                  </a:lnTo>
                  <a:lnTo>
                    <a:pt x="63375" y="18585"/>
                  </a:lnTo>
                  <a:lnTo>
                    <a:pt x="63085" y="18269"/>
                  </a:lnTo>
                  <a:lnTo>
                    <a:pt x="61342" y="18118"/>
                  </a:lnTo>
                  <a:lnTo>
                    <a:pt x="61128" y="18181"/>
                  </a:lnTo>
                  <a:lnTo>
                    <a:pt x="59890" y="19153"/>
                  </a:lnTo>
                  <a:lnTo>
                    <a:pt x="58223" y="16830"/>
                  </a:lnTo>
                  <a:lnTo>
                    <a:pt x="57971" y="16703"/>
                  </a:lnTo>
                  <a:lnTo>
                    <a:pt x="55799" y="16703"/>
                  </a:lnTo>
                  <a:lnTo>
                    <a:pt x="55521" y="16868"/>
                  </a:lnTo>
                  <a:lnTo>
                    <a:pt x="54827" y="18168"/>
                  </a:lnTo>
                  <a:lnTo>
                    <a:pt x="54435" y="18736"/>
                  </a:lnTo>
                  <a:lnTo>
                    <a:pt x="53652" y="16969"/>
                  </a:lnTo>
                  <a:lnTo>
                    <a:pt x="53261" y="16792"/>
                  </a:lnTo>
                  <a:cubicBezTo>
                    <a:pt x="53061" y="16867"/>
                    <a:pt x="52586" y="16997"/>
                    <a:pt x="52167" y="16997"/>
                  </a:cubicBezTo>
                  <a:cubicBezTo>
                    <a:pt x="51950" y="16997"/>
                    <a:pt x="51749" y="16962"/>
                    <a:pt x="51607" y="16868"/>
                  </a:cubicBezTo>
                  <a:cubicBezTo>
                    <a:pt x="51455" y="16767"/>
                    <a:pt x="51379" y="16590"/>
                    <a:pt x="51392" y="16426"/>
                  </a:cubicBezTo>
                  <a:cubicBezTo>
                    <a:pt x="51316" y="15112"/>
                    <a:pt x="51316" y="14986"/>
                    <a:pt x="51316" y="14974"/>
                  </a:cubicBezTo>
                  <a:lnTo>
                    <a:pt x="51215" y="14746"/>
                  </a:lnTo>
                  <a:lnTo>
                    <a:pt x="47945" y="11716"/>
                  </a:lnTo>
                  <a:lnTo>
                    <a:pt x="46922" y="11009"/>
                  </a:lnTo>
                  <a:lnTo>
                    <a:pt x="46682" y="10958"/>
                  </a:lnTo>
                  <a:lnTo>
                    <a:pt x="45142" y="11223"/>
                  </a:lnTo>
                  <a:lnTo>
                    <a:pt x="44435" y="9077"/>
                  </a:lnTo>
                  <a:lnTo>
                    <a:pt x="44233" y="8875"/>
                  </a:lnTo>
                  <a:lnTo>
                    <a:pt x="42806" y="8433"/>
                  </a:lnTo>
                  <a:lnTo>
                    <a:pt x="42679" y="8420"/>
                  </a:lnTo>
                  <a:lnTo>
                    <a:pt x="39182" y="8862"/>
                  </a:lnTo>
                  <a:lnTo>
                    <a:pt x="37262" y="8445"/>
                  </a:lnTo>
                  <a:lnTo>
                    <a:pt x="34649" y="6210"/>
                  </a:lnTo>
                  <a:lnTo>
                    <a:pt x="31075" y="4506"/>
                  </a:lnTo>
                  <a:lnTo>
                    <a:pt x="28499" y="2031"/>
                  </a:lnTo>
                  <a:lnTo>
                    <a:pt x="26365" y="263"/>
                  </a:lnTo>
                  <a:lnTo>
                    <a:pt x="26100" y="187"/>
                  </a:lnTo>
                  <a:lnTo>
                    <a:pt x="23524" y="756"/>
                  </a:lnTo>
                  <a:cubicBezTo>
                    <a:pt x="23360" y="465"/>
                    <a:pt x="23120" y="238"/>
                    <a:pt x="22817" y="124"/>
                  </a:cubicBezTo>
                  <a:cubicBezTo>
                    <a:pt x="22620" y="41"/>
                    <a:pt x="22402" y="0"/>
                    <a:pt x="2216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65"/>
            <p:cNvSpPr/>
            <p:nvPr/>
          </p:nvSpPr>
          <p:spPr>
            <a:xfrm>
              <a:off x="1940550" y="1654925"/>
              <a:ext cx="124725" cy="149650"/>
            </a:xfrm>
            <a:custGeom>
              <a:avLst/>
              <a:gdLst/>
              <a:ahLst/>
              <a:cxnLst/>
              <a:rect l="l" t="t" r="r" b="b"/>
              <a:pathLst>
                <a:path w="4989" h="5986" extrusionOk="0">
                  <a:moveTo>
                    <a:pt x="2425" y="0"/>
                  </a:moveTo>
                  <a:lnTo>
                    <a:pt x="1023" y="1200"/>
                  </a:lnTo>
                  <a:lnTo>
                    <a:pt x="1" y="3851"/>
                  </a:lnTo>
                  <a:lnTo>
                    <a:pt x="1" y="5985"/>
                  </a:lnTo>
                  <a:lnTo>
                    <a:pt x="2362" y="4104"/>
                  </a:lnTo>
                  <a:lnTo>
                    <a:pt x="3511" y="4887"/>
                  </a:lnTo>
                  <a:lnTo>
                    <a:pt x="4988" y="4419"/>
                  </a:lnTo>
                  <a:lnTo>
                    <a:pt x="3271" y="2210"/>
                  </a:lnTo>
                  <a:lnTo>
                    <a:pt x="24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65"/>
            <p:cNvSpPr/>
            <p:nvPr/>
          </p:nvSpPr>
          <p:spPr>
            <a:xfrm>
              <a:off x="1932650" y="1641650"/>
              <a:ext cx="145575" cy="179325"/>
            </a:xfrm>
            <a:custGeom>
              <a:avLst/>
              <a:gdLst/>
              <a:ahLst/>
              <a:cxnLst/>
              <a:rect l="l" t="t" r="r" b="b"/>
              <a:pathLst>
                <a:path w="5823" h="7173" extrusionOk="0">
                  <a:moveTo>
                    <a:pt x="2602" y="1049"/>
                  </a:moveTo>
                  <a:lnTo>
                    <a:pt x="3297" y="2842"/>
                  </a:lnTo>
                  <a:lnTo>
                    <a:pt x="4774" y="4774"/>
                  </a:lnTo>
                  <a:lnTo>
                    <a:pt x="3877" y="5064"/>
                  </a:lnTo>
                  <a:lnTo>
                    <a:pt x="2665" y="4231"/>
                  </a:lnTo>
                  <a:lnTo>
                    <a:pt x="632" y="5860"/>
                  </a:lnTo>
                  <a:lnTo>
                    <a:pt x="632" y="4433"/>
                  </a:lnTo>
                  <a:lnTo>
                    <a:pt x="1605" y="1907"/>
                  </a:lnTo>
                  <a:lnTo>
                    <a:pt x="2602" y="1049"/>
                  </a:lnTo>
                  <a:close/>
                  <a:moveTo>
                    <a:pt x="2880" y="1"/>
                  </a:moveTo>
                  <a:lnTo>
                    <a:pt x="1074" y="1541"/>
                  </a:lnTo>
                  <a:lnTo>
                    <a:pt x="26" y="4269"/>
                  </a:lnTo>
                  <a:lnTo>
                    <a:pt x="1" y="7173"/>
                  </a:lnTo>
                  <a:lnTo>
                    <a:pt x="1" y="7173"/>
                  </a:lnTo>
                  <a:lnTo>
                    <a:pt x="2703" y="5026"/>
                  </a:lnTo>
                  <a:lnTo>
                    <a:pt x="3776" y="5771"/>
                  </a:lnTo>
                  <a:lnTo>
                    <a:pt x="5822" y="5102"/>
                  </a:lnTo>
                  <a:lnTo>
                    <a:pt x="3865" y="2577"/>
                  </a:lnTo>
                  <a:lnTo>
                    <a:pt x="28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65"/>
            <p:cNvSpPr/>
            <p:nvPr/>
          </p:nvSpPr>
          <p:spPr>
            <a:xfrm>
              <a:off x="2019475" y="1292525"/>
              <a:ext cx="410075" cy="583375"/>
            </a:xfrm>
            <a:custGeom>
              <a:avLst/>
              <a:gdLst/>
              <a:ahLst/>
              <a:cxnLst/>
              <a:rect l="l" t="t" r="r" b="b"/>
              <a:pathLst>
                <a:path w="16403" h="23335" extrusionOk="0">
                  <a:moveTo>
                    <a:pt x="4129" y="0"/>
                  </a:moveTo>
                  <a:lnTo>
                    <a:pt x="1213" y="2122"/>
                  </a:lnTo>
                  <a:lnTo>
                    <a:pt x="0" y="4407"/>
                  </a:lnTo>
                  <a:lnTo>
                    <a:pt x="0" y="7248"/>
                  </a:lnTo>
                  <a:lnTo>
                    <a:pt x="2122" y="6857"/>
                  </a:lnTo>
                  <a:lnTo>
                    <a:pt x="4571" y="8347"/>
                  </a:lnTo>
                  <a:lnTo>
                    <a:pt x="6541" y="8827"/>
                  </a:lnTo>
                  <a:lnTo>
                    <a:pt x="7210" y="7576"/>
                  </a:lnTo>
                  <a:lnTo>
                    <a:pt x="8170" y="11339"/>
                  </a:lnTo>
                  <a:lnTo>
                    <a:pt x="9521" y="12842"/>
                  </a:lnTo>
                  <a:lnTo>
                    <a:pt x="8258" y="15052"/>
                  </a:lnTo>
                  <a:cubicBezTo>
                    <a:pt x="8258" y="15052"/>
                    <a:pt x="8978" y="16314"/>
                    <a:pt x="6996" y="16706"/>
                  </a:cubicBezTo>
                  <a:cubicBezTo>
                    <a:pt x="5026" y="17097"/>
                    <a:pt x="6364" y="16946"/>
                    <a:pt x="5026" y="17097"/>
                  </a:cubicBezTo>
                  <a:cubicBezTo>
                    <a:pt x="3688" y="17261"/>
                    <a:pt x="3688" y="17539"/>
                    <a:pt x="3688" y="17539"/>
                  </a:cubicBezTo>
                  <a:lnTo>
                    <a:pt x="4180" y="18915"/>
                  </a:lnTo>
                  <a:lnTo>
                    <a:pt x="6604" y="18915"/>
                  </a:lnTo>
                  <a:lnTo>
                    <a:pt x="7943" y="20810"/>
                  </a:lnTo>
                  <a:lnTo>
                    <a:pt x="9521" y="22539"/>
                  </a:lnTo>
                  <a:lnTo>
                    <a:pt x="11579" y="23335"/>
                  </a:lnTo>
                  <a:lnTo>
                    <a:pt x="10405" y="20532"/>
                  </a:lnTo>
                  <a:lnTo>
                    <a:pt x="12375" y="21693"/>
                  </a:lnTo>
                  <a:lnTo>
                    <a:pt x="13473" y="20115"/>
                  </a:lnTo>
                  <a:lnTo>
                    <a:pt x="12059" y="16794"/>
                  </a:lnTo>
                  <a:lnTo>
                    <a:pt x="12615" y="15923"/>
                  </a:lnTo>
                  <a:lnTo>
                    <a:pt x="14420" y="18360"/>
                  </a:lnTo>
                  <a:lnTo>
                    <a:pt x="15683" y="16794"/>
                  </a:lnTo>
                  <a:lnTo>
                    <a:pt x="16403" y="15052"/>
                  </a:lnTo>
                  <a:lnTo>
                    <a:pt x="12931" y="12135"/>
                  </a:lnTo>
                  <a:lnTo>
                    <a:pt x="14269" y="11630"/>
                  </a:lnTo>
                  <a:lnTo>
                    <a:pt x="13549" y="8195"/>
                  </a:lnTo>
                  <a:lnTo>
                    <a:pt x="12211" y="5821"/>
                  </a:lnTo>
                  <a:lnTo>
                    <a:pt x="10721" y="4963"/>
                  </a:lnTo>
                  <a:lnTo>
                    <a:pt x="9067" y="3624"/>
                  </a:lnTo>
                  <a:lnTo>
                    <a:pt x="10557" y="3069"/>
                  </a:lnTo>
                  <a:lnTo>
                    <a:pt x="10165" y="1414"/>
                  </a:lnTo>
                  <a:lnTo>
                    <a:pt x="7918" y="354"/>
                  </a:lnTo>
                  <a:lnTo>
                    <a:pt x="5670" y="1326"/>
                  </a:lnTo>
                  <a:lnTo>
                    <a:pt x="5165" y="2677"/>
                  </a:lnTo>
                  <a:lnTo>
                    <a:pt x="3814" y="4256"/>
                  </a:lnTo>
                  <a:lnTo>
                    <a:pt x="2993" y="3069"/>
                  </a:lnTo>
                  <a:lnTo>
                    <a:pt x="41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65"/>
            <p:cNvSpPr/>
            <p:nvPr/>
          </p:nvSpPr>
          <p:spPr>
            <a:xfrm>
              <a:off x="2011275" y="1270725"/>
              <a:ext cx="427750" cy="619075"/>
            </a:xfrm>
            <a:custGeom>
              <a:avLst/>
              <a:gdLst/>
              <a:ahLst/>
              <a:cxnLst/>
              <a:rect l="l" t="t" r="r" b="b"/>
              <a:pathLst>
                <a:path w="17110" h="24763" extrusionOk="0">
                  <a:moveTo>
                    <a:pt x="8246" y="1567"/>
                  </a:moveTo>
                  <a:lnTo>
                    <a:pt x="10228" y="2501"/>
                  </a:lnTo>
                  <a:lnTo>
                    <a:pt x="10518" y="3739"/>
                  </a:lnTo>
                  <a:lnTo>
                    <a:pt x="8763" y="4383"/>
                  </a:lnTo>
                  <a:lnTo>
                    <a:pt x="10885" y="6087"/>
                  </a:lnTo>
                  <a:lnTo>
                    <a:pt x="12311" y="6908"/>
                  </a:lnTo>
                  <a:lnTo>
                    <a:pt x="13587" y="9156"/>
                  </a:lnTo>
                  <a:lnTo>
                    <a:pt x="14231" y="12287"/>
                  </a:lnTo>
                  <a:lnTo>
                    <a:pt x="12640" y="12881"/>
                  </a:lnTo>
                  <a:lnTo>
                    <a:pt x="16340" y="15999"/>
                  </a:lnTo>
                  <a:lnTo>
                    <a:pt x="15733" y="17477"/>
                  </a:lnTo>
                  <a:lnTo>
                    <a:pt x="14761" y="18689"/>
                  </a:lnTo>
                  <a:lnTo>
                    <a:pt x="12918" y="16227"/>
                  </a:lnTo>
                  <a:lnTo>
                    <a:pt x="12021" y="17616"/>
                  </a:lnTo>
                  <a:lnTo>
                    <a:pt x="13448" y="20937"/>
                  </a:lnTo>
                  <a:lnTo>
                    <a:pt x="12615" y="22136"/>
                  </a:lnTo>
                  <a:lnTo>
                    <a:pt x="10076" y="20633"/>
                  </a:lnTo>
                  <a:lnTo>
                    <a:pt x="11339" y="23639"/>
                  </a:lnTo>
                  <a:lnTo>
                    <a:pt x="10051" y="23146"/>
                  </a:lnTo>
                  <a:lnTo>
                    <a:pt x="8549" y="21492"/>
                  </a:lnTo>
                  <a:lnTo>
                    <a:pt x="7109" y="19459"/>
                  </a:lnTo>
                  <a:lnTo>
                    <a:pt x="4748" y="19459"/>
                  </a:lnTo>
                  <a:lnTo>
                    <a:pt x="4407" y="18500"/>
                  </a:lnTo>
                  <a:cubicBezTo>
                    <a:pt x="4723" y="18373"/>
                    <a:pt x="5064" y="18297"/>
                    <a:pt x="5417" y="18272"/>
                  </a:cubicBezTo>
                  <a:cubicBezTo>
                    <a:pt x="6124" y="18196"/>
                    <a:pt x="6124" y="18196"/>
                    <a:pt x="6238" y="18146"/>
                  </a:cubicBezTo>
                  <a:cubicBezTo>
                    <a:pt x="6301" y="18121"/>
                    <a:pt x="6453" y="18070"/>
                    <a:pt x="7412" y="17881"/>
                  </a:cubicBezTo>
                  <a:cubicBezTo>
                    <a:pt x="8208" y="17717"/>
                    <a:pt x="8725" y="17401"/>
                    <a:pt x="8940" y="16934"/>
                  </a:cubicBezTo>
                  <a:cubicBezTo>
                    <a:pt x="9079" y="16618"/>
                    <a:pt x="9079" y="16265"/>
                    <a:pt x="8953" y="15936"/>
                  </a:cubicBezTo>
                  <a:lnTo>
                    <a:pt x="10253" y="13676"/>
                  </a:lnTo>
                  <a:lnTo>
                    <a:pt x="8801" y="12060"/>
                  </a:lnTo>
                  <a:lnTo>
                    <a:pt x="7652" y="7590"/>
                  </a:lnTo>
                  <a:lnTo>
                    <a:pt x="6718" y="9332"/>
                  </a:lnTo>
                  <a:lnTo>
                    <a:pt x="5026" y="8928"/>
                  </a:lnTo>
                  <a:lnTo>
                    <a:pt x="2513" y="7388"/>
                  </a:lnTo>
                  <a:lnTo>
                    <a:pt x="644" y="7741"/>
                  </a:lnTo>
                  <a:lnTo>
                    <a:pt x="644" y="5367"/>
                  </a:lnTo>
                  <a:lnTo>
                    <a:pt x="1793" y="3208"/>
                  </a:lnTo>
                  <a:lnTo>
                    <a:pt x="3801" y="1744"/>
                  </a:lnTo>
                  <a:lnTo>
                    <a:pt x="3801" y="1744"/>
                  </a:lnTo>
                  <a:lnTo>
                    <a:pt x="2980" y="3991"/>
                  </a:lnTo>
                  <a:lnTo>
                    <a:pt x="4129" y="5645"/>
                  </a:lnTo>
                  <a:lnTo>
                    <a:pt x="5745" y="3751"/>
                  </a:lnTo>
                  <a:lnTo>
                    <a:pt x="6263" y="2438"/>
                  </a:lnTo>
                  <a:lnTo>
                    <a:pt x="8246" y="1567"/>
                  </a:lnTo>
                  <a:close/>
                  <a:moveTo>
                    <a:pt x="5114" y="1"/>
                  </a:moveTo>
                  <a:lnTo>
                    <a:pt x="1288" y="2779"/>
                  </a:lnTo>
                  <a:lnTo>
                    <a:pt x="0" y="5203"/>
                  </a:lnTo>
                  <a:lnTo>
                    <a:pt x="0" y="8486"/>
                  </a:lnTo>
                  <a:lnTo>
                    <a:pt x="2374" y="8044"/>
                  </a:lnTo>
                  <a:lnTo>
                    <a:pt x="4723" y="9471"/>
                  </a:lnTo>
                  <a:lnTo>
                    <a:pt x="7021" y="10039"/>
                  </a:lnTo>
                  <a:lnTo>
                    <a:pt x="7425" y="9294"/>
                  </a:lnTo>
                  <a:lnTo>
                    <a:pt x="8208" y="12350"/>
                  </a:lnTo>
                  <a:lnTo>
                    <a:pt x="9458" y="13739"/>
                  </a:lnTo>
                  <a:lnTo>
                    <a:pt x="8321" y="15747"/>
                  </a:lnTo>
                  <a:lnTo>
                    <a:pt x="8233" y="15911"/>
                  </a:lnTo>
                  <a:lnTo>
                    <a:pt x="8309" y="16063"/>
                  </a:lnTo>
                  <a:cubicBezTo>
                    <a:pt x="8410" y="16252"/>
                    <a:pt x="8422" y="16467"/>
                    <a:pt x="8347" y="16669"/>
                  </a:cubicBezTo>
                  <a:cubicBezTo>
                    <a:pt x="8220" y="16946"/>
                    <a:pt x="7842" y="17148"/>
                    <a:pt x="7273" y="17262"/>
                  </a:cubicBezTo>
                  <a:cubicBezTo>
                    <a:pt x="6263" y="17464"/>
                    <a:pt x="6099" y="17527"/>
                    <a:pt x="6011" y="17565"/>
                  </a:cubicBezTo>
                  <a:cubicBezTo>
                    <a:pt x="5783" y="17603"/>
                    <a:pt x="5556" y="17641"/>
                    <a:pt x="5329" y="17654"/>
                  </a:cubicBezTo>
                  <a:cubicBezTo>
                    <a:pt x="4937" y="17704"/>
                    <a:pt x="3712" y="17843"/>
                    <a:pt x="3712" y="18411"/>
                  </a:cubicBezTo>
                  <a:lnTo>
                    <a:pt x="4293" y="20103"/>
                  </a:lnTo>
                  <a:lnTo>
                    <a:pt x="6793" y="20103"/>
                  </a:lnTo>
                  <a:lnTo>
                    <a:pt x="8056" y="21884"/>
                  </a:lnTo>
                  <a:lnTo>
                    <a:pt x="9685" y="23677"/>
                  </a:lnTo>
                  <a:lnTo>
                    <a:pt x="12488" y="24763"/>
                  </a:lnTo>
                  <a:lnTo>
                    <a:pt x="11390" y="22161"/>
                  </a:lnTo>
                  <a:lnTo>
                    <a:pt x="12791" y="22982"/>
                  </a:lnTo>
                  <a:lnTo>
                    <a:pt x="14168" y="20987"/>
                  </a:lnTo>
                  <a:lnTo>
                    <a:pt x="12741" y="17666"/>
                  </a:lnTo>
                  <a:lnTo>
                    <a:pt x="12968" y="17325"/>
                  </a:lnTo>
                  <a:lnTo>
                    <a:pt x="14748" y="19712"/>
                  </a:lnTo>
                  <a:lnTo>
                    <a:pt x="16264" y="17830"/>
                  </a:lnTo>
                  <a:lnTo>
                    <a:pt x="17110" y="15810"/>
                  </a:lnTo>
                  <a:lnTo>
                    <a:pt x="13877" y="13083"/>
                  </a:lnTo>
                  <a:lnTo>
                    <a:pt x="14963" y="12678"/>
                  </a:lnTo>
                  <a:lnTo>
                    <a:pt x="14193" y="8979"/>
                  </a:lnTo>
                  <a:lnTo>
                    <a:pt x="12779" y="6453"/>
                  </a:lnTo>
                  <a:lnTo>
                    <a:pt x="11238" y="5569"/>
                  </a:lnTo>
                  <a:lnTo>
                    <a:pt x="10013" y="4585"/>
                  </a:lnTo>
                  <a:lnTo>
                    <a:pt x="11263" y="4117"/>
                  </a:lnTo>
                  <a:lnTo>
                    <a:pt x="10771" y="2047"/>
                  </a:lnTo>
                  <a:lnTo>
                    <a:pt x="8258" y="860"/>
                  </a:lnTo>
                  <a:lnTo>
                    <a:pt x="5758" y="1958"/>
                  </a:lnTo>
                  <a:lnTo>
                    <a:pt x="5215" y="3372"/>
                  </a:lnTo>
                  <a:lnTo>
                    <a:pt x="4180" y="4597"/>
                  </a:lnTo>
                  <a:lnTo>
                    <a:pt x="3675" y="3890"/>
                  </a:lnTo>
                  <a:lnTo>
                    <a:pt x="51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65"/>
            <p:cNvSpPr/>
            <p:nvPr/>
          </p:nvSpPr>
          <p:spPr>
            <a:xfrm>
              <a:off x="2342725" y="2272700"/>
              <a:ext cx="102300" cy="109875"/>
            </a:xfrm>
            <a:custGeom>
              <a:avLst/>
              <a:gdLst/>
              <a:ahLst/>
              <a:cxnLst/>
              <a:rect l="l" t="t" r="r" b="b"/>
              <a:pathLst>
                <a:path w="4092" h="4395" extrusionOk="0">
                  <a:moveTo>
                    <a:pt x="112" y="2946"/>
                  </a:moveTo>
                  <a:cubicBezTo>
                    <a:pt x="41" y="2963"/>
                    <a:pt x="1" y="2986"/>
                    <a:pt x="1" y="3018"/>
                  </a:cubicBezTo>
                  <a:cubicBezTo>
                    <a:pt x="1" y="3026"/>
                    <a:pt x="3" y="3031"/>
                    <a:pt x="9" y="3031"/>
                  </a:cubicBezTo>
                  <a:cubicBezTo>
                    <a:pt x="25" y="3031"/>
                    <a:pt x="60" y="3000"/>
                    <a:pt x="112" y="2946"/>
                  </a:cubicBezTo>
                  <a:close/>
                  <a:moveTo>
                    <a:pt x="2337" y="0"/>
                  </a:moveTo>
                  <a:cubicBezTo>
                    <a:pt x="2337" y="0"/>
                    <a:pt x="576" y="2455"/>
                    <a:pt x="112" y="2946"/>
                  </a:cubicBezTo>
                  <a:lnTo>
                    <a:pt x="112" y="2946"/>
                  </a:lnTo>
                  <a:cubicBezTo>
                    <a:pt x="226" y="2918"/>
                    <a:pt x="419" y="2908"/>
                    <a:pt x="644" y="2908"/>
                  </a:cubicBezTo>
                  <a:cubicBezTo>
                    <a:pt x="1336" y="2908"/>
                    <a:pt x="2337" y="3005"/>
                    <a:pt x="2337" y="3005"/>
                  </a:cubicBezTo>
                  <a:lnTo>
                    <a:pt x="3145" y="4394"/>
                  </a:lnTo>
                  <a:lnTo>
                    <a:pt x="4092" y="3990"/>
                  </a:lnTo>
                  <a:lnTo>
                    <a:pt x="4092" y="2096"/>
                  </a:lnTo>
                  <a:lnTo>
                    <a:pt x="2438" y="1465"/>
                  </a:lnTo>
                  <a:lnTo>
                    <a:pt x="233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65"/>
            <p:cNvSpPr/>
            <p:nvPr/>
          </p:nvSpPr>
          <p:spPr>
            <a:xfrm>
              <a:off x="2334825" y="2250600"/>
              <a:ext cx="118400" cy="142075"/>
            </a:xfrm>
            <a:custGeom>
              <a:avLst/>
              <a:gdLst/>
              <a:ahLst/>
              <a:cxnLst/>
              <a:rect l="l" t="t" r="r" b="b"/>
              <a:pathLst>
                <a:path w="4736" h="5683" extrusionOk="0">
                  <a:moveTo>
                    <a:pt x="2387" y="1781"/>
                  </a:moveTo>
                  <a:lnTo>
                    <a:pt x="2450" y="2576"/>
                  </a:lnTo>
                  <a:lnTo>
                    <a:pt x="4079" y="3207"/>
                  </a:lnTo>
                  <a:lnTo>
                    <a:pt x="4079" y="4659"/>
                  </a:lnTo>
                  <a:lnTo>
                    <a:pt x="3587" y="4874"/>
                  </a:lnTo>
                  <a:lnTo>
                    <a:pt x="2829" y="3586"/>
                  </a:lnTo>
                  <a:lnTo>
                    <a:pt x="2665" y="3574"/>
                  </a:lnTo>
                  <a:cubicBezTo>
                    <a:pt x="1983" y="3510"/>
                    <a:pt x="1491" y="3473"/>
                    <a:pt x="1125" y="3473"/>
                  </a:cubicBezTo>
                  <a:lnTo>
                    <a:pt x="1137" y="3473"/>
                  </a:lnTo>
                  <a:cubicBezTo>
                    <a:pt x="1428" y="3106"/>
                    <a:pt x="1819" y="2576"/>
                    <a:pt x="2387" y="1781"/>
                  </a:cubicBezTo>
                  <a:close/>
                  <a:moveTo>
                    <a:pt x="2905" y="0"/>
                  </a:moveTo>
                  <a:lnTo>
                    <a:pt x="2400" y="707"/>
                  </a:lnTo>
                  <a:cubicBezTo>
                    <a:pt x="1541" y="1894"/>
                    <a:pt x="582" y="3195"/>
                    <a:pt x="253" y="3561"/>
                  </a:cubicBezTo>
                  <a:cubicBezTo>
                    <a:pt x="203" y="3574"/>
                    <a:pt x="165" y="3599"/>
                    <a:pt x="127" y="3637"/>
                  </a:cubicBezTo>
                  <a:lnTo>
                    <a:pt x="1" y="3763"/>
                  </a:lnTo>
                  <a:lnTo>
                    <a:pt x="1" y="4142"/>
                  </a:lnTo>
                  <a:lnTo>
                    <a:pt x="228" y="4218"/>
                  </a:lnTo>
                  <a:cubicBezTo>
                    <a:pt x="268" y="4227"/>
                    <a:pt x="302" y="4237"/>
                    <a:pt x="339" y="4237"/>
                  </a:cubicBezTo>
                  <a:cubicBezTo>
                    <a:pt x="396" y="4237"/>
                    <a:pt x="462" y="4214"/>
                    <a:pt x="569" y="4129"/>
                  </a:cubicBezTo>
                  <a:cubicBezTo>
                    <a:pt x="771" y="4117"/>
                    <a:pt x="974" y="4111"/>
                    <a:pt x="1176" y="4111"/>
                  </a:cubicBezTo>
                  <a:cubicBezTo>
                    <a:pt x="1605" y="4111"/>
                    <a:pt x="2034" y="4137"/>
                    <a:pt x="2463" y="4180"/>
                  </a:cubicBezTo>
                  <a:lnTo>
                    <a:pt x="3334" y="5682"/>
                  </a:lnTo>
                  <a:lnTo>
                    <a:pt x="4736" y="5076"/>
                  </a:lnTo>
                  <a:lnTo>
                    <a:pt x="4736" y="2753"/>
                  </a:lnTo>
                  <a:lnTo>
                    <a:pt x="3069" y="2121"/>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65"/>
            <p:cNvSpPr/>
            <p:nvPr/>
          </p:nvSpPr>
          <p:spPr>
            <a:xfrm>
              <a:off x="1713900" y="3010725"/>
              <a:ext cx="224775" cy="69925"/>
            </a:xfrm>
            <a:custGeom>
              <a:avLst/>
              <a:gdLst/>
              <a:ahLst/>
              <a:cxnLst/>
              <a:rect l="l" t="t" r="r" b="b"/>
              <a:pathLst>
                <a:path w="8991" h="2797" extrusionOk="0">
                  <a:moveTo>
                    <a:pt x="1112" y="1"/>
                  </a:moveTo>
                  <a:lnTo>
                    <a:pt x="0" y="556"/>
                  </a:lnTo>
                  <a:lnTo>
                    <a:pt x="1112" y="834"/>
                  </a:lnTo>
                  <a:cubicBezTo>
                    <a:pt x="1112" y="834"/>
                    <a:pt x="3864" y="1125"/>
                    <a:pt x="4104" y="1125"/>
                  </a:cubicBezTo>
                  <a:cubicBezTo>
                    <a:pt x="4344" y="1125"/>
                    <a:pt x="6705" y="2110"/>
                    <a:pt x="6705" y="2110"/>
                  </a:cubicBezTo>
                  <a:cubicBezTo>
                    <a:pt x="6705" y="2110"/>
                    <a:pt x="5423" y="2797"/>
                    <a:pt x="5497" y="2797"/>
                  </a:cubicBezTo>
                  <a:cubicBezTo>
                    <a:pt x="5501" y="2797"/>
                    <a:pt x="5508" y="2795"/>
                    <a:pt x="5518" y="2791"/>
                  </a:cubicBezTo>
                  <a:cubicBezTo>
                    <a:pt x="5758" y="2716"/>
                    <a:pt x="8991" y="2463"/>
                    <a:pt x="8991" y="2463"/>
                  </a:cubicBezTo>
                  <a:lnTo>
                    <a:pt x="7892" y="1390"/>
                  </a:lnTo>
                  <a:lnTo>
                    <a:pt x="3246"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65"/>
            <p:cNvSpPr/>
            <p:nvPr/>
          </p:nvSpPr>
          <p:spPr>
            <a:xfrm>
              <a:off x="1691475" y="3002850"/>
              <a:ext cx="265200" cy="86825"/>
            </a:xfrm>
            <a:custGeom>
              <a:avLst/>
              <a:gdLst/>
              <a:ahLst/>
              <a:cxnLst/>
              <a:rect l="l" t="t" r="r" b="b"/>
              <a:pathLst>
                <a:path w="10608" h="3473" extrusionOk="0">
                  <a:moveTo>
                    <a:pt x="4079" y="644"/>
                  </a:moveTo>
                  <a:lnTo>
                    <a:pt x="8613" y="1995"/>
                  </a:lnTo>
                  <a:lnTo>
                    <a:pt x="9168" y="2526"/>
                  </a:lnTo>
                  <a:cubicBezTo>
                    <a:pt x="8764" y="2551"/>
                    <a:pt x="8310" y="2589"/>
                    <a:pt x="7880" y="2627"/>
                  </a:cubicBezTo>
                  <a:lnTo>
                    <a:pt x="8335" y="2387"/>
                  </a:lnTo>
                  <a:lnTo>
                    <a:pt x="7716" y="2134"/>
                  </a:lnTo>
                  <a:cubicBezTo>
                    <a:pt x="6112" y="1465"/>
                    <a:pt x="5191" y="1124"/>
                    <a:pt x="5001" y="1124"/>
                  </a:cubicBezTo>
                  <a:cubicBezTo>
                    <a:pt x="4824" y="1124"/>
                    <a:pt x="3095" y="947"/>
                    <a:pt x="2072" y="846"/>
                  </a:cubicBezTo>
                  <a:lnTo>
                    <a:pt x="1807" y="770"/>
                  </a:lnTo>
                  <a:lnTo>
                    <a:pt x="2072" y="644"/>
                  </a:lnTo>
                  <a:close/>
                  <a:moveTo>
                    <a:pt x="1933" y="0"/>
                  </a:moveTo>
                  <a:lnTo>
                    <a:pt x="1" y="973"/>
                  </a:lnTo>
                  <a:lnTo>
                    <a:pt x="1971" y="1465"/>
                  </a:lnTo>
                  <a:cubicBezTo>
                    <a:pt x="2438" y="1515"/>
                    <a:pt x="4749" y="1755"/>
                    <a:pt x="4976" y="1755"/>
                  </a:cubicBezTo>
                  <a:cubicBezTo>
                    <a:pt x="5127" y="1781"/>
                    <a:pt x="5974" y="2096"/>
                    <a:pt x="6857" y="2462"/>
                  </a:cubicBezTo>
                  <a:cubicBezTo>
                    <a:pt x="5974" y="2942"/>
                    <a:pt x="5986" y="2980"/>
                    <a:pt x="6100" y="3233"/>
                  </a:cubicBezTo>
                  <a:lnTo>
                    <a:pt x="6251" y="3473"/>
                  </a:lnTo>
                  <a:lnTo>
                    <a:pt x="6516" y="3410"/>
                  </a:lnTo>
                  <a:cubicBezTo>
                    <a:pt x="6706" y="3359"/>
                    <a:pt x="8411" y="3207"/>
                    <a:pt x="9913" y="3094"/>
                  </a:cubicBezTo>
                  <a:lnTo>
                    <a:pt x="10608" y="3043"/>
                  </a:lnTo>
                  <a:lnTo>
                    <a:pt x="8953" y="1427"/>
                  </a:lnTo>
                  <a:lnTo>
                    <a:pt x="4231" y="13"/>
                  </a:lnTo>
                  <a:lnTo>
                    <a:pt x="193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65"/>
            <p:cNvSpPr/>
            <p:nvPr/>
          </p:nvSpPr>
          <p:spPr>
            <a:xfrm>
              <a:off x="1938650" y="3067875"/>
              <a:ext cx="120300" cy="55275"/>
            </a:xfrm>
            <a:custGeom>
              <a:avLst/>
              <a:gdLst/>
              <a:ahLst/>
              <a:cxnLst/>
              <a:rect l="l" t="t" r="r" b="b"/>
              <a:pathLst>
                <a:path w="4812" h="2211" extrusionOk="0">
                  <a:moveTo>
                    <a:pt x="1807" y="0"/>
                  </a:moveTo>
                  <a:lnTo>
                    <a:pt x="1099" y="1036"/>
                  </a:lnTo>
                  <a:lnTo>
                    <a:pt x="1" y="2210"/>
                  </a:lnTo>
                  <a:lnTo>
                    <a:pt x="1" y="2210"/>
                  </a:lnTo>
                  <a:lnTo>
                    <a:pt x="2842" y="1743"/>
                  </a:lnTo>
                  <a:lnTo>
                    <a:pt x="4812" y="2210"/>
                  </a:lnTo>
                  <a:lnTo>
                    <a:pt x="4812" y="2210"/>
                  </a:lnTo>
                  <a:lnTo>
                    <a:pt x="4408" y="493"/>
                  </a:lnTo>
                  <a:lnTo>
                    <a:pt x="180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65"/>
            <p:cNvSpPr/>
            <p:nvPr/>
          </p:nvSpPr>
          <p:spPr>
            <a:xfrm>
              <a:off x="1916875" y="3059350"/>
              <a:ext cx="152175" cy="75475"/>
            </a:xfrm>
            <a:custGeom>
              <a:avLst/>
              <a:gdLst/>
              <a:ahLst/>
              <a:cxnLst/>
              <a:rect l="l" t="t" r="r" b="b"/>
              <a:pathLst>
                <a:path w="6087" h="3019" extrusionOk="0">
                  <a:moveTo>
                    <a:pt x="2829" y="695"/>
                  </a:moveTo>
                  <a:lnTo>
                    <a:pt x="5026" y="1099"/>
                  </a:lnTo>
                  <a:lnTo>
                    <a:pt x="5253" y="2122"/>
                  </a:lnTo>
                  <a:lnTo>
                    <a:pt x="5253" y="2122"/>
                  </a:lnTo>
                  <a:lnTo>
                    <a:pt x="3713" y="1756"/>
                  </a:lnTo>
                  <a:lnTo>
                    <a:pt x="1731" y="2084"/>
                  </a:lnTo>
                  <a:lnTo>
                    <a:pt x="2236" y="1541"/>
                  </a:lnTo>
                  <a:lnTo>
                    <a:pt x="2829" y="695"/>
                  </a:lnTo>
                  <a:close/>
                  <a:moveTo>
                    <a:pt x="2526" y="0"/>
                  </a:moveTo>
                  <a:lnTo>
                    <a:pt x="1743" y="1162"/>
                  </a:lnTo>
                  <a:lnTo>
                    <a:pt x="1" y="3018"/>
                  </a:lnTo>
                  <a:lnTo>
                    <a:pt x="3675" y="2400"/>
                  </a:lnTo>
                  <a:lnTo>
                    <a:pt x="6087" y="2980"/>
                  </a:lnTo>
                  <a:lnTo>
                    <a:pt x="5531" y="556"/>
                  </a:lnTo>
                  <a:lnTo>
                    <a:pt x="25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65"/>
            <p:cNvSpPr/>
            <p:nvPr/>
          </p:nvSpPr>
          <p:spPr>
            <a:xfrm>
              <a:off x="1843950" y="3121225"/>
              <a:ext cx="55275" cy="29075"/>
            </a:xfrm>
            <a:custGeom>
              <a:avLst/>
              <a:gdLst/>
              <a:ahLst/>
              <a:cxnLst/>
              <a:rect l="l" t="t" r="r" b="b"/>
              <a:pathLst>
                <a:path w="2211" h="1163" extrusionOk="0">
                  <a:moveTo>
                    <a:pt x="1" y="0"/>
                  </a:moveTo>
                  <a:lnTo>
                    <a:pt x="1226" y="1162"/>
                  </a:lnTo>
                  <a:lnTo>
                    <a:pt x="2211" y="278"/>
                  </a:lnTo>
                  <a:lnTo>
                    <a:pt x="16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65"/>
            <p:cNvSpPr/>
            <p:nvPr/>
          </p:nvSpPr>
          <p:spPr>
            <a:xfrm>
              <a:off x="1824375" y="3113325"/>
              <a:ext cx="88750" cy="47700"/>
            </a:xfrm>
            <a:custGeom>
              <a:avLst/>
              <a:gdLst/>
              <a:ahLst/>
              <a:cxnLst/>
              <a:rect l="l" t="t" r="r" b="b"/>
              <a:pathLst>
                <a:path w="3550" h="1908" extrusionOk="0">
                  <a:moveTo>
                    <a:pt x="2375" y="632"/>
                  </a:moveTo>
                  <a:lnTo>
                    <a:pt x="2438" y="670"/>
                  </a:lnTo>
                  <a:lnTo>
                    <a:pt x="2021" y="1049"/>
                  </a:lnTo>
                  <a:lnTo>
                    <a:pt x="1579" y="632"/>
                  </a:lnTo>
                  <a:close/>
                  <a:moveTo>
                    <a:pt x="1" y="1"/>
                  </a:moveTo>
                  <a:lnTo>
                    <a:pt x="1996" y="1907"/>
                  </a:lnTo>
                  <a:lnTo>
                    <a:pt x="3549" y="518"/>
                  </a:lnTo>
                  <a:lnTo>
                    <a:pt x="25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65"/>
            <p:cNvSpPr/>
            <p:nvPr/>
          </p:nvSpPr>
          <p:spPr>
            <a:xfrm>
              <a:off x="2090500" y="3105425"/>
              <a:ext cx="65050" cy="33175"/>
            </a:xfrm>
            <a:custGeom>
              <a:avLst/>
              <a:gdLst/>
              <a:ahLst/>
              <a:cxnLst/>
              <a:rect l="l" t="t" r="r" b="b"/>
              <a:pathLst>
                <a:path w="2602" h="1327" extrusionOk="0">
                  <a:moveTo>
                    <a:pt x="0" y="1"/>
                  </a:moveTo>
                  <a:lnTo>
                    <a:pt x="468" y="1327"/>
                  </a:lnTo>
                  <a:lnTo>
                    <a:pt x="2602" y="658"/>
                  </a:lnTo>
                  <a:lnTo>
                    <a:pt x="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65"/>
            <p:cNvSpPr/>
            <p:nvPr/>
          </p:nvSpPr>
          <p:spPr>
            <a:xfrm>
              <a:off x="2077875" y="3094075"/>
              <a:ext cx="106725" cy="54325"/>
            </a:xfrm>
            <a:custGeom>
              <a:avLst/>
              <a:gdLst/>
              <a:ahLst/>
              <a:cxnLst/>
              <a:rect l="l" t="t" r="r" b="b"/>
              <a:pathLst>
                <a:path w="4269" h="2173" extrusionOk="0">
                  <a:moveTo>
                    <a:pt x="998" y="910"/>
                  </a:moveTo>
                  <a:lnTo>
                    <a:pt x="1945" y="1137"/>
                  </a:lnTo>
                  <a:lnTo>
                    <a:pt x="1162" y="1377"/>
                  </a:lnTo>
                  <a:lnTo>
                    <a:pt x="998" y="910"/>
                  </a:lnTo>
                  <a:close/>
                  <a:moveTo>
                    <a:pt x="0" y="0"/>
                  </a:moveTo>
                  <a:lnTo>
                    <a:pt x="783" y="2172"/>
                  </a:lnTo>
                  <a:lnTo>
                    <a:pt x="4268" y="1086"/>
                  </a:lnTo>
                  <a:lnTo>
                    <a:pt x="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550"/>
        <p:cNvGrpSpPr/>
        <p:nvPr/>
      </p:nvGrpSpPr>
      <p:grpSpPr>
        <a:xfrm>
          <a:off x="0" y="0"/>
          <a:ext cx="0" cy="0"/>
          <a:chOff x="0" y="0"/>
          <a:chExt cx="0" cy="0"/>
        </a:xfrm>
      </p:grpSpPr>
      <p:grpSp>
        <p:nvGrpSpPr>
          <p:cNvPr id="4551" name="Google Shape;4551;p66"/>
          <p:cNvGrpSpPr/>
          <p:nvPr/>
        </p:nvGrpSpPr>
        <p:grpSpPr>
          <a:xfrm>
            <a:off x="729274" y="969759"/>
            <a:ext cx="2507799" cy="206239"/>
            <a:chOff x="106648" y="895722"/>
            <a:chExt cx="4481413" cy="374300"/>
          </a:xfrm>
        </p:grpSpPr>
        <p:grpSp>
          <p:nvGrpSpPr>
            <p:cNvPr id="4552" name="Google Shape;4552;p66"/>
            <p:cNvGrpSpPr/>
            <p:nvPr/>
          </p:nvGrpSpPr>
          <p:grpSpPr>
            <a:xfrm>
              <a:off x="2233276" y="895722"/>
              <a:ext cx="1082667" cy="223591"/>
              <a:chOff x="4808316" y="2800065"/>
              <a:chExt cx="1999386" cy="412910"/>
            </a:xfrm>
          </p:grpSpPr>
          <p:sp>
            <p:nvSpPr>
              <p:cNvPr id="4553" name="Google Shape;4553;p66"/>
              <p:cNvSpPr/>
              <p:nvPr/>
            </p:nvSpPr>
            <p:spPr>
              <a:xfrm>
                <a:off x="4849302"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4" name="Google Shape;4554;p66"/>
              <p:cNvGrpSpPr/>
              <p:nvPr/>
            </p:nvGrpSpPr>
            <p:grpSpPr>
              <a:xfrm>
                <a:off x="4808316" y="2800065"/>
                <a:ext cx="92400" cy="411825"/>
                <a:chOff x="845575" y="2563700"/>
                <a:chExt cx="92400" cy="411825"/>
              </a:xfrm>
            </p:grpSpPr>
            <p:cxnSp>
              <p:nvCxnSpPr>
                <p:cNvPr id="4555" name="Google Shape;4555;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56" name="Google Shape;4556;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57" name="Google Shape;4557;p66"/>
            <p:cNvGrpSpPr/>
            <p:nvPr/>
          </p:nvGrpSpPr>
          <p:grpSpPr>
            <a:xfrm>
              <a:off x="106648" y="895722"/>
              <a:ext cx="1088401" cy="223591"/>
              <a:chOff x="881025" y="2800065"/>
              <a:chExt cx="2009975" cy="412910"/>
            </a:xfrm>
          </p:grpSpPr>
          <p:sp>
            <p:nvSpPr>
              <p:cNvPr id="4558" name="Google Shape;4558;p66"/>
              <p:cNvSpPr/>
              <p:nvPr/>
            </p:nvSpPr>
            <p:spPr>
              <a:xfrm>
                <a:off x="932600"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9" name="Google Shape;4559;p66"/>
              <p:cNvGrpSpPr/>
              <p:nvPr/>
            </p:nvGrpSpPr>
            <p:grpSpPr>
              <a:xfrm>
                <a:off x="881025" y="2800065"/>
                <a:ext cx="92400" cy="411825"/>
                <a:chOff x="845575" y="2563700"/>
                <a:chExt cx="92400" cy="411825"/>
              </a:xfrm>
            </p:grpSpPr>
            <p:cxnSp>
              <p:nvCxnSpPr>
                <p:cNvPr id="4560" name="Google Shape;4560;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1" name="Google Shape;4561;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2" name="Google Shape;4562;p66"/>
            <p:cNvGrpSpPr/>
            <p:nvPr/>
          </p:nvGrpSpPr>
          <p:grpSpPr>
            <a:xfrm>
              <a:off x="1172346" y="1047018"/>
              <a:ext cx="1083151" cy="223003"/>
              <a:chOff x="2849073" y="3079467"/>
              <a:chExt cx="2000279" cy="411825"/>
            </a:xfrm>
          </p:grpSpPr>
          <p:sp>
            <p:nvSpPr>
              <p:cNvPr id="4563" name="Google Shape;4563;p66"/>
              <p:cNvSpPr/>
              <p:nvPr/>
            </p:nvSpPr>
            <p:spPr>
              <a:xfrm>
                <a:off x="2890952" y="3079475"/>
                <a:ext cx="19584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4" name="Google Shape;4564;p66"/>
              <p:cNvGrpSpPr/>
              <p:nvPr/>
            </p:nvGrpSpPr>
            <p:grpSpPr>
              <a:xfrm rot="10800000">
                <a:off x="2849073" y="3079467"/>
                <a:ext cx="92400" cy="411825"/>
                <a:chOff x="2070100" y="2563700"/>
                <a:chExt cx="92400" cy="411825"/>
              </a:xfrm>
            </p:grpSpPr>
            <p:cxnSp>
              <p:nvCxnSpPr>
                <p:cNvPr id="4565" name="Google Shape;4565;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6" name="Google Shape;4566;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7" name="Google Shape;4567;p66"/>
            <p:cNvGrpSpPr/>
            <p:nvPr/>
          </p:nvGrpSpPr>
          <p:grpSpPr>
            <a:xfrm>
              <a:off x="3290132" y="1047018"/>
              <a:ext cx="1297929" cy="223003"/>
              <a:chOff x="6760035" y="3079467"/>
              <a:chExt cx="2396914" cy="411825"/>
            </a:xfrm>
          </p:grpSpPr>
          <p:sp>
            <p:nvSpPr>
              <p:cNvPr id="4568" name="Google Shape;4568;p66"/>
              <p:cNvSpPr/>
              <p:nvPr/>
            </p:nvSpPr>
            <p:spPr>
              <a:xfrm>
                <a:off x="6807650" y="3079475"/>
                <a:ext cx="23493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9" name="Google Shape;4569;p66"/>
              <p:cNvGrpSpPr/>
              <p:nvPr/>
            </p:nvGrpSpPr>
            <p:grpSpPr>
              <a:xfrm rot="10800000">
                <a:off x="6760035" y="3079467"/>
                <a:ext cx="92400" cy="411825"/>
                <a:chOff x="2070100" y="2563700"/>
                <a:chExt cx="92400" cy="411825"/>
              </a:xfrm>
            </p:grpSpPr>
            <p:cxnSp>
              <p:nvCxnSpPr>
                <p:cNvPr id="4570" name="Google Shape;4570;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71" name="Google Shape;4571;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572" name="Google Shape;4572;p66"/>
          <p:cNvGrpSpPr/>
          <p:nvPr/>
        </p:nvGrpSpPr>
        <p:grpSpPr>
          <a:xfrm>
            <a:off x="2147036" y="3369130"/>
            <a:ext cx="1086701" cy="799429"/>
            <a:chOff x="2183288" y="3555572"/>
            <a:chExt cx="1136241" cy="835873"/>
          </a:xfrm>
        </p:grpSpPr>
        <p:sp>
          <p:nvSpPr>
            <p:cNvPr id="4573" name="Google Shape;4573;p66"/>
            <p:cNvSpPr/>
            <p:nvPr/>
          </p:nvSpPr>
          <p:spPr>
            <a:xfrm>
              <a:off x="2673740"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74" name="Google Shape;4574;p66"/>
            <p:cNvGrpSpPr/>
            <p:nvPr/>
          </p:nvGrpSpPr>
          <p:grpSpPr>
            <a:xfrm>
              <a:off x="2205895" y="3637269"/>
              <a:ext cx="1089848" cy="724993"/>
              <a:chOff x="2205895" y="3637269"/>
              <a:chExt cx="1089848" cy="724993"/>
            </a:xfrm>
          </p:grpSpPr>
          <p:sp>
            <p:nvSpPr>
              <p:cNvPr id="4575" name="Google Shape;4575;p66"/>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66"/>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66"/>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66"/>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66"/>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66"/>
              <p:cNvSpPr/>
              <p:nvPr/>
            </p:nvSpPr>
            <p:spPr>
              <a:xfrm>
                <a:off x="3004568"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1" name="Google Shape;4581;p66"/>
            <p:cNvSpPr/>
            <p:nvPr/>
          </p:nvSpPr>
          <p:spPr>
            <a:xfrm rot="5400000">
              <a:off x="2852961" y="3612770"/>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82" name="Google Shape;4582;p66"/>
            <p:cNvCxnSpPr/>
            <p:nvPr/>
          </p:nvCxnSpPr>
          <p:spPr>
            <a:xfrm>
              <a:off x="2887992" y="3555572"/>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83" name="Google Shape;4583;p66"/>
            <p:cNvGrpSpPr/>
            <p:nvPr/>
          </p:nvGrpSpPr>
          <p:grpSpPr>
            <a:xfrm>
              <a:off x="3173850" y="3779426"/>
              <a:ext cx="145679" cy="70048"/>
              <a:chOff x="3173850" y="3779426"/>
              <a:chExt cx="145679" cy="70048"/>
            </a:xfrm>
          </p:grpSpPr>
          <p:cxnSp>
            <p:nvCxnSpPr>
              <p:cNvPr id="4584" name="Google Shape;4584;p66"/>
              <p:cNvCxnSpPr/>
              <p:nvPr/>
            </p:nvCxnSpPr>
            <p:spPr>
              <a:xfrm rot="10800000">
                <a:off x="3173850" y="3817250"/>
                <a:ext cx="94500" cy="0"/>
              </a:xfrm>
              <a:prstGeom prst="straightConnector1">
                <a:avLst/>
              </a:prstGeom>
              <a:noFill/>
              <a:ln w="9525" cap="flat" cmpd="sng">
                <a:solidFill>
                  <a:srgbClr val="BAC8D3"/>
                </a:solidFill>
                <a:prstDash val="solid"/>
                <a:round/>
                <a:headEnd type="none" w="med" len="med"/>
                <a:tailEnd type="diamond" w="med" len="med"/>
              </a:ln>
            </p:spPr>
          </p:cxnSp>
          <p:sp>
            <p:nvSpPr>
              <p:cNvPr id="4585" name="Google Shape;4585;p66"/>
              <p:cNvSpPr/>
              <p:nvPr/>
            </p:nvSpPr>
            <p:spPr>
              <a:xfrm rot="5400000">
                <a:off x="3254146" y="378409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86" name="Google Shape;4586;p66"/>
            <p:cNvGrpSpPr/>
            <p:nvPr/>
          </p:nvGrpSpPr>
          <p:grpSpPr>
            <a:xfrm>
              <a:off x="2183288" y="4139483"/>
              <a:ext cx="145133" cy="70048"/>
              <a:chOff x="2183288" y="4139483"/>
              <a:chExt cx="145133" cy="70048"/>
            </a:xfrm>
          </p:grpSpPr>
          <p:cxnSp>
            <p:nvCxnSpPr>
              <p:cNvPr id="4587" name="Google Shape;4587;p66"/>
              <p:cNvCxnSpPr/>
              <p:nvPr/>
            </p:nvCxnSpPr>
            <p:spPr>
              <a:xfrm rot="10800000">
                <a:off x="2239021" y="4174494"/>
                <a:ext cx="89400" cy="0"/>
              </a:xfrm>
              <a:prstGeom prst="straightConnector1">
                <a:avLst/>
              </a:prstGeom>
              <a:noFill/>
              <a:ln w="9525" cap="flat" cmpd="sng">
                <a:solidFill>
                  <a:srgbClr val="BAC8D3"/>
                </a:solidFill>
                <a:prstDash val="solid"/>
                <a:round/>
                <a:headEnd type="diamond" w="med" len="med"/>
                <a:tailEnd type="none" w="med" len="med"/>
              </a:ln>
            </p:spPr>
          </p:cxnSp>
          <p:sp>
            <p:nvSpPr>
              <p:cNvPr id="4588" name="Google Shape;4588;p66"/>
              <p:cNvSpPr/>
              <p:nvPr/>
            </p:nvSpPr>
            <p:spPr>
              <a:xfrm rot="5400000">
                <a:off x="2178622" y="4144149"/>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9" name="Google Shape;4589;p66"/>
            <p:cNvSpPr/>
            <p:nvPr/>
          </p:nvSpPr>
          <p:spPr>
            <a:xfrm rot="5400000">
              <a:off x="2420934" y="3967554"/>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0" name="Google Shape;4590;p66"/>
            <p:cNvCxnSpPr/>
            <p:nvPr/>
          </p:nvCxnSpPr>
          <p:spPr>
            <a:xfrm>
              <a:off x="2455973" y="3911736"/>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91" name="Google Shape;4591;p66"/>
            <p:cNvGrpSpPr/>
            <p:nvPr/>
          </p:nvGrpSpPr>
          <p:grpSpPr>
            <a:xfrm>
              <a:off x="2943836" y="4268886"/>
              <a:ext cx="60717" cy="122559"/>
              <a:chOff x="2943836" y="4268886"/>
              <a:chExt cx="60717" cy="122559"/>
            </a:xfrm>
          </p:grpSpPr>
          <p:sp>
            <p:nvSpPr>
              <p:cNvPr id="4592" name="Google Shape;4592;p66"/>
              <p:cNvSpPr/>
              <p:nvPr/>
            </p:nvSpPr>
            <p:spPr>
              <a:xfrm rot="5400000">
                <a:off x="2939170" y="432606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3" name="Google Shape;4593;p66"/>
              <p:cNvCxnSpPr/>
              <p:nvPr/>
            </p:nvCxnSpPr>
            <p:spPr>
              <a:xfrm>
                <a:off x="2974204" y="4268886"/>
                <a:ext cx="0" cy="52500"/>
              </a:xfrm>
              <a:prstGeom prst="straightConnector1">
                <a:avLst/>
              </a:prstGeom>
              <a:noFill/>
              <a:ln w="9525" cap="flat" cmpd="sng">
                <a:solidFill>
                  <a:srgbClr val="BAC8D3"/>
                </a:solidFill>
                <a:prstDash val="solid"/>
                <a:round/>
                <a:headEnd type="diamond" w="med" len="med"/>
                <a:tailEnd type="none" w="med" len="med"/>
              </a:ln>
            </p:spPr>
          </p:cxnSp>
        </p:grpSp>
      </p:grpSp>
      <p:grpSp>
        <p:nvGrpSpPr>
          <p:cNvPr id="4594" name="Google Shape;4594;p66"/>
          <p:cNvGrpSpPr/>
          <p:nvPr/>
        </p:nvGrpSpPr>
        <p:grpSpPr>
          <a:xfrm>
            <a:off x="3409981" y="1290129"/>
            <a:ext cx="1675870" cy="758251"/>
            <a:chOff x="3530532" y="1496185"/>
            <a:chExt cx="1562000" cy="706730"/>
          </a:xfrm>
        </p:grpSpPr>
        <p:cxnSp>
          <p:nvCxnSpPr>
            <p:cNvPr id="4595" name="Google Shape;4595;p66"/>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4596" name="Google Shape;4596;p66"/>
            <p:cNvGrpSpPr/>
            <p:nvPr/>
          </p:nvGrpSpPr>
          <p:grpSpPr>
            <a:xfrm>
              <a:off x="3530532" y="1496185"/>
              <a:ext cx="323430" cy="463587"/>
              <a:chOff x="3530532" y="1496185"/>
              <a:chExt cx="323430" cy="463587"/>
            </a:xfrm>
          </p:grpSpPr>
          <p:grpSp>
            <p:nvGrpSpPr>
              <p:cNvPr id="4597" name="Google Shape;4597;p66"/>
              <p:cNvGrpSpPr/>
              <p:nvPr/>
            </p:nvGrpSpPr>
            <p:grpSpPr>
              <a:xfrm>
                <a:off x="3567462" y="1496185"/>
                <a:ext cx="286500" cy="361376"/>
                <a:chOff x="3567462" y="1496185"/>
                <a:chExt cx="286500" cy="361376"/>
              </a:xfrm>
            </p:grpSpPr>
            <p:cxnSp>
              <p:nvCxnSpPr>
                <p:cNvPr id="4598" name="Google Shape;4598;p66"/>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599" name="Google Shape;4599;p66"/>
                <p:cNvSpPr/>
                <p:nvPr/>
              </p:nvSpPr>
              <p:spPr>
                <a:xfrm>
                  <a:off x="3567462"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0" name="Google Shape;4600;p66"/>
              <p:cNvSpPr/>
              <p:nvPr/>
            </p:nvSpPr>
            <p:spPr>
              <a:xfrm>
                <a:off x="3530532"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1" name="Google Shape;4601;p66"/>
            <p:cNvGrpSpPr/>
            <p:nvPr/>
          </p:nvGrpSpPr>
          <p:grpSpPr>
            <a:xfrm>
              <a:off x="3891569" y="1779209"/>
              <a:ext cx="323945" cy="423706"/>
              <a:chOff x="3891569" y="1779209"/>
              <a:chExt cx="323945" cy="423706"/>
            </a:xfrm>
          </p:grpSpPr>
          <p:grpSp>
            <p:nvGrpSpPr>
              <p:cNvPr id="4602" name="Google Shape;4602;p66"/>
              <p:cNvGrpSpPr/>
              <p:nvPr/>
            </p:nvGrpSpPr>
            <p:grpSpPr>
              <a:xfrm>
                <a:off x="3929014" y="1881638"/>
                <a:ext cx="286500" cy="321278"/>
                <a:chOff x="3929014" y="1881638"/>
                <a:chExt cx="286500" cy="321278"/>
              </a:xfrm>
            </p:grpSpPr>
            <p:cxnSp>
              <p:nvCxnSpPr>
                <p:cNvPr id="4603" name="Google Shape;4603;p66"/>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4604" name="Google Shape;4604;p66"/>
                <p:cNvSpPr/>
                <p:nvPr/>
              </p:nvSpPr>
              <p:spPr>
                <a:xfrm>
                  <a:off x="3929014"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5" name="Google Shape;4605;p66"/>
              <p:cNvSpPr/>
              <p:nvPr/>
            </p:nvSpPr>
            <p:spPr>
              <a:xfrm>
                <a:off x="3891569" y="1779209"/>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6" name="Google Shape;4606;p66"/>
            <p:cNvGrpSpPr/>
            <p:nvPr/>
          </p:nvGrpSpPr>
          <p:grpSpPr>
            <a:xfrm>
              <a:off x="4252606" y="1496185"/>
              <a:ext cx="324721" cy="463587"/>
              <a:chOff x="4252606" y="1496185"/>
              <a:chExt cx="324721" cy="463587"/>
            </a:xfrm>
          </p:grpSpPr>
          <p:grpSp>
            <p:nvGrpSpPr>
              <p:cNvPr id="4607" name="Google Shape;4607;p66"/>
              <p:cNvGrpSpPr/>
              <p:nvPr/>
            </p:nvGrpSpPr>
            <p:grpSpPr>
              <a:xfrm>
                <a:off x="4290828" y="1496185"/>
                <a:ext cx="286500" cy="361376"/>
                <a:chOff x="4290828" y="1496185"/>
                <a:chExt cx="286500" cy="361376"/>
              </a:xfrm>
            </p:grpSpPr>
            <p:cxnSp>
              <p:nvCxnSpPr>
                <p:cNvPr id="4608" name="Google Shape;4608;p66"/>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609" name="Google Shape;4609;p66"/>
                <p:cNvSpPr/>
                <p:nvPr/>
              </p:nvSpPr>
              <p:spPr>
                <a:xfrm>
                  <a:off x="4290828"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0" name="Google Shape;4610;p66"/>
              <p:cNvSpPr/>
              <p:nvPr/>
            </p:nvSpPr>
            <p:spPr>
              <a:xfrm>
                <a:off x="4252606"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11" name="Google Shape;4611;p66"/>
            <p:cNvGrpSpPr/>
            <p:nvPr/>
          </p:nvGrpSpPr>
          <p:grpSpPr>
            <a:xfrm>
              <a:off x="4613643" y="1763716"/>
              <a:ext cx="325308" cy="439200"/>
              <a:chOff x="4613643" y="1763716"/>
              <a:chExt cx="325308" cy="439200"/>
            </a:xfrm>
          </p:grpSpPr>
          <p:grpSp>
            <p:nvGrpSpPr>
              <p:cNvPr id="4612" name="Google Shape;4612;p66"/>
              <p:cNvGrpSpPr/>
              <p:nvPr/>
            </p:nvGrpSpPr>
            <p:grpSpPr>
              <a:xfrm>
                <a:off x="4652451" y="1879538"/>
                <a:ext cx="286500" cy="323378"/>
                <a:chOff x="4652451" y="1879538"/>
                <a:chExt cx="286500" cy="323378"/>
              </a:xfrm>
            </p:grpSpPr>
            <p:cxnSp>
              <p:nvCxnSpPr>
                <p:cNvPr id="4613" name="Google Shape;4613;p66"/>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4614" name="Google Shape;4614;p66"/>
                <p:cNvSpPr/>
                <p:nvPr/>
              </p:nvSpPr>
              <p:spPr>
                <a:xfrm>
                  <a:off x="4652451"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5" name="Google Shape;4615;p66"/>
              <p:cNvSpPr/>
              <p:nvPr/>
            </p:nvSpPr>
            <p:spPr>
              <a:xfrm>
                <a:off x="4613643" y="1763716"/>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16" name="Google Shape;4616;p66"/>
          <p:cNvGrpSpPr/>
          <p:nvPr/>
        </p:nvGrpSpPr>
        <p:grpSpPr>
          <a:xfrm>
            <a:off x="3421841" y="2143755"/>
            <a:ext cx="1652173" cy="391517"/>
            <a:chOff x="3512551" y="2358270"/>
            <a:chExt cx="1597383" cy="378533"/>
          </a:xfrm>
        </p:grpSpPr>
        <p:cxnSp>
          <p:nvCxnSpPr>
            <p:cNvPr id="4617" name="Google Shape;4617;p66"/>
            <p:cNvCxnSpPr>
              <a:stCxn id="4618" idx="6"/>
              <a:endCxn id="4619" idx="2"/>
            </p:cNvCxnSpPr>
            <p:nvPr/>
          </p:nvCxnSpPr>
          <p:spPr>
            <a:xfrm>
              <a:off x="3738198" y="2553118"/>
              <a:ext cx="1146000" cy="0"/>
            </a:xfrm>
            <a:prstGeom prst="straightConnector1">
              <a:avLst/>
            </a:prstGeom>
            <a:noFill/>
            <a:ln w="19050" cap="flat" cmpd="sng">
              <a:solidFill>
                <a:srgbClr val="435D74"/>
              </a:solidFill>
              <a:prstDash val="solid"/>
              <a:round/>
              <a:headEnd type="none" w="med" len="med"/>
              <a:tailEnd type="none" w="med" len="med"/>
            </a:ln>
          </p:spPr>
        </p:cxnSp>
        <p:grpSp>
          <p:nvGrpSpPr>
            <p:cNvPr id="4620" name="Google Shape;4620;p66"/>
            <p:cNvGrpSpPr/>
            <p:nvPr/>
          </p:nvGrpSpPr>
          <p:grpSpPr>
            <a:xfrm>
              <a:off x="3512551" y="2358270"/>
              <a:ext cx="225647" cy="307714"/>
              <a:chOff x="2182679" y="2004714"/>
              <a:chExt cx="792300" cy="1080458"/>
            </a:xfrm>
          </p:grpSpPr>
          <p:cxnSp>
            <p:nvCxnSpPr>
              <p:cNvPr id="4621" name="Google Shape;4621;p66"/>
              <p:cNvCxnSpPr>
                <a:stCxn id="4622" idx="0"/>
              </p:cNvCxnSpPr>
              <p:nvPr/>
            </p:nvCxnSpPr>
            <p:spPr>
              <a:xfrm rot="10800000">
                <a:off x="2578961"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18" name="Google Shape;4618;p66"/>
              <p:cNvSpPr/>
              <p:nvPr/>
            </p:nvSpPr>
            <p:spPr>
              <a:xfrm>
                <a:off x="2182679"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66"/>
              <p:cNvSpPr/>
              <p:nvPr/>
            </p:nvSpPr>
            <p:spPr>
              <a:xfrm>
                <a:off x="2283911"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3" name="Google Shape;4623;p66"/>
            <p:cNvGrpSpPr/>
            <p:nvPr/>
          </p:nvGrpSpPr>
          <p:grpSpPr>
            <a:xfrm>
              <a:off x="3969644" y="2440153"/>
              <a:ext cx="225853" cy="296651"/>
              <a:chOff x="3775710" y="1729289"/>
              <a:chExt cx="136500" cy="179289"/>
            </a:xfrm>
          </p:grpSpPr>
          <p:cxnSp>
            <p:nvCxnSpPr>
              <p:cNvPr id="4624" name="Google Shape;4624;p66"/>
              <p:cNvCxnSpPr/>
              <p:nvPr/>
            </p:nvCxnSpPr>
            <p:spPr>
              <a:xfrm>
                <a:off x="3843851" y="1848278"/>
                <a:ext cx="0" cy="60300"/>
              </a:xfrm>
              <a:prstGeom prst="straightConnector1">
                <a:avLst/>
              </a:prstGeom>
              <a:noFill/>
              <a:ln w="9525" cap="flat" cmpd="sng">
                <a:solidFill>
                  <a:srgbClr val="435D74"/>
                </a:solidFill>
                <a:prstDash val="solid"/>
                <a:round/>
                <a:headEnd type="none" w="med" len="med"/>
                <a:tailEnd type="none" w="med" len="med"/>
              </a:ln>
            </p:spPr>
          </p:cxnSp>
          <p:sp>
            <p:nvSpPr>
              <p:cNvPr id="4625" name="Google Shape;4625;p66"/>
              <p:cNvSpPr/>
              <p:nvPr/>
            </p:nvSpPr>
            <p:spPr>
              <a:xfrm>
                <a:off x="3775710" y="1729289"/>
                <a:ext cx="136500" cy="1365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66"/>
              <p:cNvSpPr/>
              <p:nvPr/>
            </p:nvSpPr>
            <p:spPr>
              <a:xfrm>
                <a:off x="3793133" y="1746713"/>
                <a:ext cx="101700" cy="1017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7" name="Google Shape;4627;p66"/>
            <p:cNvGrpSpPr/>
            <p:nvPr/>
          </p:nvGrpSpPr>
          <p:grpSpPr>
            <a:xfrm>
              <a:off x="4427051" y="2358270"/>
              <a:ext cx="225647" cy="307714"/>
              <a:chOff x="5393704" y="2004714"/>
              <a:chExt cx="792300" cy="1080458"/>
            </a:xfrm>
          </p:grpSpPr>
          <p:cxnSp>
            <p:nvCxnSpPr>
              <p:cNvPr id="4628" name="Google Shape;4628;p66"/>
              <p:cNvCxnSpPr>
                <a:stCxn id="4629" idx="0"/>
              </p:cNvCxnSpPr>
              <p:nvPr/>
            </p:nvCxnSpPr>
            <p:spPr>
              <a:xfrm rot="10800000">
                <a:off x="5789986"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30" name="Google Shape;4630;p66"/>
              <p:cNvSpPr/>
              <p:nvPr/>
            </p:nvSpPr>
            <p:spPr>
              <a:xfrm>
                <a:off x="5393704"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66"/>
              <p:cNvSpPr/>
              <p:nvPr/>
            </p:nvSpPr>
            <p:spPr>
              <a:xfrm>
                <a:off x="5494936"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31" name="Google Shape;4631;p66"/>
            <p:cNvGrpSpPr/>
            <p:nvPr/>
          </p:nvGrpSpPr>
          <p:grpSpPr>
            <a:xfrm>
              <a:off x="4884287" y="2440252"/>
              <a:ext cx="225647" cy="296532"/>
              <a:chOff x="6999166" y="2292572"/>
              <a:chExt cx="792300" cy="1041192"/>
            </a:xfrm>
          </p:grpSpPr>
          <p:cxnSp>
            <p:nvCxnSpPr>
              <p:cNvPr id="4632" name="Google Shape;4632;p66"/>
              <p:cNvCxnSpPr/>
              <p:nvPr/>
            </p:nvCxnSpPr>
            <p:spPr>
              <a:xfrm>
                <a:off x="7395553" y="2983964"/>
                <a:ext cx="0" cy="349800"/>
              </a:xfrm>
              <a:prstGeom prst="straightConnector1">
                <a:avLst/>
              </a:prstGeom>
              <a:noFill/>
              <a:ln w="9525" cap="flat" cmpd="sng">
                <a:solidFill>
                  <a:srgbClr val="435D74"/>
                </a:solidFill>
                <a:prstDash val="solid"/>
                <a:round/>
                <a:headEnd type="none" w="med" len="med"/>
                <a:tailEnd type="none" w="med" len="med"/>
              </a:ln>
            </p:spPr>
          </p:cxnSp>
          <p:sp>
            <p:nvSpPr>
              <p:cNvPr id="4619" name="Google Shape;4619;p66"/>
              <p:cNvSpPr/>
              <p:nvPr/>
            </p:nvSpPr>
            <p:spPr>
              <a:xfrm>
                <a:off x="6999166"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66"/>
              <p:cNvSpPr/>
              <p:nvPr/>
            </p:nvSpPr>
            <p:spPr>
              <a:xfrm>
                <a:off x="7100398"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34" name="Google Shape;4634;p66"/>
          <p:cNvGrpSpPr/>
          <p:nvPr/>
        </p:nvGrpSpPr>
        <p:grpSpPr>
          <a:xfrm>
            <a:off x="6842649" y="979955"/>
            <a:ext cx="1581844" cy="732818"/>
            <a:chOff x="634175" y="2986275"/>
            <a:chExt cx="3147949" cy="1458344"/>
          </a:xfrm>
        </p:grpSpPr>
        <p:cxnSp>
          <p:nvCxnSpPr>
            <p:cNvPr id="4635" name="Google Shape;4635;p66"/>
            <p:cNvCxnSpPr>
              <a:stCxn id="4636" idx="4"/>
              <a:endCxn id="4637" idx="0"/>
            </p:cNvCxnSpPr>
            <p:nvPr/>
          </p:nvCxnSpPr>
          <p:spPr>
            <a:xfrm>
              <a:off x="929975" y="3577875"/>
              <a:ext cx="591300" cy="275100"/>
            </a:xfrm>
            <a:prstGeom prst="straightConnector1">
              <a:avLst/>
            </a:prstGeom>
            <a:noFill/>
            <a:ln w="19050" cap="flat" cmpd="sng">
              <a:solidFill>
                <a:srgbClr val="435D74"/>
              </a:solidFill>
              <a:prstDash val="solid"/>
              <a:round/>
              <a:headEnd type="none" w="med" len="med"/>
              <a:tailEnd type="none" w="med" len="med"/>
            </a:ln>
          </p:spPr>
        </p:cxnSp>
        <p:cxnSp>
          <p:nvCxnSpPr>
            <p:cNvPr id="4638" name="Google Shape;4638;p66"/>
            <p:cNvCxnSpPr>
              <a:stCxn id="4637" idx="0"/>
              <a:endCxn id="4639" idx="4"/>
            </p:cNvCxnSpPr>
            <p:nvPr/>
          </p:nvCxnSpPr>
          <p:spPr>
            <a:xfrm rot="10800000" flipH="1">
              <a:off x="1521366" y="3577919"/>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0" name="Google Shape;4640;p66"/>
            <p:cNvCxnSpPr>
              <a:stCxn id="4639" idx="4"/>
              <a:endCxn id="4641" idx="0"/>
            </p:cNvCxnSpPr>
            <p:nvPr/>
          </p:nvCxnSpPr>
          <p:spPr>
            <a:xfrm>
              <a:off x="2208152" y="3577875"/>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2" name="Google Shape;4642;p66"/>
            <p:cNvCxnSpPr>
              <a:stCxn id="4641" idx="0"/>
              <a:endCxn id="4643" idx="4"/>
            </p:cNvCxnSpPr>
            <p:nvPr/>
          </p:nvCxnSpPr>
          <p:spPr>
            <a:xfrm rot="10800000" flipH="1">
              <a:off x="2894933" y="3577918"/>
              <a:ext cx="591300" cy="275100"/>
            </a:xfrm>
            <a:prstGeom prst="straightConnector1">
              <a:avLst/>
            </a:prstGeom>
            <a:noFill/>
            <a:ln w="19050" cap="flat" cmpd="sng">
              <a:solidFill>
                <a:srgbClr val="435D74"/>
              </a:solidFill>
              <a:prstDash val="solid"/>
              <a:round/>
              <a:headEnd type="none" w="med" len="med"/>
              <a:tailEnd type="none" w="med" len="med"/>
            </a:ln>
          </p:spPr>
        </p:cxnSp>
        <p:sp>
          <p:nvSpPr>
            <p:cNvPr id="4643" name="Google Shape;4643;p66"/>
            <p:cNvSpPr/>
            <p:nvPr/>
          </p:nvSpPr>
          <p:spPr>
            <a:xfrm>
              <a:off x="3190524"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9" name="Google Shape;4639;p66"/>
            <p:cNvSpPr/>
            <p:nvPr/>
          </p:nvSpPr>
          <p:spPr>
            <a:xfrm>
              <a:off x="1912352"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6" name="Google Shape;4636;p66"/>
            <p:cNvSpPr/>
            <p:nvPr/>
          </p:nvSpPr>
          <p:spPr>
            <a:xfrm>
              <a:off x="634175"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41" name="Google Shape;4641;p66"/>
            <p:cNvSpPr/>
            <p:nvPr/>
          </p:nvSpPr>
          <p:spPr>
            <a:xfrm>
              <a:off x="2599133" y="3853018"/>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7" name="Google Shape;4637;p66"/>
            <p:cNvSpPr/>
            <p:nvPr/>
          </p:nvSpPr>
          <p:spPr>
            <a:xfrm>
              <a:off x="1225566" y="3853019"/>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4644" name="Google Shape;4644;p66"/>
          <p:cNvGrpSpPr/>
          <p:nvPr/>
        </p:nvGrpSpPr>
        <p:grpSpPr>
          <a:xfrm>
            <a:off x="3410364" y="2674265"/>
            <a:ext cx="1675128" cy="313674"/>
            <a:chOff x="998425" y="1182125"/>
            <a:chExt cx="1065400" cy="199500"/>
          </a:xfrm>
        </p:grpSpPr>
        <p:sp>
          <p:nvSpPr>
            <p:cNvPr id="4645" name="Google Shape;4645;p66"/>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66"/>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66"/>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66"/>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66"/>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0" name="Google Shape;4650;p66"/>
          <p:cNvGrpSpPr/>
          <p:nvPr/>
        </p:nvGrpSpPr>
        <p:grpSpPr>
          <a:xfrm>
            <a:off x="3410363" y="3630231"/>
            <a:ext cx="1675129" cy="525345"/>
            <a:chOff x="5194708" y="3484366"/>
            <a:chExt cx="3148148" cy="987304"/>
          </a:xfrm>
        </p:grpSpPr>
        <p:grpSp>
          <p:nvGrpSpPr>
            <p:cNvPr id="4651" name="Google Shape;4651;p66"/>
            <p:cNvGrpSpPr/>
            <p:nvPr/>
          </p:nvGrpSpPr>
          <p:grpSpPr>
            <a:xfrm>
              <a:off x="7531521" y="3484366"/>
              <a:ext cx="811335" cy="987304"/>
              <a:chOff x="3379425" y="1617275"/>
              <a:chExt cx="1090650" cy="1327200"/>
            </a:xfrm>
          </p:grpSpPr>
          <p:sp>
            <p:nvSpPr>
              <p:cNvPr id="4652" name="Google Shape;4652;p66"/>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66"/>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66"/>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5" name="Google Shape;4655;p66"/>
            <p:cNvGrpSpPr/>
            <p:nvPr/>
          </p:nvGrpSpPr>
          <p:grpSpPr>
            <a:xfrm>
              <a:off x="6752546" y="3484366"/>
              <a:ext cx="811428" cy="987304"/>
              <a:chOff x="2332275" y="1617275"/>
              <a:chExt cx="1090775" cy="1327200"/>
            </a:xfrm>
          </p:grpSpPr>
          <p:sp>
            <p:nvSpPr>
              <p:cNvPr id="4656" name="Google Shape;4656;p66"/>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66"/>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66"/>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9" name="Google Shape;4659;p66"/>
            <p:cNvGrpSpPr/>
            <p:nvPr/>
          </p:nvGrpSpPr>
          <p:grpSpPr>
            <a:xfrm>
              <a:off x="5973664" y="3484366"/>
              <a:ext cx="811335" cy="987304"/>
              <a:chOff x="1285250" y="1617275"/>
              <a:chExt cx="1090650" cy="1327200"/>
            </a:xfrm>
          </p:grpSpPr>
          <p:sp>
            <p:nvSpPr>
              <p:cNvPr id="4660" name="Google Shape;4660;p66"/>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66"/>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66"/>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63" name="Google Shape;4663;p66"/>
            <p:cNvGrpSpPr/>
            <p:nvPr/>
          </p:nvGrpSpPr>
          <p:grpSpPr>
            <a:xfrm>
              <a:off x="5194708" y="3484366"/>
              <a:ext cx="811409" cy="987304"/>
              <a:chOff x="238125" y="1617275"/>
              <a:chExt cx="1090750" cy="1327200"/>
            </a:xfrm>
          </p:grpSpPr>
          <p:sp>
            <p:nvSpPr>
              <p:cNvPr id="4664" name="Google Shape;4664;p66"/>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66"/>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66"/>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67" name="Google Shape;4667;p66"/>
          <p:cNvGrpSpPr/>
          <p:nvPr/>
        </p:nvGrpSpPr>
        <p:grpSpPr>
          <a:xfrm>
            <a:off x="6844048" y="2276120"/>
            <a:ext cx="1579046" cy="522230"/>
            <a:chOff x="6853641" y="2534077"/>
            <a:chExt cx="1515545" cy="501229"/>
          </a:xfrm>
        </p:grpSpPr>
        <p:grpSp>
          <p:nvGrpSpPr>
            <p:cNvPr id="4668" name="Google Shape;4668;p66"/>
            <p:cNvGrpSpPr/>
            <p:nvPr/>
          </p:nvGrpSpPr>
          <p:grpSpPr>
            <a:xfrm>
              <a:off x="6853641" y="2618923"/>
              <a:ext cx="1515545" cy="324556"/>
              <a:chOff x="6853641" y="2618923"/>
              <a:chExt cx="1515545" cy="324556"/>
            </a:xfrm>
          </p:grpSpPr>
          <p:sp>
            <p:nvSpPr>
              <p:cNvPr id="4669" name="Google Shape;4669;p66"/>
              <p:cNvSpPr/>
              <p:nvPr/>
            </p:nvSpPr>
            <p:spPr>
              <a:xfrm>
                <a:off x="7747010" y="2781222"/>
                <a:ext cx="324578" cy="162258"/>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66"/>
              <p:cNvSpPr/>
              <p:nvPr/>
            </p:nvSpPr>
            <p:spPr>
              <a:xfrm>
                <a:off x="7449412" y="2618923"/>
                <a:ext cx="324496" cy="162258"/>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66"/>
              <p:cNvSpPr/>
              <p:nvPr/>
            </p:nvSpPr>
            <p:spPr>
              <a:xfrm>
                <a:off x="6853641" y="2618923"/>
                <a:ext cx="324824" cy="16279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66"/>
              <p:cNvSpPr/>
              <p:nvPr/>
            </p:nvSpPr>
            <p:spPr>
              <a:xfrm>
                <a:off x="7151691" y="2781222"/>
                <a:ext cx="324578" cy="162258"/>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66"/>
              <p:cNvSpPr/>
              <p:nvPr/>
            </p:nvSpPr>
            <p:spPr>
              <a:xfrm>
                <a:off x="8044362" y="2618923"/>
                <a:ext cx="324824" cy="16279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74" name="Google Shape;4674;p66"/>
            <p:cNvSpPr/>
            <p:nvPr/>
          </p:nvSpPr>
          <p:spPr>
            <a:xfrm>
              <a:off x="6899264" y="2673830"/>
              <a:ext cx="225242" cy="361476"/>
            </a:xfrm>
            <a:custGeom>
              <a:avLst/>
              <a:gdLst/>
              <a:ahLst/>
              <a:cxnLst/>
              <a:rect l="l" t="t" r="r" b="b"/>
              <a:pathLst>
                <a:path w="5485" h="8802" extrusionOk="0">
                  <a:moveTo>
                    <a:pt x="2798" y="1197"/>
                  </a:moveTo>
                  <a:cubicBezTo>
                    <a:pt x="2989" y="1197"/>
                    <a:pt x="3183" y="1234"/>
                    <a:pt x="3366" y="1310"/>
                  </a:cubicBezTo>
                  <a:cubicBezTo>
                    <a:pt x="3924" y="1542"/>
                    <a:pt x="4287" y="2085"/>
                    <a:pt x="4287" y="2689"/>
                  </a:cubicBezTo>
                  <a:cubicBezTo>
                    <a:pt x="4287" y="3512"/>
                    <a:pt x="3619" y="4178"/>
                    <a:pt x="2796" y="4180"/>
                  </a:cubicBezTo>
                  <a:cubicBezTo>
                    <a:pt x="2194" y="4180"/>
                    <a:pt x="1650" y="3816"/>
                    <a:pt x="1419" y="3259"/>
                  </a:cubicBezTo>
                  <a:cubicBezTo>
                    <a:pt x="1189" y="2702"/>
                    <a:pt x="1317" y="2061"/>
                    <a:pt x="1743" y="1634"/>
                  </a:cubicBezTo>
                  <a:cubicBezTo>
                    <a:pt x="2028" y="1348"/>
                    <a:pt x="2410" y="1197"/>
                    <a:pt x="2798" y="1197"/>
                  </a:cubicBezTo>
                  <a:close/>
                  <a:moveTo>
                    <a:pt x="2796" y="1"/>
                  </a:moveTo>
                  <a:cubicBezTo>
                    <a:pt x="2254" y="1"/>
                    <a:pt x="1714" y="165"/>
                    <a:pt x="1253" y="489"/>
                  </a:cubicBezTo>
                  <a:cubicBezTo>
                    <a:pt x="433" y="1063"/>
                    <a:pt x="0" y="2048"/>
                    <a:pt x="132" y="3043"/>
                  </a:cubicBezTo>
                  <a:cubicBezTo>
                    <a:pt x="263" y="4037"/>
                    <a:pt x="937" y="4875"/>
                    <a:pt x="1880" y="5216"/>
                  </a:cubicBezTo>
                  <a:lnTo>
                    <a:pt x="1880" y="6705"/>
                  </a:lnTo>
                  <a:lnTo>
                    <a:pt x="1067" y="6705"/>
                  </a:lnTo>
                  <a:lnTo>
                    <a:pt x="2723" y="8801"/>
                  </a:lnTo>
                  <a:lnTo>
                    <a:pt x="4377" y="6705"/>
                  </a:lnTo>
                  <a:lnTo>
                    <a:pt x="3563" y="6705"/>
                  </a:lnTo>
                  <a:lnTo>
                    <a:pt x="3563" y="5265"/>
                  </a:lnTo>
                  <a:cubicBezTo>
                    <a:pt x="4703" y="4926"/>
                    <a:pt x="5485" y="3877"/>
                    <a:pt x="5485" y="2689"/>
                  </a:cubicBezTo>
                  <a:cubicBezTo>
                    <a:pt x="5485" y="1685"/>
                    <a:pt x="4926" y="766"/>
                    <a:pt x="4037" y="304"/>
                  </a:cubicBezTo>
                  <a:cubicBezTo>
                    <a:pt x="3647" y="101"/>
                    <a:pt x="3221" y="1"/>
                    <a:pt x="279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66"/>
            <p:cNvSpPr/>
            <p:nvPr/>
          </p:nvSpPr>
          <p:spPr>
            <a:xfrm>
              <a:off x="7198259" y="2534077"/>
              <a:ext cx="235261" cy="360532"/>
            </a:xfrm>
            <a:custGeom>
              <a:avLst/>
              <a:gdLst/>
              <a:ahLst/>
              <a:cxnLst/>
              <a:rect l="l" t="t" r="r" b="b"/>
              <a:pathLst>
                <a:path w="5729" h="8779" extrusionOk="0">
                  <a:moveTo>
                    <a:pt x="2858" y="4600"/>
                  </a:moveTo>
                  <a:cubicBezTo>
                    <a:pt x="3050" y="4600"/>
                    <a:pt x="3243" y="4637"/>
                    <a:pt x="3427" y="4713"/>
                  </a:cubicBezTo>
                  <a:cubicBezTo>
                    <a:pt x="3985" y="4945"/>
                    <a:pt x="4347" y="5488"/>
                    <a:pt x="4347" y="6092"/>
                  </a:cubicBezTo>
                  <a:cubicBezTo>
                    <a:pt x="4347" y="6915"/>
                    <a:pt x="3679" y="7581"/>
                    <a:pt x="2856" y="7583"/>
                  </a:cubicBezTo>
                  <a:cubicBezTo>
                    <a:pt x="2254" y="7583"/>
                    <a:pt x="1709" y="7219"/>
                    <a:pt x="1479" y="6662"/>
                  </a:cubicBezTo>
                  <a:cubicBezTo>
                    <a:pt x="1248" y="6105"/>
                    <a:pt x="1376" y="5464"/>
                    <a:pt x="1802" y="5037"/>
                  </a:cubicBezTo>
                  <a:cubicBezTo>
                    <a:pt x="2087" y="4751"/>
                    <a:pt x="2469" y="4600"/>
                    <a:pt x="2858" y="4600"/>
                  </a:cubicBezTo>
                  <a:close/>
                  <a:moveTo>
                    <a:pt x="2883" y="0"/>
                  </a:moveTo>
                  <a:lnTo>
                    <a:pt x="1227" y="2097"/>
                  </a:lnTo>
                  <a:lnTo>
                    <a:pt x="2041" y="2097"/>
                  </a:lnTo>
                  <a:lnTo>
                    <a:pt x="2041" y="3530"/>
                  </a:lnTo>
                  <a:cubicBezTo>
                    <a:pt x="782" y="3930"/>
                    <a:pt x="1" y="5184"/>
                    <a:pt x="196" y="6491"/>
                  </a:cubicBezTo>
                  <a:cubicBezTo>
                    <a:pt x="393" y="7796"/>
                    <a:pt x="1507" y="8766"/>
                    <a:pt x="2827" y="8779"/>
                  </a:cubicBezTo>
                  <a:cubicBezTo>
                    <a:pt x="2837" y="8779"/>
                    <a:pt x="2847" y="8779"/>
                    <a:pt x="2857" y="8779"/>
                  </a:cubicBezTo>
                  <a:cubicBezTo>
                    <a:pt x="4165" y="8779"/>
                    <a:pt x="5285" y="7837"/>
                    <a:pt x="5506" y="6545"/>
                  </a:cubicBezTo>
                  <a:cubicBezTo>
                    <a:pt x="5729" y="5245"/>
                    <a:pt x="4974" y="3973"/>
                    <a:pt x="3724" y="3547"/>
                  </a:cubicBezTo>
                  <a:lnTo>
                    <a:pt x="3724" y="2097"/>
                  </a:lnTo>
                  <a:lnTo>
                    <a:pt x="4539" y="2097"/>
                  </a:lnTo>
                  <a:lnTo>
                    <a:pt x="28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66"/>
            <p:cNvSpPr/>
            <p:nvPr/>
          </p:nvSpPr>
          <p:spPr>
            <a:xfrm>
              <a:off x="7493639" y="2673830"/>
              <a:ext cx="225200" cy="361476"/>
            </a:xfrm>
            <a:custGeom>
              <a:avLst/>
              <a:gdLst/>
              <a:ahLst/>
              <a:cxnLst/>
              <a:rect l="l" t="t" r="r" b="b"/>
              <a:pathLst>
                <a:path w="5484" h="8802" extrusionOk="0">
                  <a:moveTo>
                    <a:pt x="2796" y="1197"/>
                  </a:moveTo>
                  <a:cubicBezTo>
                    <a:pt x="2988" y="1197"/>
                    <a:pt x="3181" y="1234"/>
                    <a:pt x="3365" y="1310"/>
                  </a:cubicBezTo>
                  <a:cubicBezTo>
                    <a:pt x="3922" y="1542"/>
                    <a:pt x="4286" y="2085"/>
                    <a:pt x="4286" y="2689"/>
                  </a:cubicBezTo>
                  <a:cubicBezTo>
                    <a:pt x="4284" y="3512"/>
                    <a:pt x="3618" y="4178"/>
                    <a:pt x="2795" y="4180"/>
                  </a:cubicBezTo>
                  <a:cubicBezTo>
                    <a:pt x="2191" y="4180"/>
                    <a:pt x="1649" y="3816"/>
                    <a:pt x="1418" y="3259"/>
                  </a:cubicBezTo>
                  <a:cubicBezTo>
                    <a:pt x="1187" y="2702"/>
                    <a:pt x="1314" y="2061"/>
                    <a:pt x="1740" y="1634"/>
                  </a:cubicBezTo>
                  <a:cubicBezTo>
                    <a:pt x="2026" y="1348"/>
                    <a:pt x="2408" y="1197"/>
                    <a:pt x="2796" y="1197"/>
                  </a:cubicBezTo>
                  <a:close/>
                  <a:moveTo>
                    <a:pt x="2794" y="1"/>
                  </a:moveTo>
                  <a:cubicBezTo>
                    <a:pt x="2254" y="1"/>
                    <a:pt x="1717" y="163"/>
                    <a:pt x="1258" y="484"/>
                  </a:cubicBezTo>
                  <a:cubicBezTo>
                    <a:pt x="436" y="1055"/>
                    <a:pt x="1" y="2037"/>
                    <a:pt x="127" y="3030"/>
                  </a:cubicBezTo>
                  <a:cubicBezTo>
                    <a:pt x="255" y="4023"/>
                    <a:pt x="923" y="4863"/>
                    <a:pt x="1862" y="5211"/>
                  </a:cubicBezTo>
                  <a:lnTo>
                    <a:pt x="1862" y="6705"/>
                  </a:lnTo>
                  <a:lnTo>
                    <a:pt x="1048" y="6705"/>
                  </a:lnTo>
                  <a:lnTo>
                    <a:pt x="2704" y="8801"/>
                  </a:lnTo>
                  <a:lnTo>
                    <a:pt x="4360" y="6705"/>
                  </a:lnTo>
                  <a:lnTo>
                    <a:pt x="3545" y="6705"/>
                  </a:lnTo>
                  <a:lnTo>
                    <a:pt x="3545" y="5270"/>
                  </a:lnTo>
                  <a:cubicBezTo>
                    <a:pt x="4693" y="4935"/>
                    <a:pt x="5484" y="3883"/>
                    <a:pt x="5484" y="2689"/>
                  </a:cubicBezTo>
                  <a:cubicBezTo>
                    <a:pt x="5482" y="1688"/>
                    <a:pt x="4927" y="769"/>
                    <a:pt x="4039" y="306"/>
                  </a:cubicBezTo>
                  <a:cubicBezTo>
                    <a:pt x="3647" y="102"/>
                    <a:pt x="3220" y="1"/>
                    <a:pt x="27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66"/>
            <p:cNvSpPr/>
            <p:nvPr/>
          </p:nvSpPr>
          <p:spPr>
            <a:xfrm>
              <a:off x="7792387" y="2534077"/>
              <a:ext cx="235261" cy="360532"/>
            </a:xfrm>
            <a:custGeom>
              <a:avLst/>
              <a:gdLst/>
              <a:ahLst/>
              <a:cxnLst/>
              <a:rect l="l" t="t" r="r" b="b"/>
              <a:pathLst>
                <a:path w="5729" h="8779" extrusionOk="0">
                  <a:moveTo>
                    <a:pt x="2861" y="4601"/>
                  </a:moveTo>
                  <a:cubicBezTo>
                    <a:pt x="3053" y="4601"/>
                    <a:pt x="3247" y="4638"/>
                    <a:pt x="3431" y="4715"/>
                  </a:cubicBezTo>
                  <a:cubicBezTo>
                    <a:pt x="3988" y="4945"/>
                    <a:pt x="4351" y="5488"/>
                    <a:pt x="4351" y="6092"/>
                  </a:cubicBezTo>
                  <a:cubicBezTo>
                    <a:pt x="4350" y="6915"/>
                    <a:pt x="3684" y="7581"/>
                    <a:pt x="2861" y="7583"/>
                  </a:cubicBezTo>
                  <a:cubicBezTo>
                    <a:pt x="2259" y="7583"/>
                    <a:pt x="1714" y="7219"/>
                    <a:pt x="1483" y="6662"/>
                  </a:cubicBezTo>
                  <a:cubicBezTo>
                    <a:pt x="1253" y="6105"/>
                    <a:pt x="1381" y="5464"/>
                    <a:pt x="1807" y="5038"/>
                  </a:cubicBezTo>
                  <a:cubicBezTo>
                    <a:pt x="2092" y="4752"/>
                    <a:pt x="2473" y="4601"/>
                    <a:pt x="2861" y="4601"/>
                  </a:cubicBezTo>
                  <a:close/>
                  <a:moveTo>
                    <a:pt x="2870" y="0"/>
                  </a:moveTo>
                  <a:lnTo>
                    <a:pt x="1214" y="2097"/>
                  </a:lnTo>
                  <a:lnTo>
                    <a:pt x="2028" y="2097"/>
                  </a:lnTo>
                  <a:lnTo>
                    <a:pt x="2028" y="3536"/>
                  </a:lnTo>
                  <a:cubicBezTo>
                    <a:pt x="773" y="3944"/>
                    <a:pt x="1" y="5205"/>
                    <a:pt x="204" y="6508"/>
                  </a:cubicBezTo>
                  <a:cubicBezTo>
                    <a:pt x="409" y="7813"/>
                    <a:pt x="1532" y="8776"/>
                    <a:pt x="2851" y="8779"/>
                  </a:cubicBezTo>
                  <a:cubicBezTo>
                    <a:pt x="2854" y="8779"/>
                    <a:pt x="2858" y="8779"/>
                    <a:pt x="2861" y="8779"/>
                  </a:cubicBezTo>
                  <a:cubicBezTo>
                    <a:pt x="4178" y="8779"/>
                    <a:pt x="5300" y="7828"/>
                    <a:pt x="5514" y="6527"/>
                  </a:cubicBezTo>
                  <a:cubicBezTo>
                    <a:pt x="5729" y="5225"/>
                    <a:pt x="4965" y="3959"/>
                    <a:pt x="3713" y="3543"/>
                  </a:cubicBezTo>
                  <a:lnTo>
                    <a:pt x="3713" y="2097"/>
                  </a:lnTo>
                  <a:lnTo>
                    <a:pt x="4526" y="2097"/>
                  </a:lnTo>
                  <a:lnTo>
                    <a:pt x="287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66"/>
            <p:cNvSpPr/>
            <p:nvPr/>
          </p:nvSpPr>
          <p:spPr>
            <a:xfrm>
              <a:off x="8090150" y="2673789"/>
              <a:ext cx="225857" cy="361517"/>
            </a:xfrm>
            <a:custGeom>
              <a:avLst/>
              <a:gdLst/>
              <a:ahLst/>
              <a:cxnLst/>
              <a:rect l="l" t="t" r="r" b="b"/>
              <a:pathLst>
                <a:path w="5500" h="8803" extrusionOk="0">
                  <a:moveTo>
                    <a:pt x="2811" y="1198"/>
                  </a:moveTo>
                  <a:cubicBezTo>
                    <a:pt x="3003" y="1198"/>
                    <a:pt x="3197" y="1235"/>
                    <a:pt x="3381" y="1311"/>
                  </a:cubicBezTo>
                  <a:cubicBezTo>
                    <a:pt x="3938" y="1543"/>
                    <a:pt x="4302" y="2086"/>
                    <a:pt x="4302" y="2690"/>
                  </a:cubicBezTo>
                  <a:cubicBezTo>
                    <a:pt x="4300" y="3513"/>
                    <a:pt x="3634" y="4179"/>
                    <a:pt x="2811" y="4181"/>
                  </a:cubicBezTo>
                  <a:cubicBezTo>
                    <a:pt x="2209" y="4181"/>
                    <a:pt x="1664" y="3817"/>
                    <a:pt x="1434" y="3260"/>
                  </a:cubicBezTo>
                  <a:cubicBezTo>
                    <a:pt x="1203" y="2703"/>
                    <a:pt x="1330" y="2062"/>
                    <a:pt x="1757" y="1635"/>
                  </a:cubicBezTo>
                  <a:cubicBezTo>
                    <a:pt x="2042" y="1349"/>
                    <a:pt x="2423" y="1198"/>
                    <a:pt x="2811" y="1198"/>
                  </a:cubicBezTo>
                  <a:close/>
                  <a:moveTo>
                    <a:pt x="2812" y="1"/>
                  </a:moveTo>
                  <a:cubicBezTo>
                    <a:pt x="2257" y="1"/>
                    <a:pt x="1706" y="172"/>
                    <a:pt x="1238" y="509"/>
                  </a:cubicBezTo>
                  <a:cubicBezTo>
                    <a:pt x="420" y="1098"/>
                    <a:pt x="1" y="2097"/>
                    <a:pt x="154" y="3095"/>
                  </a:cubicBezTo>
                  <a:cubicBezTo>
                    <a:pt x="306" y="4093"/>
                    <a:pt x="1005" y="4920"/>
                    <a:pt x="1962" y="5239"/>
                  </a:cubicBezTo>
                  <a:lnTo>
                    <a:pt x="1962" y="6706"/>
                  </a:lnTo>
                  <a:lnTo>
                    <a:pt x="1149" y="6706"/>
                  </a:lnTo>
                  <a:lnTo>
                    <a:pt x="2804" y="8802"/>
                  </a:lnTo>
                  <a:lnTo>
                    <a:pt x="4460" y="6706"/>
                  </a:lnTo>
                  <a:lnTo>
                    <a:pt x="3645" y="6706"/>
                  </a:lnTo>
                  <a:lnTo>
                    <a:pt x="3645" y="5244"/>
                  </a:lnTo>
                  <a:cubicBezTo>
                    <a:pt x="4750" y="4882"/>
                    <a:pt x="5499" y="3852"/>
                    <a:pt x="5499" y="2690"/>
                  </a:cubicBezTo>
                  <a:cubicBezTo>
                    <a:pt x="5499" y="1679"/>
                    <a:pt x="4934" y="755"/>
                    <a:pt x="4036" y="296"/>
                  </a:cubicBezTo>
                  <a:cubicBezTo>
                    <a:pt x="3650" y="98"/>
                    <a:pt x="3230" y="1"/>
                    <a:pt x="28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9" name="Google Shape;4679;p66"/>
          <p:cNvGrpSpPr/>
          <p:nvPr/>
        </p:nvGrpSpPr>
        <p:grpSpPr>
          <a:xfrm>
            <a:off x="3438940" y="3151161"/>
            <a:ext cx="1617976" cy="346616"/>
            <a:chOff x="1808063" y="4294338"/>
            <a:chExt cx="3370782" cy="721817"/>
          </a:xfrm>
        </p:grpSpPr>
        <p:sp>
          <p:nvSpPr>
            <p:cNvPr id="4680" name="Google Shape;4680;p66"/>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66"/>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66"/>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66"/>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66"/>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66"/>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66"/>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66"/>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66"/>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66"/>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90" name="Google Shape;4690;p66"/>
          <p:cNvGrpSpPr/>
          <p:nvPr/>
        </p:nvGrpSpPr>
        <p:grpSpPr>
          <a:xfrm>
            <a:off x="5264936" y="3817911"/>
            <a:ext cx="1417067" cy="350605"/>
            <a:chOff x="4234950" y="2101012"/>
            <a:chExt cx="4219974" cy="1044090"/>
          </a:xfrm>
        </p:grpSpPr>
        <p:sp>
          <p:nvSpPr>
            <p:cNvPr id="4691" name="Google Shape;4691;p66"/>
            <p:cNvSpPr/>
            <p:nvPr/>
          </p:nvSpPr>
          <p:spPr>
            <a:xfrm rot="10800000">
              <a:off x="7528544"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66"/>
            <p:cNvSpPr/>
            <p:nvPr/>
          </p:nvSpPr>
          <p:spPr>
            <a:xfrm rot="10800000">
              <a:off x="6487595" y="2218809"/>
              <a:ext cx="827572" cy="826702"/>
            </a:xfrm>
            <a:custGeom>
              <a:avLst/>
              <a:gdLst/>
              <a:ahLst/>
              <a:cxnLst/>
              <a:rect l="l" t="t" r="r" b="b"/>
              <a:pathLst>
                <a:path w="34926" h="34893" extrusionOk="0">
                  <a:moveTo>
                    <a:pt x="1" y="1"/>
                  </a:moveTo>
                  <a:lnTo>
                    <a:pt x="1" y="34892"/>
                  </a:lnTo>
                  <a:lnTo>
                    <a:pt x="34926" y="34892"/>
                  </a:lnTo>
                  <a:lnTo>
                    <a:pt x="34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66"/>
            <p:cNvSpPr/>
            <p:nvPr/>
          </p:nvSpPr>
          <p:spPr>
            <a:xfrm rot="10800000">
              <a:off x="5430819" y="2218809"/>
              <a:ext cx="827572" cy="826702"/>
            </a:xfrm>
            <a:custGeom>
              <a:avLst/>
              <a:gdLst/>
              <a:ahLst/>
              <a:cxnLst/>
              <a:rect l="l" t="t" r="r" b="b"/>
              <a:pathLst>
                <a:path w="34926" h="34893" extrusionOk="0">
                  <a:moveTo>
                    <a:pt x="0" y="1"/>
                  </a:moveTo>
                  <a:lnTo>
                    <a:pt x="0" y="34892"/>
                  </a:lnTo>
                  <a:lnTo>
                    <a:pt x="34925" y="34892"/>
                  </a:lnTo>
                  <a:lnTo>
                    <a:pt x="3492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66"/>
            <p:cNvSpPr/>
            <p:nvPr/>
          </p:nvSpPr>
          <p:spPr>
            <a:xfrm rot="10800000">
              <a:off x="4374848"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66"/>
            <p:cNvSpPr/>
            <p:nvPr/>
          </p:nvSpPr>
          <p:spPr>
            <a:xfrm rot="10800000">
              <a:off x="7410780" y="2622683"/>
              <a:ext cx="1044144" cy="522420"/>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noFill/>
            <a:ln w="20850"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66"/>
            <p:cNvSpPr/>
            <p:nvPr/>
          </p:nvSpPr>
          <p:spPr>
            <a:xfrm rot="10800000">
              <a:off x="6366656" y="2101012"/>
              <a:ext cx="1044144" cy="521638"/>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noFill/>
            <a:ln w="20850"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66"/>
            <p:cNvSpPr/>
            <p:nvPr/>
          </p:nvSpPr>
          <p:spPr>
            <a:xfrm rot="10800000">
              <a:off x="5322557" y="2622683"/>
              <a:ext cx="1044120" cy="522420"/>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noFill/>
            <a:ln w="20850" cap="rnd" cmpd="sng">
              <a:solidFill>
                <a:srgbClr val="869FB2"/>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66"/>
            <p:cNvSpPr/>
            <p:nvPr/>
          </p:nvSpPr>
          <p:spPr>
            <a:xfrm rot="10800000">
              <a:off x="4278434" y="2101012"/>
              <a:ext cx="1044144" cy="521638"/>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noFill/>
            <a:ln w="20850" cap="rnd" cmpd="sng">
              <a:solidFill>
                <a:srgbClr val="BAC8D3"/>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66"/>
            <p:cNvSpPr/>
            <p:nvPr/>
          </p:nvSpPr>
          <p:spPr>
            <a:xfrm rot="10800000">
              <a:off x="7367296" y="2570459"/>
              <a:ext cx="86984" cy="86975"/>
            </a:xfrm>
            <a:custGeom>
              <a:avLst/>
              <a:gdLst/>
              <a:ahLst/>
              <a:cxnLst/>
              <a:rect l="l" t="t" r="r" b="b"/>
              <a:pathLst>
                <a:path w="3671" h="3671" extrusionOk="0">
                  <a:moveTo>
                    <a:pt x="1835" y="1"/>
                  </a:moveTo>
                  <a:cubicBezTo>
                    <a:pt x="835" y="1"/>
                    <a:pt x="1" y="835"/>
                    <a:pt x="1" y="1836"/>
                  </a:cubicBezTo>
                  <a:cubicBezTo>
                    <a:pt x="1" y="2870"/>
                    <a:pt x="835" y="3670"/>
                    <a:pt x="1835" y="3670"/>
                  </a:cubicBezTo>
                  <a:cubicBezTo>
                    <a:pt x="2869"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66"/>
            <p:cNvSpPr/>
            <p:nvPr/>
          </p:nvSpPr>
          <p:spPr>
            <a:xfrm rot="10800000">
              <a:off x="6323197" y="2570459"/>
              <a:ext cx="86961" cy="86975"/>
            </a:xfrm>
            <a:custGeom>
              <a:avLst/>
              <a:gdLst/>
              <a:ahLst/>
              <a:cxnLst/>
              <a:rect l="l" t="t" r="r" b="b"/>
              <a:pathLst>
                <a:path w="3670" h="3671" extrusionOk="0">
                  <a:moveTo>
                    <a:pt x="1835" y="1"/>
                  </a:moveTo>
                  <a:cubicBezTo>
                    <a:pt x="834" y="1"/>
                    <a:pt x="1" y="835"/>
                    <a:pt x="1" y="1836"/>
                  </a:cubicBezTo>
                  <a:cubicBezTo>
                    <a:pt x="1" y="2870"/>
                    <a:pt x="834" y="3670"/>
                    <a:pt x="1835" y="3670"/>
                  </a:cubicBezTo>
                  <a:cubicBezTo>
                    <a:pt x="2836" y="3670"/>
                    <a:pt x="3670" y="2870"/>
                    <a:pt x="3670" y="1836"/>
                  </a:cubicBezTo>
                  <a:cubicBezTo>
                    <a:pt x="3670" y="835"/>
                    <a:pt x="2869"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66"/>
            <p:cNvSpPr/>
            <p:nvPr/>
          </p:nvSpPr>
          <p:spPr>
            <a:xfrm rot="10800000">
              <a:off x="5279073"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66"/>
            <p:cNvSpPr/>
            <p:nvPr/>
          </p:nvSpPr>
          <p:spPr>
            <a:xfrm rot="10800000">
              <a:off x="4234950"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69" y="2870"/>
                    <a:pt x="3669" y="1836"/>
                  </a:cubicBezTo>
                  <a:cubicBezTo>
                    <a:pt x="3669"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66"/>
            <p:cNvSpPr/>
            <p:nvPr/>
          </p:nvSpPr>
          <p:spPr>
            <a:xfrm rot="10800000">
              <a:off x="7541197" y="2231460"/>
              <a:ext cx="801483" cy="800617"/>
            </a:xfrm>
            <a:custGeom>
              <a:avLst/>
              <a:gdLst/>
              <a:ahLst/>
              <a:cxnLst/>
              <a:rect l="l" t="t" r="r" b="b"/>
              <a:pathLst>
                <a:path w="33825" h="33792" extrusionOk="0">
                  <a:moveTo>
                    <a:pt x="16912" y="1835"/>
                  </a:moveTo>
                  <a:cubicBezTo>
                    <a:pt x="25218" y="1835"/>
                    <a:pt x="31956" y="8573"/>
                    <a:pt x="31956" y="16879"/>
                  </a:cubicBezTo>
                  <a:cubicBezTo>
                    <a:pt x="31956" y="25185"/>
                    <a:pt x="25218" y="31923"/>
                    <a:pt x="16912" y="31923"/>
                  </a:cubicBezTo>
                  <a:cubicBezTo>
                    <a:pt x="8606" y="31923"/>
                    <a:pt x="1868" y="25185"/>
                    <a:pt x="1868" y="16879"/>
                  </a:cubicBezTo>
                  <a:cubicBezTo>
                    <a:pt x="1868" y="8573"/>
                    <a:pt x="8606" y="1835"/>
                    <a:pt x="16912" y="1835"/>
                  </a:cubicBezTo>
                  <a:close/>
                  <a:moveTo>
                    <a:pt x="16912" y="1"/>
                  </a:moveTo>
                  <a:cubicBezTo>
                    <a:pt x="7572" y="1"/>
                    <a:pt x="0" y="7539"/>
                    <a:pt x="0" y="16879"/>
                  </a:cubicBezTo>
                  <a:cubicBezTo>
                    <a:pt x="0" y="26219"/>
                    <a:pt x="7572" y="33791"/>
                    <a:pt x="16912" y="33791"/>
                  </a:cubicBezTo>
                  <a:cubicBezTo>
                    <a:pt x="26252" y="33791"/>
                    <a:pt x="33824" y="26219"/>
                    <a:pt x="33824" y="16879"/>
                  </a:cubicBezTo>
                  <a:cubicBezTo>
                    <a:pt x="33824" y="7539"/>
                    <a:pt x="26252" y="1"/>
                    <a:pt x="1691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66"/>
            <p:cNvSpPr/>
            <p:nvPr/>
          </p:nvSpPr>
          <p:spPr>
            <a:xfrm rot="10800000">
              <a:off x="6488377" y="2231460"/>
              <a:ext cx="800701" cy="800617"/>
            </a:xfrm>
            <a:custGeom>
              <a:avLst/>
              <a:gdLst/>
              <a:ahLst/>
              <a:cxnLst/>
              <a:rect l="l" t="t" r="r" b="b"/>
              <a:pathLst>
                <a:path w="33792" h="33792" extrusionOk="0">
                  <a:moveTo>
                    <a:pt x="16912" y="1"/>
                  </a:moveTo>
                  <a:cubicBezTo>
                    <a:pt x="7572" y="1"/>
                    <a:pt x="0" y="7539"/>
                    <a:pt x="0" y="16879"/>
                  </a:cubicBezTo>
                  <a:cubicBezTo>
                    <a:pt x="0" y="26219"/>
                    <a:pt x="7572" y="33791"/>
                    <a:pt x="16912" y="33791"/>
                  </a:cubicBezTo>
                  <a:cubicBezTo>
                    <a:pt x="26219" y="33791"/>
                    <a:pt x="33791" y="26219"/>
                    <a:pt x="33791" y="16879"/>
                  </a:cubicBezTo>
                  <a:cubicBezTo>
                    <a:pt x="33791" y="7539"/>
                    <a:pt x="26252" y="1"/>
                    <a:pt x="16912" y="1"/>
                  </a:cubicBezTo>
                  <a:close/>
                  <a:moveTo>
                    <a:pt x="16912" y="31923"/>
                  </a:moveTo>
                  <a:cubicBezTo>
                    <a:pt x="8607" y="31923"/>
                    <a:pt x="1868" y="25185"/>
                    <a:pt x="1868" y="16879"/>
                  </a:cubicBezTo>
                  <a:cubicBezTo>
                    <a:pt x="1868" y="8573"/>
                    <a:pt x="8607" y="1835"/>
                    <a:pt x="16912" y="1835"/>
                  </a:cubicBezTo>
                  <a:cubicBezTo>
                    <a:pt x="25218" y="1835"/>
                    <a:pt x="31957" y="8573"/>
                    <a:pt x="31957" y="16879"/>
                  </a:cubicBezTo>
                  <a:cubicBezTo>
                    <a:pt x="31957"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66"/>
            <p:cNvSpPr/>
            <p:nvPr/>
          </p:nvSpPr>
          <p:spPr>
            <a:xfrm rot="10800000">
              <a:off x="5434776" y="2231460"/>
              <a:ext cx="800701" cy="800617"/>
            </a:xfrm>
            <a:custGeom>
              <a:avLst/>
              <a:gdLst/>
              <a:ahLst/>
              <a:cxnLst/>
              <a:rect l="l" t="t" r="r" b="b"/>
              <a:pathLst>
                <a:path w="33792" h="33792" extrusionOk="0">
                  <a:moveTo>
                    <a:pt x="16879" y="1"/>
                  </a:moveTo>
                  <a:cubicBezTo>
                    <a:pt x="7539" y="1"/>
                    <a:pt x="0" y="7539"/>
                    <a:pt x="0" y="16879"/>
                  </a:cubicBezTo>
                  <a:cubicBezTo>
                    <a:pt x="0" y="26219"/>
                    <a:pt x="7539" y="33791"/>
                    <a:pt x="16879" y="33791"/>
                  </a:cubicBezTo>
                  <a:cubicBezTo>
                    <a:pt x="26219" y="33791"/>
                    <a:pt x="33791" y="26219"/>
                    <a:pt x="33791" y="16879"/>
                  </a:cubicBezTo>
                  <a:cubicBezTo>
                    <a:pt x="33791" y="7539"/>
                    <a:pt x="26219" y="1"/>
                    <a:pt x="16879" y="1"/>
                  </a:cubicBezTo>
                  <a:close/>
                  <a:moveTo>
                    <a:pt x="16879" y="31923"/>
                  </a:moveTo>
                  <a:cubicBezTo>
                    <a:pt x="8573" y="31923"/>
                    <a:pt x="1835" y="25185"/>
                    <a:pt x="1835" y="16879"/>
                  </a:cubicBezTo>
                  <a:cubicBezTo>
                    <a:pt x="1835" y="8573"/>
                    <a:pt x="8573" y="1835"/>
                    <a:pt x="16879" y="1835"/>
                  </a:cubicBezTo>
                  <a:cubicBezTo>
                    <a:pt x="25185" y="1835"/>
                    <a:pt x="31923" y="8573"/>
                    <a:pt x="31923" y="16879"/>
                  </a:cubicBezTo>
                  <a:cubicBezTo>
                    <a:pt x="31923" y="25185"/>
                    <a:pt x="25185" y="31923"/>
                    <a:pt x="16879"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66"/>
            <p:cNvSpPr/>
            <p:nvPr/>
          </p:nvSpPr>
          <p:spPr>
            <a:xfrm rot="10800000">
              <a:off x="4381980" y="2231460"/>
              <a:ext cx="800678" cy="800617"/>
            </a:xfrm>
            <a:custGeom>
              <a:avLst/>
              <a:gdLst/>
              <a:ahLst/>
              <a:cxnLst/>
              <a:rect l="l" t="t" r="r" b="b"/>
              <a:pathLst>
                <a:path w="33791" h="33792" extrusionOk="0">
                  <a:moveTo>
                    <a:pt x="16912" y="1"/>
                  </a:moveTo>
                  <a:cubicBezTo>
                    <a:pt x="7572" y="1"/>
                    <a:pt x="0" y="7539"/>
                    <a:pt x="0" y="16879"/>
                  </a:cubicBezTo>
                  <a:cubicBezTo>
                    <a:pt x="0" y="26219"/>
                    <a:pt x="7572" y="33791"/>
                    <a:pt x="16912" y="33791"/>
                  </a:cubicBezTo>
                  <a:cubicBezTo>
                    <a:pt x="26252" y="33791"/>
                    <a:pt x="33791" y="26219"/>
                    <a:pt x="33791" y="16879"/>
                  </a:cubicBezTo>
                  <a:cubicBezTo>
                    <a:pt x="33791" y="7539"/>
                    <a:pt x="26252" y="1"/>
                    <a:pt x="16912" y="1"/>
                  </a:cubicBezTo>
                  <a:close/>
                  <a:moveTo>
                    <a:pt x="16912" y="31923"/>
                  </a:moveTo>
                  <a:cubicBezTo>
                    <a:pt x="8606" y="31923"/>
                    <a:pt x="1868" y="25185"/>
                    <a:pt x="1868" y="16879"/>
                  </a:cubicBezTo>
                  <a:cubicBezTo>
                    <a:pt x="1868" y="8573"/>
                    <a:pt x="8606" y="1835"/>
                    <a:pt x="16912" y="1835"/>
                  </a:cubicBezTo>
                  <a:cubicBezTo>
                    <a:pt x="25218" y="1835"/>
                    <a:pt x="31956" y="8573"/>
                    <a:pt x="31956" y="16879"/>
                  </a:cubicBezTo>
                  <a:cubicBezTo>
                    <a:pt x="31956"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07" name="Google Shape;4707;p66"/>
          <p:cNvGrpSpPr/>
          <p:nvPr/>
        </p:nvGrpSpPr>
        <p:grpSpPr>
          <a:xfrm>
            <a:off x="6840408" y="1808668"/>
            <a:ext cx="1586327" cy="371557"/>
            <a:chOff x="1247650" y="2075423"/>
            <a:chExt cx="6648477" cy="1557238"/>
          </a:xfrm>
        </p:grpSpPr>
        <p:sp>
          <p:nvSpPr>
            <p:cNvPr id="4708" name="Google Shape;4708;p66"/>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66"/>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66"/>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66"/>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66"/>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66"/>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rgbClr val="191919"/>
            </a:solidFill>
            <a:ln w="19050"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14" name="Google Shape;4714;p66"/>
          <p:cNvGrpSpPr/>
          <p:nvPr/>
        </p:nvGrpSpPr>
        <p:grpSpPr>
          <a:xfrm>
            <a:off x="5271678" y="961858"/>
            <a:ext cx="1415601" cy="1648533"/>
            <a:chOff x="1839112" y="2209163"/>
            <a:chExt cx="1918159" cy="2233784"/>
          </a:xfrm>
        </p:grpSpPr>
        <p:sp>
          <p:nvSpPr>
            <p:cNvPr id="4715" name="Google Shape;4715;p66"/>
            <p:cNvSpPr/>
            <p:nvPr/>
          </p:nvSpPr>
          <p:spPr>
            <a:xfrm>
              <a:off x="1839112"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66"/>
            <p:cNvSpPr/>
            <p:nvPr/>
          </p:nvSpPr>
          <p:spPr>
            <a:xfrm>
              <a:off x="3182171"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66"/>
            <p:cNvSpPr/>
            <p:nvPr/>
          </p:nvSpPr>
          <p:spPr>
            <a:xfrm>
              <a:off x="3182171"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18" name="Google Shape;4718;p66"/>
            <p:cNvCxnSpPr>
              <a:stCxn id="4715" idx="6"/>
              <a:endCxn id="4716" idx="2"/>
            </p:cNvCxnSpPr>
            <p:nvPr/>
          </p:nvCxnSpPr>
          <p:spPr>
            <a:xfrm>
              <a:off x="2414212" y="2496713"/>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19" name="Google Shape;4719;p66"/>
            <p:cNvCxnSpPr>
              <a:stCxn id="4716" idx="4"/>
              <a:endCxn id="4720" idx="0"/>
            </p:cNvCxnSpPr>
            <p:nvPr/>
          </p:nvCxnSpPr>
          <p:spPr>
            <a:xfrm rot="5400000">
              <a:off x="2669921" y="2240963"/>
              <a:ext cx="256500" cy="1343100"/>
            </a:xfrm>
            <a:prstGeom prst="bentConnector3">
              <a:avLst>
                <a:gd name="adj1" fmla="val 50000"/>
              </a:avLst>
            </a:prstGeom>
            <a:noFill/>
            <a:ln w="19050" cap="flat" cmpd="sng">
              <a:solidFill>
                <a:srgbClr val="374957"/>
              </a:solidFill>
              <a:prstDash val="solid"/>
              <a:round/>
              <a:headEnd type="none" w="med" len="med"/>
              <a:tailEnd type="none" w="med" len="med"/>
            </a:ln>
          </p:spPr>
        </p:cxnSp>
        <p:cxnSp>
          <p:nvCxnSpPr>
            <p:cNvPr id="4721" name="Google Shape;4721;p66"/>
            <p:cNvCxnSpPr>
              <a:stCxn id="4720" idx="6"/>
              <a:endCxn id="4717" idx="2"/>
            </p:cNvCxnSpPr>
            <p:nvPr/>
          </p:nvCxnSpPr>
          <p:spPr>
            <a:xfrm>
              <a:off x="2414212" y="3328316"/>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22" name="Google Shape;4722;p66"/>
            <p:cNvCxnSpPr>
              <a:stCxn id="4717" idx="4"/>
              <a:endCxn id="4723" idx="0"/>
            </p:cNvCxnSpPr>
            <p:nvPr/>
          </p:nvCxnSpPr>
          <p:spPr>
            <a:xfrm rot="5400000">
              <a:off x="2672171" y="3070316"/>
              <a:ext cx="252000" cy="1343100"/>
            </a:xfrm>
            <a:prstGeom prst="bentConnector3">
              <a:avLst>
                <a:gd name="adj1" fmla="val 49996"/>
              </a:avLst>
            </a:prstGeom>
            <a:noFill/>
            <a:ln w="19050" cap="flat" cmpd="sng">
              <a:solidFill>
                <a:srgbClr val="374957"/>
              </a:solidFill>
              <a:prstDash val="solid"/>
              <a:round/>
              <a:headEnd type="none" w="med" len="med"/>
              <a:tailEnd type="none" w="med" len="med"/>
            </a:ln>
          </p:spPr>
        </p:cxnSp>
        <p:sp>
          <p:nvSpPr>
            <p:cNvPr id="4720" name="Google Shape;4720;p66"/>
            <p:cNvSpPr/>
            <p:nvPr/>
          </p:nvSpPr>
          <p:spPr>
            <a:xfrm>
              <a:off x="1839112"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66"/>
            <p:cNvSpPr/>
            <p:nvPr/>
          </p:nvSpPr>
          <p:spPr>
            <a:xfrm>
              <a:off x="1839112"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66"/>
            <p:cNvSpPr/>
            <p:nvPr/>
          </p:nvSpPr>
          <p:spPr>
            <a:xfrm>
              <a:off x="3182171"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25" name="Google Shape;4725;p66"/>
            <p:cNvCxnSpPr>
              <a:endCxn id="4724" idx="2"/>
            </p:cNvCxnSpPr>
            <p:nvPr/>
          </p:nvCxnSpPr>
          <p:spPr>
            <a:xfrm>
              <a:off x="2413871" y="4154498"/>
              <a:ext cx="768300" cy="900"/>
            </a:xfrm>
            <a:prstGeom prst="bentConnector3">
              <a:avLst>
                <a:gd name="adj1" fmla="val 50000"/>
              </a:avLst>
            </a:prstGeom>
            <a:noFill/>
            <a:ln w="19050" cap="flat" cmpd="sng">
              <a:solidFill>
                <a:srgbClr val="374957"/>
              </a:solidFill>
              <a:prstDash val="solid"/>
              <a:round/>
              <a:headEnd type="none" w="med" len="med"/>
              <a:tailEnd type="none" w="med" len="med"/>
            </a:ln>
          </p:spPr>
        </p:cxnSp>
      </p:grpSp>
      <p:grpSp>
        <p:nvGrpSpPr>
          <p:cNvPr id="4726" name="Google Shape;4726;p66"/>
          <p:cNvGrpSpPr/>
          <p:nvPr/>
        </p:nvGrpSpPr>
        <p:grpSpPr>
          <a:xfrm>
            <a:off x="3428944" y="979942"/>
            <a:ext cx="1637968" cy="154942"/>
            <a:chOff x="238125" y="2506075"/>
            <a:chExt cx="7115411" cy="673075"/>
          </a:xfrm>
        </p:grpSpPr>
        <p:sp>
          <p:nvSpPr>
            <p:cNvPr id="4727" name="Google Shape;4727;p66"/>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66"/>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66"/>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66"/>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66"/>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32" name="Google Shape;4732;p66"/>
          <p:cNvGrpSpPr/>
          <p:nvPr/>
        </p:nvGrpSpPr>
        <p:grpSpPr>
          <a:xfrm>
            <a:off x="1969680" y="1294660"/>
            <a:ext cx="1262932" cy="785408"/>
            <a:chOff x="548861" y="389676"/>
            <a:chExt cx="3843371" cy="2390163"/>
          </a:xfrm>
        </p:grpSpPr>
        <p:cxnSp>
          <p:nvCxnSpPr>
            <p:cNvPr id="4733" name="Google Shape;4733;p66"/>
            <p:cNvCxnSpPr/>
            <p:nvPr/>
          </p:nvCxnSpPr>
          <p:spPr>
            <a:xfrm rot="10800000" flipH="1">
              <a:off x="3486925" y="1918250"/>
              <a:ext cx="742200" cy="6903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4" name="Google Shape;4734;p66"/>
            <p:cNvCxnSpPr/>
            <p:nvPr/>
          </p:nvCxnSpPr>
          <p:spPr>
            <a:xfrm rot="-5400000" flipH="1">
              <a:off x="3486925" y="577350"/>
              <a:ext cx="650100" cy="6501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5" name="Google Shape;4735;p66"/>
            <p:cNvCxnSpPr/>
            <p:nvPr/>
          </p:nvCxnSpPr>
          <p:spPr>
            <a:xfrm>
              <a:off x="2725450" y="576000"/>
              <a:ext cx="1410600" cy="18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6" name="Google Shape;4736;p66"/>
            <p:cNvCxnSpPr/>
            <p:nvPr/>
          </p:nvCxnSpPr>
          <p:spPr>
            <a:xfrm rot="10800000" flipH="1">
              <a:off x="756500" y="577975"/>
              <a:ext cx="1705500" cy="1049100"/>
            </a:xfrm>
            <a:prstGeom prst="bentConnector3">
              <a:avLst>
                <a:gd name="adj1" fmla="val 50000"/>
              </a:avLst>
            </a:prstGeom>
            <a:noFill/>
            <a:ln w="9525" cap="flat" cmpd="sng">
              <a:solidFill>
                <a:srgbClr val="BAC8D3"/>
              </a:solidFill>
              <a:prstDash val="solid"/>
              <a:round/>
              <a:headEnd type="none" w="med" len="med"/>
              <a:tailEnd type="none" w="med" len="med"/>
            </a:ln>
          </p:spPr>
        </p:cxnSp>
        <p:cxnSp>
          <p:nvCxnSpPr>
            <p:cNvPr id="4737" name="Google Shape;4737;p66"/>
            <p:cNvCxnSpPr/>
            <p:nvPr/>
          </p:nvCxnSpPr>
          <p:spPr>
            <a:xfrm>
              <a:off x="760067" y="1625791"/>
              <a:ext cx="1689000" cy="9741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4738" name="Google Shape;4738;p66"/>
            <p:cNvSpPr/>
            <p:nvPr/>
          </p:nvSpPr>
          <p:spPr>
            <a:xfrm>
              <a:off x="548861" y="1338125"/>
              <a:ext cx="502050" cy="50287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39" name="Google Shape;4739;p66"/>
            <p:cNvCxnSpPr/>
            <p:nvPr/>
          </p:nvCxnSpPr>
          <p:spPr>
            <a:xfrm>
              <a:off x="2725450" y="2609025"/>
              <a:ext cx="1416000" cy="18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4740" name="Google Shape;4740;p66"/>
            <p:cNvSpPr/>
            <p:nvPr/>
          </p:nvSpPr>
          <p:spPr>
            <a:xfrm>
              <a:off x="4095707" y="1083398"/>
              <a:ext cx="289400" cy="268650"/>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66"/>
            <p:cNvSpPr/>
            <p:nvPr/>
          </p:nvSpPr>
          <p:spPr>
            <a:xfrm>
              <a:off x="2421967" y="389676"/>
              <a:ext cx="383625" cy="37182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66"/>
            <p:cNvSpPr/>
            <p:nvPr/>
          </p:nvSpPr>
          <p:spPr>
            <a:xfrm>
              <a:off x="4095707" y="426309"/>
              <a:ext cx="289400" cy="268850"/>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66"/>
            <p:cNvSpPr/>
            <p:nvPr/>
          </p:nvSpPr>
          <p:spPr>
            <a:xfrm>
              <a:off x="4102832" y="2474633"/>
              <a:ext cx="289400" cy="269425"/>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66"/>
            <p:cNvSpPr/>
            <p:nvPr/>
          </p:nvSpPr>
          <p:spPr>
            <a:xfrm>
              <a:off x="4095707" y="1772738"/>
              <a:ext cx="289400" cy="268825"/>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66"/>
            <p:cNvSpPr/>
            <p:nvPr/>
          </p:nvSpPr>
          <p:spPr>
            <a:xfrm>
              <a:off x="2422792" y="2408015"/>
              <a:ext cx="383650" cy="37182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46" name="Google Shape;4746;p66"/>
          <p:cNvGrpSpPr/>
          <p:nvPr/>
        </p:nvGrpSpPr>
        <p:grpSpPr>
          <a:xfrm>
            <a:off x="757812" y="2401537"/>
            <a:ext cx="1412054" cy="633562"/>
            <a:chOff x="1187400" y="2529299"/>
            <a:chExt cx="6769193" cy="2241903"/>
          </a:xfrm>
        </p:grpSpPr>
        <p:sp>
          <p:nvSpPr>
            <p:cNvPr id="4747" name="Google Shape;4747;p66"/>
            <p:cNvSpPr/>
            <p:nvPr/>
          </p:nvSpPr>
          <p:spPr>
            <a:xfrm>
              <a:off x="3802943" y="2529299"/>
              <a:ext cx="1538100" cy="442500"/>
            </a:xfrm>
            <a:prstGeom prst="roundRect">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sp>
          <p:nvSpPr>
            <p:cNvPr id="4748" name="Google Shape;4748;p66"/>
            <p:cNvSpPr/>
            <p:nvPr/>
          </p:nvSpPr>
          <p:spPr>
            <a:xfrm>
              <a:off x="5573240"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49" name="Google Shape;4749;p66"/>
            <p:cNvSpPr/>
            <p:nvPr/>
          </p:nvSpPr>
          <p:spPr>
            <a:xfrm>
              <a:off x="2032647"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0" name="Google Shape;4750;p66"/>
            <p:cNvSpPr/>
            <p:nvPr/>
          </p:nvSpPr>
          <p:spPr>
            <a:xfrm>
              <a:off x="11874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1" name="Google Shape;4751;p66"/>
            <p:cNvSpPr/>
            <p:nvPr/>
          </p:nvSpPr>
          <p:spPr>
            <a:xfrm>
              <a:off x="28778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2" name="Google Shape;4752;p66"/>
            <p:cNvSpPr/>
            <p:nvPr/>
          </p:nvSpPr>
          <p:spPr>
            <a:xfrm>
              <a:off x="47280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3" name="Google Shape;4753;p66"/>
            <p:cNvSpPr/>
            <p:nvPr/>
          </p:nvSpPr>
          <p:spPr>
            <a:xfrm>
              <a:off x="64184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cxnSp>
          <p:nvCxnSpPr>
            <p:cNvPr id="4754" name="Google Shape;4754;p66"/>
            <p:cNvCxnSpPr>
              <a:stCxn id="4747" idx="2"/>
              <a:endCxn id="4748" idx="0"/>
            </p:cNvCxnSpPr>
            <p:nvPr/>
          </p:nvCxnSpPr>
          <p:spPr>
            <a:xfrm rot="-5400000" flipH="1">
              <a:off x="5228543" y="2315249"/>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5" name="Google Shape;4755;p66"/>
            <p:cNvCxnSpPr>
              <a:stCxn id="4749" idx="0"/>
              <a:endCxn id="4747" idx="2"/>
            </p:cNvCxnSpPr>
            <p:nvPr/>
          </p:nvCxnSpPr>
          <p:spPr>
            <a:xfrm rot="-5400000">
              <a:off x="3458247" y="2315250"/>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6" name="Google Shape;4756;p66"/>
            <p:cNvCxnSpPr>
              <a:stCxn id="4749" idx="2"/>
              <a:endCxn id="4751" idx="0"/>
            </p:cNvCxnSpPr>
            <p:nvPr/>
          </p:nvCxnSpPr>
          <p:spPr>
            <a:xfrm rot="-5400000" flipH="1">
              <a:off x="2995647" y="3677550"/>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7" name="Google Shape;4757;p66"/>
            <p:cNvCxnSpPr>
              <a:stCxn id="4750" idx="0"/>
              <a:endCxn id="4749" idx="2"/>
            </p:cNvCxnSpPr>
            <p:nvPr/>
          </p:nvCxnSpPr>
          <p:spPr>
            <a:xfrm rot="-5400000">
              <a:off x="21504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8" name="Google Shape;4758;p66"/>
            <p:cNvCxnSpPr>
              <a:stCxn id="4748" idx="2"/>
              <a:endCxn id="4753" idx="0"/>
            </p:cNvCxnSpPr>
            <p:nvPr/>
          </p:nvCxnSpPr>
          <p:spPr>
            <a:xfrm rot="-5400000" flipH="1">
              <a:off x="6536390" y="3677400"/>
              <a:ext cx="457200" cy="8454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9" name="Google Shape;4759;p66"/>
            <p:cNvCxnSpPr>
              <a:stCxn id="4752" idx="0"/>
              <a:endCxn id="4748" idx="2"/>
            </p:cNvCxnSpPr>
            <p:nvPr/>
          </p:nvCxnSpPr>
          <p:spPr>
            <a:xfrm rot="-5400000">
              <a:off x="56910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grpSp>
      <p:grpSp>
        <p:nvGrpSpPr>
          <p:cNvPr id="4760" name="Google Shape;4760;p66"/>
          <p:cNvGrpSpPr/>
          <p:nvPr/>
        </p:nvGrpSpPr>
        <p:grpSpPr>
          <a:xfrm>
            <a:off x="6844058" y="2894246"/>
            <a:ext cx="1579035" cy="540873"/>
            <a:chOff x="6895650" y="3126697"/>
            <a:chExt cx="1436662" cy="492105"/>
          </a:xfrm>
        </p:grpSpPr>
        <p:sp>
          <p:nvSpPr>
            <p:cNvPr id="4761" name="Google Shape;4761;p66"/>
            <p:cNvSpPr/>
            <p:nvPr/>
          </p:nvSpPr>
          <p:spPr>
            <a:xfrm>
              <a:off x="715182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66"/>
            <p:cNvSpPr/>
            <p:nvPr/>
          </p:nvSpPr>
          <p:spPr>
            <a:xfrm>
              <a:off x="766416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66"/>
            <p:cNvSpPr/>
            <p:nvPr/>
          </p:nvSpPr>
          <p:spPr>
            <a:xfrm>
              <a:off x="6895650" y="3127761"/>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66"/>
            <p:cNvSpPr/>
            <p:nvPr/>
          </p:nvSpPr>
          <p:spPr>
            <a:xfrm>
              <a:off x="7399482"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66"/>
            <p:cNvSpPr/>
            <p:nvPr/>
          </p:nvSpPr>
          <p:spPr>
            <a:xfrm>
              <a:off x="7911823"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66" name="Google Shape;4766;p66"/>
            <p:cNvGrpSpPr/>
            <p:nvPr/>
          </p:nvGrpSpPr>
          <p:grpSpPr>
            <a:xfrm>
              <a:off x="6995957" y="3335810"/>
              <a:ext cx="1230393" cy="71754"/>
              <a:chOff x="6995957" y="3287964"/>
              <a:chExt cx="1230393" cy="71754"/>
            </a:xfrm>
          </p:grpSpPr>
          <p:sp>
            <p:nvSpPr>
              <p:cNvPr id="4767" name="Google Shape;4767;p66"/>
              <p:cNvSpPr/>
              <p:nvPr/>
            </p:nvSpPr>
            <p:spPr>
              <a:xfrm>
                <a:off x="8006733" y="3287964"/>
                <a:ext cx="219617" cy="71754"/>
              </a:xfrm>
              <a:custGeom>
                <a:avLst/>
                <a:gdLst/>
                <a:ahLst/>
                <a:cxnLst/>
                <a:rect l="l" t="t" r="r" b="b"/>
                <a:pathLst>
                  <a:path w="6608" h="2159" extrusionOk="0">
                    <a:moveTo>
                      <a:pt x="3501" y="647"/>
                    </a:moveTo>
                    <a:cubicBezTo>
                      <a:pt x="3723" y="647"/>
                      <a:pt x="3935" y="820"/>
                      <a:pt x="3936" y="1080"/>
                    </a:cubicBezTo>
                    <a:cubicBezTo>
                      <a:pt x="3936" y="1318"/>
                      <a:pt x="3743" y="1512"/>
                      <a:pt x="3504" y="1512"/>
                    </a:cubicBezTo>
                    <a:cubicBezTo>
                      <a:pt x="3118" y="1512"/>
                      <a:pt x="2924" y="1048"/>
                      <a:pt x="3198" y="775"/>
                    </a:cubicBezTo>
                    <a:cubicBezTo>
                      <a:pt x="3286" y="687"/>
                      <a:pt x="3395" y="647"/>
                      <a:pt x="3501" y="647"/>
                    </a:cubicBezTo>
                    <a:close/>
                    <a:moveTo>
                      <a:pt x="3504" y="0"/>
                    </a:moveTo>
                    <a:cubicBezTo>
                      <a:pt x="3051" y="0"/>
                      <a:pt x="2646" y="282"/>
                      <a:pt x="2490" y="708"/>
                    </a:cubicBezTo>
                    <a:lnTo>
                      <a:pt x="357" y="708"/>
                    </a:lnTo>
                    <a:cubicBezTo>
                      <a:pt x="160" y="708"/>
                      <a:pt x="0" y="868"/>
                      <a:pt x="0" y="1065"/>
                    </a:cubicBezTo>
                    <a:lnTo>
                      <a:pt x="0" y="1129"/>
                    </a:lnTo>
                    <a:cubicBezTo>
                      <a:pt x="0" y="1326"/>
                      <a:pt x="160" y="1486"/>
                      <a:pt x="357" y="1486"/>
                    </a:cubicBezTo>
                    <a:lnTo>
                      <a:pt x="2502" y="1486"/>
                    </a:lnTo>
                    <a:cubicBezTo>
                      <a:pt x="2668" y="1893"/>
                      <a:pt x="3064" y="2159"/>
                      <a:pt x="3502" y="2159"/>
                    </a:cubicBezTo>
                    <a:cubicBezTo>
                      <a:pt x="3943" y="2159"/>
                      <a:pt x="4338" y="1893"/>
                      <a:pt x="4503" y="1486"/>
                    </a:cubicBezTo>
                    <a:lnTo>
                      <a:pt x="6271" y="1486"/>
                    </a:lnTo>
                    <a:cubicBezTo>
                      <a:pt x="6457" y="1486"/>
                      <a:pt x="6607" y="1336"/>
                      <a:pt x="6607" y="1150"/>
                    </a:cubicBezTo>
                    <a:lnTo>
                      <a:pt x="6607" y="1044"/>
                    </a:lnTo>
                    <a:cubicBezTo>
                      <a:pt x="6607" y="859"/>
                      <a:pt x="6457" y="710"/>
                      <a:pt x="6271" y="708"/>
                    </a:cubicBezTo>
                    <a:lnTo>
                      <a:pt x="4518" y="708"/>
                    </a:lnTo>
                    <a:cubicBezTo>
                      <a:pt x="4362" y="282"/>
                      <a:pt x="3957"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66"/>
              <p:cNvSpPr/>
              <p:nvPr/>
            </p:nvSpPr>
            <p:spPr>
              <a:xfrm>
                <a:off x="7756540" y="3287964"/>
                <a:ext cx="219617" cy="71754"/>
              </a:xfrm>
              <a:custGeom>
                <a:avLst/>
                <a:gdLst/>
                <a:ahLst/>
                <a:cxnLst/>
                <a:rect l="l" t="t" r="r" b="b"/>
                <a:pathLst>
                  <a:path w="6608" h="2159" extrusionOk="0">
                    <a:moveTo>
                      <a:pt x="3500" y="647"/>
                    </a:moveTo>
                    <a:cubicBezTo>
                      <a:pt x="3722" y="647"/>
                      <a:pt x="3935" y="820"/>
                      <a:pt x="3935" y="1080"/>
                    </a:cubicBezTo>
                    <a:cubicBezTo>
                      <a:pt x="3935" y="1318"/>
                      <a:pt x="3741" y="1512"/>
                      <a:pt x="3503" y="1512"/>
                    </a:cubicBezTo>
                    <a:cubicBezTo>
                      <a:pt x="3117" y="1512"/>
                      <a:pt x="2925" y="1048"/>
                      <a:pt x="3197" y="775"/>
                    </a:cubicBezTo>
                    <a:cubicBezTo>
                      <a:pt x="3285" y="687"/>
                      <a:pt x="3393" y="647"/>
                      <a:pt x="3500" y="647"/>
                    </a:cubicBezTo>
                    <a:close/>
                    <a:moveTo>
                      <a:pt x="3503" y="0"/>
                    </a:moveTo>
                    <a:cubicBezTo>
                      <a:pt x="3049" y="0"/>
                      <a:pt x="2644" y="282"/>
                      <a:pt x="2489" y="708"/>
                    </a:cubicBezTo>
                    <a:lnTo>
                      <a:pt x="358" y="708"/>
                    </a:lnTo>
                    <a:cubicBezTo>
                      <a:pt x="159" y="708"/>
                      <a:pt x="0" y="868"/>
                      <a:pt x="0" y="1065"/>
                    </a:cubicBezTo>
                    <a:lnTo>
                      <a:pt x="0" y="1129"/>
                    </a:lnTo>
                    <a:cubicBezTo>
                      <a:pt x="0" y="1326"/>
                      <a:pt x="159" y="1486"/>
                      <a:pt x="358" y="1486"/>
                    </a:cubicBezTo>
                    <a:lnTo>
                      <a:pt x="2502" y="1486"/>
                    </a:lnTo>
                    <a:cubicBezTo>
                      <a:pt x="2668" y="1893"/>
                      <a:pt x="3064" y="2159"/>
                      <a:pt x="3503" y="2159"/>
                    </a:cubicBezTo>
                    <a:cubicBezTo>
                      <a:pt x="3941" y="2159"/>
                      <a:pt x="4338" y="1893"/>
                      <a:pt x="4503" y="1486"/>
                    </a:cubicBezTo>
                    <a:lnTo>
                      <a:pt x="6271" y="1486"/>
                    </a:lnTo>
                    <a:cubicBezTo>
                      <a:pt x="6457" y="1486"/>
                      <a:pt x="6608" y="1336"/>
                      <a:pt x="6608" y="1150"/>
                    </a:cubicBezTo>
                    <a:lnTo>
                      <a:pt x="6608" y="1044"/>
                    </a:lnTo>
                    <a:cubicBezTo>
                      <a:pt x="6606" y="859"/>
                      <a:pt x="6455" y="708"/>
                      <a:pt x="6270"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66"/>
              <p:cNvSpPr/>
              <p:nvPr/>
            </p:nvSpPr>
            <p:spPr>
              <a:xfrm>
                <a:off x="7496443"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4" y="1512"/>
                    </a:cubicBezTo>
                    <a:cubicBezTo>
                      <a:pt x="3119" y="1512"/>
                      <a:pt x="2925" y="1048"/>
                      <a:pt x="3197" y="775"/>
                    </a:cubicBezTo>
                    <a:cubicBezTo>
                      <a:pt x="3285" y="687"/>
                      <a:pt x="3394" y="647"/>
                      <a:pt x="3500" y="647"/>
                    </a:cubicBezTo>
                    <a:close/>
                    <a:moveTo>
                      <a:pt x="3504" y="0"/>
                    </a:moveTo>
                    <a:cubicBezTo>
                      <a:pt x="3050" y="0"/>
                      <a:pt x="2646" y="282"/>
                      <a:pt x="2491" y="708"/>
                    </a:cubicBezTo>
                    <a:lnTo>
                      <a:pt x="358" y="708"/>
                    </a:lnTo>
                    <a:cubicBezTo>
                      <a:pt x="159" y="708"/>
                      <a:pt x="1" y="868"/>
                      <a:pt x="1" y="1065"/>
                    </a:cubicBezTo>
                    <a:lnTo>
                      <a:pt x="1" y="1129"/>
                    </a:lnTo>
                    <a:cubicBezTo>
                      <a:pt x="1" y="1326"/>
                      <a:pt x="159" y="1486"/>
                      <a:pt x="358" y="1486"/>
                    </a:cubicBezTo>
                    <a:lnTo>
                      <a:pt x="2502" y="1486"/>
                    </a:lnTo>
                    <a:cubicBezTo>
                      <a:pt x="2669" y="1893"/>
                      <a:pt x="3064" y="2159"/>
                      <a:pt x="3503" y="2159"/>
                    </a:cubicBezTo>
                    <a:cubicBezTo>
                      <a:pt x="3943" y="2159"/>
                      <a:pt x="4339" y="1893"/>
                      <a:pt x="4504" y="1486"/>
                    </a:cubicBezTo>
                    <a:lnTo>
                      <a:pt x="6272" y="1486"/>
                    </a:lnTo>
                    <a:cubicBezTo>
                      <a:pt x="6457" y="1486"/>
                      <a:pt x="6608" y="1336"/>
                      <a:pt x="6608" y="1150"/>
                    </a:cubicBezTo>
                    <a:lnTo>
                      <a:pt x="6608" y="1044"/>
                    </a:lnTo>
                    <a:cubicBezTo>
                      <a:pt x="6608" y="859"/>
                      <a:pt x="6457" y="710"/>
                      <a:pt x="6272" y="708"/>
                    </a:cubicBezTo>
                    <a:lnTo>
                      <a:pt x="4518" y="708"/>
                    </a:lnTo>
                    <a:cubicBezTo>
                      <a:pt x="4361" y="282"/>
                      <a:pt x="3958"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66"/>
              <p:cNvSpPr/>
              <p:nvPr/>
            </p:nvSpPr>
            <p:spPr>
              <a:xfrm>
                <a:off x="7243757"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3" y="1512"/>
                    </a:cubicBezTo>
                    <a:cubicBezTo>
                      <a:pt x="3118" y="1512"/>
                      <a:pt x="2925" y="1048"/>
                      <a:pt x="3197" y="775"/>
                    </a:cubicBezTo>
                    <a:cubicBezTo>
                      <a:pt x="3285" y="687"/>
                      <a:pt x="3394" y="647"/>
                      <a:pt x="3500" y="647"/>
                    </a:cubicBezTo>
                    <a:close/>
                    <a:moveTo>
                      <a:pt x="3503" y="0"/>
                    </a:moveTo>
                    <a:cubicBezTo>
                      <a:pt x="3050" y="0"/>
                      <a:pt x="2644" y="282"/>
                      <a:pt x="2489" y="708"/>
                    </a:cubicBezTo>
                    <a:lnTo>
                      <a:pt x="358" y="708"/>
                    </a:lnTo>
                    <a:cubicBezTo>
                      <a:pt x="159" y="708"/>
                      <a:pt x="1" y="868"/>
                      <a:pt x="1" y="1065"/>
                    </a:cubicBezTo>
                    <a:lnTo>
                      <a:pt x="1" y="1129"/>
                    </a:lnTo>
                    <a:cubicBezTo>
                      <a:pt x="1" y="1326"/>
                      <a:pt x="159" y="1486"/>
                      <a:pt x="358" y="1486"/>
                    </a:cubicBezTo>
                    <a:lnTo>
                      <a:pt x="2502" y="1486"/>
                    </a:lnTo>
                    <a:cubicBezTo>
                      <a:pt x="2668" y="1893"/>
                      <a:pt x="3064" y="2159"/>
                      <a:pt x="3503" y="2159"/>
                    </a:cubicBezTo>
                    <a:cubicBezTo>
                      <a:pt x="3943" y="2159"/>
                      <a:pt x="4339" y="1893"/>
                      <a:pt x="4504" y="1486"/>
                    </a:cubicBezTo>
                    <a:lnTo>
                      <a:pt x="6271" y="1486"/>
                    </a:lnTo>
                    <a:cubicBezTo>
                      <a:pt x="6457" y="1486"/>
                      <a:pt x="6608" y="1336"/>
                      <a:pt x="6608" y="1150"/>
                    </a:cubicBezTo>
                    <a:lnTo>
                      <a:pt x="6608" y="1044"/>
                    </a:lnTo>
                    <a:cubicBezTo>
                      <a:pt x="6608" y="859"/>
                      <a:pt x="6457" y="710"/>
                      <a:pt x="6271"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66"/>
              <p:cNvSpPr/>
              <p:nvPr/>
            </p:nvSpPr>
            <p:spPr>
              <a:xfrm>
                <a:off x="6995957" y="3287964"/>
                <a:ext cx="219617" cy="71754"/>
              </a:xfrm>
              <a:custGeom>
                <a:avLst/>
                <a:gdLst/>
                <a:ahLst/>
                <a:cxnLst/>
                <a:rect l="l" t="t" r="r" b="b"/>
                <a:pathLst>
                  <a:path w="6608" h="2159" extrusionOk="0">
                    <a:moveTo>
                      <a:pt x="3502" y="647"/>
                    </a:moveTo>
                    <a:cubicBezTo>
                      <a:pt x="3724" y="647"/>
                      <a:pt x="3937" y="820"/>
                      <a:pt x="3937" y="1080"/>
                    </a:cubicBezTo>
                    <a:cubicBezTo>
                      <a:pt x="3937" y="1318"/>
                      <a:pt x="3743" y="1512"/>
                      <a:pt x="3505" y="1512"/>
                    </a:cubicBezTo>
                    <a:cubicBezTo>
                      <a:pt x="3119" y="1512"/>
                      <a:pt x="2926" y="1048"/>
                      <a:pt x="3199" y="775"/>
                    </a:cubicBezTo>
                    <a:cubicBezTo>
                      <a:pt x="3287" y="687"/>
                      <a:pt x="3395" y="647"/>
                      <a:pt x="3502" y="647"/>
                    </a:cubicBezTo>
                    <a:close/>
                    <a:moveTo>
                      <a:pt x="3505" y="0"/>
                    </a:moveTo>
                    <a:cubicBezTo>
                      <a:pt x="3051" y="0"/>
                      <a:pt x="2646" y="282"/>
                      <a:pt x="2491" y="708"/>
                    </a:cubicBezTo>
                    <a:lnTo>
                      <a:pt x="358" y="708"/>
                    </a:lnTo>
                    <a:cubicBezTo>
                      <a:pt x="161" y="708"/>
                      <a:pt x="1" y="868"/>
                      <a:pt x="1" y="1065"/>
                    </a:cubicBezTo>
                    <a:lnTo>
                      <a:pt x="1" y="1129"/>
                    </a:lnTo>
                    <a:cubicBezTo>
                      <a:pt x="1" y="1326"/>
                      <a:pt x="161" y="1486"/>
                      <a:pt x="358" y="1486"/>
                    </a:cubicBezTo>
                    <a:lnTo>
                      <a:pt x="2504" y="1486"/>
                    </a:lnTo>
                    <a:cubicBezTo>
                      <a:pt x="2669" y="1893"/>
                      <a:pt x="3064" y="2159"/>
                      <a:pt x="3505" y="2159"/>
                    </a:cubicBezTo>
                    <a:cubicBezTo>
                      <a:pt x="3943" y="2159"/>
                      <a:pt x="4339" y="1893"/>
                      <a:pt x="4505" y="1486"/>
                    </a:cubicBezTo>
                    <a:lnTo>
                      <a:pt x="6272" y="1486"/>
                    </a:lnTo>
                    <a:cubicBezTo>
                      <a:pt x="6457" y="1486"/>
                      <a:pt x="6608" y="1336"/>
                      <a:pt x="6608" y="1150"/>
                    </a:cubicBezTo>
                    <a:lnTo>
                      <a:pt x="6608" y="1044"/>
                    </a:lnTo>
                    <a:cubicBezTo>
                      <a:pt x="6608" y="859"/>
                      <a:pt x="6457" y="710"/>
                      <a:pt x="6272" y="708"/>
                    </a:cubicBezTo>
                    <a:lnTo>
                      <a:pt x="4518" y="708"/>
                    </a:lnTo>
                    <a:cubicBezTo>
                      <a:pt x="4363" y="282"/>
                      <a:pt x="3958" y="0"/>
                      <a:pt x="350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72" name="Google Shape;4772;p66"/>
          <p:cNvGrpSpPr/>
          <p:nvPr/>
        </p:nvGrpSpPr>
        <p:grpSpPr>
          <a:xfrm>
            <a:off x="6842640" y="3531009"/>
            <a:ext cx="1581862" cy="650625"/>
            <a:chOff x="6777990" y="3710194"/>
            <a:chExt cx="1646915" cy="677382"/>
          </a:xfrm>
        </p:grpSpPr>
        <p:grpSp>
          <p:nvGrpSpPr>
            <p:cNvPr id="4773" name="Google Shape;4773;p66"/>
            <p:cNvGrpSpPr/>
            <p:nvPr/>
          </p:nvGrpSpPr>
          <p:grpSpPr>
            <a:xfrm>
              <a:off x="6777990" y="3874492"/>
              <a:ext cx="411129" cy="513083"/>
              <a:chOff x="6777990" y="3874492"/>
              <a:chExt cx="411129" cy="513083"/>
            </a:xfrm>
          </p:grpSpPr>
          <p:cxnSp>
            <p:nvCxnSpPr>
              <p:cNvPr id="4774" name="Google Shape;4774;p66"/>
              <p:cNvCxnSpPr/>
              <p:nvPr/>
            </p:nvCxnSpPr>
            <p:spPr>
              <a:xfrm>
                <a:off x="6977019"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5" name="Google Shape;4775;p66"/>
              <p:cNvSpPr/>
              <p:nvPr/>
            </p:nvSpPr>
            <p:spPr>
              <a:xfrm>
                <a:off x="6777990"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6" name="Google Shape;4776;p66"/>
            <p:cNvGrpSpPr/>
            <p:nvPr/>
          </p:nvGrpSpPr>
          <p:grpSpPr>
            <a:xfrm>
              <a:off x="7188425" y="3710194"/>
              <a:ext cx="411123" cy="520535"/>
              <a:chOff x="7188425" y="3710194"/>
              <a:chExt cx="411123" cy="520535"/>
            </a:xfrm>
          </p:grpSpPr>
          <p:cxnSp>
            <p:nvCxnSpPr>
              <p:cNvPr id="4777" name="Google Shape;4777;p66"/>
              <p:cNvCxnSpPr/>
              <p:nvPr/>
            </p:nvCxnSpPr>
            <p:spPr>
              <a:xfrm rot="10800000">
                <a:off x="7393988" y="3710194"/>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8" name="Google Shape;4778;p66"/>
              <p:cNvSpPr/>
              <p:nvPr/>
            </p:nvSpPr>
            <p:spPr>
              <a:xfrm>
                <a:off x="7188425" y="3874492"/>
                <a:ext cx="411123" cy="356237"/>
              </a:xfrm>
              <a:custGeom>
                <a:avLst/>
                <a:gdLst/>
                <a:ahLst/>
                <a:cxnLst/>
                <a:rect l="l" t="t" r="r" b="b"/>
                <a:pathLst>
                  <a:path w="69271" h="60023" extrusionOk="0">
                    <a:moveTo>
                      <a:pt x="17274" y="0"/>
                    </a:moveTo>
                    <a:lnTo>
                      <a:pt x="0" y="30011"/>
                    </a:lnTo>
                    <a:lnTo>
                      <a:pt x="17274"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9" name="Google Shape;4779;p66"/>
            <p:cNvGrpSpPr/>
            <p:nvPr/>
          </p:nvGrpSpPr>
          <p:grpSpPr>
            <a:xfrm>
              <a:off x="7603341" y="3874492"/>
              <a:ext cx="411474" cy="513083"/>
              <a:chOff x="7603341" y="3874492"/>
              <a:chExt cx="411474" cy="513083"/>
            </a:xfrm>
          </p:grpSpPr>
          <p:cxnSp>
            <p:nvCxnSpPr>
              <p:cNvPr id="4780" name="Google Shape;4780;p66"/>
              <p:cNvCxnSpPr/>
              <p:nvPr/>
            </p:nvCxnSpPr>
            <p:spPr>
              <a:xfrm>
                <a:off x="7809095"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81" name="Google Shape;4781;p66"/>
              <p:cNvSpPr/>
              <p:nvPr/>
            </p:nvSpPr>
            <p:spPr>
              <a:xfrm>
                <a:off x="7603341" y="3874492"/>
                <a:ext cx="411474" cy="356237"/>
              </a:xfrm>
              <a:custGeom>
                <a:avLst/>
                <a:gdLst/>
                <a:ahLst/>
                <a:cxnLst/>
                <a:rect l="l" t="t" r="r" b="b"/>
                <a:pathLst>
                  <a:path w="69330" h="60023" extrusionOk="0">
                    <a:moveTo>
                      <a:pt x="17333" y="0"/>
                    </a:moveTo>
                    <a:lnTo>
                      <a:pt x="1" y="30011"/>
                    </a:lnTo>
                    <a:lnTo>
                      <a:pt x="17333" y="60023"/>
                    </a:lnTo>
                    <a:lnTo>
                      <a:pt x="51998" y="60023"/>
                    </a:lnTo>
                    <a:lnTo>
                      <a:pt x="69330" y="30011"/>
                    </a:lnTo>
                    <a:lnTo>
                      <a:pt x="51998"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2" name="Google Shape;4782;p66"/>
            <p:cNvGrpSpPr/>
            <p:nvPr/>
          </p:nvGrpSpPr>
          <p:grpSpPr>
            <a:xfrm>
              <a:off x="8013776" y="3722847"/>
              <a:ext cx="411129" cy="507881"/>
              <a:chOff x="8013776" y="3722847"/>
              <a:chExt cx="411129" cy="507881"/>
            </a:xfrm>
          </p:grpSpPr>
          <p:cxnSp>
            <p:nvCxnSpPr>
              <p:cNvPr id="4783" name="Google Shape;4783;p66"/>
              <p:cNvCxnSpPr/>
              <p:nvPr/>
            </p:nvCxnSpPr>
            <p:spPr>
              <a:xfrm rot="10800000">
                <a:off x="8219339" y="3722847"/>
                <a:ext cx="0" cy="169800"/>
              </a:xfrm>
              <a:prstGeom prst="straightConnector1">
                <a:avLst/>
              </a:prstGeom>
              <a:noFill/>
              <a:ln w="19050" cap="flat" cmpd="sng">
                <a:solidFill>
                  <a:srgbClr val="A5B7C6"/>
                </a:solidFill>
                <a:prstDash val="solid"/>
                <a:round/>
                <a:headEnd type="none" w="med" len="med"/>
                <a:tailEnd type="diamond" w="med" len="med"/>
              </a:ln>
            </p:spPr>
          </p:cxnSp>
          <p:sp>
            <p:nvSpPr>
              <p:cNvPr id="4784" name="Google Shape;4784;p66"/>
              <p:cNvSpPr/>
              <p:nvPr/>
            </p:nvSpPr>
            <p:spPr>
              <a:xfrm>
                <a:off x="8013776"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85" name="Google Shape;4785;p66"/>
          <p:cNvGrpSpPr/>
          <p:nvPr/>
        </p:nvGrpSpPr>
        <p:grpSpPr>
          <a:xfrm>
            <a:off x="5262155" y="2703849"/>
            <a:ext cx="1421889" cy="1020603"/>
            <a:chOff x="5190863" y="2824811"/>
            <a:chExt cx="1544860" cy="1108869"/>
          </a:xfrm>
        </p:grpSpPr>
        <p:grpSp>
          <p:nvGrpSpPr>
            <p:cNvPr id="4786" name="Google Shape;4786;p66"/>
            <p:cNvGrpSpPr/>
            <p:nvPr/>
          </p:nvGrpSpPr>
          <p:grpSpPr>
            <a:xfrm>
              <a:off x="5938695" y="3176919"/>
              <a:ext cx="685761" cy="404739"/>
              <a:chOff x="5938695" y="3176919"/>
              <a:chExt cx="685761" cy="404739"/>
            </a:xfrm>
          </p:grpSpPr>
          <p:grpSp>
            <p:nvGrpSpPr>
              <p:cNvPr id="4787" name="Google Shape;4787;p66"/>
              <p:cNvGrpSpPr/>
              <p:nvPr/>
            </p:nvGrpSpPr>
            <p:grpSpPr>
              <a:xfrm>
                <a:off x="5938695" y="3176919"/>
                <a:ext cx="685761" cy="404739"/>
                <a:chOff x="5938695" y="3176919"/>
                <a:chExt cx="685761" cy="404739"/>
              </a:xfrm>
            </p:grpSpPr>
            <p:sp>
              <p:nvSpPr>
                <p:cNvPr id="4788" name="Google Shape;4788;p66"/>
                <p:cNvSpPr/>
                <p:nvPr/>
              </p:nvSpPr>
              <p:spPr>
                <a:xfrm>
                  <a:off x="5938695" y="3176919"/>
                  <a:ext cx="404679" cy="404739"/>
                </a:xfrm>
                <a:custGeom>
                  <a:avLst/>
                  <a:gdLst/>
                  <a:ahLst/>
                  <a:cxnLst/>
                  <a:rect l="l" t="t" r="r" b="b"/>
                  <a:pathLst>
                    <a:path w="9649" h="9651" extrusionOk="0">
                      <a:moveTo>
                        <a:pt x="4922" y="1"/>
                      </a:moveTo>
                      <a:cubicBezTo>
                        <a:pt x="4890" y="1"/>
                        <a:pt x="4858" y="2"/>
                        <a:pt x="4826" y="2"/>
                      </a:cubicBezTo>
                      <a:lnTo>
                        <a:pt x="4826" y="1251"/>
                      </a:lnTo>
                      <a:cubicBezTo>
                        <a:pt x="4858" y="1251"/>
                        <a:pt x="4890" y="1251"/>
                        <a:pt x="4922" y="1253"/>
                      </a:cubicBezTo>
                      <a:lnTo>
                        <a:pt x="4925" y="1253"/>
                      </a:lnTo>
                      <a:cubicBezTo>
                        <a:pt x="6858" y="1309"/>
                        <a:pt x="8395" y="2891"/>
                        <a:pt x="8395" y="4825"/>
                      </a:cubicBezTo>
                      <a:cubicBezTo>
                        <a:pt x="8395" y="4845"/>
                        <a:pt x="8393" y="4864"/>
                        <a:pt x="8393" y="4883"/>
                      </a:cubicBezTo>
                      <a:cubicBezTo>
                        <a:pt x="8361" y="6814"/>
                        <a:pt x="6800" y="8371"/>
                        <a:pt x="4869" y="8396"/>
                      </a:cubicBezTo>
                      <a:cubicBezTo>
                        <a:pt x="4853" y="8397"/>
                        <a:pt x="4837" y="8397"/>
                        <a:pt x="4820" y="8397"/>
                      </a:cubicBezTo>
                      <a:cubicBezTo>
                        <a:pt x="2911" y="8397"/>
                        <a:pt x="1336" y="6893"/>
                        <a:pt x="1253" y="4979"/>
                      </a:cubicBezTo>
                      <a:lnTo>
                        <a:pt x="1253" y="4971"/>
                      </a:lnTo>
                      <a:cubicBezTo>
                        <a:pt x="1251" y="4942"/>
                        <a:pt x="1251" y="4912"/>
                        <a:pt x="1251" y="4883"/>
                      </a:cubicBezTo>
                      <a:lnTo>
                        <a:pt x="2" y="4883"/>
                      </a:lnTo>
                      <a:cubicBezTo>
                        <a:pt x="2" y="4913"/>
                        <a:pt x="2" y="4944"/>
                        <a:pt x="1" y="4976"/>
                      </a:cubicBezTo>
                      <a:lnTo>
                        <a:pt x="1" y="4979"/>
                      </a:lnTo>
                      <a:cubicBezTo>
                        <a:pt x="23" y="5762"/>
                        <a:pt x="238" y="6528"/>
                        <a:pt x="627" y="7208"/>
                      </a:cubicBezTo>
                      <a:cubicBezTo>
                        <a:pt x="1484" y="8717"/>
                        <a:pt x="3085" y="9650"/>
                        <a:pt x="4822" y="9650"/>
                      </a:cubicBezTo>
                      <a:cubicBezTo>
                        <a:pt x="7468" y="9650"/>
                        <a:pt x="9614" y="7520"/>
                        <a:pt x="9646" y="4883"/>
                      </a:cubicBezTo>
                      <a:cubicBezTo>
                        <a:pt x="9646" y="4864"/>
                        <a:pt x="9647" y="4845"/>
                        <a:pt x="9647" y="4825"/>
                      </a:cubicBezTo>
                      <a:cubicBezTo>
                        <a:pt x="9649" y="3088"/>
                        <a:pt x="8714" y="1483"/>
                        <a:pt x="7200" y="628"/>
                      </a:cubicBezTo>
                      <a:cubicBezTo>
                        <a:pt x="6746" y="369"/>
                        <a:pt x="6251" y="186"/>
                        <a:pt x="5737" y="87"/>
                      </a:cubicBezTo>
                      <a:cubicBezTo>
                        <a:pt x="5468" y="36"/>
                        <a:pt x="5195" y="7"/>
                        <a:pt x="4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66"/>
                <p:cNvSpPr/>
                <p:nvPr/>
              </p:nvSpPr>
              <p:spPr>
                <a:xfrm>
                  <a:off x="6256893" y="3285705"/>
                  <a:ext cx="367562" cy="187754"/>
                </a:xfrm>
                <a:custGeom>
                  <a:avLst/>
                  <a:gdLst/>
                  <a:ahLst/>
                  <a:cxnLst/>
                  <a:rect l="l" t="t" r="r" b="b"/>
                  <a:pathLst>
                    <a:path w="8764" h="4477" extrusionOk="0">
                      <a:moveTo>
                        <a:pt x="6645" y="1"/>
                      </a:moveTo>
                      <a:cubicBezTo>
                        <a:pt x="6644" y="1"/>
                        <a:pt x="6643" y="1"/>
                        <a:pt x="6642" y="1"/>
                      </a:cubicBezTo>
                      <a:lnTo>
                        <a:pt x="14" y="1"/>
                      </a:lnTo>
                      <a:cubicBezTo>
                        <a:pt x="1061" y="1309"/>
                        <a:pt x="1055" y="3173"/>
                        <a:pt x="1" y="4476"/>
                      </a:cubicBezTo>
                      <a:lnTo>
                        <a:pt x="6642" y="4476"/>
                      </a:lnTo>
                      <a:cubicBezTo>
                        <a:pt x="7814" y="4476"/>
                        <a:pt x="8763" y="3527"/>
                        <a:pt x="8763" y="2355"/>
                      </a:cubicBezTo>
                      <a:lnTo>
                        <a:pt x="8763" y="2121"/>
                      </a:lnTo>
                      <a:cubicBezTo>
                        <a:pt x="8762" y="950"/>
                        <a:pt x="7814" y="1"/>
                        <a:pt x="6645"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0" name="Google Shape;4790;p66"/>
              <p:cNvSpPr/>
              <p:nvPr/>
            </p:nvSpPr>
            <p:spPr>
              <a:xfrm>
                <a:off x="6044300" y="3282475"/>
                <a:ext cx="191959" cy="191990"/>
              </a:xfrm>
              <a:custGeom>
                <a:avLst/>
                <a:gdLst/>
                <a:ahLst/>
                <a:cxnLst/>
                <a:rect l="l" t="t" r="r" b="b"/>
                <a:pathLst>
                  <a:path w="4577" h="4578" extrusionOk="0">
                    <a:moveTo>
                      <a:pt x="2288" y="1"/>
                    </a:moveTo>
                    <a:cubicBezTo>
                      <a:pt x="1025" y="1"/>
                      <a:pt x="0" y="1024"/>
                      <a:pt x="0" y="2289"/>
                    </a:cubicBezTo>
                    <a:cubicBezTo>
                      <a:pt x="0" y="3553"/>
                      <a:pt x="1025" y="4577"/>
                      <a:pt x="2288" y="4577"/>
                    </a:cubicBezTo>
                    <a:cubicBezTo>
                      <a:pt x="3552" y="4577"/>
                      <a:pt x="4577" y="3553"/>
                      <a:pt x="4577" y="2289"/>
                    </a:cubicBezTo>
                    <a:cubicBezTo>
                      <a:pt x="4577" y="1024"/>
                      <a:pt x="3552" y="1"/>
                      <a:pt x="228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91" name="Google Shape;4791;p66"/>
            <p:cNvGrpSpPr/>
            <p:nvPr/>
          </p:nvGrpSpPr>
          <p:grpSpPr>
            <a:xfrm>
              <a:off x="5305233" y="3176835"/>
              <a:ext cx="685971" cy="404655"/>
              <a:chOff x="5305233" y="3176835"/>
              <a:chExt cx="685971" cy="404655"/>
            </a:xfrm>
          </p:grpSpPr>
          <p:grpSp>
            <p:nvGrpSpPr>
              <p:cNvPr id="4792" name="Google Shape;4792;p66"/>
              <p:cNvGrpSpPr/>
              <p:nvPr/>
            </p:nvGrpSpPr>
            <p:grpSpPr>
              <a:xfrm>
                <a:off x="5305233" y="3176835"/>
                <a:ext cx="685971" cy="404655"/>
                <a:chOff x="5305233" y="3176835"/>
                <a:chExt cx="685971" cy="404655"/>
              </a:xfrm>
            </p:grpSpPr>
            <p:sp>
              <p:nvSpPr>
                <p:cNvPr id="4793" name="Google Shape;4793;p66"/>
                <p:cNvSpPr/>
                <p:nvPr/>
              </p:nvSpPr>
              <p:spPr>
                <a:xfrm>
                  <a:off x="5586650" y="3176835"/>
                  <a:ext cx="404553" cy="404655"/>
                </a:xfrm>
                <a:custGeom>
                  <a:avLst/>
                  <a:gdLst/>
                  <a:ahLst/>
                  <a:cxnLst/>
                  <a:rect l="l" t="t" r="r" b="b"/>
                  <a:pathLst>
                    <a:path w="9646" h="9649" extrusionOk="0">
                      <a:moveTo>
                        <a:pt x="4824" y="1"/>
                      </a:moveTo>
                      <a:cubicBezTo>
                        <a:pt x="2159" y="1"/>
                        <a:pt x="1" y="2161"/>
                        <a:pt x="1" y="4826"/>
                      </a:cubicBezTo>
                      <a:lnTo>
                        <a:pt x="1" y="4883"/>
                      </a:lnTo>
                      <a:cubicBezTo>
                        <a:pt x="31" y="7486"/>
                        <a:pt x="2121" y="9594"/>
                        <a:pt x="4724" y="9647"/>
                      </a:cubicBezTo>
                      <a:cubicBezTo>
                        <a:pt x="4756" y="9647"/>
                        <a:pt x="4790" y="9649"/>
                        <a:pt x="4824" y="9649"/>
                      </a:cubicBezTo>
                      <a:lnTo>
                        <a:pt x="4829" y="9649"/>
                      </a:lnTo>
                      <a:cubicBezTo>
                        <a:pt x="4861" y="9649"/>
                        <a:pt x="4893" y="9649"/>
                        <a:pt x="4925" y="9647"/>
                      </a:cubicBezTo>
                      <a:cubicBezTo>
                        <a:pt x="5725" y="9633"/>
                        <a:pt x="6508" y="9417"/>
                        <a:pt x="7205" y="9021"/>
                      </a:cubicBezTo>
                      <a:cubicBezTo>
                        <a:pt x="6508" y="8626"/>
                        <a:pt x="5725" y="8411"/>
                        <a:pt x="4925" y="8395"/>
                      </a:cubicBezTo>
                      <a:cubicBezTo>
                        <a:pt x="4893" y="8397"/>
                        <a:pt x="4861" y="8397"/>
                        <a:pt x="4829" y="8397"/>
                      </a:cubicBezTo>
                      <a:lnTo>
                        <a:pt x="4824" y="8397"/>
                      </a:lnTo>
                      <a:cubicBezTo>
                        <a:pt x="4790" y="8397"/>
                        <a:pt x="4756" y="8397"/>
                        <a:pt x="4724" y="8395"/>
                      </a:cubicBezTo>
                      <a:cubicBezTo>
                        <a:pt x="2817" y="8344"/>
                        <a:pt x="1283" y="6795"/>
                        <a:pt x="1253" y="4883"/>
                      </a:cubicBezTo>
                      <a:cubicBezTo>
                        <a:pt x="1253" y="4863"/>
                        <a:pt x="1251" y="4843"/>
                        <a:pt x="1251" y="4824"/>
                      </a:cubicBezTo>
                      <a:cubicBezTo>
                        <a:pt x="1251" y="2851"/>
                        <a:pt x="2851" y="1252"/>
                        <a:pt x="4824" y="1252"/>
                      </a:cubicBezTo>
                      <a:cubicBezTo>
                        <a:pt x="6745" y="1252"/>
                        <a:pt x="8313" y="2768"/>
                        <a:pt x="8393" y="4670"/>
                      </a:cubicBezTo>
                      <a:lnTo>
                        <a:pt x="8393" y="4674"/>
                      </a:lnTo>
                      <a:cubicBezTo>
                        <a:pt x="8396" y="4723"/>
                        <a:pt x="8396" y="4774"/>
                        <a:pt x="8396" y="4824"/>
                      </a:cubicBezTo>
                      <a:cubicBezTo>
                        <a:pt x="8396" y="4845"/>
                        <a:pt x="8396" y="4863"/>
                        <a:pt x="8396" y="4883"/>
                      </a:cubicBezTo>
                      <a:lnTo>
                        <a:pt x="9644" y="4883"/>
                      </a:lnTo>
                      <a:cubicBezTo>
                        <a:pt x="9644" y="4863"/>
                        <a:pt x="9642" y="4843"/>
                        <a:pt x="9642" y="4824"/>
                      </a:cubicBezTo>
                      <a:cubicBezTo>
                        <a:pt x="9644" y="4778"/>
                        <a:pt x="9644" y="4728"/>
                        <a:pt x="9645" y="4680"/>
                      </a:cubicBezTo>
                      <a:lnTo>
                        <a:pt x="9645" y="4672"/>
                      </a:lnTo>
                      <a:cubicBezTo>
                        <a:pt x="9623" y="3889"/>
                        <a:pt x="9407" y="3124"/>
                        <a:pt x="9019" y="2443"/>
                      </a:cubicBezTo>
                      <a:cubicBezTo>
                        <a:pt x="8163" y="933"/>
                        <a:pt x="6560" y="1"/>
                        <a:pt x="482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66"/>
                <p:cNvSpPr/>
                <p:nvPr/>
              </p:nvSpPr>
              <p:spPr>
                <a:xfrm>
                  <a:off x="5305233" y="3285914"/>
                  <a:ext cx="367352" cy="187796"/>
                </a:xfrm>
                <a:custGeom>
                  <a:avLst/>
                  <a:gdLst/>
                  <a:ahLst/>
                  <a:cxnLst/>
                  <a:rect l="l" t="t" r="r" b="b"/>
                  <a:pathLst>
                    <a:path w="8759" h="4478" extrusionOk="0">
                      <a:moveTo>
                        <a:pt x="2123" y="0"/>
                      </a:moveTo>
                      <a:cubicBezTo>
                        <a:pt x="951" y="0"/>
                        <a:pt x="1" y="950"/>
                        <a:pt x="1" y="2122"/>
                      </a:cubicBezTo>
                      <a:lnTo>
                        <a:pt x="1" y="2356"/>
                      </a:lnTo>
                      <a:cubicBezTo>
                        <a:pt x="1" y="3528"/>
                        <a:pt x="951" y="4478"/>
                        <a:pt x="2123" y="4478"/>
                      </a:cubicBezTo>
                      <a:lnTo>
                        <a:pt x="8759" y="4478"/>
                      </a:lnTo>
                      <a:cubicBezTo>
                        <a:pt x="7702" y="3176"/>
                        <a:pt x="7694" y="1314"/>
                        <a:pt x="8739" y="2"/>
                      </a:cubicBezTo>
                      <a:lnTo>
                        <a:pt x="873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5" name="Google Shape;4795;p66"/>
              <p:cNvSpPr/>
              <p:nvPr/>
            </p:nvSpPr>
            <p:spPr>
              <a:xfrm>
                <a:off x="5694436" y="3282475"/>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6" name="Google Shape;4796;p66"/>
            <p:cNvSpPr/>
            <p:nvPr/>
          </p:nvSpPr>
          <p:spPr>
            <a:xfrm>
              <a:off x="6103938" y="3114683"/>
              <a:ext cx="40933" cy="7549"/>
            </a:xfrm>
            <a:custGeom>
              <a:avLst/>
              <a:gdLst/>
              <a:ahLst/>
              <a:cxnLst/>
              <a:rect l="l" t="t" r="r" b="b"/>
              <a:pathLst>
                <a:path w="976" h="180" extrusionOk="0">
                  <a:moveTo>
                    <a:pt x="1" y="1"/>
                  </a:moveTo>
                  <a:lnTo>
                    <a:pt x="1" y="1"/>
                  </a:lnTo>
                  <a:cubicBezTo>
                    <a:pt x="279" y="119"/>
                    <a:pt x="578" y="179"/>
                    <a:pt x="881" y="179"/>
                  </a:cubicBezTo>
                  <a:cubicBezTo>
                    <a:pt x="881" y="179"/>
                    <a:pt x="881" y="179"/>
                    <a:pt x="881" y="179"/>
                  </a:cubicBezTo>
                  <a:lnTo>
                    <a:pt x="881" y="179"/>
                  </a:lnTo>
                  <a:cubicBezTo>
                    <a:pt x="882" y="179"/>
                    <a:pt x="882" y="179"/>
                    <a:pt x="882" y="179"/>
                  </a:cubicBezTo>
                  <a:cubicBezTo>
                    <a:pt x="913" y="179"/>
                    <a:pt x="945" y="178"/>
                    <a:pt x="975" y="176"/>
                  </a:cubicBezTo>
                  <a:lnTo>
                    <a:pt x="975" y="176"/>
                  </a:lnTo>
                  <a:cubicBezTo>
                    <a:pt x="943" y="178"/>
                    <a:pt x="913" y="179"/>
                    <a:pt x="881" y="179"/>
                  </a:cubicBezTo>
                  <a:lnTo>
                    <a:pt x="881" y="179"/>
                  </a:lnTo>
                  <a:cubicBezTo>
                    <a:pt x="579" y="179"/>
                    <a:pt x="279" y="119"/>
                    <a:pt x="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97" name="Google Shape;4797;p66"/>
            <p:cNvGrpSpPr/>
            <p:nvPr/>
          </p:nvGrpSpPr>
          <p:grpSpPr>
            <a:xfrm>
              <a:off x="5657361" y="2824811"/>
              <a:ext cx="1078361" cy="404655"/>
              <a:chOff x="5657361" y="2824811"/>
              <a:chExt cx="1078361" cy="404655"/>
            </a:xfrm>
          </p:grpSpPr>
          <p:grpSp>
            <p:nvGrpSpPr>
              <p:cNvPr id="4798" name="Google Shape;4798;p66"/>
              <p:cNvGrpSpPr/>
              <p:nvPr/>
            </p:nvGrpSpPr>
            <p:grpSpPr>
              <a:xfrm>
                <a:off x="5657361" y="2824811"/>
                <a:ext cx="1078361" cy="404655"/>
                <a:chOff x="5657361" y="2824811"/>
                <a:chExt cx="1078361" cy="404655"/>
              </a:xfrm>
            </p:grpSpPr>
            <p:grpSp>
              <p:nvGrpSpPr>
                <p:cNvPr id="4799" name="Google Shape;4799;p66"/>
                <p:cNvGrpSpPr/>
                <p:nvPr/>
              </p:nvGrpSpPr>
              <p:grpSpPr>
                <a:xfrm>
                  <a:off x="5938485" y="2824811"/>
                  <a:ext cx="797237" cy="404655"/>
                  <a:chOff x="5938485" y="2824811"/>
                  <a:chExt cx="797237" cy="404655"/>
                </a:xfrm>
              </p:grpSpPr>
              <p:sp>
                <p:nvSpPr>
                  <p:cNvPr id="4800" name="Google Shape;4800;p66"/>
                  <p:cNvSpPr/>
                  <p:nvPr/>
                </p:nvSpPr>
                <p:spPr>
                  <a:xfrm>
                    <a:off x="6137952" y="2824811"/>
                    <a:ext cx="597771" cy="301698"/>
                  </a:xfrm>
                  <a:custGeom>
                    <a:avLst/>
                    <a:gdLst/>
                    <a:ahLst/>
                    <a:cxnLst/>
                    <a:rect l="l" t="t" r="r" b="b"/>
                    <a:pathLst>
                      <a:path w="14253" h="7194" extrusionOk="0">
                        <a:moveTo>
                          <a:pt x="1" y="1"/>
                        </a:moveTo>
                        <a:lnTo>
                          <a:pt x="1" y="1255"/>
                        </a:lnTo>
                        <a:cubicBezTo>
                          <a:pt x="1972" y="1256"/>
                          <a:pt x="3570" y="2856"/>
                          <a:pt x="3570" y="4826"/>
                        </a:cubicBezTo>
                        <a:lnTo>
                          <a:pt x="3570" y="4827"/>
                        </a:lnTo>
                        <a:cubicBezTo>
                          <a:pt x="3570" y="4994"/>
                          <a:pt x="3578" y="5160"/>
                          <a:pt x="3594" y="5322"/>
                        </a:cubicBezTo>
                        <a:cubicBezTo>
                          <a:pt x="3703" y="6385"/>
                          <a:pt x="4598" y="7194"/>
                          <a:pt x="5668" y="7194"/>
                        </a:cubicBezTo>
                        <a:lnTo>
                          <a:pt x="14253" y="7194"/>
                        </a:lnTo>
                        <a:lnTo>
                          <a:pt x="14253" y="6015"/>
                        </a:lnTo>
                        <a:lnTo>
                          <a:pt x="5982" y="6017"/>
                        </a:lnTo>
                        <a:cubicBezTo>
                          <a:pt x="5333" y="6017"/>
                          <a:pt x="4819" y="5485"/>
                          <a:pt x="4821" y="4838"/>
                        </a:cubicBezTo>
                        <a:lnTo>
                          <a:pt x="4821" y="4826"/>
                        </a:lnTo>
                        <a:cubicBezTo>
                          <a:pt x="4821" y="2163"/>
                          <a:pt x="2662" y="2"/>
                          <a:pt x="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66"/>
                  <p:cNvSpPr/>
                  <p:nvPr/>
                </p:nvSpPr>
                <p:spPr>
                  <a:xfrm>
                    <a:off x="5938485" y="2824811"/>
                    <a:ext cx="202151" cy="404655"/>
                  </a:xfrm>
                  <a:custGeom>
                    <a:avLst/>
                    <a:gdLst/>
                    <a:ahLst/>
                    <a:cxnLst/>
                    <a:rect l="l" t="t" r="r" b="b"/>
                    <a:pathLst>
                      <a:path w="4820" h="9649" extrusionOk="0">
                        <a:moveTo>
                          <a:pt x="4819" y="1"/>
                        </a:moveTo>
                        <a:cubicBezTo>
                          <a:pt x="2161" y="4"/>
                          <a:pt x="1" y="2167"/>
                          <a:pt x="1" y="4827"/>
                        </a:cubicBezTo>
                        <a:cubicBezTo>
                          <a:pt x="1" y="6565"/>
                          <a:pt x="934" y="8168"/>
                          <a:pt x="2446" y="9023"/>
                        </a:cubicBezTo>
                        <a:cubicBezTo>
                          <a:pt x="3141" y="9418"/>
                          <a:pt x="3924" y="9634"/>
                          <a:pt x="4725" y="9649"/>
                        </a:cubicBezTo>
                        <a:cubicBezTo>
                          <a:pt x="4757" y="9649"/>
                          <a:pt x="4789" y="9647"/>
                          <a:pt x="4819" y="9647"/>
                        </a:cubicBezTo>
                        <a:lnTo>
                          <a:pt x="4819" y="8398"/>
                        </a:lnTo>
                        <a:cubicBezTo>
                          <a:pt x="4787" y="8398"/>
                          <a:pt x="4757" y="8398"/>
                          <a:pt x="4725" y="8397"/>
                        </a:cubicBezTo>
                        <a:lnTo>
                          <a:pt x="4723" y="8397"/>
                        </a:lnTo>
                        <a:cubicBezTo>
                          <a:pt x="2742" y="8342"/>
                          <a:pt x="1165" y="6672"/>
                          <a:pt x="1256" y="4657"/>
                        </a:cubicBezTo>
                        <a:cubicBezTo>
                          <a:pt x="1340" y="2818"/>
                          <a:pt x="2843" y="1327"/>
                          <a:pt x="4685" y="1255"/>
                        </a:cubicBezTo>
                        <a:cubicBezTo>
                          <a:pt x="4730" y="1253"/>
                          <a:pt x="4774" y="1253"/>
                          <a:pt x="4819" y="1253"/>
                        </a:cubicBezTo>
                        <a:lnTo>
                          <a:pt x="481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2" name="Google Shape;4802;p66"/>
                <p:cNvSpPr/>
                <p:nvPr/>
              </p:nvSpPr>
              <p:spPr>
                <a:xfrm>
                  <a:off x="5657361" y="2934478"/>
                  <a:ext cx="367688" cy="187838"/>
                </a:xfrm>
                <a:custGeom>
                  <a:avLst/>
                  <a:gdLst/>
                  <a:ahLst/>
                  <a:cxnLst/>
                  <a:rect l="l" t="t" r="r" b="b"/>
                  <a:pathLst>
                    <a:path w="8767" h="4479" extrusionOk="0">
                      <a:moveTo>
                        <a:pt x="2123" y="1"/>
                      </a:moveTo>
                      <a:cubicBezTo>
                        <a:pt x="952" y="1"/>
                        <a:pt x="1" y="950"/>
                        <a:pt x="1" y="2123"/>
                      </a:cubicBezTo>
                      <a:lnTo>
                        <a:pt x="1" y="2356"/>
                      </a:lnTo>
                      <a:cubicBezTo>
                        <a:pt x="1" y="3527"/>
                        <a:pt x="952" y="4478"/>
                        <a:pt x="2123" y="4478"/>
                      </a:cubicBezTo>
                      <a:lnTo>
                        <a:pt x="8766" y="4478"/>
                      </a:lnTo>
                      <a:cubicBezTo>
                        <a:pt x="7702" y="3181"/>
                        <a:pt x="7684" y="1319"/>
                        <a:pt x="872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3" name="Google Shape;4803;p66"/>
              <p:cNvSpPr/>
              <p:nvPr/>
            </p:nvSpPr>
            <p:spPr>
              <a:xfrm>
                <a:off x="6047361" y="2932675"/>
                <a:ext cx="192001" cy="191990"/>
              </a:xfrm>
              <a:custGeom>
                <a:avLst/>
                <a:gdLst/>
                <a:ahLst/>
                <a:cxnLst/>
                <a:rect l="l" t="t" r="r" b="b"/>
                <a:pathLst>
                  <a:path w="4578" h="4578" extrusionOk="0">
                    <a:moveTo>
                      <a:pt x="2289" y="1"/>
                    </a:moveTo>
                    <a:cubicBezTo>
                      <a:pt x="1026" y="1"/>
                      <a:pt x="1" y="1024"/>
                      <a:pt x="1" y="2289"/>
                    </a:cubicBezTo>
                    <a:cubicBezTo>
                      <a:pt x="1" y="3552"/>
                      <a:pt x="1026" y="4577"/>
                      <a:pt x="2289" y="4577"/>
                    </a:cubicBezTo>
                    <a:cubicBezTo>
                      <a:pt x="3552" y="4577"/>
                      <a:pt x="4577" y="3552"/>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04" name="Google Shape;4804;p66"/>
            <p:cNvGrpSpPr/>
            <p:nvPr/>
          </p:nvGrpSpPr>
          <p:grpSpPr>
            <a:xfrm>
              <a:off x="5190863" y="3528942"/>
              <a:ext cx="1078026" cy="404739"/>
              <a:chOff x="5190863" y="3528942"/>
              <a:chExt cx="1078026" cy="404739"/>
            </a:xfrm>
          </p:grpSpPr>
          <p:sp>
            <p:nvSpPr>
              <p:cNvPr id="4805" name="Google Shape;4805;p66"/>
              <p:cNvSpPr/>
              <p:nvPr/>
            </p:nvSpPr>
            <p:spPr>
              <a:xfrm>
                <a:off x="5694436" y="3635379"/>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06" name="Google Shape;4806;p66"/>
              <p:cNvGrpSpPr/>
              <p:nvPr/>
            </p:nvGrpSpPr>
            <p:grpSpPr>
              <a:xfrm>
                <a:off x="5190863" y="3528942"/>
                <a:ext cx="1078026" cy="404739"/>
                <a:chOff x="5190863" y="3528942"/>
                <a:chExt cx="1078026" cy="404739"/>
              </a:xfrm>
            </p:grpSpPr>
            <p:sp>
              <p:nvSpPr>
                <p:cNvPr id="4807" name="Google Shape;4807;p66"/>
                <p:cNvSpPr/>
                <p:nvPr/>
              </p:nvSpPr>
              <p:spPr>
                <a:xfrm>
                  <a:off x="5190863" y="3528942"/>
                  <a:ext cx="800551" cy="404739"/>
                </a:xfrm>
                <a:custGeom>
                  <a:avLst/>
                  <a:gdLst/>
                  <a:ahLst/>
                  <a:cxnLst/>
                  <a:rect l="l" t="t" r="r" b="b"/>
                  <a:pathLst>
                    <a:path w="19088" h="9651" extrusionOk="0">
                      <a:moveTo>
                        <a:pt x="14266" y="1"/>
                      </a:moveTo>
                      <a:lnTo>
                        <a:pt x="14266" y="1253"/>
                      </a:lnTo>
                      <a:cubicBezTo>
                        <a:pt x="14298" y="1253"/>
                        <a:pt x="14330" y="1253"/>
                        <a:pt x="14362" y="1255"/>
                      </a:cubicBezTo>
                      <a:cubicBezTo>
                        <a:pt x="16314" y="1309"/>
                        <a:pt x="17861" y="2922"/>
                        <a:pt x="17833" y="4874"/>
                      </a:cubicBezTo>
                      <a:cubicBezTo>
                        <a:pt x="17808" y="6827"/>
                        <a:pt x="16218" y="8396"/>
                        <a:pt x="14266" y="8398"/>
                      </a:cubicBezTo>
                      <a:lnTo>
                        <a:pt x="14261" y="8398"/>
                      </a:lnTo>
                      <a:cubicBezTo>
                        <a:pt x="12331" y="8398"/>
                        <a:pt x="10757" y="6867"/>
                        <a:pt x="10691" y="4952"/>
                      </a:cubicBezTo>
                      <a:lnTo>
                        <a:pt x="10691" y="4950"/>
                      </a:lnTo>
                      <a:cubicBezTo>
                        <a:pt x="10688" y="4909"/>
                        <a:pt x="10688" y="4867"/>
                        <a:pt x="10688" y="4825"/>
                      </a:cubicBezTo>
                      <a:cubicBezTo>
                        <a:pt x="10688" y="4784"/>
                        <a:pt x="10688" y="4744"/>
                        <a:pt x="10691" y="4704"/>
                      </a:cubicBezTo>
                      <a:lnTo>
                        <a:pt x="10691" y="4680"/>
                      </a:lnTo>
                      <a:cubicBezTo>
                        <a:pt x="10653" y="3432"/>
                        <a:pt x="9614" y="2446"/>
                        <a:pt x="8364" y="2446"/>
                      </a:cubicBezTo>
                      <a:cubicBezTo>
                        <a:pt x="8363" y="2446"/>
                        <a:pt x="8362" y="2446"/>
                        <a:pt x="8361" y="2446"/>
                      </a:cubicBezTo>
                      <a:cubicBezTo>
                        <a:pt x="6936" y="2446"/>
                        <a:pt x="2798" y="2449"/>
                        <a:pt x="1" y="2449"/>
                      </a:cubicBezTo>
                      <a:lnTo>
                        <a:pt x="1" y="3626"/>
                      </a:lnTo>
                      <a:lnTo>
                        <a:pt x="8387" y="3626"/>
                      </a:lnTo>
                      <a:cubicBezTo>
                        <a:pt x="8978" y="3626"/>
                        <a:pt x="9452" y="4113"/>
                        <a:pt x="9438" y="4704"/>
                      </a:cubicBezTo>
                      <a:lnTo>
                        <a:pt x="9438" y="4715"/>
                      </a:lnTo>
                      <a:cubicBezTo>
                        <a:pt x="9438" y="4752"/>
                        <a:pt x="9438" y="4789"/>
                        <a:pt x="9438" y="4825"/>
                      </a:cubicBezTo>
                      <a:cubicBezTo>
                        <a:pt x="9438" y="4862"/>
                        <a:pt x="9438" y="4901"/>
                        <a:pt x="9438" y="4939"/>
                      </a:cubicBezTo>
                      <a:cubicBezTo>
                        <a:pt x="9498" y="7558"/>
                        <a:pt x="11639" y="9650"/>
                        <a:pt x="14259" y="9650"/>
                      </a:cubicBezTo>
                      <a:cubicBezTo>
                        <a:pt x="14260" y="9650"/>
                        <a:pt x="14261" y="9650"/>
                        <a:pt x="14262" y="9650"/>
                      </a:cubicBezTo>
                      <a:lnTo>
                        <a:pt x="14267" y="9650"/>
                      </a:lnTo>
                      <a:cubicBezTo>
                        <a:pt x="16929" y="9647"/>
                        <a:pt x="19087" y="7488"/>
                        <a:pt x="19087" y="4825"/>
                      </a:cubicBezTo>
                      <a:cubicBezTo>
                        <a:pt x="19087" y="3088"/>
                        <a:pt x="18154" y="1484"/>
                        <a:pt x="16640" y="628"/>
                      </a:cubicBezTo>
                      <a:cubicBezTo>
                        <a:pt x="15945" y="233"/>
                        <a:pt x="15162" y="17"/>
                        <a:pt x="14362" y="2"/>
                      </a:cubicBezTo>
                      <a:cubicBezTo>
                        <a:pt x="14330" y="2"/>
                        <a:pt x="14298" y="1"/>
                        <a:pt x="14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66"/>
                <p:cNvSpPr/>
                <p:nvPr/>
              </p:nvSpPr>
              <p:spPr>
                <a:xfrm>
                  <a:off x="5905730" y="3637351"/>
                  <a:ext cx="363158" cy="187796"/>
                </a:xfrm>
                <a:custGeom>
                  <a:avLst/>
                  <a:gdLst/>
                  <a:ahLst/>
                  <a:cxnLst/>
                  <a:rect l="l" t="t" r="r" b="b"/>
                  <a:pathLst>
                    <a:path w="8659" h="4478" extrusionOk="0">
                      <a:moveTo>
                        <a:pt x="0" y="0"/>
                      </a:moveTo>
                      <a:cubicBezTo>
                        <a:pt x="1051" y="1307"/>
                        <a:pt x="1051" y="3169"/>
                        <a:pt x="0" y="4478"/>
                      </a:cubicBezTo>
                      <a:lnTo>
                        <a:pt x="6537" y="4478"/>
                      </a:lnTo>
                      <a:cubicBezTo>
                        <a:pt x="7708" y="4478"/>
                        <a:pt x="8659" y="3526"/>
                        <a:pt x="8659" y="2356"/>
                      </a:cubicBezTo>
                      <a:lnTo>
                        <a:pt x="8659" y="2120"/>
                      </a:lnTo>
                      <a:cubicBezTo>
                        <a:pt x="8657" y="950"/>
                        <a:pt x="7708" y="0"/>
                        <a:pt x="65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09" name="Google Shape;4809;p66"/>
          <p:cNvGrpSpPr/>
          <p:nvPr/>
        </p:nvGrpSpPr>
        <p:grpSpPr>
          <a:xfrm>
            <a:off x="728162" y="1268317"/>
            <a:ext cx="1086719" cy="879487"/>
            <a:chOff x="803162" y="1474292"/>
            <a:chExt cx="1086719" cy="879487"/>
          </a:xfrm>
        </p:grpSpPr>
        <p:grpSp>
          <p:nvGrpSpPr>
            <p:cNvPr id="4810" name="Google Shape;4810;p66"/>
            <p:cNvGrpSpPr/>
            <p:nvPr/>
          </p:nvGrpSpPr>
          <p:grpSpPr>
            <a:xfrm>
              <a:off x="803162" y="1625948"/>
              <a:ext cx="445856" cy="576579"/>
              <a:chOff x="803162" y="1625948"/>
              <a:chExt cx="445856" cy="576579"/>
            </a:xfrm>
          </p:grpSpPr>
          <p:sp>
            <p:nvSpPr>
              <p:cNvPr id="4811" name="Google Shape;4811;p66"/>
              <p:cNvSpPr/>
              <p:nvPr/>
            </p:nvSpPr>
            <p:spPr>
              <a:xfrm>
                <a:off x="803162" y="1847356"/>
                <a:ext cx="133646" cy="13386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12" name="Google Shape;4812;p66"/>
              <p:cNvGrpSpPr/>
              <p:nvPr/>
            </p:nvGrpSpPr>
            <p:grpSpPr>
              <a:xfrm>
                <a:off x="1056023" y="1625948"/>
                <a:ext cx="192995" cy="576579"/>
                <a:chOff x="1056023" y="1625948"/>
                <a:chExt cx="192995" cy="576579"/>
              </a:xfrm>
            </p:grpSpPr>
            <p:sp>
              <p:nvSpPr>
                <p:cNvPr id="4813" name="Google Shape;4813;p66"/>
                <p:cNvSpPr/>
                <p:nvPr/>
              </p:nvSpPr>
              <p:spPr>
                <a:xfrm>
                  <a:off x="1066902" y="1914079"/>
                  <a:ext cx="167456" cy="2693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66"/>
                <p:cNvSpPr/>
                <p:nvPr/>
              </p:nvSpPr>
              <p:spPr>
                <a:xfrm>
                  <a:off x="1066902" y="1645136"/>
                  <a:ext cx="167456" cy="2693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66"/>
                <p:cNvSpPr/>
                <p:nvPr/>
              </p:nvSpPr>
              <p:spPr>
                <a:xfrm>
                  <a:off x="1056023" y="1893872"/>
                  <a:ext cx="40644" cy="40644"/>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66"/>
                <p:cNvSpPr/>
                <p:nvPr/>
              </p:nvSpPr>
              <p:spPr>
                <a:xfrm>
                  <a:off x="1220365" y="2164199"/>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66"/>
                <p:cNvSpPr/>
                <p:nvPr/>
              </p:nvSpPr>
              <p:spPr>
                <a:xfrm>
                  <a:off x="1220365" y="1625948"/>
                  <a:ext cx="28654" cy="38467"/>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818" name="Google Shape;4818;p66"/>
            <p:cNvGrpSpPr/>
            <p:nvPr/>
          </p:nvGrpSpPr>
          <p:grpSpPr>
            <a:xfrm>
              <a:off x="1371406" y="1474292"/>
              <a:ext cx="518475" cy="879487"/>
              <a:chOff x="1398231" y="1474292"/>
              <a:chExt cx="518475" cy="879487"/>
            </a:xfrm>
          </p:grpSpPr>
          <p:grpSp>
            <p:nvGrpSpPr>
              <p:cNvPr id="4819" name="Google Shape;4819;p66"/>
              <p:cNvGrpSpPr/>
              <p:nvPr/>
            </p:nvGrpSpPr>
            <p:grpSpPr>
              <a:xfrm>
                <a:off x="1398231" y="1474292"/>
                <a:ext cx="518475" cy="341643"/>
                <a:chOff x="1398231" y="1474292"/>
                <a:chExt cx="518475" cy="341643"/>
              </a:xfrm>
            </p:grpSpPr>
            <p:sp>
              <p:nvSpPr>
                <p:cNvPr id="4820" name="Google Shape;4820;p66"/>
                <p:cNvSpPr/>
                <p:nvPr/>
              </p:nvSpPr>
              <p:spPr>
                <a:xfrm>
                  <a:off x="1398231" y="1595601"/>
                  <a:ext cx="102159" cy="99017"/>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1" name="Google Shape;4821;p66"/>
                <p:cNvGrpSpPr/>
                <p:nvPr/>
              </p:nvGrpSpPr>
              <p:grpSpPr>
                <a:xfrm>
                  <a:off x="1616453" y="1474292"/>
                  <a:ext cx="300253" cy="341643"/>
                  <a:chOff x="1616453" y="1475379"/>
                  <a:chExt cx="300253" cy="341643"/>
                </a:xfrm>
              </p:grpSpPr>
              <p:sp>
                <p:nvSpPr>
                  <p:cNvPr id="4822" name="Google Shape;4822;p66"/>
                  <p:cNvSpPr/>
                  <p:nvPr/>
                </p:nvSpPr>
                <p:spPr>
                  <a:xfrm>
                    <a:off x="1631387" y="1645136"/>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66"/>
                  <p:cNvSpPr/>
                  <p:nvPr/>
                </p:nvSpPr>
                <p:spPr>
                  <a:xfrm>
                    <a:off x="1716447" y="1509882"/>
                    <a:ext cx="82400" cy="61302"/>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66"/>
                  <p:cNvSpPr/>
                  <p:nvPr/>
                </p:nvSpPr>
                <p:spPr>
                  <a:xfrm>
                    <a:off x="1716447" y="1719091"/>
                    <a:ext cx="82400" cy="61076"/>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66"/>
                  <p:cNvSpPr/>
                  <p:nvPr/>
                </p:nvSpPr>
                <p:spPr>
                  <a:xfrm>
                    <a:off x="1631387" y="1570955"/>
                    <a:ext cx="85283" cy="74185"/>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66"/>
                  <p:cNvSpPr/>
                  <p:nvPr/>
                </p:nvSpPr>
                <p:spPr>
                  <a:xfrm>
                    <a:off x="1616453" y="1624776"/>
                    <a:ext cx="42868" cy="40717"/>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66"/>
                  <p:cNvSpPr/>
                  <p:nvPr/>
                </p:nvSpPr>
                <p:spPr>
                  <a:xfrm>
                    <a:off x="1784849" y="1760975"/>
                    <a:ext cx="28654" cy="38467"/>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66"/>
                  <p:cNvSpPr/>
                  <p:nvPr/>
                </p:nvSpPr>
                <p:spPr>
                  <a:xfrm>
                    <a:off x="1784849" y="1490834"/>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9" name="Google Shape;4829;p66"/>
                  <p:cNvGrpSpPr/>
                  <p:nvPr/>
                </p:nvGrpSpPr>
                <p:grpSpPr>
                  <a:xfrm>
                    <a:off x="1839639" y="1475379"/>
                    <a:ext cx="77067" cy="341643"/>
                    <a:chOff x="1839639" y="1475379"/>
                    <a:chExt cx="77067" cy="341643"/>
                  </a:xfrm>
                </p:grpSpPr>
                <p:sp>
                  <p:nvSpPr>
                    <p:cNvPr id="4830" name="Google Shape;4830;p66"/>
                    <p:cNvSpPr/>
                    <p:nvPr/>
                  </p:nvSpPr>
                  <p:spPr>
                    <a:xfrm>
                      <a:off x="1839639" y="1745481"/>
                      <a:ext cx="77067" cy="7154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66"/>
                    <p:cNvSpPr/>
                    <p:nvPr/>
                  </p:nvSpPr>
                  <p:spPr>
                    <a:xfrm>
                      <a:off x="1839639" y="1475379"/>
                      <a:ext cx="77067" cy="71595"/>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32" name="Google Shape;4832;p66"/>
              <p:cNvGrpSpPr/>
              <p:nvPr/>
            </p:nvGrpSpPr>
            <p:grpSpPr>
              <a:xfrm>
                <a:off x="1398451" y="2012951"/>
                <a:ext cx="518255" cy="340828"/>
                <a:chOff x="1398451" y="2012951"/>
                <a:chExt cx="518255" cy="340828"/>
              </a:xfrm>
            </p:grpSpPr>
            <p:sp>
              <p:nvSpPr>
                <p:cNvPr id="4833" name="Google Shape;4833;p66"/>
                <p:cNvSpPr/>
                <p:nvPr/>
              </p:nvSpPr>
              <p:spPr>
                <a:xfrm>
                  <a:off x="1398451" y="2133928"/>
                  <a:ext cx="102166" cy="99017"/>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34" name="Google Shape;4834;p66"/>
                <p:cNvGrpSpPr/>
                <p:nvPr/>
              </p:nvGrpSpPr>
              <p:grpSpPr>
                <a:xfrm>
                  <a:off x="1616453" y="2012951"/>
                  <a:ext cx="300253" cy="340828"/>
                  <a:chOff x="1616453" y="2013538"/>
                  <a:chExt cx="300253" cy="340828"/>
                </a:xfrm>
              </p:grpSpPr>
              <p:sp>
                <p:nvSpPr>
                  <p:cNvPr id="4835" name="Google Shape;4835;p66"/>
                  <p:cNvSpPr/>
                  <p:nvPr/>
                </p:nvSpPr>
                <p:spPr>
                  <a:xfrm>
                    <a:off x="1631387" y="2183474"/>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66"/>
                  <p:cNvSpPr/>
                  <p:nvPr/>
                </p:nvSpPr>
                <p:spPr>
                  <a:xfrm>
                    <a:off x="1716447" y="2048220"/>
                    <a:ext cx="82400" cy="61076"/>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66"/>
                  <p:cNvSpPr/>
                  <p:nvPr/>
                </p:nvSpPr>
                <p:spPr>
                  <a:xfrm>
                    <a:off x="1716447" y="2257422"/>
                    <a:ext cx="82400" cy="61083"/>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66"/>
                  <p:cNvSpPr/>
                  <p:nvPr/>
                </p:nvSpPr>
                <p:spPr>
                  <a:xfrm>
                    <a:off x="1631387" y="2109073"/>
                    <a:ext cx="85283" cy="7439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66"/>
                  <p:cNvSpPr/>
                  <p:nvPr/>
                </p:nvSpPr>
                <p:spPr>
                  <a:xfrm>
                    <a:off x="1616453" y="2163114"/>
                    <a:ext cx="42868" cy="40491"/>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66"/>
                  <p:cNvSpPr/>
                  <p:nvPr/>
                </p:nvSpPr>
                <p:spPr>
                  <a:xfrm>
                    <a:off x="1784849" y="2299227"/>
                    <a:ext cx="28654" cy="3851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66"/>
                  <p:cNvSpPr/>
                  <p:nvPr/>
                </p:nvSpPr>
                <p:spPr>
                  <a:xfrm>
                    <a:off x="1784849" y="2028946"/>
                    <a:ext cx="28654" cy="3854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42" name="Google Shape;4842;p66"/>
                  <p:cNvGrpSpPr/>
                  <p:nvPr/>
                </p:nvGrpSpPr>
                <p:grpSpPr>
                  <a:xfrm>
                    <a:off x="1839639" y="2013538"/>
                    <a:ext cx="77067" cy="340828"/>
                    <a:chOff x="1839639" y="2013538"/>
                    <a:chExt cx="77067" cy="340828"/>
                  </a:xfrm>
                </p:grpSpPr>
                <p:sp>
                  <p:nvSpPr>
                    <p:cNvPr id="4843" name="Google Shape;4843;p66"/>
                    <p:cNvSpPr/>
                    <p:nvPr/>
                  </p:nvSpPr>
                  <p:spPr>
                    <a:xfrm>
                      <a:off x="1839639" y="2282618"/>
                      <a:ext cx="77067" cy="71748"/>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66"/>
                    <p:cNvSpPr/>
                    <p:nvPr/>
                  </p:nvSpPr>
                  <p:spPr>
                    <a:xfrm>
                      <a:off x="1839639" y="2013538"/>
                      <a:ext cx="77067" cy="7158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4845" name="Google Shape;4845;p66"/>
          <p:cNvGrpSpPr/>
          <p:nvPr/>
        </p:nvGrpSpPr>
        <p:grpSpPr>
          <a:xfrm>
            <a:off x="724986" y="3399503"/>
            <a:ext cx="1368681" cy="682918"/>
            <a:chOff x="724986" y="3605478"/>
            <a:chExt cx="1368681" cy="682918"/>
          </a:xfrm>
        </p:grpSpPr>
        <p:grpSp>
          <p:nvGrpSpPr>
            <p:cNvPr id="4846" name="Google Shape;4846;p66"/>
            <p:cNvGrpSpPr/>
            <p:nvPr/>
          </p:nvGrpSpPr>
          <p:grpSpPr>
            <a:xfrm>
              <a:off x="1289102" y="3823629"/>
              <a:ext cx="240442" cy="250435"/>
              <a:chOff x="-165066" y="3843615"/>
              <a:chExt cx="221259" cy="230455"/>
            </a:xfrm>
          </p:grpSpPr>
          <p:sp>
            <p:nvSpPr>
              <p:cNvPr id="4847" name="Google Shape;4847;p66"/>
              <p:cNvSpPr/>
              <p:nvPr/>
            </p:nvSpPr>
            <p:spPr>
              <a:xfrm>
                <a:off x="-165066" y="3843615"/>
                <a:ext cx="106189" cy="230455"/>
              </a:xfrm>
              <a:custGeom>
                <a:avLst/>
                <a:gdLst/>
                <a:ahLst/>
                <a:cxnLst/>
                <a:rect l="l" t="t" r="r" b="b"/>
                <a:pathLst>
                  <a:path w="9076" h="19697" extrusionOk="0">
                    <a:moveTo>
                      <a:pt x="7950" y="0"/>
                    </a:moveTo>
                    <a:cubicBezTo>
                      <a:pt x="7325" y="0"/>
                      <a:pt x="7031" y="353"/>
                      <a:pt x="6905" y="861"/>
                    </a:cubicBezTo>
                    <a:cubicBezTo>
                      <a:pt x="6789" y="843"/>
                      <a:pt x="6673" y="834"/>
                      <a:pt x="6560" y="834"/>
                    </a:cubicBezTo>
                    <a:cubicBezTo>
                      <a:pt x="5374" y="834"/>
                      <a:pt x="4369" y="1804"/>
                      <a:pt x="4378" y="3035"/>
                    </a:cubicBezTo>
                    <a:cubicBezTo>
                      <a:pt x="4378" y="3093"/>
                      <a:pt x="4384" y="3152"/>
                      <a:pt x="4388" y="3210"/>
                    </a:cubicBezTo>
                    <a:cubicBezTo>
                      <a:pt x="4095" y="3091"/>
                      <a:pt x="3789" y="3034"/>
                      <a:pt x="3486" y="3034"/>
                    </a:cubicBezTo>
                    <a:cubicBezTo>
                      <a:pt x="2814" y="3034"/>
                      <a:pt x="2155" y="3317"/>
                      <a:pt x="1689" y="3841"/>
                    </a:cubicBezTo>
                    <a:cubicBezTo>
                      <a:pt x="1013" y="4601"/>
                      <a:pt x="893" y="5704"/>
                      <a:pt x="1385" y="6594"/>
                    </a:cubicBezTo>
                    <a:cubicBezTo>
                      <a:pt x="0" y="7697"/>
                      <a:pt x="117" y="9839"/>
                      <a:pt x="1618" y="10780"/>
                    </a:cubicBezTo>
                    <a:cubicBezTo>
                      <a:pt x="664" y="11961"/>
                      <a:pt x="1036" y="13721"/>
                      <a:pt x="2388" y="14417"/>
                    </a:cubicBezTo>
                    <a:cubicBezTo>
                      <a:pt x="2375" y="14508"/>
                      <a:pt x="2372" y="14595"/>
                      <a:pt x="2372" y="14685"/>
                    </a:cubicBezTo>
                    <a:cubicBezTo>
                      <a:pt x="2372" y="15776"/>
                      <a:pt x="3106" y="16727"/>
                      <a:pt x="4161" y="17002"/>
                    </a:cubicBezTo>
                    <a:cubicBezTo>
                      <a:pt x="4473" y="17901"/>
                      <a:pt x="5317" y="18472"/>
                      <a:pt x="6226" y="18472"/>
                    </a:cubicBezTo>
                    <a:cubicBezTo>
                      <a:pt x="6429" y="18472"/>
                      <a:pt x="6635" y="18443"/>
                      <a:pt x="6840" y="18383"/>
                    </a:cubicBezTo>
                    <a:cubicBezTo>
                      <a:pt x="6888" y="19128"/>
                      <a:pt x="7157" y="19697"/>
                      <a:pt x="7953" y="19697"/>
                    </a:cubicBezTo>
                    <a:cubicBezTo>
                      <a:pt x="9074" y="19697"/>
                      <a:pt x="9059" y="18730"/>
                      <a:pt x="9075" y="18730"/>
                    </a:cubicBezTo>
                    <a:cubicBezTo>
                      <a:pt x="9075" y="18730"/>
                      <a:pt x="9075" y="18730"/>
                      <a:pt x="9075" y="18730"/>
                    </a:cubicBezTo>
                    <a:cubicBezTo>
                      <a:pt x="9072" y="18726"/>
                      <a:pt x="9046" y="1055"/>
                      <a:pt x="9033" y="1055"/>
                    </a:cubicBezTo>
                    <a:cubicBezTo>
                      <a:pt x="9033" y="1055"/>
                      <a:pt x="9033" y="1055"/>
                      <a:pt x="9033" y="1055"/>
                    </a:cubicBezTo>
                    <a:cubicBezTo>
                      <a:pt x="9014" y="919"/>
                      <a:pt x="8982" y="790"/>
                      <a:pt x="8936" y="660"/>
                    </a:cubicBezTo>
                    <a:cubicBezTo>
                      <a:pt x="8784" y="259"/>
                      <a:pt x="8490" y="0"/>
                      <a:pt x="7950"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66"/>
              <p:cNvSpPr/>
              <p:nvPr/>
            </p:nvSpPr>
            <p:spPr>
              <a:xfrm>
                <a:off x="-100985" y="3906105"/>
                <a:ext cx="41804" cy="52708"/>
              </a:xfrm>
              <a:custGeom>
                <a:avLst/>
                <a:gdLst/>
                <a:ahLst/>
                <a:cxnLst/>
                <a:rect l="l" t="t" r="r" b="b"/>
                <a:pathLst>
                  <a:path w="3573" h="4505" fill="none" extrusionOk="0">
                    <a:moveTo>
                      <a:pt x="3573" y="1"/>
                    </a:moveTo>
                    <a:cubicBezTo>
                      <a:pt x="3573" y="1"/>
                      <a:pt x="1" y="221"/>
                      <a:pt x="997"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66"/>
              <p:cNvSpPr/>
              <p:nvPr/>
            </p:nvSpPr>
            <p:spPr>
              <a:xfrm>
                <a:off x="-86594" y="3875146"/>
                <a:ext cx="27296" cy="25717"/>
              </a:xfrm>
              <a:custGeom>
                <a:avLst/>
                <a:gdLst/>
                <a:ahLst/>
                <a:cxnLst/>
                <a:rect l="l" t="t" r="r" b="b"/>
                <a:pathLst>
                  <a:path w="2333" h="2198" fill="none" extrusionOk="0">
                    <a:moveTo>
                      <a:pt x="0" y="696"/>
                    </a:moveTo>
                    <a:cubicBezTo>
                      <a:pt x="0" y="696"/>
                      <a:pt x="2333" y="0"/>
                      <a:pt x="2333"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66"/>
              <p:cNvSpPr/>
              <p:nvPr/>
            </p:nvSpPr>
            <p:spPr>
              <a:xfrm>
                <a:off x="-113855" y="3879078"/>
                <a:ext cx="8986" cy="21785"/>
              </a:xfrm>
              <a:custGeom>
                <a:avLst/>
                <a:gdLst/>
                <a:ahLst/>
                <a:cxnLst/>
                <a:rect l="l" t="t" r="r" b="b"/>
                <a:pathLst>
                  <a:path w="768" h="1862" fill="none" extrusionOk="0">
                    <a:moveTo>
                      <a:pt x="1" y="1"/>
                    </a:moveTo>
                    <a:cubicBezTo>
                      <a:pt x="1" y="1"/>
                      <a:pt x="1" y="1056"/>
                      <a:pt x="768"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66"/>
              <p:cNvSpPr/>
              <p:nvPr/>
            </p:nvSpPr>
            <p:spPr>
              <a:xfrm>
                <a:off x="-148861" y="3908679"/>
                <a:ext cx="53340" cy="15538"/>
              </a:xfrm>
              <a:custGeom>
                <a:avLst/>
                <a:gdLst/>
                <a:ahLst/>
                <a:cxnLst/>
                <a:rect l="l" t="t" r="r" b="b"/>
                <a:pathLst>
                  <a:path w="4559" h="1328" fill="none" extrusionOk="0">
                    <a:moveTo>
                      <a:pt x="0" y="1030"/>
                    </a:moveTo>
                    <a:cubicBezTo>
                      <a:pt x="1301" y="1"/>
                      <a:pt x="2559" y="1327"/>
                      <a:pt x="2559" y="1327"/>
                    </a:cubicBezTo>
                    <a:cubicBezTo>
                      <a:pt x="2559" y="1327"/>
                      <a:pt x="2828" y="150"/>
                      <a:pt x="4559"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66"/>
              <p:cNvSpPr/>
              <p:nvPr/>
            </p:nvSpPr>
            <p:spPr>
              <a:xfrm>
                <a:off x="-137430" y="3963493"/>
                <a:ext cx="28092" cy="51948"/>
              </a:xfrm>
              <a:custGeom>
                <a:avLst/>
                <a:gdLst/>
                <a:ahLst/>
                <a:cxnLst/>
                <a:rect l="l" t="t" r="r" b="b"/>
                <a:pathLst>
                  <a:path w="2401" h="4440" fill="none" extrusionOk="0">
                    <a:moveTo>
                      <a:pt x="10" y="4439"/>
                    </a:moveTo>
                    <a:cubicBezTo>
                      <a:pt x="10" y="4439"/>
                      <a:pt x="0" y="2220"/>
                      <a:pt x="1718" y="2437"/>
                    </a:cubicBezTo>
                    <a:cubicBezTo>
                      <a:pt x="1718" y="2437"/>
                      <a:pt x="828" y="1217"/>
                      <a:pt x="2401"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66"/>
              <p:cNvSpPr/>
              <p:nvPr/>
            </p:nvSpPr>
            <p:spPr>
              <a:xfrm>
                <a:off x="-122021" y="4015429"/>
                <a:ext cx="12461" cy="32374"/>
              </a:xfrm>
              <a:custGeom>
                <a:avLst/>
                <a:gdLst/>
                <a:ahLst/>
                <a:cxnLst/>
                <a:rect l="l" t="t" r="r" b="b"/>
                <a:pathLst>
                  <a:path w="1065" h="2767" fill="none" extrusionOk="0">
                    <a:moveTo>
                      <a:pt x="1064" y="0"/>
                    </a:moveTo>
                    <a:cubicBezTo>
                      <a:pt x="1064" y="0"/>
                      <a:pt x="0" y="1146"/>
                      <a:pt x="702"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66"/>
              <p:cNvSpPr/>
              <p:nvPr/>
            </p:nvSpPr>
            <p:spPr>
              <a:xfrm>
                <a:off x="-95533" y="4013124"/>
                <a:ext cx="36235" cy="21739"/>
              </a:xfrm>
              <a:custGeom>
                <a:avLst/>
                <a:gdLst/>
                <a:ahLst/>
                <a:cxnLst/>
                <a:rect l="l" t="t" r="r" b="b"/>
                <a:pathLst>
                  <a:path w="3097" h="1858" fill="none" extrusionOk="0">
                    <a:moveTo>
                      <a:pt x="3097" y="197"/>
                    </a:moveTo>
                    <a:cubicBezTo>
                      <a:pt x="1463" y="0"/>
                      <a:pt x="764" y="1579"/>
                      <a:pt x="764" y="1579"/>
                    </a:cubicBezTo>
                    <a:cubicBezTo>
                      <a:pt x="764" y="1579"/>
                      <a:pt x="334" y="1391"/>
                      <a:pt x="1"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66"/>
              <p:cNvSpPr/>
              <p:nvPr/>
            </p:nvSpPr>
            <p:spPr>
              <a:xfrm>
                <a:off x="-123355" y="3941357"/>
                <a:ext cx="32000" cy="17913"/>
              </a:xfrm>
              <a:custGeom>
                <a:avLst/>
                <a:gdLst/>
                <a:ahLst/>
                <a:cxnLst/>
                <a:rect l="l" t="t" r="r" b="b"/>
                <a:pathLst>
                  <a:path w="2735" h="1531" fill="none" extrusionOk="0">
                    <a:moveTo>
                      <a:pt x="2735" y="0"/>
                    </a:moveTo>
                    <a:cubicBezTo>
                      <a:pt x="2735" y="0"/>
                      <a:pt x="1085" y="1530"/>
                      <a:pt x="1"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66"/>
              <p:cNvSpPr/>
              <p:nvPr/>
            </p:nvSpPr>
            <p:spPr>
              <a:xfrm>
                <a:off x="-91367" y="3973672"/>
                <a:ext cx="32070" cy="15807"/>
              </a:xfrm>
              <a:custGeom>
                <a:avLst/>
                <a:gdLst/>
                <a:ahLst/>
                <a:cxnLst/>
                <a:rect l="l" t="t" r="r" b="b"/>
                <a:pathLst>
                  <a:path w="2741" h="1351" fill="none" extrusionOk="0">
                    <a:moveTo>
                      <a:pt x="1" y="434"/>
                    </a:moveTo>
                    <a:cubicBezTo>
                      <a:pt x="1" y="434"/>
                      <a:pt x="1709" y="1"/>
                      <a:pt x="2741"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66"/>
              <p:cNvSpPr/>
              <p:nvPr/>
            </p:nvSpPr>
            <p:spPr>
              <a:xfrm>
                <a:off x="-49996" y="3843615"/>
                <a:ext cx="106189" cy="230455"/>
              </a:xfrm>
              <a:custGeom>
                <a:avLst/>
                <a:gdLst/>
                <a:ahLst/>
                <a:cxnLst/>
                <a:rect l="l" t="t" r="r" b="b"/>
                <a:pathLst>
                  <a:path w="9076" h="19697" extrusionOk="0">
                    <a:moveTo>
                      <a:pt x="1127" y="0"/>
                    </a:moveTo>
                    <a:cubicBezTo>
                      <a:pt x="586" y="0"/>
                      <a:pt x="292" y="259"/>
                      <a:pt x="140" y="660"/>
                    </a:cubicBezTo>
                    <a:cubicBezTo>
                      <a:pt x="95" y="790"/>
                      <a:pt x="62" y="919"/>
                      <a:pt x="43" y="1055"/>
                    </a:cubicBezTo>
                    <a:cubicBezTo>
                      <a:pt x="43" y="1055"/>
                      <a:pt x="43" y="1055"/>
                      <a:pt x="43" y="1055"/>
                    </a:cubicBezTo>
                    <a:cubicBezTo>
                      <a:pt x="30" y="1055"/>
                      <a:pt x="4" y="18726"/>
                      <a:pt x="1" y="18730"/>
                    </a:cubicBezTo>
                    <a:cubicBezTo>
                      <a:pt x="1" y="18730"/>
                      <a:pt x="1" y="18730"/>
                      <a:pt x="1" y="18730"/>
                    </a:cubicBezTo>
                    <a:cubicBezTo>
                      <a:pt x="17" y="18730"/>
                      <a:pt x="3" y="19697"/>
                      <a:pt x="1123" y="19697"/>
                    </a:cubicBezTo>
                    <a:cubicBezTo>
                      <a:pt x="1919" y="19697"/>
                      <a:pt x="2188" y="19128"/>
                      <a:pt x="2236" y="18383"/>
                    </a:cubicBezTo>
                    <a:cubicBezTo>
                      <a:pt x="2441" y="18443"/>
                      <a:pt x="2647" y="18472"/>
                      <a:pt x="2850" y="18472"/>
                    </a:cubicBezTo>
                    <a:cubicBezTo>
                      <a:pt x="3758" y="18472"/>
                      <a:pt x="4600" y="17901"/>
                      <a:pt x="4915" y="17002"/>
                    </a:cubicBezTo>
                    <a:cubicBezTo>
                      <a:pt x="5970" y="16727"/>
                      <a:pt x="6704" y="15776"/>
                      <a:pt x="6704" y="14685"/>
                    </a:cubicBezTo>
                    <a:cubicBezTo>
                      <a:pt x="6704" y="14595"/>
                      <a:pt x="6698" y="14508"/>
                      <a:pt x="6688" y="14417"/>
                    </a:cubicBezTo>
                    <a:cubicBezTo>
                      <a:pt x="8040" y="13725"/>
                      <a:pt x="8412" y="11961"/>
                      <a:pt x="7458" y="10780"/>
                    </a:cubicBezTo>
                    <a:cubicBezTo>
                      <a:pt x="8956" y="9839"/>
                      <a:pt x="9076" y="7697"/>
                      <a:pt x="7691" y="6594"/>
                    </a:cubicBezTo>
                    <a:cubicBezTo>
                      <a:pt x="8183" y="5704"/>
                      <a:pt x="8060" y="4601"/>
                      <a:pt x="7387" y="3841"/>
                    </a:cubicBezTo>
                    <a:cubicBezTo>
                      <a:pt x="6921" y="3315"/>
                      <a:pt x="6264" y="3033"/>
                      <a:pt x="5593" y="3033"/>
                    </a:cubicBezTo>
                    <a:cubicBezTo>
                      <a:pt x="5289" y="3033"/>
                      <a:pt x="4982" y="3091"/>
                      <a:pt x="4689" y="3210"/>
                    </a:cubicBezTo>
                    <a:cubicBezTo>
                      <a:pt x="4692" y="3152"/>
                      <a:pt x="4695" y="3093"/>
                      <a:pt x="4695" y="3035"/>
                    </a:cubicBezTo>
                    <a:cubicBezTo>
                      <a:pt x="4704" y="1804"/>
                      <a:pt x="3702" y="834"/>
                      <a:pt x="2514" y="834"/>
                    </a:cubicBezTo>
                    <a:cubicBezTo>
                      <a:pt x="2400" y="834"/>
                      <a:pt x="2285" y="843"/>
                      <a:pt x="2168" y="861"/>
                    </a:cubicBezTo>
                    <a:cubicBezTo>
                      <a:pt x="2045" y="353"/>
                      <a:pt x="1751" y="0"/>
                      <a:pt x="1127" y="0"/>
                    </a:cubicBezTo>
                    <a:close/>
                  </a:path>
                </a:pathLst>
              </a:custGeom>
              <a:solidFill>
                <a:srgbClr val="40566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66"/>
              <p:cNvSpPr/>
              <p:nvPr/>
            </p:nvSpPr>
            <p:spPr>
              <a:xfrm>
                <a:off x="-49692" y="3906105"/>
                <a:ext cx="41804" cy="52708"/>
              </a:xfrm>
              <a:custGeom>
                <a:avLst/>
                <a:gdLst/>
                <a:ahLst/>
                <a:cxnLst/>
                <a:rect l="l" t="t" r="r" b="b"/>
                <a:pathLst>
                  <a:path w="3573" h="4505" fill="none" extrusionOk="0">
                    <a:moveTo>
                      <a:pt x="1" y="1"/>
                    </a:moveTo>
                    <a:cubicBezTo>
                      <a:pt x="1" y="1"/>
                      <a:pt x="3572" y="221"/>
                      <a:pt x="2573"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66"/>
              <p:cNvSpPr/>
              <p:nvPr/>
            </p:nvSpPr>
            <p:spPr>
              <a:xfrm>
                <a:off x="-49575" y="3875146"/>
                <a:ext cx="27261" cy="25717"/>
              </a:xfrm>
              <a:custGeom>
                <a:avLst/>
                <a:gdLst/>
                <a:ahLst/>
                <a:cxnLst/>
                <a:rect l="l" t="t" r="r" b="b"/>
                <a:pathLst>
                  <a:path w="2330" h="2198" fill="none" extrusionOk="0">
                    <a:moveTo>
                      <a:pt x="2330" y="696"/>
                    </a:moveTo>
                    <a:cubicBezTo>
                      <a:pt x="2330" y="696"/>
                      <a:pt x="0" y="0"/>
                      <a:pt x="0"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66"/>
              <p:cNvSpPr/>
              <p:nvPr/>
            </p:nvSpPr>
            <p:spPr>
              <a:xfrm>
                <a:off x="-4003" y="3879078"/>
                <a:ext cx="8986" cy="21785"/>
              </a:xfrm>
              <a:custGeom>
                <a:avLst/>
                <a:gdLst/>
                <a:ahLst/>
                <a:cxnLst/>
                <a:rect l="l" t="t" r="r" b="b"/>
                <a:pathLst>
                  <a:path w="768" h="1862" fill="none" extrusionOk="0">
                    <a:moveTo>
                      <a:pt x="767" y="1"/>
                    </a:moveTo>
                    <a:cubicBezTo>
                      <a:pt x="767" y="1"/>
                      <a:pt x="767" y="1056"/>
                      <a:pt x="1"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66"/>
              <p:cNvSpPr/>
              <p:nvPr/>
            </p:nvSpPr>
            <p:spPr>
              <a:xfrm>
                <a:off x="-13352" y="3908679"/>
                <a:ext cx="53352" cy="15538"/>
              </a:xfrm>
              <a:custGeom>
                <a:avLst/>
                <a:gdLst/>
                <a:ahLst/>
                <a:cxnLst/>
                <a:rect l="l" t="t" r="r" b="b"/>
                <a:pathLst>
                  <a:path w="4560" h="1328" fill="none" extrusionOk="0">
                    <a:moveTo>
                      <a:pt x="4559" y="1030"/>
                    </a:moveTo>
                    <a:cubicBezTo>
                      <a:pt x="3258" y="1"/>
                      <a:pt x="1997" y="1327"/>
                      <a:pt x="1997" y="1327"/>
                    </a:cubicBezTo>
                    <a:cubicBezTo>
                      <a:pt x="1997" y="1327"/>
                      <a:pt x="1731" y="150"/>
                      <a:pt x="1"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66"/>
              <p:cNvSpPr/>
              <p:nvPr/>
            </p:nvSpPr>
            <p:spPr>
              <a:xfrm>
                <a:off x="466" y="3963493"/>
                <a:ext cx="28092" cy="51948"/>
              </a:xfrm>
              <a:custGeom>
                <a:avLst/>
                <a:gdLst/>
                <a:ahLst/>
                <a:cxnLst/>
                <a:rect l="l" t="t" r="r" b="b"/>
                <a:pathLst>
                  <a:path w="2401" h="4440" fill="none" extrusionOk="0">
                    <a:moveTo>
                      <a:pt x="2391" y="4439"/>
                    </a:moveTo>
                    <a:cubicBezTo>
                      <a:pt x="2391" y="4439"/>
                      <a:pt x="2401" y="2220"/>
                      <a:pt x="683" y="2437"/>
                    </a:cubicBezTo>
                    <a:cubicBezTo>
                      <a:pt x="683" y="2437"/>
                      <a:pt x="1573" y="1217"/>
                      <a:pt x="0"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66"/>
              <p:cNvSpPr/>
              <p:nvPr/>
            </p:nvSpPr>
            <p:spPr>
              <a:xfrm>
                <a:off x="688" y="4015429"/>
                <a:ext cx="12472" cy="32374"/>
              </a:xfrm>
              <a:custGeom>
                <a:avLst/>
                <a:gdLst/>
                <a:ahLst/>
                <a:cxnLst/>
                <a:rect l="l" t="t" r="r" b="b"/>
                <a:pathLst>
                  <a:path w="1066" h="2767" fill="none" extrusionOk="0">
                    <a:moveTo>
                      <a:pt x="1" y="0"/>
                    </a:moveTo>
                    <a:cubicBezTo>
                      <a:pt x="1" y="0"/>
                      <a:pt x="1065" y="1146"/>
                      <a:pt x="363"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66"/>
              <p:cNvSpPr/>
              <p:nvPr/>
            </p:nvSpPr>
            <p:spPr>
              <a:xfrm>
                <a:off x="-49575" y="4013124"/>
                <a:ext cx="36235" cy="21739"/>
              </a:xfrm>
              <a:custGeom>
                <a:avLst/>
                <a:gdLst/>
                <a:ahLst/>
                <a:cxnLst/>
                <a:rect l="l" t="t" r="r" b="b"/>
                <a:pathLst>
                  <a:path w="3097" h="1858" fill="none" extrusionOk="0">
                    <a:moveTo>
                      <a:pt x="0" y="197"/>
                    </a:moveTo>
                    <a:cubicBezTo>
                      <a:pt x="1631" y="0"/>
                      <a:pt x="2330" y="1579"/>
                      <a:pt x="2330" y="1579"/>
                    </a:cubicBezTo>
                    <a:cubicBezTo>
                      <a:pt x="2330" y="1579"/>
                      <a:pt x="2763" y="1391"/>
                      <a:pt x="3097"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66"/>
              <p:cNvSpPr/>
              <p:nvPr/>
            </p:nvSpPr>
            <p:spPr>
              <a:xfrm>
                <a:off x="-17517" y="3941357"/>
                <a:ext cx="32000" cy="17913"/>
              </a:xfrm>
              <a:custGeom>
                <a:avLst/>
                <a:gdLst/>
                <a:ahLst/>
                <a:cxnLst/>
                <a:rect l="l" t="t" r="r" b="b"/>
                <a:pathLst>
                  <a:path w="2735" h="1531" fill="none" extrusionOk="0">
                    <a:moveTo>
                      <a:pt x="1" y="0"/>
                    </a:moveTo>
                    <a:cubicBezTo>
                      <a:pt x="1" y="0"/>
                      <a:pt x="1651" y="1530"/>
                      <a:pt x="2734"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66"/>
              <p:cNvSpPr/>
              <p:nvPr/>
            </p:nvSpPr>
            <p:spPr>
              <a:xfrm>
                <a:off x="-49575" y="3973672"/>
                <a:ext cx="32070" cy="15807"/>
              </a:xfrm>
              <a:custGeom>
                <a:avLst/>
                <a:gdLst/>
                <a:ahLst/>
                <a:cxnLst/>
                <a:rect l="l" t="t" r="r" b="b"/>
                <a:pathLst>
                  <a:path w="2741" h="1351" fill="none" extrusionOk="0">
                    <a:moveTo>
                      <a:pt x="2741" y="434"/>
                    </a:moveTo>
                    <a:cubicBezTo>
                      <a:pt x="2741" y="434"/>
                      <a:pt x="1032" y="1"/>
                      <a:pt x="0"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67" name="Google Shape;4867;p66"/>
            <p:cNvGrpSpPr/>
            <p:nvPr/>
          </p:nvGrpSpPr>
          <p:grpSpPr>
            <a:xfrm>
              <a:off x="724986" y="3605478"/>
              <a:ext cx="1368681" cy="682918"/>
              <a:chOff x="724986" y="3605478"/>
              <a:chExt cx="1368681" cy="682918"/>
            </a:xfrm>
          </p:grpSpPr>
          <p:grpSp>
            <p:nvGrpSpPr>
              <p:cNvPr id="4868" name="Google Shape;4868;p66"/>
              <p:cNvGrpSpPr/>
              <p:nvPr/>
            </p:nvGrpSpPr>
            <p:grpSpPr>
              <a:xfrm>
                <a:off x="1498221" y="4047614"/>
                <a:ext cx="529172" cy="240783"/>
                <a:chOff x="1498221" y="4047614"/>
                <a:chExt cx="529172" cy="240783"/>
              </a:xfrm>
            </p:grpSpPr>
            <p:grpSp>
              <p:nvGrpSpPr>
                <p:cNvPr id="4869" name="Google Shape;4869;p66"/>
                <p:cNvGrpSpPr/>
                <p:nvPr/>
              </p:nvGrpSpPr>
              <p:grpSpPr>
                <a:xfrm>
                  <a:off x="1826655" y="4224370"/>
                  <a:ext cx="200738" cy="25631"/>
                  <a:chOff x="1826655" y="4224370"/>
                  <a:chExt cx="200738" cy="25631"/>
                </a:xfrm>
              </p:grpSpPr>
              <p:sp>
                <p:nvSpPr>
                  <p:cNvPr id="4870" name="Google Shape;4870;p66"/>
                  <p:cNvSpPr/>
                  <p:nvPr/>
                </p:nvSpPr>
                <p:spPr>
                  <a:xfrm>
                    <a:off x="1826655" y="4238011"/>
                    <a:ext cx="175094" cy="5"/>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66"/>
                  <p:cNvSpPr/>
                  <p:nvPr/>
                </p:nvSpPr>
                <p:spPr>
                  <a:xfrm>
                    <a:off x="2000728" y="4224370"/>
                    <a:ext cx="26665" cy="25631"/>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72" name="Google Shape;4872;p66"/>
                <p:cNvGrpSpPr/>
                <p:nvPr/>
              </p:nvGrpSpPr>
              <p:grpSpPr>
                <a:xfrm>
                  <a:off x="1498221" y="4047614"/>
                  <a:ext cx="328444" cy="240783"/>
                  <a:chOff x="1498221" y="4047614"/>
                  <a:chExt cx="328444" cy="240783"/>
                </a:xfrm>
              </p:grpSpPr>
              <p:sp>
                <p:nvSpPr>
                  <p:cNvPr id="4873" name="Google Shape;4873;p66"/>
                  <p:cNvSpPr/>
                  <p:nvPr/>
                </p:nvSpPr>
                <p:spPr>
                  <a:xfrm>
                    <a:off x="1648778" y="4185661"/>
                    <a:ext cx="177888" cy="102736"/>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solidFill>
                    <a:srgbClr val="213B5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74" name="Google Shape;4874;p66"/>
                  <p:cNvGrpSpPr/>
                  <p:nvPr/>
                </p:nvGrpSpPr>
                <p:grpSpPr>
                  <a:xfrm>
                    <a:off x="1498221" y="4047614"/>
                    <a:ext cx="150566" cy="190416"/>
                    <a:chOff x="1498221" y="4047614"/>
                    <a:chExt cx="150566" cy="190416"/>
                  </a:xfrm>
                </p:grpSpPr>
                <p:sp>
                  <p:nvSpPr>
                    <p:cNvPr id="4875" name="Google Shape;4875;p66"/>
                    <p:cNvSpPr/>
                    <p:nvPr/>
                  </p:nvSpPr>
                  <p:spPr>
                    <a:xfrm>
                      <a:off x="1510686" y="4060421"/>
                      <a:ext cx="138101" cy="177608"/>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66"/>
                    <p:cNvSpPr/>
                    <p:nvPr/>
                  </p:nvSpPr>
                  <p:spPr>
                    <a:xfrm>
                      <a:off x="1498221" y="4047614"/>
                      <a:ext cx="26646" cy="25622"/>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77" name="Google Shape;4877;p66"/>
              <p:cNvGrpSpPr/>
              <p:nvPr/>
            </p:nvGrpSpPr>
            <p:grpSpPr>
              <a:xfrm>
                <a:off x="1560718" y="3800594"/>
                <a:ext cx="532948" cy="302090"/>
                <a:chOff x="1560718" y="3800594"/>
                <a:chExt cx="532948" cy="302090"/>
              </a:xfrm>
            </p:grpSpPr>
            <p:grpSp>
              <p:nvGrpSpPr>
                <p:cNvPr id="4878" name="Google Shape;4878;p66"/>
                <p:cNvGrpSpPr/>
                <p:nvPr/>
              </p:nvGrpSpPr>
              <p:grpSpPr>
                <a:xfrm>
                  <a:off x="1912179" y="3827344"/>
                  <a:ext cx="181487" cy="25631"/>
                  <a:chOff x="1912179" y="3827344"/>
                  <a:chExt cx="181487" cy="25631"/>
                </a:xfrm>
              </p:grpSpPr>
              <p:sp>
                <p:nvSpPr>
                  <p:cNvPr id="4879" name="Google Shape;4879;p66"/>
                  <p:cNvSpPr/>
                  <p:nvPr/>
                </p:nvSpPr>
                <p:spPr>
                  <a:xfrm>
                    <a:off x="2067020" y="3827344"/>
                    <a:ext cx="26646" cy="25631"/>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66"/>
                  <p:cNvSpPr/>
                  <p:nvPr/>
                </p:nvSpPr>
                <p:spPr>
                  <a:xfrm>
                    <a:off x="1912179" y="3842838"/>
                    <a:ext cx="156825" cy="5"/>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1" name="Google Shape;4881;p66"/>
                <p:cNvGrpSpPr/>
                <p:nvPr/>
              </p:nvGrpSpPr>
              <p:grpSpPr>
                <a:xfrm>
                  <a:off x="1912179" y="4044505"/>
                  <a:ext cx="181487" cy="25622"/>
                  <a:chOff x="1912179" y="4044506"/>
                  <a:chExt cx="181487" cy="25622"/>
                </a:xfrm>
              </p:grpSpPr>
              <p:sp>
                <p:nvSpPr>
                  <p:cNvPr id="4882" name="Google Shape;4882;p66"/>
                  <p:cNvSpPr/>
                  <p:nvPr/>
                </p:nvSpPr>
                <p:spPr>
                  <a:xfrm>
                    <a:off x="2067020" y="4044505"/>
                    <a:ext cx="26646" cy="25622"/>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66"/>
                  <p:cNvSpPr/>
                  <p:nvPr/>
                </p:nvSpPr>
                <p:spPr>
                  <a:xfrm>
                    <a:off x="1912179" y="4059966"/>
                    <a:ext cx="156825" cy="5"/>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4" name="Google Shape;4884;p66"/>
                <p:cNvGrpSpPr/>
                <p:nvPr/>
              </p:nvGrpSpPr>
              <p:grpSpPr>
                <a:xfrm>
                  <a:off x="1560718" y="3800594"/>
                  <a:ext cx="351472" cy="302090"/>
                  <a:chOff x="1560718" y="3800594"/>
                  <a:chExt cx="351472" cy="302090"/>
                </a:xfrm>
              </p:grpSpPr>
              <p:grpSp>
                <p:nvGrpSpPr>
                  <p:cNvPr id="4885" name="Google Shape;4885;p66"/>
                  <p:cNvGrpSpPr/>
                  <p:nvPr/>
                </p:nvGrpSpPr>
                <p:grpSpPr>
                  <a:xfrm>
                    <a:off x="1560718" y="3842857"/>
                    <a:ext cx="173586" cy="217131"/>
                    <a:chOff x="1560718" y="3842857"/>
                    <a:chExt cx="173586" cy="217131"/>
                  </a:xfrm>
                </p:grpSpPr>
                <p:sp>
                  <p:nvSpPr>
                    <p:cNvPr id="4886" name="Google Shape;4886;p66"/>
                    <p:cNvSpPr/>
                    <p:nvPr/>
                  </p:nvSpPr>
                  <p:spPr>
                    <a:xfrm>
                      <a:off x="1560718" y="3951414"/>
                      <a:ext cx="84343" cy="5"/>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66"/>
                    <p:cNvSpPr/>
                    <p:nvPr/>
                  </p:nvSpPr>
                  <p:spPr>
                    <a:xfrm>
                      <a:off x="1631242" y="3936509"/>
                      <a:ext cx="26646" cy="25622"/>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66"/>
                    <p:cNvSpPr/>
                    <p:nvPr/>
                  </p:nvSpPr>
                  <p:spPr>
                    <a:xfrm>
                      <a:off x="1645054" y="3842857"/>
                      <a:ext cx="89251" cy="217131"/>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89" name="Google Shape;4889;p66"/>
                  <p:cNvSpPr/>
                  <p:nvPr/>
                </p:nvSpPr>
                <p:spPr>
                  <a:xfrm>
                    <a:off x="1733808" y="3800594"/>
                    <a:ext cx="177874" cy="102731"/>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solidFill>
                    <a:srgbClr val="445D73"/>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66"/>
                  <p:cNvSpPr/>
                  <p:nvPr/>
                </p:nvSpPr>
                <p:spPr>
                  <a:xfrm>
                    <a:off x="1734297" y="3999967"/>
                    <a:ext cx="177893" cy="102717"/>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solidFill>
                    <a:srgbClr val="869FB1"/>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891" name="Google Shape;4891;p66"/>
              <p:cNvSpPr/>
              <p:nvPr/>
            </p:nvSpPr>
            <p:spPr>
              <a:xfrm>
                <a:off x="1258451" y="3798060"/>
                <a:ext cx="302718" cy="302541"/>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92" name="Google Shape;4892;p66"/>
              <p:cNvGrpSpPr/>
              <p:nvPr/>
            </p:nvGrpSpPr>
            <p:grpSpPr>
              <a:xfrm>
                <a:off x="785350" y="3605478"/>
                <a:ext cx="535311" cy="249245"/>
                <a:chOff x="785350" y="3605478"/>
                <a:chExt cx="535311" cy="249245"/>
              </a:xfrm>
            </p:grpSpPr>
            <p:grpSp>
              <p:nvGrpSpPr>
                <p:cNvPr id="4893" name="Google Shape;4893;p66"/>
                <p:cNvGrpSpPr/>
                <p:nvPr/>
              </p:nvGrpSpPr>
              <p:grpSpPr>
                <a:xfrm>
                  <a:off x="785350" y="3605478"/>
                  <a:ext cx="376191" cy="102736"/>
                  <a:chOff x="785350" y="3605478"/>
                  <a:chExt cx="376191" cy="102736"/>
                </a:xfrm>
              </p:grpSpPr>
              <p:sp>
                <p:nvSpPr>
                  <p:cNvPr id="4894" name="Google Shape;4894;p66"/>
                  <p:cNvSpPr/>
                  <p:nvPr/>
                </p:nvSpPr>
                <p:spPr>
                  <a:xfrm>
                    <a:off x="808023" y="3655851"/>
                    <a:ext cx="175636" cy="5"/>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66"/>
                  <p:cNvSpPr/>
                  <p:nvPr/>
                </p:nvSpPr>
                <p:spPr>
                  <a:xfrm>
                    <a:off x="785350" y="3643867"/>
                    <a:ext cx="25635" cy="25622"/>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66"/>
                  <p:cNvSpPr/>
                  <p:nvPr/>
                </p:nvSpPr>
                <p:spPr>
                  <a:xfrm>
                    <a:off x="983648" y="3605478"/>
                    <a:ext cx="177893" cy="102736"/>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solidFill>
                    <a:srgbClr val="E3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97" name="Google Shape;4897;p66"/>
                <p:cNvGrpSpPr/>
                <p:nvPr/>
              </p:nvGrpSpPr>
              <p:grpSpPr>
                <a:xfrm>
                  <a:off x="1161530" y="3655851"/>
                  <a:ext cx="159131" cy="198872"/>
                  <a:chOff x="1161530" y="3655851"/>
                  <a:chExt cx="159131" cy="198872"/>
                </a:xfrm>
              </p:grpSpPr>
              <p:sp>
                <p:nvSpPr>
                  <p:cNvPr id="4898" name="Google Shape;4898;p66"/>
                  <p:cNvSpPr/>
                  <p:nvPr/>
                </p:nvSpPr>
                <p:spPr>
                  <a:xfrm>
                    <a:off x="1161530" y="3655851"/>
                    <a:ext cx="146440" cy="186082"/>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66"/>
                  <p:cNvSpPr/>
                  <p:nvPr/>
                </p:nvSpPr>
                <p:spPr>
                  <a:xfrm>
                    <a:off x="1293991" y="3829092"/>
                    <a:ext cx="26670" cy="25631"/>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0" name="Google Shape;4900;p66"/>
              <p:cNvGrpSpPr/>
              <p:nvPr/>
            </p:nvGrpSpPr>
            <p:grpSpPr>
              <a:xfrm>
                <a:off x="785350" y="4047614"/>
                <a:ext cx="535311" cy="240783"/>
                <a:chOff x="785350" y="4047614"/>
                <a:chExt cx="535311" cy="240783"/>
              </a:xfrm>
            </p:grpSpPr>
            <p:grpSp>
              <p:nvGrpSpPr>
                <p:cNvPr id="4901" name="Google Shape;4901;p66"/>
                <p:cNvGrpSpPr/>
                <p:nvPr/>
              </p:nvGrpSpPr>
              <p:grpSpPr>
                <a:xfrm>
                  <a:off x="1161636" y="4047614"/>
                  <a:ext cx="159025" cy="190415"/>
                  <a:chOff x="1161636" y="4047614"/>
                  <a:chExt cx="159025" cy="190415"/>
                </a:xfrm>
              </p:grpSpPr>
              <p:sp>
                <p:nvSpPr>
                  <p:cNvPr id="4902" name="Google Shape;4902;p66"/>
                  <p:cNvSpPr/>
                  <p:nvPr/>
                </p:nvSpPr>
                <p:spPr>
                  <a:xfrm>
                    <a:off x="1293991" y="4047614"/>
                    <a:ext cx="26670" cy="25631"/>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66"/>
                  <p:cNvSpPr/>
                  <p:nvPr/>
                </p:nvSpPr>
                <p:spPr>
                  <a:xfrm>
                    <a:off x="1161636" y="4073229"/>
                    <a:ext cx="146334" cy="16480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04" name="Google Shape;4904;p66"/>
                <p:cNvGrpSpPr/>
                <p:nvPr/>
              </p:nvGrpSpPr>
              <p:grpSpPr>
                <a:xfrm>
                  <a:off x="785350" y="4185661"/>
                  <a:ext cx="376191" cy="102736"/>
                  <a:chOff x="785350" y="4185661"/>
                  <a:chExt cx="376191" cy="102736"/>
                </a:xfrm>
              </p:grpSpPr>
              <p:sp>
                <p:nvSpPr>
                  <p:cNvPr id="4905" name="Google Shape;4905;p66"/>
                  <p:cNvSpPr/>
                  <p:nvPr/>
                </p:nvSpPr>
                <p:spPr>
                  <a:xfrm>
                    <a:off x="808023" y="4238011"/>
                    <a:ext cx="175636" cy="5"/>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66"/>
                  <p:cNvSpPr/>
                  <p:nvPr/>
                </p:nvSpPr>
                <p:spPr>
                  <a:xfrm>
                    <a:off x="983648" y="4185661"/>
                    <a:ext cx="177893" cy="102736"/>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solidFill>
                    <a:srgbClr val="E4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66"/>
                  <p:cNvSpPr/>
                  <p:nvPr/>
                </p:nvSpPr>
                <p:spPr>
                  <a:xfrm>
                    <a:off x="785350" y="4224370"/>
                    <a:ext cx="26646" cy="25631"/>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8" name="Google Shape;4908;p66"/>
              <p:cNvGrpSpPr/>
              <p:nvPr/>
            </p:nvGrpSpPr>
            <p:grpSpPr>
              <a:xfrm>
                <a:off x="1501054" y="3605478"/>
                <a:ext cx="526340" cy="249240"/>
                <a:chOff x="1501054" y="3605478"/>
                <a:chExt cx="526340" cy="249240"/>
              </a:xfrm>
            </p:grpSpPr>
            <p:grpSp>
              <p:nvGrpSpPr>
                <p:cNvPr id="4909" name="Google Shape;4909;p66"/>
                <p:cNvGrpSpPr/>
                <p:nvPr/>
              </p:nvGrpSpPr>
              <p:grpSpPr>
                <a:xfrm>
                  <a:off x="1834208" y="3643867"/>
                  <a:ext cx="193185" cy="25622"/>
                  <a:chOff x="1834208" y="3643867"/>
                  <a:chExt cx="193185" cy="25622"/>
                </a:xfrm>
              </p:grpSpPr>
              <p:sp>
                <p:nvSpPr>
                  <p:cNvPr id="4910" name="Google Shape;4910;p66"/>
                  <p:cNvSpPr/>
                  <p:nvPr/>
                </p:nvSpPr>
                <p:spPr>
                  <a:xfrm>
                    <a:off x="1834208" y="3655851"/>
                    <a:ext cx="167541" cy="5"/>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66"/>
                  <p:cNvSpPr/>
                  <p:nvPr/>
                </p:nvSpPr>
                <p:spPr>
                  <a:xfrm>
                    <a:off x="2000728" y="3643867"/>
                    <a:ext cx="26665" cy="25622"/>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12" name="Google Shape;4912;p66"/>
                <p:cNvGrpSpPr/>
                <p:nvPr/>
              </p:nvGrpSpPr>
              <p:grpSpPr>
                <a:xfrm>
                  <a:off x="1501054" y="3605478"/>
                  <a:ext cx="333165" cy="249240"/>
                  <a:chOff x="1501054" y="3605478"/>
                  <a:chExt cx="333165" cy="249240"/>
                </a:xfrm>
              </p:grpSpPr>
              <p:sp>
                <p:nvSpPr>
                  <p:cNvPr id="4913" name="Google Shape;4913;p66"/>
                  <p:cNvSpPr/>
                  <p:nvPr/>
                </p:nvSpPr>
                <p:spPr>
                  <a:xfrm>
                    <a:off x="1656330" y="3605478"/>
                    <a:ext cx="177888" cy="102736"/>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solidFill>
                    <a:srgbClr val="A5B7C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14" name="Google Shape;4914;p66"/>
                  <p:cNvGrpSpPr/>
                  <p:nvPr/>
                </p:nvGrpSpPr>
                <p:grpSpPr>
                  <a:xfrm>
                    <a:off x="1501054" y="3655851"/>
                    <a:ext cx="155286" cy="198867"/>
                    <a:chOff x="1501054" y="3655851"/>
                    <a:chExt cx="155286" cy="198867"/>
                  </a:xfrm>
                </p:grpSpPr>
                <p:sp>
                  <p:nvSpPr>
                    <p:cNvPr id="4915" name="Google Shape;4915;p66"/>
                    <p:cNvSpPr/>
                    <p:nvPr/>
                  </p:nvSpPr>
                  <p:spPr>
                    <a:xfrm>
                      <a:off x="1516351" y="3655851"/>
                      <a:ext cx="139989" cy="186082"/>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66"/>
                    <p:cNvSpPr/>
                    <p:nvPr/>
                  </p:nvSpPr>
                  <p:spPr>
                    <a:xfrm>
                      <a:off x="1501054" y="3829092"/>
                      <a:ext cx="26646" cy="25626"/>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917" name="Google Shape;4917;p66"/>
              <p:cNvGrpSpPr/>
              <p:nvPr/>
            </p:nvGrpSpPr>
            <p:grpSpPr>
              <a:xfrm>
                <a:off x="724986" y="3800594"/>
                <a:ext cx="532950" cy="302090"/>
                <a:chOff x="724986" y="3800594"/>
                <a:chExt cx="532950" cy="302090"/>
              </a:xfrm>
            </p:grpSpPr>
            <p:grpSp>
              <p:nvGrpSpPr>
                <p:cNvPr id="4918" name="Google Shape;4918;p66"/>
                <p:cNvGrpSpPr/>
                <p:nvPr/>
              </p:nvGrpSpPr>
              <p:grpSpPr>
                <a:xfrm>
                  <a:off x="724986" y="4044367"/>
                  <a:ext cx="181314" cy="25626"/>
                  <a:chOff x="724986" y="4044367"/>
                  <a:chExt cx="181314" cy="25626"/>
                </a:xfrm>
              </p:grpSpPr>
              <p:sp>
                <p:nvSpPr>
                  <p:cNvPr id="4919" name="Google Shape;4919;p66"/>
                  <p:cNvSpPr/>
                  <p:nvPr/>
                </p:nvSpPr>
                <p:spPr>
                  <a:xfrm>
                    <a:off x="746695" y="4059966"/>
                    <a:ext cx="159605" cy="5"/>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66"/>
                  <p:cNvSpPr/>
                  <p:nvPr/>
                </p:nvSpPr>
                <p:spPr>
                  <a:xfrm>
                    <a:off x="724986" y="4044367"/>
                    <a:ext cx="26646" cy="25626"/>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1" name="Google Shape;4921;p66"/>
                <p:cNvGrpSpPr/>
                <p:nvPr/>
              </p:nvGrpSpPr>
              <p:grpSpPr>
                <a:xfrm>
                  <a:off x="906290" y="3800594"/>
                  <a:ext cx="351646" cy="302090"/>
                  <a:chOff x="906290" y="3800594"/>
                  <a:chExt cx="351646" cy="302090"/>
                </a:xfrm>
              </p:grpSpPr>
              <p:grpSp>
                <p:nvGrpSpPr>
                  <p:cNvPr id="4922" name="Google Shape;4922;p66"/>
                  <p:cNvGrpSpPr/>
                  <p:nvPr/>
                </p:nvGrpSpPr>
                <p:grpSpPr>
                  <a:xfrm>
                    <a:off x="1084172" y="3842857"/>
                    <a:ext cx="173764" cy="217131"/>
                    <a:chOff x="1084172" y="3842857"/>
                    <a:chExt cx="173764" cy="217131"/>
                  </a:xfrm>
                </p:grpSpPr>
                <p:grpSp>
                  <p:nvGrpSpPr>
                    <p:cNvPr id="4923" name="Google Shape;4923;p66"/>
                    <p:cNvGrpSpPr/>
                    <p:nvPr/>
                  </p:nvGrpSpPr>
                  <p:grpSpPr>
                    <a:xfrm>
                      <a:off x="1156862" y="3936509"/>
                      <a:ext cx="101073" cy="25622"/>
                      <a:chOff x="1156862" y="3936509"/>
                      <a:chExt cx="101073" cy="25622"/>
                    </a:xfrm>
                  </p:grpSpPr>
                  <p:sp>
                    <p:nvSpPr>
                      <p:cNvPr id="4924" name="Google Shape;4924;p66"/>
                      <p:cNvSpPr/>
                      <p:nvPr/>
                    </p:nvSpPr>
                    <p:spPr>
                      <a:xfrm>
                        <a:off x="1156862" y="3936509"/>
                        <a:ext cx="26651" cy="25622"/>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66"/>
                      <p:cNvSpPr/>
                      <p:nvPr/>
                    </p:nvSpPr>
                    <p:spPr>
                      <a:xfrm>
                        <a:off x="1173592" y="3951414"/>
                        <a:ext cx="84343" cy="5"/>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6" name="Google Shape;4926;p66"/>
                    <p:cNvSpPr/>
                    <p:nvPr/>
                  </p:nvSpPr>
                  <p:spPr>
                    <a:xfrm>
                      <a:off x="1084172" y="3842857"/>
                      <a:ext cx="86476" cy="217131"/>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7" name="Google Shape;4927;p66"/>
                  <p:cNvSpPr/>
                  <p:nvPr/>
                </p:nvSpPr>
                <p:spPr>
                  <a:xfrm>
                    <a:off x="906290" y="3999967"/>
                    <a:ext cx="177893" cy="102717"/>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solidFill>
                    <a:srgbClr val="667E92"/>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66"/>
                  <p:cNvSpPr/>
                  <p:nvPr/>
                </p:nvSpPr>
                <p:spPr>
                  <a:xfrm>
                    <a:off x="914509" y="3800594"/>
                    <a:ext cx="177888" cy="102731"/>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solidFill>
                    <a:srgbClr val="E6EBEF"/>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9" name="Google Shape;4929;p66"/>
                <p:cNvGrpSpPr/>
                <p:nvPr/>
              </p:nvGrpSpPr>
              <p:grpSpPr>
                <a:xfrm>
                  <a:off x="724986" y="3830189"/>
                  <a:ext cx="189533" cy="25626"/>
                  <a:chOff x="724986" y="3830189"/>
                  <a:chExt cx="189533" cy="25626"/>
                </a:xfrm>
              </p:grpSpPr>
              <p:sp>
                <p:nvSpPr>
                  <p:cNvPr id="4930" name="Google Shape;4930;p66"/>
                  <p:cNvSpPr/>
                  <p:nvPr/>
                </p:nvSpPr>
                <p:spPr>
                  <a:xfrm>
                    <a:off x="724986" y="3830189"/>
                    <a:ext cx="26646" cy="25626"/>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66"/>
                  <p:cNvSpPr/>
                  <p:nvPr/>
                </p:nvSpPr>
                <p:spPr>
                  <a:xfrm>
                    <a:off x="746695" y="3842838"/>
                    <a:ext cx="167824" cy="5"/>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4932" name="Google Shape;4932;p66"/>
          <p:cNvGrpSpPr/>
          <p:nvPr/>
        </p:nvGrpSpPr>
        <p:grpSpPr>
          <a:xfrm>
            <a:off x="2253298" y="2249665"/>
            <a:ext cx="948701" cy="935378"/>
            <a:chOff x="2253298" y="2428317"/>
            <a:chExt cx="948701" cy="935378"/>
          </a:xfrm>
        </p:grpSpPr>
        <p:sp>
          <p:nvSpPr>
            <p:cNvPr id="4933" name="Google Shape;4933;p66"/>
            <p:cNvSpPr/>
            <p:nvPr/>
          </p:nvSpPr>
          <p:spPr>
            <a:xfrm>
              <a:off x="2418065" y="2799334"/>
              <a:ext cx="619167" cy="193359"/>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66"/>
            <p:cNvSpPr/>
            <p:nvPr/>
          </p:nvSpPr>
          <p:spPr>
            <a:xfrm>
              <a:off x="2373234" y="2761962"/>
              <a:ext cx="248482" cy="268106"/>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66"/>
            <p:cNvSpPr/>
            <p:nvPr/>
          </p:nvSpPr>
          <p:spPr>
            <a:xfrm>
              <a:off x="2726356" y="3024889"/>
              <a:ext cx="2582" cy="9932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66"/>
            <p:cNvSpPr/>
            <p:nvPr/>
          </p:nvSpPr>
          <p:spPr>
            <a:xfrm>
              <a:off x="2785174" y="3024884"/>
              <a:ext cx="287220" cy="9933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66"/>
            <p:cNvSpPr/>
            <p:nvPr/>
          </p:nvSpPr>
          <p:spPr>
            <a:xfrm>
              <a:off x="2382903" y="3024884"/>
              <a:ext cx="287215" cy="9933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66"/>
            <p:cNvSpPr/>
            <p:nvPr/>
          </p:nvSpPr>
          <p:spPr>
            <a:xfrm>
              <a:off x="2596756" y="3151259"/>
              <a:ext cx="261784" cy="212436"/>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66"/>
            <p:cNvSpPr/>
            <p:nvPr/>
          </p:nvSpPr>
          <p:spPr>
            <a:xfrm>
              <a:off x="2940204" y="3151259"/>
              <a:ext cx="261795" cy="212436"/>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66"/>
            <p:cNvSpPr/>
            <p:nvPr/>
          </p:nvSpPr>
          <p:spPr>
            <a:xfrm>
              <a:off x="2253298" y="3151259"/>
              <a:ext cx="261795" cy="212436"/>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66"/>
            <p:cNvSpPr/>
            <p:nvPr/>
          </p:nvSpPr>
          <p:spPr>
            <a:xfrm>
              <a:off x="2718685" y="3113966"/>
              <a:ext cx="17919" cy="17924"/>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66"/>
            <p:cNvSpPr/>
            <p:nvPr/>
          </p:nvSpPr>
          <p:spPr>
            <a:xfrm>
              <a:off x="3062128" y="3113966"/>
              <a:ext cx="17924" cy="17924"/>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66"/>
            <p:cNvSpPr/>
            <p:nvPr/>
          </p:nvSpPr>
          <p:spPr>
            <a:xfrm>
              <a:off x="2375226" y="3113966"/>
              <a:ext cx="17924" cy="17924"/>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66"/>
            <p:cNvSpPr/>
            <p:nvPr/>
          </p:nvSpPr>
          <p:spPr>
            <a:xfrm>
              <a:off x="2718685" y="3017224"/>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66"/>
            <p:cNvSpPr/>
            <p:nvPr/>
          </p:nvSpPr>
          <p:spPr>
            <a:xfrm>
              <a:off x="2777509" y="3017224"/>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66"/>
            <p:cNvSpPr/>
            <p:nvPr/>
          </p:nvSpPr>
          <p:spPr>
            <a:xfrm>
              <a:off x="2659856" y="3017224"/>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66"/>
            <p:cNvSpPr/>
            <p:nvPr/>
          </p:nvSpPr>
          <p:spPr>
            <a:xfrm>
              <a:off x="2726356" y="2667807"/>
              <a:ext cx="2582" cy="99322"/>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66"/>
            <p:cNvSpPr/>
            <p:nvPr/>
          </p:nvSpPr>
          <p:spPr>
            <a:xfrm>
              <a:off x="2785174" y="2667796"/>
              <a:ext cx="287210" cy="9933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66"/>
            <p:cNvSpPr/>
            <p:nvPr/>
          </p:nvSpPr>
          <p:spPr>
            <a:xfrm>
              <a:off x="2382892" y="2667796"/>
              <a:ext cx="287226" cy="9933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66"/>
            <p:cNvSpPr/>
            <p:nvPr/>
          </p:nvSpPr>
          <p:spPr>
            <a:xfrm>
              <a:off x="2596756" y="2428317"/>
              <a:ext cx="261784" cy="212447"/>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66"/>
            <p:cNvSpPr/>
            <p:nvPr/>
          </p:nvSpPr>
          <p:spPr>
            <a:xfrm>
              <a:off x="2940204" y="2428317"/>
              <a:ext cx="261795" cy="212447"/>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66"/>
            <p:cNvSpPr/>
            <p:nvPr/>
          </p:nvSpPr>
          <p:spPr>
            <a:xfrm>
              <a:off x="2253298" y="2428317"/>
              <a:ext cx="261795" cy="212447"/>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66"/>
            <p:cNvSpPr/>
            <p:nvPr/>
          </p:nvSpPr>
          <p:spPr>
            <a:xfrm>
              <a:off x="2718685" y="2660136"/>
              <a:ext cx="17919" cy="17919"/>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66"/>
            <p:cNvSpPr/>
            <p:nvPr/>
          </p:nvSpPr>
          <p:spPr>
            <a:xfrm>
              <a:off x="3062128" y="2660136"/>
              <a:ext cx="17924" cy="17919"/>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66"/>
            <p:cNvSpPr/>
            <p:nvPr/>
          </p:nvSpPr>
          <p:spPr>
            <a:xfrm>
              <a:off x="2375226" y="2660136"/>
              <a:ext cx="17924" cy="17919"/>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66"/>
            <p:cNvSpPr/>
            <p:nvPr/>
          </p:nvSpPr>
          <p:spPr>
            <a:xfrm>
              <a:off x="2718685" y="2756878"/>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66"/>
            <p:cNvSpPr/>
            <p:nvPr/>
          </p:nvSpPr>
          <p:spPr>
            <a:xfrm>
              <a:off x="2777509" y="2756878"/>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66"/>
            <p:cNvSpPr/>
            <p:nvPr/>
          </p:nvSpPr>
          <p:spPr>
            <a:xfrm>
              <a:off x="2659856" y="2756878"/>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66"/>
            <p:cNvSpPr/>
            <p:nvPr/>
          </p:nvSpPr>
          <p:spPr>
            <a:xfrm>
              <a:off x="2301024" y="2533889"/>
              <a:ext cx="163753" cy="1291"/>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66"/>
            <p:cNvSpPr/>
            <p:nvPr/>
          </p:nvSpPr>
          <p:spPr>
            <a:xfrm>
              <a:off x="2644918" y="2533889"/>
              <a:ext cx="163747" cy="1291"/>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66"/>
            <p:cNvSpPr/>
            <p:nvPr/>
          </p:nvSpPr>
          <p:spPr>
            <a:xfrm>
              <a:off x="2990071" y="2533889"/>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66"/>
            <p:cNvSpPr/>
            <p:nvPr/>
          </p:nvSpPr>
          <p:spPr>
            <a:xfrm>
              <a:off x="2644918" y="3256825"/>
              <a:ext cx="163758" cy="1291"/>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66"/>
            <p:cNvSpPr/>
            <p:nvPr/>
          </p:nvSpPr>
          <p:spPr>
            <a:xfrm>
              <a:off x="2301427" y="3256825"/>
              <a:ext cx="163758" cy="1291"/>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66"/>
            <p:cNvSpPr/>
            <p:nvPr/>
          </p:nvSpPr>
          <p:spPr>
            <a:xfrm>
              <a:off x="2990102" y="3256847"/>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66"/>
            <p:cNvSpPr/>
            <p:nvPr/>
          </p:nvSpPr>
          <p:spPr>
            <a:xfrm>
              <a:off x="2833559" y="2761962"/>
              <a:ext cx="248503" cy="268106"/>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969"/>
        <p:cNvGrpSpPr/>
        <p:nvPr/>
      </p:nvGrpSpPr>
      <p:grpSpPr>
        <a:xfrm>
          <a:off x="0" y="0"/>
          <a:ext cx="0" cy="0"/>
          <a:chOff x="0" y="0"/>
          <a:chExt cx="0" cy="0"/>
        </a:xfrm>
      </p:grpSpPr>
      <p:graphicFrame>
        <p:nvGraphicFramePr>
          <p:cNvPr id="4970" name="Google Shape;4970;p67"/>
          <p:cNvGraphicFramePr/>
          <p:nvPr/>
        </p:nvGraphicFramePr>
        <p:xfrm>
          <a:off x="3342575" y="2130450"/>
          <a:ext cx="2363400" cy="868575"/>
        </p:xfrm>
        <a:graphic>
          <a:graphicData uri="http://schemas.openxmlformats.org/drawingml/2006/table">
            <a:tbl>
              <a:tblPr>
                <a:noFill/>
                <a:tableStyleId>{36388064-F937-4609-BF7D-212556715704}</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4971" name="Google Shape;4971;p67"/>
          <p:cNvGrpSpPr/>
          <p:nvPr/>
        </p:nvGrpSpPr>
        <p:grpSpPr>
          <a:xfrm>
            <a:off x="3339744" y="952977"/>
            <a:ext cx="2363393" cy="1017867"/>
            <a:chOff x="3292400" y="1219146"/>
            <a:chExt cx="2615240" cy="1110239"/>
          </a:xfrm>
        </p:grpSpPr>
        <p:sp>
          <p:nvSpPr>
            <p:cNvPr id="4972" name="Google Shape;4972;p67"/>
            <p:cNvSpPr/>
            <p:nvPr/>
          </p:nvSpPr>
          <p:spPr>
            <a:xfrm>
              <a:off x="3292400" y="1845763"/>
              <a:ext cx="370500" cy="478500"/>
            </a:xfrm>
            <a:prstGeom prst="round2DiagRect">
              <a:avLst>
                <a:gd name="adj1" fmla="val 16667"/>
                <a:gd name="adj2" fmla="val 0"/>
              </a:avLst>
            </a:prstGeom>
            <a:solidFill>
              <a:srgbClr val="ABBCC9"/>
            </a:solidFill>
            <a:ln>
              <a:noFill/>
            </a:ln>
          </p:spPr>
          <p:txBody>
            <a:bodyPr spcFirstLastPara="1" wrap="square" lIns="0" tIns="0" rIns="0" bIns="0" anchor="ctr" anchorCtr="0">
              <a:noAutofit/>
            </a:bodyPr>
            <a:lstStyle/>
            <a:p>
              <a:pPr marL="0" lvl="0" indent="0" algn="l" rtl="0">
                <a:spcBef>
                  <a:spcPts val="0"/>
                </a:spcBef>
                <a:spcAft>
                  <a:spcPts val="0"/>
                </a:spcAft>
                <a:buNone/>
              </a:pPr>
              <a:endParaRPr sz="200">
                <a:solidFill>
                  <a:srgbClr val="FFFFFF"/>
                </a:solidFill>
              </a:endParaRPr>
            </a:p>
          </p:txBody>
        </p:sp>
        <p:sp>
          <p:nvSpPr>
            <p:cNvPr id="4973" name="Google Shape;4973;p67"/>
            <p:cNvSpPr/>
            <p:nvPr/>
          </p:nvSpPr>
          <p:spPr>
            <a:xfrm>
              <a:off x="3292400" y="1314860"/>
              <a:ext cx="370500" cy="478500"/>
            </a:xfrm>
            <a:prstGeom prst="round2DiagRect">
              <a:avLst>
                <a:gd name="adj1" fmla="val 16667"/>
                <a:gd name="adj2" fmla="val 0"/>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74" name="Google Shape;4974;p67"/>
            <p:cNvSpPr txBox="1"/>
            <p:nvPr/>
          </p:nvSpPr>
          <p:spPr>
            <a:xfrm flipH="1">
              <a:off x="3678794" y="1219157"/>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4975" name="Google Shape;4975;p67"/>
            <p:cNvSpPr txBox="1"/>
            <p:nvPr/>
          </p:nvSpPr>
          <p:spPr>
            <a:xfrm flipH="1">
              <a:off x="4051671" y="1219146"/>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4976" name="Google Shape;4976;p67"/>
            <p:cNvSpPr txBox="1"/>
            <p:nvPr/>
          </p:nvSpPr>
          <p:spPr>
            <a:xfrm flipH="1">
              <a:off x="4453057" y="1219146"/>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4977" name="Google Shape;4977;p67"/>
            <p:cNvSpPr txBox="1"/>
            <p:nvPr/>
          </p:nvSpPr>
          <p:spPr>
            <a:xfrm flipH="1">
              <a:off x="4831790"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4978" name="Google Shape;4978;p67"/>
            <p:cNvSpPr txBox="1"/>
            <p:nvPr/>
          </p:nvSpPr>
          <p:spPr>
            <a:xfrm flipH="1">
              <a:off x="5186134"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4979" name="Google Shape;4979;p67"/>
            <p:cNvSpPr txBox="1"/>
            <p:nvPr/>
          </p:nvSpPr>
          <p:spPr>
            <a:xfrm flipH="1">
              <a:off x="5562148"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4980" name="Google Shape;4980;p67"/>
            <p:cNvSpPr txBox="1"/>
            <p:nvPr/>
          </p:nvSpPr>
          <p:spPr>
            <a:xfrm flipH="1">
              <a:off x="3338153" y="1379250"/>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4981" name="Google Shape;4981;p67"/>
            <p:cNvSpPr txBox="1"/>
            <p:nvPr/>
          </p:nvSpPr>
          <p:spPr>
            <a:xfrm flipH="1">
              <a:off x="3338156" y="1902299"/>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4982" name="Google Shape;4982;p67"/>
            <p:cNvSpPr txBox="1"/>
            <p:nvPr/>
          </p:nvSpPr>
          <p:spPr>
            <a:xfrm flipH="1">
              <a:off x="3344522" y="1537172"/>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3" name="Google Shape;4983;p67"/>
            <p:cNvSpPr txBox="1"/>
            <p:nvPr/>
          </p:nvSpPr>
          <p:spPr>
            <a:xfrm flipH="1">
              <a:off x="3344522" y="1713877"/>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4984" name="Google Shape;4984;p67"/>
            <p:cNvSpPr txBox="1"/>
            <p:nvPr/>
          </p:nvSpPr>
          <p:spPr>
            <a:xfrm flipH="1">
              <a:off x="3344522" y="2079003"/>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5" name="Google Shape;4985;p67"/>
            <p:cNvSpPr txBox="1"/>
            <p:nvPr/>
          </p:nvSpPr>
          <p:spPr>
            <a:xfrm flipH="1">
              <a:off x="3344527" y="2246885"/>
              <a:ext cx="262200" cy="825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4986" name="Google Shape;4986;p67"/>
            <p:cNvGrpSpPr/>
            <p:nvPr/>
          </p:nvGrpSpPr>
          <p:grpSpPr>
            <a:xfrm>
              <a:off x="3748438" y="1378608"/>
              <a:ext cx="2159202" cy="903971"/>
              <a:chOff x="1683525" y="2179850"/>
              <a:chExt cx="4519050" cy="2134525"/>
            </a:xfrm>
          </p:grpSpPr>
          <p:sp>
            <p:nvSpPr>
              <p:cNvPr id="4987" name="Google Shape;4987;p67"/>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8" name="Google Shape;4988;p67"/>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9" name="Google Shape;4989;p67"/>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0" name="Google Shape;4990;p67"/>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1" name="Google Shape;4991;p67"/>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2" name="Google Shape;4992;p67"/>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3" name="Google Shape;4993;p67"/>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4" name="Google Shape;4994;p67"/>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5" name="Google Shape;4995;p67"/>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6" name="Google Shape;4996;p67"/>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7" name="Google Shape;4997;p67"/>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8" name="Google Shape;4998;p67"/>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graphicFrame>
        <p:nvGraphicFramePr>
          <p:cNvPr id="4999" name="Google Shape;4999;p67"/>
          <p:cNvGraphicFramePr/>
          <p:nvPr/>
        </p:nvGraphicFramePr>
        <p:xfrm>
          <a:off x="5935838" y="2130450"/>
          <a:ext cx="2491300" cy="868600"/>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5000" name="Google Shape;5000;p67"/>
          <p:cNvGrpSpPr/>
          <p:nvPr/>
        </p:nvGrpSpPr>
        <p:grpSpPr>
          <a:xfrm>
            <a:off x="5913087" y="3189047"/>
            <a:ext cx="2519825" cy="1001454"/>
            <a:chOff x="1906114" y="789980"/>
            <a:chExt cx="1487676" cy="606868"/>
          </a:xfrm>
        </p:grpSpPr>
        <p:cxnSp>
          <p:nvCxnSpPr>
            <p:cNvPr id="5001" name="Google Shape;5001;p67"/>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2" name="Google Shape;5002;p67"/>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3" name="Google Shape;5003;p67"/>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5004" name="Google Shape;5004;p67"/>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5005" name="Google Shape;5005;p67"/>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5006" name="Google Shape;5006;p67"/>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5007" name="Google Shape;5007;p67"/>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5008" name="Google Shape;5008;p67"/>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67"/>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67"/>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67"/>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67"/>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67"/>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67"/>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5015" name="Google Shape;5015;p67"/>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5016" name="Google Shape;5016;p67"/>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5017" name="Google Shape;5017;p67"/>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18" name="Google Shape;5018;p67"/>
          <p:cNvGrpSpPr/>
          <p:nvPr/>
        </p:nvGrpSpPr>
        <p:grpSpPr>
          <a:xfrm>
            <a:off x="712562" y="998005"/>
            <a:ext cx="2394370" cy="976502"/>
            <a:chOff x="749309" y="1112739"/>
            <a:chExt cx="2371603" cy="976502"/>
          </a:xfrm>
        </p:grpSpPr>
        <p:sp>
          <p:nvSpPr>
            <p:cNvPr id="5019" name="Google Shape;5019;p67"/>
            <p:cNvSpPr/>
            <p:nvPr/>
          </p:nvSpPr>
          <p:spPr>
            <a:xfrm>
              <a:off x="1092126"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67"/>
            <p:cNvSpPr/>
            <p:nvPr/>
          </p:nvSpPr>
          <p:spPr>
            <a:xfrm>
              <a:off x="1434943"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67"/>
            <p:cNvSpPr/>
            <p:nvPr/>
          </p:nvSpPr>
          <p:spPr>
            <a:xfrm>
              <a:off x="1777760"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67"/>
            <p:cNvSpPr/>
            <p:nvPr/>
          </p:nvSpPr>
          <p:spPr>
            <a:xfrm>
              <a:off x="2120578"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67"/>
            <p:cNvSpPr/>
            <p:nvPr/>
          </p:nvSpPr>
          <p:spPr>
            <a:xfrm>
              <a:off x="2463395"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67"/>
            <p:cNvSpPr/>
            <p:nvPr/>
          </p:nvSpPr>
          <p:spPr>
            <a:xfrm>
              <a:off x="2806212"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67"/>
            <p:cNvSpPr/>
            <p:nvPr/>
          </p:nvSpPr>
          <p:spPr>
            <a:xfrm>
              <a:off x="749309" y="136229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67"/>
            <p:cNvSpPr/>
            <p:nvPr/>
          </p:nvSpPr>
          <p:spPr>
            <a:xfrm>
              <a:off x="1092126"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67"/>
            <p:cNvSpPr/>
            <p:nvPr/>
          </p:nvSpPr>
          <p:spPr>
            <a:xfrm>
              <a:off x="1434943"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67"/>
            <p:cNvSpPr/>
            <p:nvPr/>
          </p:nvSpPr>
          <p:spPr>
            <a:xfrm>
              <a:off x="1777760"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67"/>
            <p:cNvSpPr/>
            <p:nvPr/>
          </p:nvSpPr>
          <p:spPr>
            <a:xfrm>
              <a:off x="2120578"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67"/>
            <p:cNvSpPr/>
            <p:nvPr/>
          </p:nvSpPr>
          <p:spPr>
            <a:xfrm>
              <a:off x="2463395"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67"/>
            <p:cNvSpPr/>
            <p:nvPr/>
          </p:nvSpPr>
          <p:spPr>
            <a:xfrm>
              <a:off x="2806212"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67"/>
            <p:cNvSpPr/>
            <p:nvPr/>
          </p:nvSpPr>
          <p:spPr>
            <a:xfrm>
              <a:off x="749309" y="161184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67"/>
            <p:cNvSpPr/>
            <p:nvPr/>
          </p:nvSpPr>
          <p:spPr>
            <a:xfrm>
              <a:off x="1092126"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67"/>
            <p:cNvSpPr/>
            <p:nvPr/>
          </p:nvSpPr>
          <p:spPr>
            <a:xfrm>
              <a:off x="1434943"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67"/>
            <p:cNvSpPr/>
            <p:nvPr/>
          </p:nvSpPr>
          <p:spPr>
            <a:xfrm>
              <a:off x="1777760"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67"/>
            <p:cNvSpPr/>
            <p:nvPr/>
          </p:nvSpPr>
          <p:spPr>
            <a:xfrm>
              <a:off x="2120578"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67"/>
            <p:cNvSpPr/>
            <p:nvPr/>
          </p:nvSpPr>
          <p:spPr>
            <a:xfrm>
              <a:off x="2463395"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67"/>
            <p:cNvSpPr/>
            <p:nvPr/>
          </p:nvSpPr>
          <p:spPr>
            <a:xfrm>
              <a:off x="2806212"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67"/>
            <p:cNvSpPr/>
            <p:nvPr/>
          </p:nvSpPr>
          <p:spPr>
            <a:xfrm>
              <a:off x="749309" y="186140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67"/>
            <p:cNvSpPr/>
            <p:nvPr/>
          </p:nvSpPr>
          <p:spPr>
            <a:xfrm>
              <a:off x="1092126"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67"/>
            <p:cNvSpPr/>
            <p:nvPr/>
          </p:nvSpPr>
          <p:spPr>
            <a:xfrm>
              <a:off x="1434943"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67"/>
            <p:cNvSpPr/>
            <p:nvPr/>
          </p:nvSpPr>
          <p:spPr>
            <a:xfrm>
              <a:off x="1777760"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67"/>
            <p:cNvSpPr/>
            <p:nvPr/>
          </p:nvSpPr>
          <p:spPr>
            <a:xfrm>
              <a:off x="2120578"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67"/>
            <p:cNvSpPr/>
            <p:nvPr/>
          </p:nvSpPr>
          <p:spPr>
            <a:xfrm>
              <a:off x="2463395"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67"/>
            <p:cNvSpPr/>
            <p:nvPr/>
          </p:nvSpPr>
          <p:spPr>
            <a:xfrm>
              <a:off x="2806212"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67"/>
            <p:cNvSpPr/>
            <p:nvPr/>
          </p:nvSpPr>
          <p:spPr>
            <a:xfrm>
              <a:off x="749309" y="111273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67"/>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67"/>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67"/>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67"/>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5051" name="Google Shape;5051;p67"/>
          <p:cNvGraphicFramePr/>
          <p:nvPr/>
        </p:nvGraphicFramePr>
        <p:xfrm>
          <a:off x="5935863" y="996300"/>
          <a:ext cx="2491300" cy="976425"/>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extLst>
                  <a:ext uri="{0D108BD9-81ED-4DB2-BD59-A6C34878D82A}">
                    <a16:rowId xmlns:a16="http://schemas.microsoft.com/office/drawing/2014/main" val="10000"/>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2"/>
                  </a:ext>
                </a:extLst>
              </a:tr>
            </a:tbl>
          </a:graphicData>
        </a:graphic>
      </p:graphicFrame>
      <p:grpSp>
        <p:nvGrpSpPr>
          <p:cNvPr id="5052" name="Google Shape;5052;p67"/>
          <p:cNvGrpSpPr/>
          <p:nvPr/>
        </p:nvGrpSpPr>
        <p:grpSpPr>
          <a:xfrm>
            <a:off x="4086504" y="2517093"/>
            <a:ext cx="1517436" cy="74460"/>
            <a:chOff x="3980086" y="2804397"/>
            <a:chExt cx="1227600" cy="66900"/>
          </a:xfrm>
        </p:grpSpPr>
        <p:sp>
          <p:nvSpPr>
            <p:cNvPr id="5053" name="Google Shape;5053;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5" name="Google Shape;5055;p67"/>
          <p:cNvGrpSpPr/>
          <p:nvPr/>
        </p:nvGrpSpPr>
        <p:grpSpPr>
          <a:xfrm>
            <a:off x="4711569" y="2809680"/>
            <a:ext cx="892956" cy="74460"/>
            <a:chOff x="3980086" y="2804397"/>
            <a:chExt cx="1227600" cy="66900"/>
          </a:xfrm>
        </p:grpSpPr>
        <p:sp>
          <p:nvSpPr>
            <p:cNvPr id="5056" name="Google Shape;5056;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8" name="Google Shape;5058;p67"/>
          <p:cNvGrpSpPr/>
          <p:nvPr/>
        </p:nvGrpSpPr>
        <p:grpSpPr>
          <a:xfrm>
            <a:off x="3344661" y="3168563"/>
            <a:ext cx="2363244" cy="1005943"/>
            <a:chOff x="3358415" y="3361302"/>
            <a:chExt cx="2363244" cy="1024695"/>
          </a:xfrm>
        </p:grpSpPr>
        <p:grpSp>
          <p:nvGrpSpPr>
            <p:cNvPr id="5059" name="Google Shape;5059;p67"/>
            <p:cNvGrpSpPr/>
            <p:nvPr/>
          </p:nvGrpSpPr>
          <p:grpSpPr>
            <a:xfrm>
              <a:off x="3358415" y="3361302"/>
              <a:ext cx="441300" cy="1024695"/>
              <a:chOff x="3358415" y="3361302"/>
              <a:chExt cx="441300" cy="1024695"/>
            </a:xfrm>
          </p:grpSpPr>
          <p:sp>
            <p:nvSpPr>
              <p:cNvPr id="5060" name="Google Shape;5060;p67"/>
              <p:cNvSpPr/>
              <p:nvPr/>
            </p:nvSpPr>
            <p:spPr>
              <a:xfrm>
                <a:off x="3358415"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67"/>
              <p:cNvSpPr/>
              <p:nvPr/>
            </p:nvSpPr>
            <p:spPr>
              <a:xfrm>
                <a:off x="3358415"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67"/>
              <p:cNvSpPr/>
              <p:nvPr/>
            </p:nvSpPr>
            <p:spPr>
              <a:xfrm>
                <a:off x="3358415"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67"/>
              <p:cNvSpPr/>
              <p:nvPr/>
            </p:nvSpPr>
            <p:spPr>
              <a:xfrm>
                <a:off x="3358415"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67"/>
              <p:cNvSpPr/>
              <p:nvPr/>
            </p:nvSpPr>
            <p:spPr>
              <a:xfrm>
                <a:off x="3358415"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67"/>
              <p:cNvSpPr/>
              <p:nvPr/>
            </p:nvSpPr>
            <p:spPr>
              <a:xfrm>
                <a:off x="3358415"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66" name="Google Shape;5066;p67"/>
            <p:cNvGrpSpPr/>
            <p:nvPr/>
          </p:nvGrpSpPr>
          <p:grpSpPr>
            <a:xfrm>
              <a:off x="3838901" y="3361302"/>
              <a:ext cx="441300" cy="1024695"/>
              <a:chOff x="3838901" y="3361302"/>
              <a:chExt cx="441300" cy="1024695"/>
            </a:xfrm>
          </p:grpSpPr>
          <p:sp>
            <p:nvSpPr>
              <p:cNvPr id="5067" name="Google Shape;5067;p67"/>
              <p:cNvSpPr/>
              <p:nvPr/>
            </p:nvSpPr>
            <p:spPr>
              <a:xfrm>
                <a:off x="3838901"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67"/>
              <p:cNvSpPr/>
              <p:nvPr/>
            </p:nvSpPr>
            <p:spPr>
              <a:xfrm>
                <a:off x="3838901"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67"/>
              <p:cNvSpPr/>
              <p:nvPr/>
            </p:nvSpPr>
            <p:spPr>
              <a:xfrm>
                <a:off x="3838901"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67"/>
              <p:cNvSpPr/>
              <p:nvPr/>
            </p:nvSpPr>
            <p:spPr>
              <a:xfrm>
                <a:off x="3838901"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67"/>
              <p:cNvSpPr/>
              <p:nvPr/>
            </p:nvSpPr>
            <p:spPr>
              <a:xfrm>
                <a:off x="3838901"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67"/>
              <p:cNvSpPr/>
              <p:nvPr/>
            </p:nvSpPr>
            <p:spPr>
              <a:xfrm>
                <a:off x="3838901"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73" name="Google Shape;5073;p67"/>
            <p:cNvGrpSpPr/>
            <p:nvPr/>
          </p:nvGrpSpPr>
          <p:grpSpPr>
            <a:xfrm>
              <a:off x="4319387" y="3361302"/>
              <a:ext cx="441300" cy="1024695"/>
              <a:chOff x="4319387" y="3361302"/>
              <a:chExt cx="441300" cy="1024695"/>
            </a:xfrm>
          </p:grpSpPr>
          <p:sp>
            <p:nvSpPr>
              <p:cNvPr id="5074" name="Google Shape;5074;p67"/>
              <p:cNvSpPr/>
              <p:nvPr/>
            </p:nvSpPr>
            <p:spPr>
              <a:xfrm>
                <a:off x="4319387"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67"/>
              <p:cNvSpPr/>
              <p:nvPr/>
            </p:nvSpPr>
            <p:spPr>
              <a:xfrm>
                <a:off x="4319387"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67"/>
              <p:cNvSpPr/>
              <p:nvPr/>
            </p:nvSpPr>
            <p:spPr>
              <a:xfrm>
                <a:off x="4319387"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67"/>
              <p:cNvSpPr/>
              <p:nvPr/>
            </p:nvSpPr>
            <p:spPr>
              <a:xfrm>
                <a:off x="4319387"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67"/>
              <p:cNvSpPr/>
              <p:nvPr/>
            </p:nvSpPr>
            <p:spPr>
              <a:xfrm>
                <a:off x="4319387"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67"/>
              <p:cNvSpPr/>
              <p:nvPr/>
            </p:nvSpPr>
            <p:spPr>
              <a:xfrm>
                <a:off x="4319387"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0" name="Google Shape;5080;p67"/>
            <p:cNvGrpSpPr/>
            <p:nvPr/>
          </p:nvGrpSpPr>
          <p:grpSpPr>
            <a:xfrm>
              <a:off x="4799873" y="3361302"/>
              <a:ext cx="441300" cy="1024695"/>
              <a:chOff x="4799873" y="3361302"/>
              <a:chExt cx="441300" cy="1024695"/>
            </a:xfrm>
          </p:grpSpPr>
          <p:sp>
            <p:nvSpPr>
              <p:cNvPr id="5081" name="Google Shape;5081;p67"/>
              <p:cNvSpPr/>
              <p:nvPr/>
            </p:nvSpPr>
            <p:spPr>
              <a:xfrm>
                <a:off x="4799873"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67"/>
              <p:cNvSpPr/>
              <p:nvPr/>
            </p:nvSpPr>
            <p:spPr>
              <a:xfrm>
                <a:off x="4799873"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67"/>
              <p:cNvSpPr/>
              <p:nvPr/>
            </p:nvSpPr>
            <p:spPr>
              <a:xfrm>
                <a:off x="4799873"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67"/>
              <p:cNvSpPr/>
              <p:nvPr/>
            </p:nvSpPr>
            <p:spPr>
              <a:xfrm>
                <a:off x="4799873"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67"/>
              <p:cNvSpPr/>
              <p:nvPr/>
            </p:nvSpPr>
            <p:spPr>
              <a:xfrm>
                <a:off x="4799873"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67"/>
              <p:cNvSpPr/>
              <p:nvPr/>
            </p:nvSpPr>
            <p:spPr>
              <a:xfrm>
                <a:off x="4799873"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7" name="Google Shape;5087;p67"/>
            <p:cNvGrpSpPr/>
            <p:nvPr/>
          </p:nvGrpSpPr>
          <p:grpSpPr>
            <a:xfrm>
              <a:off x="5280360" y="3361302"/>
              <a:ext cx="441300" cy="1024695"/>
              <a:chOff x="5280360" y="3361302"/>
              <a:chExt cx="441300" cy="1024695"/>
            </a:xfrm>
          </p:grpSpPr>
          <p:sp>
            <p:nvSpPr>
              <p:cNvPr id="5088" name="Google Shape;5088;p67"/>
              <p:cNvSpPr/>
              <p:nvPr/>
            </p:nvSpPr>
            <p:spPr>
              <a:xfrm>
                <a:off x="5280360"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67"/>
              <p:cNvSpPr/>
              <p:nvPr/>
            </p:nvSpPr>
            <p:spPr>
              <a:xfrm>
                <a:off x="5280360"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67"/>
              <p:cNvSpPr/>
              <p:nvPr/>
            </p:nvSpPr>
            <p:spPr>
              <a:xfrm>
                <a:off x="5280360"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67"/>
              <p:cNvSpPr/>
              <p:nvPr/>
            </p:nvSpPr>
            <p:spPr>
              <a:xfrm>
                <a:off x="5280360"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67"/>
              <p:cNvSpPr/>
              <p:nvPr/>
            </p:nvSpPr>
            <p:spPr>
              <a:xfrm>
                <a:off x="5280360"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67"/>
              <p:cNvSpPr/>
              <p:nvPr/>
            </p:nvSpPr>
            <p:spPr>
              <a:xfrm>
                <a:off x="5280360"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5094" name="Google Shape;5094;p67"/>
          <p:cNvGraphicFramePr/>
          <p:nvPr/>
        </p:nvGraphicFramePr>
        <p:xfrm>
          <a:off x="711088" y="2130450"/>
          <a:ext cx="2403600" cy="881400"/>
        </p:xfrm>
        <a:graphic>
          <a:graphicData uri="http://schemas.openxmlformats.org/drawingml/2006/table">
            <a:tbl>
              <a:tblPr>
                <a:noFill/>
                <a:tableStyleId>{36388064-F937-4609-BF7D-212556715704}</a:tableStyleId>
              </a:tblPr>
              <a:tblGrid>
                <a:gridCol w="600900">
                  <a:extLst>
                    <a:ext uri="{9D8B030D-6E8A-4147-A177-3AD203B41FA5}">
                      <a16:colId xmlns:a16="http://schemas.microsoft.com/office/drawing/2014/main" val="20000"/>
                    </a:ext>
                  </a:extLst>
                </a:gridCol>
                <a:gridCol w="600900">
                  <a:extLst>
                    <a:ext uri="{9D8B030D-6E8A-4147-A177-3AD203B41FA5}">
                      <a16:colId xmlns:a16="http://schemas.microsoft.com/office/drawing/2014/main" val="20001"/>
                    </a:ext>
                  </a:extLst>
                </a:gridCol>
                <a:gridCol w="600900">
                  <a:extLst>
                    <a:ext uri="{9D8B030D-6E8A-4147-A177-3AD203B41FA5}">
                      <a16:colId xmlns:a16="http://schemas.microsoft.com/office/drawing/2014/main" val="20002"/>
                    </a:ext>
                  </a:extLst>
                </a:gridCol>
                <a:gridCol w="600900">
                  <a:extLst>
                    <a:ext uri="{9D8B030D-6E8A-4147-A177-3AD203B41FA5}">
                      <a16:colId xmlns:a16="http://schemas.microsoft.com/office/drawing/2014/main" val="20003"/>
                    </a:ext>
                  </a:extLst>
                </a:gridCol>
              </a:tblGrid>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095" name="Google Shape;5095;p67"/>
          <p:cNvGrpSpPr/>
          <p:nvPr/>
        </p:nvGrpSpPr>
        <p:grpSpPr>
          <a:xfrm>
            <a:off x="712613" y="3180175"/>
            <a:ext cx="2403614" cy="1005900"/>
            <a:chOff x="726450" y="3372825"/>
            <a:chExt cx="2403614" cy="1005900"/>
          </a:xfrm>
        </p:grpSpPr>
        <p:grpSp>
          <p:nvGrpSpPr>
            <p:cNvPr id="5096" name="Google Shape;5096;p67"/>
            <p:cNvGrpSpPr/>
            <p:nvPr/>
          </p:nvGrpSpPr>
          <p:grpSpPr>
            <a:xfrm>
              <a:off x="726450" y="3696000"/>
              <a:ext cx="2403614" cy="500898"/>
              <a:chOff x="726450" y="3696000"/>
              <a:chExt cx="2403614" cy="500898"/>
            </a:xfrm>
          </p:grpSpPr>
          <p:sp>
            <p:nvSpPr>
              <p:cNvPr id="5097" name="Google Shape;5097;p67"/>
              <p:cNvSpPr/>
              <p:nvPr/>
            </p:nvSpPr>
            <p:spPr>
              <a:xfrm>
                <a:off x="726450" y="3696000"/>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098" name="Google Shape;5098;p67"/>
              <p:cNvSpPr/>
              <p:nvPr/>
            </p:nvSpPr>
            <p:spPr>
              <a:xfrm>
                <a:off x="726464" y="4029798"/>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099" name="Google Shape;5099;p67"/>
            <p:cNvGrpSpPr/>
            <p:nvPr/>
          </p:nvGrpSpPr>
          <p:grpSpPr>
            <a:xfrm>
              <a:off x="1348050" y="3372825"/>
              <a:ext cx="1720425" cy="1005900"/>
              <a:chOff x="1348050" y="3372825"/>
              <a:chExt cx="1720425" cy="1005900"/>
            </a:xfrm>
          </p:grpSpPr>
          <p:sp>
            <p:nvSpPr>
              <p:cNvPr id="5100" name="Google Shape;5100;p67"/>
              <p:cNvSpPr/>
              <p:nvPr/>
            </p:nvSpPr>
            <p:spPr>
              <a:xfrm>
                <a:off x="1348050"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1" name="Google Shape;5101;p67"/>
              <p:cNvSpPr/>
              <p:nvPr/>
            </p:nvSpPr>
            <p:spPr>
              <a:xfrm>
                <a:off x="1701356"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2" name="Google Shape;5102;p67"/>
              <p:cNvSpPr/>
              <p:nvPr/>
            </p:nvSpPr>
            <p:spPr>
              <a:xfrm>
                <a:off x="2054663"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3" name="Google Shape;5103;p67"/>
              <p:cNvSpPr/>
              <p:nvPr/>
            </p:nvSpPr>
            <p:spPr>
              <a:xfrm>
                <a:off x="2407969"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4" name="Google Shape;5104;p67"/>
              <p:cNvSpPr/>
              <p:nvPr/>
            </p:nvSpPr>
            <p:spPr>
              <a:xfrm>
                <a:off x="2761275"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105" name="Google Shape;5105;p67"/>
            <p:cNvGrpSpPr/>
            <p:nvPr/>
          </p:nvGrpSpPr>
          <p:grpSpPr>
            <a:xfrm>
              <a:off x="1455707" y="3731058"/>
              <a:ext cx="1491150" cy="417657"/>
              <a:chOff x="1455707" y="3731058"/>
              <a:chExt cx="1491150" cy="417657"/>
            </a:xfrm>
          </p:grpSpPr>
          <p:grpSp>
            <p:nvGrpSpPr>
              <p:cNvPr id="5106" name="Google Shape;5106;p67"/>
              <p:cNvGrpSpPr/>
              <p:nvPr/>
            </p:nvGrpSpPr>
            <p:grpSpPr>
              <a:xfrm>
                <a:off x="1472938" y="3745828"/>
                <a:ext cx="72126" cy="53788"/>
                <a:chOff x="1472938" y="3745828"/>
                <a:chExt cx="72126" cy="53788"/>
              </a:xfrm>
            </p:grpSpPr>
            <p:sp>
              <p:nvSpPr>
                <p:cNvPr id="5107" name="Google Shape;5107;p67"/>
                <p:cNvSpPr/>
                <p:nvPr/>
              </p:nvSpPr>
              <p:spPr>
                <a:xfrm>
                  <a:off x="1472938"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67"/>
                <p:cNvSpPr/>
                <p:nvPr/>
              </p:nvSpPr>
              <p:spPr>
                <a:xfrm>
                  <a:off x="1490853"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09" name="Google Shape;5109;p67"/>
              <p:cNvGrpSpPr/>
              <p:nvPr/>
            </p:nvGrpSpPr>
            <p:grpSpPr>
              <a:xfrm>
                <a:off x="1819181" y="4089633"/>
                <a:ext cx="72126" cy="53788"/>
                <a:chOff x="1819181" y="4089633"/>
                <a:chExt cx="72126" cy="53788"/>
              </a:xfrm>
            </p:grpSpPr>
            <p:sp>
              <p:nvSpPr>
                <p:cNvPr id="5110" name="Google Shape;5110;p67"/>
                <p:cNvSpPr/>
                <p:nvPr/>
              </p:nvSpPr>
              <p:spPr>
                <a:xfrm>
                  <a:off x="181918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67"/>
                <p:cNvSpPr/>
                <p:nvPr/>
              </p:nvSpPr>
              <p:spPr>
                <a:xfrm>
                  <a:off x="183709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2" name="Google Shape;5112;p67"/>
              <p:cNvGrpSpPr/>
              <p:nvPr/>
            </p:nvGrpSpPr>
            <p:grpSpPr>
              <a:xfrm>
                <a:off x="1455707" y="4084171"/>
                <a:ext cx="64321" cy="64544"/>
                <a:chOff x="1455707" y="4084171"/>
                <a:chExt cx="64321" cy="64544"/>
              </a:xfrm>
            </p:grpSpPr>
            <p:sp>
              <p:nvSpPr>
                <p:cNvPr id="5113" name="Google Shape;5113;p67"/>
                <p:cNvSpPr/>
                <p:nvPr/>
              </p:nvSpPr>
              <p:spPr>
                <a:xfrm>
                  <a:off x="1478676" y="40844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67"/>
                <p:cNvSpPr/>
                <p:nvPr/>
              </p:nvSpPr>
              <p:spPr>
                <a:xfrm>
                  <a:off x="1455707" y="40841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5" name="Google Shape;5115;p67"/>
              <p:cNvGrpSpPr/>
              <p:nvPr/>
            </p:nvGrpSpPr>
            <p:grpSpPr>
              <a:xfrm>
                <a:off x="1818610" y="3731058"/>
                <a:ext cx="64321" cy="64544"/>
                <a:chOff x="1818610" y="3731058"/>
                <a:chExt cx="64321" cy="64544"/>
              </a:xfrm>
            </p:grpSpPr>
            <p:sp>
              <p:nvSpPr>
                <p:cNvPr id="5116" name="Google Shape;5116;p67"/>
                <p:cNvSpPr/>
                <p:nvPr/>
              </p:nvSpPr>
              <p:spPr>
                <a:xfrm>
                  <a:off x="184157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67"/>
                <p:cNvSpPr/>
                <p:nvPr/>
              </p:nvSpPr>
              <p:spPr>
                <a:xfrm>
                  <a:off x="181861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8" name="Google Shape;5118;p67"/>
              <p:cNvGrpSpPr/>
              <p:nvPr/>
            </p:nvGrpSpPr>
            <p:grpSpPr>
              <a:xfrm>
                <a:off x="2172491" y="4089633"/>
                <a:ext cx="72126" cy="53788"/>
                <a:chOff x="2172491" y="4089633"/>
                <a:chExt cx="72126" cy="53788"/>
              </a:xfrm>
            </p:grpSpPr>
            <p:sp>
              <p:nvSpPr>
                <p:cNvPr id="5119" name="Google Shape;5119;p67"/>
                <p:cNvSpPr/>
                <p:nvPr/>
              </p:nvSpPr>
              <p:spPr>
                <a:xfrm>
                  <a:off x="217249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67"/>
                <p:cNvSpPr/>
                <p:nvPr/>
              </p:nvSpPr>
              <p:spPr>
                <a:xfrm>
                  <a:off x="219040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1" name="Google Shape;5121;p67"/>
              <p:cNvGrpSpPr/>
              <p:nvPr/>
            </p:nvGrpSpPr>
            <p:grpSpPr>
              <a:xfrm>
                <a:off x="2171920" y="3731058"/>
                <a:ext cx="64321" cy="64544"/>
                <a:chOff x="2171920" y="3731058"/>
                <a:chExt cx="64321" cy="64544"/>
              </a:xfrm>
            </p:grpSpPr>
            <p:sp>
              <p:nvSpPr>
                <p:cNvPr id="5122" name="Google Shape;5122;p67"/>
                <p:cNvSpPr/>
                <p:nvPr/>
              </p:nvSpPr>
              <p:spPr>
                <a:xfrm>
                  <a:off x="219488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67"/>
                <p:cNvSpPr/>
                <p:nvPr/>
              </p:nvSpPr>
              <p:spPr>
                <a:xfrm>
                  <a:off x="217192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4" name="Google Shape;5124;p67"/>
              <p:cNvGrpSpPr/>
              <p:nvPr/>
            </p:nvGrpSpPr>
            <p:grpSpPr>
              <a:xfrm>
                <a:off x="2874730" y="3745828"/>
                <a:ext cx="72126" cy="53788"/>
                <a:chOff x="2874730" y="3745828"/>
                <a:chExt cx="72126" cy="53788"/>
              </a:xfrm>
            </p:grpSpPr>
            <p:sp>
              <p:nvSpPr>
                <p:cNvPr id="5125" name="Google Shape;5125;p67"/>
                <p:cNvSpPr/>
                <p:nvPr/>
              </p:nvSpPr>
              <p:spPr>
                <a:xfrm>
                  <a:off x="2874730"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67"/>
                <p:cNvSpPr/>
                <p:nvPr/>
              </p:nvSpPr>
              <p:spPr>
                <a:xfrm>
                  <a:off x="2892645"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7" name="Google Shape;5127;p67"/>
              <p:cNvGrpSpPr/>
              <p:nvPr/>
            </p:nvGrpSpPr>
            <p:grpSpPr>
              <a:xfrm>
                <a:off x="2878589" y="4081481"/>
                <a:ext cx="64321" cy="64544"/>
                <a:chOff x="2878589" y="4081481"/>
                <a:chExt cx="64321" cy="64544"/>
              </a:xfrm>
            </p:grpSpPr>
            <p:sp>
              <p:nvSpPr>
                <p:cNvPr id="5128" name="Google Shape;5128;p67"/>
                <p:cNvSpPr/>
                <p:nvPr/>
              </p:nvSpPr>
              <p:spPr>
                <a:xfrm>
                  <a:off x="2901559" y="40817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67"/>
                <p:cNvSpPr/>
                <p:nvPr/>
              </p:nvSpPr>
              <p:spPr>
                <a:xfrm>
                  <a:off x="2878589" y="40814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0" name="Google Shape;5130;p67"/>
              <p:cNvGrpSpPr/>
              <p:nvPr/>
            </p:nvGrpSpPr>
            <p:grpSpPr>
              <a:xfrm>
                <a:off x="2525796" y="4089633"/>
                <a:ext cx="72126" cy="53788"/>
                <a:chOff x="2525796" y="4089633"/>
                <a:chExt cx="72126" cy="53788"/>
              </a:xfrm>
            </p:grpSpPr>
            <p:sp>
              <p:nvSpPr>
                <p:cNvPr id="5131" name="Google Shape;5131;p67"/>
                <p:cNvSpPr/>
                <p:nvPr/>
              </p:nvSpPr>
              <p:spPr>
                <a:xfrm>
                  <a:off x="2525796"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67"/>
                <p:cNvSpPr/>
                <p:nvPr/>
              </p:nvSpPr>
              <p:spPr>
                <a:xfrm>
                  <a:off x="2543711"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3" name="Google Shape;5133;p67"/>
              <p:cNvGrpSpPr/>
              <p:nvPr/>
            </p:nvGrpSpPr>
            <p:grpSpPr>
              <a:xfrm>
                <a:off x="2525225" y="3731058"/>
                <a:ext cx="64321" cy="64544"/>
                <a:chOff x="2525225" y="3731058"/>
                <a:chExt cx="64321" cy="64544"/>
              </a:xfrm>
            </p:grpSpPr>
            <p:sp>
              <p:nvSpPr>
                <p:cNvPr id="5134" name="Google Shape;5134;p67"/>
                <p:cNvSpPr/>
                <p:nvPr/>
              </p:nvSpPr>
              <p:spPr>
                <a:xfrm>
                  <a:off x="2548194"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67"/>
                <p:cNvSpPr/>
                <p:nvPr/>
              </p:nvSpPr>
              <p:spPr>
                <a:xfrm>
                  <a:off x="2525225"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139"/>
        <p:cNvGrpSpPr/>
        <p:nvPr/>
      </p:nvGrpSpPr>
      <p:grpSpPr>
        <a:xfrm>
          <a:off x="0" y="0"/>
          <a:ext cx="0" cy="0"/>
          <a:chOff x="0" y="0"/>
          <a:chExt cx="0" cy="0"/>
        </a:xfrm>
      </p:grpSpPr>
      <p:grpSp>
        <p:nvGrpSpPr>
          <p:cNvPr id="5140" name="Google Shape;5140;p68"/>
          <p:cNvGrpSpPr/>
          <p:nvPr/>
        </p:nvGrpSpPr>
        <p:grpSpPr>
          <a:xfrm>
            <a:off x="716991" y="971306"/>
            <a:ext cx="845921" cy="690752"/>
            <a:chOff x="732428" y="1198513"/>
            <a:chExt cx="845921" cy="690752"/>
          </a:xfrm>
        </p:grpSpPr>
        <p:grpSp>
          <p:nvGrpSpPr>
            <p:cNvPr id="5141" name="Google Shape;5141;p68"/>
            <p:cNvGrpSpPr/>
            <p:nvPr/>
          </p:nvGrpSpPr>
          <p:grpSpPr>
            <a:xfrm>
              <a:off x="823030" y="1198513"/>
              <a:ext cx="755319" cy="690752"/>
              <a:chOff x="823030" y="1198513"/>
              <a:chExt cx="755319" cy="690752"/>
            </a:xfrm>
          </p:grpSpPr>
          <p:sp>
            <p:nvSpPr>
              <p:cNvPr id="5142" name="Google Shape;5142;p68"/>
              <p:cNvSpPr/>
              <p:nvPr/>
            </p:nvSpPr>
            <p:spPr>
              <a:xfrm>
                <a:off x="823030" y="1198513"/>
                <a:ext cx="755319" cy="690752"/>
              </a:xfrm>
              <a:custGeom>
                <a:avLst/>
                <a:gdLst/>
                <a:ahLst/>
                <a:cxnLst/>
                <a:rect l="l" t="t" r="r" b="b"/>
                <a:pathLst>
                  <a:path w="46769" h="42771" extrusionOk="0">
                    <a:moveTo>
                      <a:pt x="21384" y="0"/>
                    </a:moveTo>
                    <a:cubicBezTo>
                      <a:pt x="9575" y="0"/>
                      <a:pt x="0" y="9575"/>
                      <a:pt x="0" y="21386"/>
                    </a:cubicBezTo>
                    <a:cubicBezTo>
                      <a:pt x="0" y="33196"/>
                      <a:pt x="9575" y="42770"/>
                      <a:pt x="21384" y="42770"/>
                    </a:cubicBezTo>
                    <a:cubicBezTo>
                      <a:pt x="33196" y="42770"/>
                      <a:pt x="42770" y="33196"/>
                      <a:pt x="42770" y="21386"/>
                    </a:cubicBezTo>
                    <a:cubicBezTo>
                      <a:pt x="42770" y="16313"/>
                      <a:pt x="41002" y="11653"/>
                      <a:pt x="38053" y="7988"/>
                    </a:cubicBezTo>
                    <a:lnTo>
                      <a:pt x="42775" y="7988"/>
                    </a:lnTo>
                    <a:cubicBezTo>
                      <a:pt x="44970" y="7988"/>
                      <a:pt x="46769" y="6191"/>
                      <a:pt x="46769" y="3994"/>
                    </a:cubicBezTo>
                    <a:cubicBezTo>
                      <a:pt x="46769" y="1797"/>
                      <a:pt x="44972" y="0"/>
                      <a:pt x="42775" y="0"/>
                    </a:cubicBezTo>
                    <a:lnTo>
                      <a:pt x="22286" y="0"/>
                    </a:lnTo>
                    <a:cubicBezTo>
                      <a:pt x="22196" y="0"/>
                      <a:pt x="22105" y="5"/>
                      <a:pt x="22018" y="10"/>
                    </a:cubicBezTo>
                    <a:cubicBezTo>
                      <a:pt x="21807" y="3"/>
                      <a:pt x="21597" y="0"/>
                      <a:pt x="21384" y="0"/>
                    </a:cubicBezTo>
                    <a:close/>
                  </a:path>
                </a:pathLst>
              </a:custGeom>
              <a:solidFill>
                <a:srgbClr val="325D7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68"/>
              <p:cNvSpPr/>
              <p:nvPr/>
            </p:nvSpPr>
            <p:spPr>
              <a:xfrm>
                <a:off x="1470047" y="1217877"/>
                <a:ext cx="88760" cy="88744"/>
              </a:xfrm>
              <a:custGeom>
                <a:avLst/>
                <a:gdLst/>
                <a:ahLst/>
                <a:cxnLst/>
                <a:rect l="l" t="t" r="r" b="b"/>
                <a:pathLst>
                  <a:path w="5496" h="5495" extrusionOk="0">
                    <a:moveTo>
                      <a:pt x="2747" y="1"/>
                    </a:moveTo>
                    <a:cubicBezTo>
                      <a:pt x="1231" y="1"/>
                      <a:pt x="1" y="1230"/>
                      <a:pt x="1" y="2749"/>
                    </a:cubicBezTo>
                    <a:cubicBezTo>
                      <a:pt x="1" y="4265"/>
                      <a:pt x="1231" y="5495"/>
                      <a:pt x="2747" y="5495"/>
                    </a:cubicBezTo>
                    <a:cubicBezTo>
                      <a:pt x="4265" y="5495"/>
                      <a:pt x="5495" y="4265"/>
                      <a:pt x="5495" y="2749"/>
                    </a:cubicBezTo>
                    <a:cubicBezTo>
                      <a:pt x="5495" y="1230"/>
                      <a:pt x="4265" y="1"/>
                      <a:pt x="274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4" name="Google Shape;5144;p68"/>
            <p:cNvGrpSpPr/>
            <p:nvPr/>
          </p:nvGrpSpPr>
          <p:grpSpPr>
            <a:xfrm>
              <a:off x="732428" y="1239937"/>
              <a:ext cx="739912" cy="607886"/>
              <a:chOff x="732428" y="1239937"/>
              <a:chExt cx="739912" cy="607886"/>
            </a:xfrm>
          </p:grpSpPr>
          <p:sp>
            <p:nvSpPr>
              <p:cNvPr id="5145" name="Google Shape;5145;p68"/>
              <p:cNvSpPr/>
              <p:nvPr/>
            </p:nvSpPr>
            <p:spPr>
              <a:xfrm>
                <a:off x="732428" y="1239937"/>
                <a:ext cx="739912" cy="607886"/>
              </a:xfrm>
              <a:custGeom>
                <a:avLst/>
                <a:gdLst/>
                <a:ahLst/>
                <a:cxnLst/>
                <a:rect l="l" t="t" r="r" b="b"/>
                <a:pathLst>
                  <a:path w="45815" h="37640" extrusionOk="0">
                    <a:moveTo>
                      <a:pt x="26994" y="1"/>
                    </a:moveTo>
                    <a:cubicBezTo>
                      <a:pt x="16602" y="1"/>
                      <a:pt x="8175" y="8427"/>
                      <a:pt x="8175" y="18821"/>
                    </a:cubicBezTo>
                    <a:cubicBezTo>
                      <a:pt x="8169" y="22642"/>
                      <a:pt x="9333" y="26373"/>
                      <a:pt x="11509" y="29515"/>
                    </a:cubicBezTo>
                    <a:lnTo>
                      <a:pt x="3994" y="29515"/>
                    </a:lnTo>
                    <a:cubicBezTo>
                      <a:pt x="1797" y="29515"/>
                      <a:pt x="1" y="31311"/>
                      <a:pt x="1" y="33508"/>
                    </a:cubicBezTo>
                    <a:cubicBezTo>
                      <a:pt x="1" y="35704"/>
                      <a:pt x="1797" y="37502"/>
                      <a:pt x="3994" y="37502"/>
                    </a:cubicBezTo>
                    <a:lnTo>
                      <a:pt x="24483" y="37502"/>
                    </a:lnTo>
                    <a:cubicBezTo>
                      <a:pt x="24546" y="37502"/>
                      <a:pt x="24608" y="37500"/>
                      <a:pt x="24671" y="37497"/>
                    </a:cubicBezTo>
                    <a:cubicBezTo>
                      <a:pt x="25441" y="37592"/>
                      <a:pt x="26218" y="37640"/>
                      <a:pt x="26994" y="37640"/>
                    </a:cubicBezTo>
                    <a:cubicBezTo>
                      <a:pt x="37389" y="37640"/>
                      <a:pt x="45815" y="29214"/>
                      <a:pt x="45815" y="18821"/>
                    </a:cubicBezTo>
                    <a:cubicBezTo>
                      <a:pt x="45815" y="8427"/>
                      <a:pt x="37389" y="1"/>
                      <a:pt x="2699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68"/>
              <p:cNvSpPr/>
              <p:nvPr/>
            </p:nvSpPr>
            <p:spPr>
              <a:xfrm>
                <a:off x="751614" y="1735807"/>
                <a:ext cx="88760" cy="88744"/>
              </a:xfrm>
              <a:custGeom>
                <a:avLst/>
                <a:gdLst/>
                <a:ahLst/>
                <a:cxnLst/>
                <a:rect l="l" t="t" r="r" b="b"/>
                <a:pathLst>
                  <a:path w="5496" h="5495" extrusionOk="0">
                    <a:moveTo>
                      <a:pt x="2747" y="0"/>
                    </a:moveTo>
                    <a:cubicBezTo>
                      <a:pt x="1231" y="0"/>
                      <a:pt x="1" y="1230"/>
                      <a:pt x="1" y="2747"/>
                    </a:cubicBezTo>
                    <a:cubicBezTo>
                      <a:pt x="1" y="4265"/>
                      <a:pt x="1231" y="5495"/>
                      <a:pt x="2747" y="5495"/>
                    </a:cubicBezTo>
                    <a:cubicBezTo>
                      <a:pt x="4265" y="5495"/>
                      <a:pt x="5495" y="4265"/>
                      <a:pt x="5495" y="2747"/>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7" name="Google Shape;5147;p68"/>
            <p:cNvGrpSpPr/>
            <p:nvPr/>
          </p:nvGrpSpPr>
          <p:grpSpPr>
            <a:xfrm>
              <a:off x="732428" y="1277018"/>
              <a:ext cx="702832" cy="533758"/>
              <a:chOff x="732428" y="1277018"/>
              <a:chExt cx="702832" cy="533758"/>
            </a:xfrm>
          </p:grpSpPr>
          <p:sp>
            <p:nvSpPr>
              <p:cNvPr id="5148" name="Google Shape;5148;p68"/>
              <p:cNvSpPr/>
              <p:nvPr/>
            </p:nvSpPr>
            <p:spPr>
              <a:xfrm>
                <a:off x="732428" y="1277018"/>
                <a:ext cx="702832" cy="533758"/>
              </a:xfrm>
              <a:custGeom>
                <a:avLst/>
                <a:gdLst/>
                <a:ahLst/>
                <a:cxnLst/>
                <a:rect l="l" t="t" r="r" b="b"/>
                <a:pathLst>
                  <a:path w="43519" h="33050" extrusionOk="0">
                    <a:moveTo>
                      <a:pt x="26994" y="1"/>
                    </a:moveTo>
                    <a:cubicBezTo>
                      <a:pt x="22006" y="1"/>
                      <a:pt x="17535" y="2211"/>
                      <a:pt x="14504" y="5705"/>
                    </a:cubicBezTo>
                    <a:lnTo>
                      <a:pt x="3994" y="5705"/>
                    </a:lnTo>
                    <a:cubicBezTo>
                      <a:pt x="1797" y="5705"/>
                      <a:pt x="1" y="7501"/>
                      <a:pt x="1" y="9698"/>
                    </a:cubicBezTo>
                    <a:cubicBezTo>
                      <a:pt x="1" y="11894"/>
                      <a:pt x="1797" y="13692"/>
                      <a:pt x="3994" y="13692"/>
                    </a:cubicBezTo>
                    <a:lnTo>
                      <a:pt x="10714" y="13692"/>
                    </a:lnTo>
                    <a:cubicBezTo>
                      <a:pt x="10552" y="14627"/>
                      <a:pt x="10470" y="15575"/>
                      <a:pt x="10472" y="16525"/>
                    </a:cubicBezTo>
                    <a:cubicBezTo>
                      <a:pt x="10472" y="25651"/>
                      <a:pt x="17870" y="33049"/>
                      <a:pt x="26996" y="33049"/>
                    </a:cubicBezTo>
                    <a:cubicBezTo>
                      <a:pt x="36122" y="33049"/>
                      <a:pt x="43519" y="25651"/>
                      <a:pt x="43519" y="16525"/>
                    </a:cubicBezTo>
                    <a:cubicBezTo>
                      <a:pt x="43519" y="7399"/>
                      <a:pt x="36122" y="1"/>
                      <a:pt x="2699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68"/>
              <p:cNvSpPr/>
              <p:nvPr/>
            </p:nvSpPr>
            <p:spPr>
              <a:xfrm>
                <a:off x="751695" y="1390407"/>
                <a:ext cx="88728" cy="88744"/>
              </a:xfrm>
              <a:custGeom>
                <a:avLst/>
                <a:gdLst/>
                <a:ahLst/>
                <a:cxnLst/>
                <a:rect l="l" t="t" r="r" b="b"/>
                <a:pathLst>
                  <a:path w="5494" h="5495" extrusionOk="0">
                    <a:moveTo>
                      <a:pt x="2747" y="0"/>
                    </a:moveTo>
                    <a:cubicBezTo>
                      <a:pt x="1230" y="0"/>
                      <a:pt x="1" y="1230"/>
                      <a:pt x="1" y="2748"/>
                    </a:cubicBezTo>
                    <a:cubicBezTo>
                      <a:pt x="1" y="4264"/>
                      <a:pt x="1230" y="5494"/>
                      <a:pt x="2747" y="5494"/>
                    </a:cubicBezTo>
                    <a:cubicBezTo>
                      <a:pt x="4263" y="5494"/>
                      <a:pt x="5493" y="4264"/>
                      <a:pt x="5493" y="2748"/>
                    </a:cubicBezTo>
                    <a:cubicBezTo>
                      <a:pt x="5493" y="1230"/>
                      <a:pt x="4263"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0" name="Google Shape;5150;p68"/>
            <p:cNvGrpSpPr/>
            <p:nvPr/>
          </p:nvGrpSpPr>
          <p:grpSpPr>
            <a:xfrm>
              <a:off x="931170" y="1306653"/>
              <a:ext cx="647179" cy="474455"/>
              <a:chOff x="931170" y="1306653"/>
              <a:chExt cx="647179" cy="474455"/>
            </a:xfrm>
          </p:grpSpPr>
          <p:sp>
            <p:nvSpPr>
              <p:cNvPr id="5151" name="Google Shape;5151;p68"/>
              <p:cNvSpPr/>
              <p:nvPr/>
            </p:nvSpPr>
            <p:spPr>
              <a:xfrm>
                <a:off x="931170" y="1306653"/>
                <a:ext cx="647179" cy="474455"/>
              </a:xfrm>
              <a:custGeom>
                <a:avLst/>
                <a:gdLst/>
                <a:ahLst/>
                <a:cxnLst/>
                <a:rect l="l" t="t" r="r" b="b"/>
                <a:pathLst>
                  <a:path w="40073" h="29378" extrusionOk="0">
                    <a:moveTo>
                      <a:pt x="14688" y="1"/>
                    </a:moveTo>
                    <a:cubicBezTo>
                      <a:pt x="6578" y="1"/>
                      <a:pt x="1" y="6578"/>
                      <a:pt x="1" y="14690"/>
                    </a:cubicBezTo>
                    <a:cubicBezTo>
                      <a:pt x="1" y="22801"/>
                      <a:pt x="6578" y="29377"/>
                      <a:pt x="14688" y="29377"/>
                    </a:cubicBezTo>
                    <a:cubicBezTo>
                      <a:pt x="19883" y="29377"/>
                      <a:pt x="24445" y="26682"/>
                      <a:pt x="27057" y="22613"/>
                    </a:cubicBezTo>
                    <a:lnTo>
                      <a:pt x="36079" y="22613"/>
                    </a:lnTo>
                    <a:cubicBezTo>
                      <a:pt x="38276" y="22613"/>
                      <a:pt x="40073" y="20817"/>
                      <a:pt x="40073" y="18620"/>
                    </a:cubicBezTo>
                    <a:cubicBezTo>
                      <a:pt x="40073" y="16424"/>
                      <a:pt x="38276" y="14626"/>
                      <a:pt x="36079" y="14626"/>
                    </a:cubicBezTo>
                    <a:lnTo>
                      <a:pt x="29376" y="14626"/>
                    </a:lnTo>
                    <a:cubicBezTo>
                      <a:pt x="29342" y="6544"/>
                      <a:pt x="22780" y="1"/>
                      <a:pt x="146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68"/>
              <p:cNvSpPr/>
              <p:nvPr/>
            </p:nvSpPr>
            <p:spPr>
              <a:xfrm>
                <a:off x="1470047" y="1560806"/>
                <a:ext cx="88760" cy="88744"/>
              </a:xfrm>
              <a:custGeom>
                <a:avLst/>
                <a:gdLst/>
                <a:ahLst/>
                <a:cxnLst/>
                <a:rect l="l" t="t" r="r" b="b"/>
                <a:pathLst>
                  <a:path w="5496" h="5495" extrusionOk="0">
                    <a:moveTo>
                      <a:pt x="2747" y="0"/>
                    </a:moveTo>
                    <a:cubicBezTo>
                      <a:pt x="1231" y="0"/>
                      <a:pt x="1" y="1230"/>
                      <a:pt x="1" y="2746"/>
                    </a:cubicBezTo>
                    <a:cubicBezTo>
                      <a:pt x="1" y="4265"/>
                      <a:pt x="1231" y="5494"/>
                      <a:pt x="2747" y="5494"/>
                    </a:cubicBezTo>
                    <a:cubicBezTo>
                      <a:pt x="4265" y="5494"/>
                      <a:pt x="5495" y="4265"/>
                      <a:pt x="5495" y="2746"/>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153" name="Google Shape;5153;p68"/>
            <p:cNvSpPr/>
            <p:nvPr/>
          </p:nvSpPr>
          <p:spPr>
            <a:xfrm>
              <a:off x="986565" y="1362064"/>
              <a:ext cx="363666" cy="363650"/>
            </a:xfrm>
            <a:custGeom>
              <a:avLst/>
              <a:gdLst/>
              <a:ahLst/>
              <a:cxnLst/>
              <a:rect l="l" t="t" r="r" b="b"/>
              <a:pathLst>
                <a:path w="22518" h="22517" extrusionOk="0">
                  <a:moveTo>
                    <a:pt x="11258" y="0"/>
                  </a:moveTo>
                  <a:cubicBezTo>
                    <a:pt x="8273" y="0"/>
                    <a:pt x="5409" y="1187"/>
                    <a:pt x="3298" y="3297"/>
                  </a:cubicBezTo>
                  <a:cubicBezTo>
                    <a:pt x="1186" y="5409"/>
                    <a:pt x="1" y="8272"/>
                    <a:pt x="1" y="11259"/>
                  </a:cubicBezTo>
                  <a:cubicBezTo>
                    <a:pt x="1" y="14244"/>
                    <a:pt x="1186" y="17109"/>
                    <a:pt x="3298" y="19219"/>
                  </a:cubicBezTo>
                  <a:cubicBezTo>
                    <a:pt x="5409" y="21331"/>
                    <a:pt x="8273" y="22516"/>
                    <a:pt x="11258" y="22516"/>
                  </a:cubicBezTo>
                  <a:cubicBezTo>
                    <a:pt x="14245" y="22516"/>
                    <a:pt x="17108" y="21331"/>
                    <a:pt x="19220" y="19219"/>
                  </a:cubicBezTo>
                  <a:cubicBezTo>
                    <a:pt x="21331" y="17109"/>
                    <a:pt x="22517" y="14244"/>
                    <a:pt x="22517" y="11259"/>
                  </a:cubicBezTo>
                  <a:cubicBezTo>
                    <a:pt x="22517" y="8272"/>
                    <a:pt x="21331" y="5409"/>
                    <a:pt x="19220" y="3297"/>
                  </a:cubicBezTo>
                  <a:cubicBezTo>
                    <a:pt x="17108" y="1187"/>
                    <a:pt x="14245" y="0"/>
                    <a:pt x="1125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4" name="Google Shape;5154;p68"/>
          <p:cNvGrpSpPr/>
          <p:nvPr/>
        </p:nvGrpSpPr>
        <p:grpSpPr>
          <a:xfrm>
            <a:off x="3948600" y="971313"/>
            <a:ext cx="634656" cy="699982"/>
            <a:chOff x="5985650" y="2860025"/>
            <a:chExt cx="1396075" cy="1539775"/>
          </a:xfrm>
        </p:grpSpPr>
        <p:sp>
          <p:nvSpPr>
            <p:cNvPr id="5155" name="Google Shape;5155;p68"/>
            <p:cNvSpPr/>
            <p:nvPr/>
          </p:nvSpPr>
          <p:spPr>
            <a:xfrm>
              <a:off x="6655300" y="3128850"/>
              <a:ext cx="637150" cy="631950"/>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68"/>
            <p:cNvSpPr/>
            <p:nvPr/>
          </p:nvSpPr>
          <p:spPr>
            <a:xfrm>
              <a:off x="6673425" y="3771400"/>
              <a:ext cx="600850" cy="600800"/>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68"/>
            <p:cNvSpPr/>
            <p:nvPr/>
          </p:nvSpPr>
          <p:spPr>
            <a:xfrm>
              <a:off x="6073050" y="3509700"/>
              <a:ext cx="641725" cy="636800"/>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68"/>
            <p:cNvSpPr/>
            <p:nvPr/>
          </p:nvSpPr>
          <p:spPr>
            <a:xfrm>
              <a:off x="6124575" y="2917775"/>
              <a:ext cx="572575" cy="57252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68"/>
            <p:cNvSpPr/>
            <p:nvPr/>
          </p:nvSpPr>
          <p:spPr>
            <a:xfrm>
              <a:off x="6459975" y="2867300"/>
              <a:ext cx="101300" cy="50500"/>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68"/>
            <p:cNvSpPr/>
            <p:nvPr/>
          </p:nvSpPr>
          <p:spPr>
            <a:xfrm>
              <a:off x="6389025" y="2860025"/>
              <a:ext cx="63100" cy="15700"/>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68"/>
            <p:cNvSpPr/>
            <p:nvPr/>
          </p:nvSpPr>
          <p:spPr>
            <a:xfrm>
              <a:off x="6279750" y="2879875"/>
              <a:ext cx="39600" cy="2600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68"/>
            <p:cNvSpPr/>
            <p:nvPr/>
          </p:nvSpPr>
          <p:spPr>
            <a:xfrm>
              <a:off x="6325825" y="2862750"/>
              <a:ext cx="54425" cy="22400"/>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68"/>
            <p:cNvSpPr/>
            <p:nvPr/>
          </p:nvSpPr>
          <p:spPr>
            <a:xfrm>
              <a:off x="7023725" y="3061400"/>
              <a:ext cx="101300" cy="50475"/>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68"/>
            <p:cNvSpPr/>
            <p:nvPr/>
          </p:nvSpPr>
          <p:spPr>
            <a:xfrm>
              <a:off x="6952750" y="3054150"/>
              <a:ext cx="63100" cy="15650"/>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68"/>
            <p:cNvSpPr/>
            <p:nvPr/>
          </p:nvSpPr>
          <p:spPr>
            <a:xfrm>
              <a:off x="6843450" y="3073975"/>
              <a:ext cx="39625" cy="26025"/>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68"/>
            <p:cNvSpPr/>
            <p:nvPr/>
          </p:nvSpPr>
          <p:spPr>
            <a:xfrm>
              <a:off x="6889575" y="3056825"/>
              <a:ext cx="54425" cy="22400"/>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68"/>
            <p:cNvSpPr/>
            <p:nvPr/>
          </p:nvSpPr>
          <p:spPr>
            <a:xfrm>
              <a:off x="6245350" y="4177200"/>
              <a:ext cx="101275" cy="50475"/>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68"/>
            <p:cNvSpPr/>
            <p:nvPr/>
          </p:nvSpPr>
          <p:spPr>
            <a:xfrm>
              <a:off x="6354525" y="4219275"/>
              <a:ext cx="63075" cy="15675"/>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68"/>
            <p:cNvSpPr/>
            <p:nvPr/>
          </p:nvSpPr>
          <p:spPr>
            <a:xfrm>
              <a:off x="6487275" y="4189125"/>
              <a:ext cx="39625" cy="25975"/>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68"/>
            <p:cNvSpPr/>
            <p:nvPr/>
          </p:nvSpPr>
          <p:spPr>
            <a:xfrm>
              <a:off x="6426350" y="4209850"/>
              <a:ext cx="54475" cy="22400"/>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68"/>
            <p:cNvSpPr/>
            <p:nvPr/>
          </p:nvSpPr>
          <p:spPr>
            <a:xfrm>
              <a:off x="5992275" y="3674825"/>
              <a:ext cx="51250" cy="99900"/>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68"/>
            <p:cNvSpPr/>
            <p:nvPr/>
          </p:nvSpPr>
          <p:spPr>
            <a:xfrm>
              <a:off x="5985650" y="3783750"/>
              <a:ext cx="16125" cy="6227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68"/>
            <p:cNvSpPr/>
            <p:nvPr/>
          </p:nvSpPr>
          <p:spPr>
            <a:xfrm>
              <a:off x="6004725" y="3916700"/>
              <a:ext cx="27875" cy="38100"/>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68"/>
            <p:cNvSpPr/>
            <p:nvPr/>
          </p:nvSpPr>
          <p:spPr>
            <a:xfrm>
              <a:off x="5987900" y="3855450"/>
              <a:ext cx="23600" cy="53200"/>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68"/>
            <p:cNvSpPr/>
            <p:nvPr/>
          </p:nvSpPr>
          <p:spPr>
            <a:xfrm>
              <a:off x="6071975" y="3300325"/>
              <a:ext cx="52475" cy="102475"/>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68"/>
            <p:cNvSpPr/>
            <p:nvPr/>
          </p:nvSpPr>
          <p:spPr>
            <a:xfrm>
              <a:off x="6122225" y="3408475"/>
              <a:ext cx="47725" cy="4955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68"/>
            <p:cNvSpPr/>
            <p:nvPr/>
          </p:nvSpPr>
          <p:spPr>
            <a:xfrm>
              <a:off x="6228150" y="3490275"/>
              <a:ext cx="42050" cy="21525"/>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68"/>
            <p:cNvSpPr/>
            <p:nvPr/>
          </p:nvSpPr>
          <p:spPr>
            <a:xfrm>
              <a:off x="6172850" y="3459275"/>
              <a:ext cx="49900" cy="34575"/>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68"/>
            <p:cNvSpPr/>
            <p:nvPr/>
          </p:nvSpPr>
          <p:spPr>
            <a:xfrm>
              <a:off x="7323825" y="3495225"/>
              <a:ext cx="51250" cy="99900"/>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68"/>
            <p:cNvSpPr/>
            <p:nvPr/>
          </p:nvSpPr>
          <p:spPr>
            <a:xfrm>
              <a:off x="7365575" y="3423925"/>
              <a:ext cx="16150" cy="6227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68"/>
            <p:cNvSpPr/>
            <p:nvPr/>
          </p:nvSpPr>
          <p:spPr>
            <a:xfrm>
              <a:off x="7334775" y="3315150"/>
              <a:ext cx="27850" cy="38100"/>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68"/>
            <p:cNvSpPr/>
            <p:nvPr/>
          </p:nvSpPr>
          <p:spPr>
            <a:xfrm>
              <a:off x="7355800" y="3361300"/>
              <a:ext cx="23650" cy="53200"/>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68"/>
            <p:cNvSpPr/>
            <p:nvPr/>
          </p:nvSpPr>
          <p:spPr>
            <a:xfrm>
              <a:off x="7093025" y="4348600"/>
              <a:ext cx="104200" cy="51200"/>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68"/>
            <p:cNvSpPr/>
            <p:nvPr/>
          </p:nvSpPr>
          <p:spPr>
            <a:xfrm>
              <a:off x="7201150" y="4302925"/>
              <a:ext cx="51100" cy="46100"/>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68"/>
            <p:cNvSpPr/>
            <p:nvPr/>
          </p:nvSpPr>
          <p:spPr>
            <a:xfrm>
              <a:off x="7282950" y="4203000"/>
              <a:ext cx="22950" cy="40225"/>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68"/>
            <p:cNvSpPr/>
            <p:nvPr/>
          </p:nvSpPr>
          <p:spPr>
            <a:xfrm>
              <a:off x="7252000" y="4250300"/>
              <a:ext cx="36300" cy="48175"/>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87" name="Google Shape;5187;p68"/>
          <p:cNvGrpSpPr/>
          <p:nvPr/>
        </p:nvGrpSpPr>
        <p:grpSpPr>
          <a:xfrm>
            <a:off x="4704250" y="971306"/>
            <a:ext cx="725845" cy="699975"/>
            <a:chOff x="4249973" y="1201875"/>
            <a:chExt cx="1958568" cy="1888762"/>
          </a:xfrm>
        </p:grpSpPr>
        <p:sp>
          <p:nvSpPr>
            <p:cNvPr id="5188" name="Google Shape;5188;p68"/>
            <p:cNvSpPr/>
            <p:nvPr/>
          </p:nvSpPr>
          <p:spPr>
            <a:xfrm>
              <a:off x="4468527" y="1411932"/>
              <a:ext cx="1528500" cy="1452600"/>
            </a:xfrm>
            <a:prstGeom prst="pentagon">
              <a:avLst>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189" name="Google Shape;5189;p68"/>
            <p:cNvGrpSpPr/>
            <p:nvPr/>
          </p:nvGrpSpPr>
          <p:grpSpPr>
            <a:xfrm>
              <a:off x="5853086" y="1789142"/>
              <a:ext cx="355454" cy="1048099"/>
              <a:chOff x="5576108" y="2016725"/>
              <a:chExt cx="565200" cy="1666560"/>
            </a:xfrm>
          </p:grpSpPr>
          <p:sp>
            <p:nvSpPr>
              <p:cNvPr id="5190" name="Google Shape;5190;p68"/>
              <p:cNvSpPr/>
              <p:nvPr/>
            </p:nvSpPr>
            <p:spPr>
              <a:xfrm>
                <a:off x="5576108"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1" name="Google Shape;5191;p68"/>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2" name="Google Shape;5192;p68"/>
            <p:cNvGrpSpPr/>
            <p:nvPr/>
          </p:nvGrpSpPr>
          <p:grpSpPr>
            <a:xfrm>
              <a:off x="4869455" y="2691676"/>
              <a:ext cx="1013897" cy="398961"/>
              <a:chOff x="4012057" y="3451825"/>
              <a:chExt cx="1612175" cy="634379"/>
            </a:xfrm>
          </p:grpSpPr>
          <p:sp>
            <p:nvSpPr>
              <p:cNvPr id="5193" name="Google Shape;5193;p68"/>
              <p:cNvSpPr/>
              <p:nvPr/>
            </p:nvSpPr>
            <p:spPr>
              <a:xfrm>
                <a:off x="505903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4" name="Google Shape;5194;p68"/>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5" name="Google Shape;5195;p68"/>
            <p:cNvGrpSpPr/>
            <p:nvPr/>
          </p:nvGrpSpPr>
          <p:grpSpPr>
            <a:xfrm>
              <a:off x="4276937" y="2155961"/>
              <a:ext cx="651965" cy="891358"/>
              <a:chOff x="3069908" y="2599997"/>
              <a:chExt cx="1036675" cy="1417328"/>
            </a:xfrm>
          </p:grpSpPr>
          <p:sp>
            <p:nvSpPr>
              <p:cNvPr id="5196" name="Google Shape;5196;p68"/>
              <p:cNvSpPr/>
              <p:nvPr/>
            </p:nvSpPr>
            <p:spPr>
              <a:xfrm>
                <a:off x="354138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7" name="Google Shape;5197;p68"/>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8" name="Google Shape;5198;p68"/>
            <p:cNvGrpSpPr/>
            <p:nvPr/>
          </p:nvGrpSpPr>
          <p:grpSpPr>
            <a:xfrm>
              <a:off x="5054918" y="1201875"/>
              <a:ext cx="999548" cy="602711"/>
              <a:chOff x="4306958" y="1082925"/>
              <a:chExt cx="1589359" cy="958358"/>
            </a:xfrm>
          </p:grpSpPr>
          <p:sp>
            <p:nvSpPr>
              <p:cNvPr id="5199" name="Google Shape;5199;p68"/>
              <p:cNvSpPr/>
              <p:nvPr/>
            </p:nvSpPr>
            <p:spPr>
              <a:xfrm>
                <a:off x="4306958" y="1082925"/>
                <a:ext cx="565200" cy="565500"/>
              </a:xfrm>
              <a:prstGeom prst="ellipse">
                <a:avLst/>
              </a:prstGeom>
              <a:solidFill>
                <a:srgbClr val="5F7D9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0" name="Google Shape;5200;p68"/>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1" name="Google Shape;5201;p68"/>
            <p:cNvGrpSpPr/>
            <p:nvPr/>
          </p:nvGrpSpPr>
          <p:grpSpPr>
            <a:xfrm>
              <a:off x="4249973" y="1303451"/>
              <a:ext cx="799317" cy="841334"/>
              <a:chOff x="3027033" y="1244439"/>
              <a:chExt cx="1270977" cy="1337786"/>
            </a:xfrm>
          </p:grpSpPr>
          <p:sp>
            <p:nvSpPr>
              <p:cNvPr id="5202" name="Google Shape;5202;p68"/>
              <p:cNvSpPr/>
              <p:nvPr/>
            </p:nvSpPr>
            <p:spPr>
              <a:xfrm>
                <a:off x="3027033"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3" name="Google Shape;5203;p68"/>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04" name="Google Shape;5204;p68"/>
          <p:cNvGrpSpPr/>
          <p:nvPr/>
        </p:nvGrpSpPr>
        <p:grpSpPr>
          <a:xfrm>
            <a:off x="4057114" y="1858087"/>
            <a:ext cx="750769" cy="683784"/>
            <a:chOff x="4204684" y="2104422"/>
            <a:chExt cx="699822" cy="637382"/>
          </a:xfrm>
        </p:grpSpPr>
        <p:grpSp>
          <p:nvGrpSpPr>
            <p:cNvPr id="5205" name="Google Shape;5205;p68"/>
            <p:cNvGrpSpPr/>
            <p:nvPr/>
          </p:nvGrpSpPr>
          <p:grpSpPr>
            <a:xfrm>
              <a:off x="4204684" y="2430067"/>
              <a:ext cx="342957" cy="311738"/>
              <a:chOff x="4204684" y="2430067"/>
              <a:chExt cx="342957" cy="311738"/>
            </a:xfrm>
          </p:grpSpPr>
          <p:sp>
            <p:nvSpPr>
              <p:cNvPr id="5206" name="Google Shape;5206;p68"/>
              <p:cNvSpPr/>
              <p:nvPr/>
            </p:nvSpPr>
            <p:spPr>
              <a:xfrm>
                <a:off x="4235882" y="2430067"/>
                <a:ext cx="311759" cy="311738"/>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68"/>
              <p:cNvSpPr/>
              <p:nvPr/>
            </p:nvSpPr>
            <p:spPr>
              <a:xfrm>
                <a:off x="4204684" y="2558309"/>
                <a:ext cx="117839" cy="117794"/>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8" name="Google Shape;5208;p68"/>
            <p:cNvGrpSpPr/>
            <p:nvPr/>
          </p:nvGrpSpPr>
          <p:grpSpPr>
            <a:xfrm>
              <a:off x="4561586" y="2430067"/>
              <a:ext cx="342920" cy="311738"/>
              <a:chOff x="4561586" y="2430067"/>
              <a:chExt cx="342920" cy="311738"/>
            </a:xfrm>
          </p:grpSpPr>
          <p:sp>
            <p:nvSpPr>
              <p:cNvPr id="5209" name="Google Shape;5209;p68"/>
              <p:cNvSpPr/>
              <p:nvPr/>
            </p:nvSpPr>
            <p:spPr>
              <a:xfrm>
                <a:off x="4561586" y="2430067"/>
                <a:ext cx="311759" cy="311738"/>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68"/>
              <p:cNvSpPr/>
              <p:nvPr/>
            </p:nvSpPr>
            <p:spPr>
              <a:xfrm>
                <a:off x="4786741" y="2558309"/>
                <a:ext cx="117765" cy="117794"/>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1" name="Google Shape;5211;p68"/>
            <p:cNvGrpSpPr/>
            <p:nvPr/>
          </p:nvGrpSpPr>
          <p:grpSpPr>
            <a:xfrm>
              <a:off x="4561586" y="2104422"/>
              <a:ext cx="342920" cy="311738"/>
              <a:chOff x="4561586" y="2104422"/>
              <a:chExt cx="342920" cy="311738"/>
            </a:xfrm>
          </p:grpSpPr>
          <p:sp>
            <p:nvSpPr>
              <p:cNvPr id="5212" name="Google Shape;5212;p68"/>
              <p:cNvSpPr/>
              <p:nvPr/>
            </p:nvSpPr>
            <p:spPr>
              <a:xfrm>
                <a:off x="4561586" y="2104422"/>
                <a:ext cx="311722" cy="311738"/>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68"/>
              <p:cNvSpPr/>
              <p:nvPr/>
            </p:nvSpPr>
            <p:spPr>
              <a:xfrm>
                <a:off x="4786741" y="2170087"/>
                <a:ext cx="117765" cy="117757"/>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4" name="Google Shape;5214;p68"/>
            <p:cNvGrpSpPr/>
            <p:nvPr/>
          </p:nvGrpSpPr>
          <p:grpSpPr>
            <a:xfrm>
              <a:off x="4204684" y="2104422"/>
              <a:ext cx="342957" cy="311664"/>
              <a:chOff x="4204684" y="2104422"/>
              <a:chExt cx="342957" cy="311664"/>
            </a:xfrm>
          </p:grpSpPr>
          <p:sp>
            <p:nvSpPr>
              <p:cNvPr id="5215" name="Google Shape;5215;p68"/>
              <p:cNvSpPr/>
              <p:nvPr/>
            </p:nvSpPr>
            <p:spPr>
              <a:xfrm>
                <a:off x="4235882" y="2104422"/>
                <a:ext cx="311759" cy="311664"/>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68"/>
              <p:cNvSpPr/>
              <p:nvPr/>
            </p:nvSpPr>
            <p:spPr>
              <a:xfrm>
                <a:off x="4204684" y="2170087"/>
                <a:ext cx="117839" cy="117757"/>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17" name="Google Shape;5217;p68"/>
          <p:cNvGrpSpPr/>
          <p:nvPr/>
        </p:nvGrpSpPr>
        <p:grpSpPr>
          <a:xfrm>
            <a:off x="5521547" y="971301"/>
            <a:ext cx="660591" cy="688867"/>
            <a:chOff x="5830645" y="1267368"/>
            <a:chExt cx="530340" cy="553040"/>
          </a:xfrm>
        </p:grpSpPr>
        <p:sp>
          <p:nvSpPr>
            <p:cNvPr id="5218" name="Google Shape;5218;p68"/>
            <p:cNvSpPr/>
            <p:nvPr/>
          </p:nvSpPr>
          <p:spPr>
            <a:xfrm>
              <a:off x="5994669" y="1442730"/>
              <a:ext cx="202317" cy="202342"/>
            </a:xfrm>
            <a:custGeom>
              <a:avLst/>
              <a:gdLst/>
              <a:ahLst/>
              <a:cxnLst/>
              <a:rect l="l" t="t" r="r" b="b"/>
              <a:pathLst>
                <a:path w="7941" h="7942" extrusionOk="0">
                  <a:moveTo>
                    <a:pt x="3971" y="319"/>
                  </a:moveTo>
                  <a:cubicBezTo>
                    <a:pt x="5984" y="319"/>
                    <a:pt x="7623" y="1957"/>
                    <a:pt x="7623" y="3971"/>
                  </a:cubicBezTo>
                  <a:cubicBezTo>
                    <a:pt x="7623" y="5984"/>
                    <a:pt x="5985" y="7624"/>
                    <a:pt x="3971" y="7624"/>
                  </a:cubicBezTo>
                  <a:cubicBezTo>
                    <a:pt x="1956" y="7624"/>
                    <a:pt x="318" y="5984"/>
                    <a:pt x="318" y="3971"/>
                  </a:cubicBezTo>
                  <a:cubicBezTo>
                    <a:pt x="318" y="1957"/>
                    <a:pt x="1956" y="319"/>
                    <a:pt x="3971" y="319"/>
                  </a:cubicBezTo>
                  <a:close/>
                  <a:moveTo>
                    <a:pt x="3971" y="0"/>
                  </a:moveTo>
                  <a:cubicBezTo>
                    <a:pt x="1782" y="0"/>
                    <a:pt x="1" y="1782"/>
                    <a:pt x="1" y="3971"/>
                  </a:cubicBezTo>
                  <a:cubicBezTo>
                    <a:pt x="1" y="6159"/>
                    <a:pt x="1782" y="7941"/>
                    <a:pt x="3971" y="7941"/>
                  </a:cubicBezTo>
                  <a:cubicBezTo>
                    <a:pt x="6160" y="7941"/>
                    <a:pt x="7940" y="6159"/>
                    <a:pt x="7940" y="3971"/>
                  </a:cubicBezTo>
                  <a:cubicBezTo>
                    <a:pt x="7940" y="1782"/>
                    <a:pt x="6160" y="0"/>
                    <a:pt x="397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19" name="Google Shape;5219;p68"/>
            <p:cNvGrpSpPr/>
            <p:nvPr/>
          </p:nvGrpSpPr>
          <p:grpSpPr>
            <a:xfrm>
              <a:off x="5830645" y="1267368"/>
              <a:ext cx="259743" cy="269909"/>
              <a:chOff x="5830645" y="1267368"/>
              <a:chExt cx="259743" cy="269909"/>
            </a:xfrm>
          </p:grpSpPr>
          <p:sp>
            <p:nvSpPr>
              <p:cNvPr id="5220" name="Google Shape;5220;p68"/>
              <p:cNvSpPr/>
              <p:nvPr/>
            </p:nvSpPr>
            <p:spPr>
              <a:xfrm>
                <a:off x="5830645" y="1304897"/>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68"/>
              <p:cNvSpPr/>
              <p:nvPr/>
            </p:nvSpPr>
            <p:spPr>
              <a:xfrm>
                <a:off x="5922950" y="1267368"/>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2" name="Google Shape;5222;p68"/>
            <p:cNvGrpSpPr/>
            <p:nvPr/>
          </p:nvGrpSpPr>
          <p:grpSpPr>
            <a:xfrm>
              <a:off x="6101293" y="1267368"/>
              <a:ext cx="259692" cy="269909"/>
              <a:chOff x="6101293" y="1267368"/>
              <a:chExt cx="259692" cy="269909"/>
            </a:xfrm>
          </p:grpSpPr>
          <p:sp>
            <p:nvSpPr>
              <p:cNvPr id="5223" name="Google Shape;5223;p68"/>
              <p:cNvSpPr/>
              <p:nvPr/>
            </p:nvSpPr>
            <p:spPr>
              <a:xfrm>
                <a:off x="6101293" y="1304897"/>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68"/>
              <p:cNvSpPr/>
              <p:nvPr/>
            </p:nvSpPr>
            <p:spPr>
              <a:xfrm>
                <a:off x="6193623" y="1267368"/>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5" name="Google Shape;5225;p68"/>
            <p:cNvGrpSpPr/>
            <p:nvPr/>
          </p:nvGrpSpPr>
          <p:grpSpPr>
            <a:xfrm>
              <a:off x="5830645" y="1550500"/>
              <a:ext cx="259692" cy="269909"/>
              <a:chOff x="5830645" y="1550500"/>
              <a:chExt cx="259692" cy="269909"/>
            </a:xfrm>
          </p:grpSpPr>
          <p:sp>
            <p:nvSpPr>
              <p:cNvPr id="5226" name="Google Shape;5226;p68"/>
              <p:cNvSpPr/>
              <p:nvPr/>
            </p:nvSpPr>
            <p:spPr>
              <a:xfrm>
                <a:off x="5830645" y="1550500"/>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68"/>
              <p:cNvSpPr/>
              <p:nvPr/>
            </p:nvSpPr>
            <p:spPr>
              <a:xfrm>
                <a:off x="5922950" y="1745352"/>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8" name="Google Shape;5228;p68"/>
            <p:cNvGrpSpPr/>
            <p:nvPr/>
          </p:nvGrpSpPr>
          <p:grpSpPr>
            <a:xfrm>
              <a:off x="6101293" y="1550500"/>
              <a:ext cx="259692" cy="269909"/>
              <a:chOff x="6101293" y="1550500"/>
              <a:chExt cx="259692" cy="269909"/>
            </a:xfrm>
          </p:grpSpPr>
          <p:sp>
            <p:nvSpPr>
              <p:cNvPr id="5229" name="Google Shape;5229;p68"/>
              <p:cNvSpPr/>
              <p:nvPr/>
            </p:nvSpPr>
            <p:spPr>
              <a:xfrm>
                <a:off x="6101293" y="1550500"/>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68"/>
              <p:cNvSpPr/>
              <p:nvPr/>
            </p:nvSpPr>
            <p:spPr>
              <a:xfrm>
                <a:off x="6193623" y="1745352"/>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31" name="Google Shape;5231;p68"/>
          <p:cNvGrpSpPr/>
          <p:nvPr/>
        </p:nvGrpSpPr>
        <p:grpSpPr>
          <a:xfrm>
            <a:off x="723700" y="1861760"/>
            <a:ext cx="697154" cy="679574"/>
            <a:chOff x="2679875" y="2361475"/>
            <a:chExt cx="780425" cy="760575"/>
          </a:xfrm>
        </p:grpSpPr>
        <p:sp>
          <p:nvSpPr>
            <p:cNvPr id="5232" name="Google Shape;5232;p68"/>
            <p:cNvSpPr/>
            <p:nvPr/>
          </p:nvSpPr>
          <p:spPr>
            <a:xfrm>
              <a:off x="2812050" y="236147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68"/>
            <p:cNvSpPr/>
            <p:nvPr/>
          </p:nvSpPr>
          <p:spPr>
            <a:xfrm>
              <a:off x="3082750"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68"/>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68"/>
            <p:cNvSpPr/>
            <p:nvPr/>
          </p:nvSpPr>
          <p:spPr>
            <a:xfrm>
              <a:off x="2679875" y="2645625"/>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68"/>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68"/>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38" name="Google Shape;5238;p68"/>
          <p:cNvGrpSpPr/>
          <p:nvPr/>
        </p:nvGrpSpPr>
        <p:grpSpPr>
          <a:xfrm>
            <a:off x="3122859" y="971352"/>
            <a:ext cx="735829" cy="684547"/>
            <a:chOff x="3351965" y="1148808"/>
            <a:chExt cx="750770" cy="698375"/>
          </a:xfrm>
        </p:grpSpPr>
        <p:grpSp>
          <p:nvGrpSpPr>
            <p:cNvPr id="5239" name="Google Shape;5239;p68"/>
            <p:cNvGrpSpPr/>
            <p:nvPr/>
          </p:nvGrpSpPr>
          <p:grpSpPr>
            <a:xfrm>
              <a:off x="3586796" y="1148808"/>
              <a:ext cx="294857" cy="286830"/>
              <a:chOff x="3750225" y="1774000"/>
              <a:chExt cx="149575" cy="145525"/>
            </a:xfrm>
          </p:grpSpPr>
          <p:sp>
            <p:nvSpPr>
              <p:cNvPr id="5240" name="Google Shape;5240;p68"/>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68"/>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2" name="Google Shape;5242;p68"/>
            <p:cNvGrpSpPr/>
            <p:nvPr/>
          </p:nvGrpSpPr>
          <p:grpSpPr>
            <a:xfrm>
              <a:off x="3779245" y="1375768"/>
              <a:ext cx="323490" cy="286978"/>
              <a:chOff x="3847850" y="1889150"/>
              <a:chExt cx="164100" cy="145600"/>
            </a:xfrm>
          </p:grpSpPr>
          <p:sp>
            <p:nvSpPr>
              <p:cNvPr id="5243" name="Google Shape;5243;p68"/>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68"/>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5" name="Google Shape;5245;p68"/>
            <p:cNvGrpSpPr/>
            <p:nvPr/>
          </p:nvGrpSpPr>
          <p:grpSpPr>
            <a:xfrm>
              <a:off x="3351965" y="1330435"/>
              <a:ext cx="295449" cy="285401"/>
              <a:chOff x="3631100" y="1866150"/>
              <a:chExt cx="149875" cy="144800"/>
            </a:xfrm>
          </p:grpSpPr>
          <p:sp>
            <p:nvSpPr>
              <p:cNvPr id="5246" name="Google Shape;5246;p68"/>
              <p:cNvSpPr/>
              <p:nvPr/>
            </p:nvSpPr>
            <p:spPr>
              <a:xfrm>
                <a:off x="3631100" y="1866150"/>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68"/>
              <p:cNvSpPr/>
              <p:nvPr/>
            </p:nvSpPr>
            <p:spPr>
              <a:xfrm>
                <a:off x="3654725" y="1907806"/>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8" name="Google Shape;5248;p68"/>
            <p:cNvGrpSpPr/>
            <p:nvPr/>
          </p:nvGrpSpPr>
          <p:grpSpPr>
            <a:xfrm>
              <a:off x="3548208" y="1560352"/>
              <a:ext cx="294808" cy="286830"/>
              <a:chOff x="3730650" y="1982800"/>
              <a:chExt cx="149550" cy="145525"/>
            </a:xfrm>
          </p:grpSpPr>
          <p:sp>
            <p:nvSpPr>
              <p:cNvPr id="5249" name="Google Shape;5249;p68"/>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68"/>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51" name="Google Shape;5251;p68"/>
          <p:cNvGrpSpPr/>
          <p:nvPr/>
        </p:nvGrpSpPr>
        <p:grpSpPr>
          <a:xfrm>
            <a:off x="7624512" y="971306"/>
            <a:ext cx="804565" cy="677795"/>
            <a:chOff x="7636443" y="1204988"/>
            <a:chExt cx="804565" cy="677795"/>
          </a:xfrm>
        </p:grpSpPr>
        <p:grpSp>
          <p:nvGrpSpPr>
            <p:cNvPr id="5252" name="Google Shape;5252;p68"/>
            <p:cNvGrpSpPr/>
            <p:nvPr/>
          </p:nvGrpSpPr>
          <p:grpSpPr>
            <a:xfrm>
              <a:off x="7636443" y="1509705"/>
              <a:ext cx="804565" cy="373078"/>
              <a:chOff x="7636443" y="1509705"/>
              <a:chExt cx="804565" cy="373078"/>
            </a:xfrm>
          </p:grpSpPr>
          <p:sp>
            <p:nvSpPr>
              <p:cNvPr id="5253" name="Google Shape;5253;p68"/>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68"/>
              <p:cNvSpPr/>
              <p:nvPr/>
            </p:nvSpPr>
            <p:spPr>
              <a:xfrm>
                <a:off x="8398251" y="1667375"/>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5" name="Google Shape;5255;p68"/>
            <p:cNvGrpSpPr/>
            <p:nvPr/>
          </p:nvGrpSpPr>
          <p:grpSpPr>
            <a:xfrm>
              <a:off x="7636443" y="1408133"/>
              <a:ext cx="804565" cy="373078"/>
              <a:chOff x="7636443" y="1408133"/>
              <a:chExt cx="804565" cy="373078"/>
            </a:xfrm>
          </p:grpSpPr>
          <p:sp>
            <p:nvSpPr>
              <p:cNvPr id="5256" name="Google Shape;5256;p68"/>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68"/>
              <p:cNvSpPr/>
              <p:nvPr/>
            </p:nvSpPr>
            <p:spPr>
              <a:xfrm>
                <a:off x="8398251" y="1565802"/>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8" name="Google Shape;5258;p68"/>
            <p:cNvGrpSpPr/>
            <p:nvPr/>
          </p:nvGrpSpPr>
          <p:grpSpPr>
            <a:xfrm>
              <a:off x="7636443" y="1306560"/>
              <a:ext cx="804565" cy="373078"/>
              <a:chOff x="7636443" y="1306560"/>
              <a:chExt cx="804565" cy="373078"/>
            </a:xfrm>
          </p:grpSpPr>
          <p:sp>
            <p:nvSpPr>
              <p:cNvPr id="5259" name="Google Shape;5259;p68"/>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68"/>
              <p:cNvSpPr/>
              <p:nvPr/>
            </p:nvSpPr>
            <p:spPr>
              <a:xfrm>
                <a:off x="8398251" y="1464230"/>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1" name="Google Shape;5261;p68"/>
            <p:cNvGrpSpPr/>
            <p:nvPr/>
          </p:nvGrpSpPr>
          <p:grpSpPr>
            <a:xfrm>
              <a:off x="7636443" y="1204988"/>
              <a:ext cx="804565" cy="373078"/>
              <a:chOff x="7636443" y="1204988"/>
              <a:chExt cx="804565" cy="373078"/>
            </a:xfrm>
          </p:grpSpPr>
          <p:sp>
            <p:nvSpPr>
              <p:cNvPr id="5262" name="Google Shape;5262;p68"/>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68"/>
              <p:cNvSpPr/>
              <p:nvPr/>
            </p:nvSpPr>
            <p:spPr>
              <a:xfrm>
                <a:off x="8398251" y="1362658"/>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64" name="Google Shape;5264;p68"/>
          <p:cNvGrpSpPr/>
          <p:nvPr/>
        </p:nvGrpSpPr>
        <p:grpSpPr>
          <a:xfrm>
            <a:off x="4963358" y="1878721"/>
            <a:ext cx="661339" cy="661188"/>
            <a:chOff x="3990000" y="975400"/>
            <a:chExt cx="3934200" cy="3933300"/>
          </a:xfrm>
        </p:grpSpPr>
        <p:sp>
          <p:nvSpPr>
            <p:cNvPr id="5265" name="Google Shape;5265;p68"/>
            <p:cNvSpPr/>
            <p:nvPr/>
          </p:nvSpPr>
          <p:spPr>
            <a:xfrm>
              <a:off x="3990000" y="975400"/>
              <a:ext cx="3934200" cy="3933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68"/>
            <p:cNvSpPr/>
            <p:nvPr/>
          </p:nvSpPr>
          <p:spPr>
            <a:xfrm>
              <a:off x="4346550" y="1331800"/>
              <a:ext cx="3221100" cy="32205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68"/>
            <p:cNvSpPr/>
            <p:nvPr/>
          </p:nvSpPr>
          <p:spPr>
            <a:xfrm>
              <a:off x="4786800" y="1771750"/>
              <a:ext cx="2340600" cy="2340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68"/>
            <p:cNvSpPr/>
            <p:nvPr/>
          </p:nvSpPr>
          <p:spPr>
            <a:xfrm>
              <a:off x="5218650" y="2203450"/>
              <a:ext cx="1476900" cy="14772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9" name="Google Shape;5269;p68"/>
          <p:cNvGrpSpPr/>
          <p:nvPr/>
        </p:nvGrpSpPr>
        <p:grpSpPr>
          <a:xfrm>
            <a:off x="6607006" y="1857359"/>
            <a:ext cx="868881" cy="684241"/>
            <a:chOff x="6598259" y="2078634"/>
            <a:chExt cx="868881" cy="684241"/>
          </a:xfrm>
        </p:grpSpPr>
        <p:sp>
          <p:nvSpPr>
            <p:cNvPr id="5270" name="Google Shape;5270;p68"/>
            <p:cNvSpPr/>
            <p:nvPr/>
          </p:nvSpPr>
          <p:spPr>
            <a:xfrm>
              <a:off x="7165957" y="2159753"/>
              <a:ext cx="286185" cy="107120"/>
            </a:xfrm>
            <a:custGeom>
              <a:avLst/>
              <a:gdLst/>
              <a:ahLst/>
              <a:cxnLst/>
              <a:rect l="l" t="t" r="r" b="b"/>
              <a:pathLst>
                <a:path w="48506" h="18156" extrusionOk="0">
                  <a:moveTo>
                    <a:pt x="1" y="1"/>
                  </a:moveTo>
                  <a:lnTo>
                    <a:pt x="1" y="18156"/>
                  </a:lnTo>
                  <a:lnTo>
                    <a:pt x="48506" y="18156"/>
                  </a:lnTo>
                  <a:lnTo>
                    <a:pt x="48506" y="1"/>
                  </a:ln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68"/>
            <p:cNvSpPr/>
            <p:nvPr/>
          </p:nvSpPr>
          <p:spPr>
            <a:xfrm>
              <a:off x="7085764" y="2536793"/>
              <a:ext cx="349475" cy="107120"/>
            </a:xfrm>
            <a:custGeom>
              <a:avLst/>
              <a:gdLst/>
              <a:ahLst/>
              <a:cxnLst/>
              <a:rect l="l" t="t" r="r" b="b"/>
              <a:pathLst>
                <a:path w="59233" h="18156" extrusionOk="0">
                  <a:moveTo>
                    <a:pt x="1" y="1"/>
                  </a:moveTo>
                  <a:lnTo>
                    <a:pt x="1" y="18156"/>
                  </a:lnTo>
                  <a:lnTo>
                    <a:pt x="59233" y="18156"/>
                  </a:lnTo>
                  <a:lnTo>
                    <a:pt x="59233" y="1"/>
                  </a:ln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68"/>
            <p:cNvSpPr/>
            <p:nvPr/>
          </p:nvSpPr>
          <p:spPr>
            <a:xfrm>
              <a:off x="6598259" y="2195183"/>
              <a:ext cx="271241" cy="107120"/>
            </a:xfrm>
            <a:custGeom>
              <a:avLst/>
              <a:gdLst/>
              <a:ahLst/>
              <a:cxnLst/>
              <a:rect l="l" t="t" r="r" b="b"/>
              <a:pathLst>
                <a:path w="45973" h="18156" extrusionOk="0">
                  <a:moveTo>
                    <a:pt x="1" y="0"/>
                  </a:moveTo>
                  <a:lnTo>
                    <a:pt x="1" y="18156"/>
                  </a:lnTo>
                  <a:lnTo>
                    <a:pt x="45972" y="18156"/>
                  </a:lnTo>
                  <a:lnTo>
                    <a:pt x="45972" y="0"/>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68"/>
            <p:cNvSpPr/>
            <p:nvPr/>
          </p:nvSpPr>
          <p:spPr>
            <a:xfrm>
              <a:off x="6604064" y="2370778"/>
              <a:ext cx="358696" cy="107126"/>
            </a:xfrm>
            <a:custGeom>
              <a:avLst/>
              <a:gdLst/>
              <a:ahLst/>
              <a:cxnLst/>
              <a:rect l="l" t="t" r="r" b="b"/>
              <a:pathLst>
                <a:path w="60796" h="18157" extrusionOk="0">
                  <a:moveTo>
                    <a:pt x="0" y="1"/>
                  </a:moveTo>
                  <a:lnTo>
                    <a:pt x="0" y="18156"/>
                  </a:lnTo>
                  <a:lnTo>
                    <a:pt x="60796" y="18156"/>
                  </a:lnTo>
                  <a:lnTo>
                    <a:pt x="60796" y="1"/>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68"/>
            <p:cNvSpPr/>
            <p:nvPr/>
          </p:nvSpPr>
          <p:spPr>
            <a:xfrm>
              <a:off x="6645158" y="2545743"/>
              <a:ext cx="358696" cy="109044"/>
            </a:xfrm>
            <a:custGeom>
              <a:avLst/>
              <a:gdLst/>
              <a:ahLst/>
              <a:cxnLst/>
              <a:rect l="l" t="t" r="r" b="b"/>
              <a:pathLst>
                <a:path w="60796" h="18482" extrusionOk="0">
                  <a:moveTo>
                    <a:pt x="1" y="0"/>
                  </a:moveTo>
                  <a:lnTo>
                    <a:pt x="1" y="18482"/>
                  </a:lnTo>
                  <a:lnTo>
                    <a:pt x="60796" y="18482"/>
                  </a:lnTo>
                  <a:lnTo>
                    <a:pt x="60796" y="0"/>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68"/>
            <p:cNvSpPr/>
            <p:nvPr/>
          </p:nvSpPr>
          <p:spPr>
            <a:xfrm>
              <a:off x="7155838" y="2352960"/>
              <a:ext cx="311302" cy="107120"/>
            </a:xfrm>
            <a:custGeom>
              <a:avLst/>
              <a:gdLst/>
              <a:ahLst/>
              <a:cxnLst/>
              <a:rect l="l" t="t" r="r" b="b"/>
              <a:pathLst>
                <a:path w="52763" h="18156" extrusionOk="0">
                  <a:moveTo>
                    <a:pt x="0" y="0"/>
                  </a:moveTo>
                  <a:lnTo>
                    <a:pt x="0" y="18155"/>
                  </a:lnTo>
                  <a:lnTo>
                    <a:pt x="52763" y="18155"/>
                  </a:lnTo>
                  <a:lnTo>
                    <a:pt x="52763" y="0"/>
                  </a:ln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76" name="Google Shape;5276;p68"/>
            <p:cNvGrpSpPr/>
            <p:nvPr/>
          </p:nvGrpSpPr>
          <p:grpSpPr>
            <a:xfrm>
              <a:off x="6808175" y="2078634"/>
              <a:ext cx="452229" cy="684241"/>
              <a:chOff x="6808175" y="2078634"/>
              <a:chExt cx="452229" cy="684241"/>
            </a:xfrm>
          </p:grpSpPr>
          <p:sp>
            <p:nvSpPr>
              <p:cNvPr id="5277" name="Google Shape;5277;p68"/>
              <p:cNvSpPr/>
              <p:nvPr/>
            </p:nvSpPr>
            <p:spPr>
              <a:xfrm>
                <a:off x="7165957" y="2159753"/>
                <a:ext cx="94447" cy="107120"/>
              </a:xfrm>
              <a:custGeom>
                <a:avLst/>
                <a:gdLst/>
                <a:ahLst/>
                <a:cxnLst/>
                <a:rect l="l" t="t" r="r" b="b"/>
                <a:pathLst>
                  <a:path w="16008" h="18156" extrusionOk="0">
                    <a:moveTo>
                      <a:pt x="1" y="1"/>
                    </a:moveTo>
                    <a:lnTo>
                      <a:pt x="1" y="18156"/>
                    </a:lnTo>
                    <a:lnTo>
                      <a:pt x="16007" y="18156"/>
                    </a:lnTo>
                    <a:cubicBezTo>
                      <a:pt x="15291" y="11568"/>
                      <a:pt x="12904" y="5350"/>
                      <a:pt x="90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68"/>
              <p:cNvSpPr/>
              <p:nvPr/>
            </p:nvSpPr>
            <p:spPr>
              <a:xfrm>
                <a:off x="7085764" y="2536793"/>
                <a:ext cx="61100" cy="107120"/>
              </a:xfrm>
              <a:custGeom>
                <a:avLst/>
                <a:gdLst/>
                <a:ahLst/>
                <a:cxnLst/>
                <a:rect l="l" t="t" r="r" b="b"/>
                <a:pathLst>
                  <a:path w="10356" h="18156" extrusionOk="0">
                    <a:moveTo>
                      <a:pt x="1" y="1"/>
                    </a:moveTo>
                    <a:lnTo>
                      <a:pt x="1" y="18156"/>
                    </a:lnTo>
                    <a:lnTo>
                      <a:pt x="5804" y="18156"/>
                    </a:lnTo>
                    <a:cubicBezTo>
                      <a:pt x="5810" y="18084"/>
                      <a:pt x="5813" y="18013"/>
                      <a:pt x="5813" y="17941"/>
                    </a:cubicBezTo>
                    <a:cubicBezTo>
                      <a:pt x="5815" y="17225"/>
                      <a:pt x="5579" y="16528"/>
                      <a:pt x="5146" y="15958"/>
                    </a:cubicBezTo>
                    <a:cubicBezTo>
                      <a:pt x="5764" y="15144"/>
                      <a:pt x="5967" y="14089"/>
                      <a:pt x="5696" y="13103"/>
                    </a:cubicBezTo>
                    <a:cubicBezTo>
                      <a:pt x="6334" y="11805"/>
                      <a:pt x="6339" y="10352"/>
                      <a:pt x="6343" y="9017"/>
                    </a:cubicBezTo>
                    <a:lnTo>
                      <a:pt x="6343" y="8907"/>
                    </a:lnTo>
                    <a:cubicBezTo>
                      <a:pt x="6346" y="8040"/>
                      <a:pt x="6573" y="6922"/>
                      <a:pt x="6952" y="5914"/>
                    </a:cubicBezTo>
                    <a:cubicBezTo>
                      <a:pt x="7745" y="3797"/>
                      <a:pt x="8890" y="1817"/>
                      <a:pt x="10355"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68"/>
              <p:cNvSpPr/>
              <p:nvPr/>
            </p:nvSpPr>
            <p:spPr>
              <a:xfrm>
                <a:off x="6808175" y="2195183"/>
                <a:ext cx="61325" cy="107120"/>
              </a:xfrm>
              <a:custGeom>
                <a:avLst/>
                <a:gdLst/>
                <a:ahLst/>
                <a:cxnLst/>
                <a:rect l="l" t="t" r="r" b="b"/>
                <a:pathLst>
                  <a:path w="10394" h="18156" extrusionOk="0">
                    <a:moveTo>
                      <a:pt x="3660" y="0"/>
                    </a:moveTo>
                    <a:cubicBezTo>
                      <a:pt x="1279" y="5051"/>
                      <a:pt x="19" y="10605"/>
                      <a:pt x="14" y="16353"/>
                    </a:cubicBezTo>
                    <a:cubicBezTo>
                      <a:pt x="11" y="16529"/>
                      <a:pt x="0" y="17161"/>
                      <a:pt x="51" y="18156"/>
                    </a:cubicBezTo>
                    <a:lnTo>
                      <a:pt x="10393" y="18156"/>
                    </a:lnTo>
                    <a:lnTo>
                      <a:pt x="10393"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68"/>
              <p:cNvSpPr/>
              <p:nvPr/>
            </p:nvSpPr>
            <p:spPr>
              <a:xfrm>
                <a:off x="6820441" y="2370778"/>
                <a:ext cx="142320" cy="107126"/>
              </a:xfrm>
              <a:custGeom>
                <a:avLst/>
                <a:gdLst/>
                <a:ahLst/>
                <a:cxnLst/>
                <a:rect l="l" t="t" r="r" b="b"/>
                <a:pathLst>
                  <a:path w="24122" h="18157" extrusionOk="0">
                    <a:moveTo>
                      <a:pt x="0" y="1"/>
                    </a:moveTo>
                    <a:cubicBezTo>
                      <a:pt x="1532" y="5312"/>
                      <a:pt x="4200" y="11690"/>
                      <a:pt x="8823" y="18156"/>
                    </a:cubicBezTo>
                    <a:lnTo>
                      <a:pt x="24122" y="18156"/>
                    </a:lnTo>
                    <a:lnTo>
                      <a:pt x="24122"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68"/>
              <p:cNvSpPr/>
              <p:nvPr/>
            </p:nvSpPr>
            <p:spPr>
              <a:xfrm>
                <a:off x="6929774" y="2545743"/>
                <a:ext cx="74092" cy="109044"/>
              </a:xfrm>
              <a:custGeom>
                <a:avLst/>
                <a:gdLst/>
                <a:ahLst/>
                <a:cxnLst/>
                <a:rect l="l" t="t" r="r" b="b"/>
                <a:pathLst>
                  <a:path w="12558" h="18482" extrusionOk="0">
                    <a:moveTo>
                      <a:pt x="0" y="0"/>
                    </a:moveTo>
                    <a:cubicBezTo>
                      <a:pt x="938" y="1387"/>
                      <a:pt x="1707" y="2855"/>
                      <a:pt x="2285" y="4397"/>
                    </a:cubicBezTo>
                    <a:cubicBezTo>
                      <a:pt x="2664" y="5405"/>
                      <a:pt x="2891" y="6523"/>
                      <a:pt x="2895" y="7390"/>
                    </a:cubicBezTo>
                    <a:lnTo>
                      <a:pt x="2895" y="7500"/>
                    </a:lnTo>
                    <a:cubicBezTo>
                      <a:pt x="2898" y="8835"/>
                      <a:pt x="2904" y="10288"/>
                      <a:pt x="3541" y="11586"/>
                    </a:cubicBezTo>
                    <a:cubicBezTo>
                      <a:pt x="3270" y="12572"/>
                      <a:pt x="3473" y="13627"/>
                      <a:pt x="4092" y="14441"/>
                    </a:cubicBezTo>
                    <a:cubicBezTo>
                      <a:pt x="3202" y="15613"/>
                      <a:pt x="3202" y="17235"/>
                      <a:pt x="4092" y="18407"/>
                    </a:cubicBezTo>
                    <a:cubicBezTo>
                      <a:pt x="4072" y="18431"/>
                      <a:pt x="4057" y="18457"/>
                      <a:pt x="4039" y="18482"/>
                    </a:cubicBezTo>
                    <a:lnTo>
                      <a:pt x="12558" y="18482"/>
                    </a:lnTo>
                    <a:lnTo>
                      <a:pt x="1255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68"/>
              <p:cNvSpPr/>
              <p:nvPr/>
            </p:nvSpPr>
            <p:spPr>
              <a:xfrm>
                <a:off x="7155838" y="2352960"/>
                <a:ext cx="98377" cy="107120"/>
              </a:xfrm>
              <a:custGeom>
                <a:avLst/>
                <a:gdLst/>
                <a:ahLst/>
                <a:cxnLst/>
                <a:rect l="l" t="t" r="r" b="b"/>
                <a:pathLst>
                  <a:path w="16674" h="18156" extrusionOk="0">
                    <a:moveTo>
                      <a:pt x="0" y="0"/>
                    </a:moveTo>
                    <a:lnTo>
                      <a:pt x="0" y="18155"/>
                    </a:lnTo>
                    <a:lnTo>
                      <a:pt x="9101" y="18155"/>
                    </a:lnTo>
                    <a:cubicBezTo>
                      <a:pt x="13299" y="11475"/>
                      <a:pt x="15509" y="5056"/>
                      <a:pt x="1667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83" name="Google Shape;5283;p68"/>
              <p:cNvGrpSpPr/>
              <p:nvPr/>
            </p:nvGrpSpPr>
            <p:grpSpPr>
              <a:xfrm>
                <a:off x="6821586" y="2078634"/>
                <a:ext cx="426871" cy="684241"/>
                <a:chOff x="6821586" y="2078634"/>
                <a:chExt cx="426871" cy="684241"/>
              </a:xfrm>
            </p:grpSpPr>
            <p:grpSp>
              <p:nvGrpSpPr>
                <p:cNvPr id="5284" name="Google Shape;5284;p68"/>
                <p:cNvGrpSpPr/>
                <p:nvPr/>
              </p:nvGrpSpPr>
              <p:grpSpPr>
                <a:xfrm>
                  <a:off x="6821586" y="2078634"/>
                  <a:ext cx="426871" cy="684241"/>
                  <a:chOff x="6821586" y="2078634"/>
                  <a:chExt cx="426871" cy="684241"/>
                </a:xfrm>
              </p:grpSpPr>
              <p:sp>
                <p:nvSpPr>
                  <p:cNvPr id="5285" name="Google Shape;5285;p68"/>
                  <p:cNvSpPr/>
                  <p:nvPr/>
                </p:nvSpPr>
                <p:spPr>
                  <a:xfrm>
                    <a:off x="6990036" y="2693797"/>
                    <a:ext cx="89963" cy="69077"/>
                  </a:xfrm>
                  <a:custGeom>
                    <a:avLst/>
                    <a:gdLst/>
                    <a:ahLst/>
                    <a:cxnLst/>
                    <a:rect l="l" t="t" r="r" b="b"/>
                    <a:pathLst>
                      <a:path w="15248" h="11708" extrusionOk="0">
                        <a:moveTo>
                          <a:pt x="1" y="0"/>
                        </a:moveTo>
                        <a:lnTo>
                          <a:pt x="1" y="4083"/>
                        </a:lnTo>
                        <a:cubicBezTo>
                          <a:pt x="1" y="8276"/>
                          <a:pt x="3430" y="11707"/>
                          <a:pt x="7623" y="11707"/>
                        </a:cubicBezTo>
                        <a:cubicBezTo>
                          <a:pt x="11816" y="11707"/>
                          <a:pt x="15247" y="8276"/>
                          <a:pt x="15247" y="4083"/>
                        </a:cubicBezTo>
                        <a:lnTo>
                          <a:pt x="15247" y="0"/>
                        </a:ln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68"/>
                  <p:cNvSpPr/>
                  <p:nvPr/>
                </p:nvSpPr>
                <p:spPr>
                  <a:xfrm>
                    <a:off x="6968649" y="2671926"/>
                    <a:ext cx="132738" cy="72712"/>
                  </a:xfrm>
                  <a:custGeom>
                    <a:avLst/>
                    <a:gdLst/>
                    <a:ahLst/>
                    <a:cxnLst/>
                    <a:rect l="l" t="t" r="r" b="b"/>
                    <a:pathLst>
                      <a:path w="22498" h="12324" extrusionOk="0">
                        <a:moveTo>
                          <a:pt x="1" y="0"/>
                        </a:moveTo>
                        <a:lnTo>
                          <a:pt x="1" y="2864"/>
                        </a:lnTo>
                        <a:cubicBezTo>
                          <a:pt x="1" y="8528"/>
                          <a:pt x="10476" y="12324"/>
                          <a:pt x="11248" y="12324"/>
                        </a:cubicBezTo>
                        <a:cubicBezTo>
                          <a:pt x="12022" y="12324"/>
                          <a:pt x="22498" y="7684"/>
                          <a:pt x="22498" y="2864"/>
                        </a:cubicBezTo>
                        <a:lnTo>
                          <a:pt x="2249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68"/>
                  <p:cNvSpPr/>
                  <p:nvPr/>
                </p:nvSpPr>
                <p:spPr>
                  <a:xfrm>
                    <a:off x="6968649" y="2679891"/>
                    <a:ext cx="132738" cy="64747"/>
                  </a:xfrm>
                  <a:custGeom>
                    <a:avLst/>
                    <a:gdLst/>
                    <a:ahLst/>
                    <a:cxnLst/>
                    <a:rect l="l" t="t" r="r" b="b"/>
                    <a:pathLst>
                      <a:path w="22498" h="10974" extrusionOk="0">
                        <a:moveTo>
                          <a:pt x="1" y="1"/>
                        </a:moveTo>
                        <a:lnTo>
                          <a:pt x="1" y="1514"/>
                        </a:lnTo>
                        <a:cubicBezTo>
                          <a:pt x="1" y="7178"/>
                          <a:pt x="10476" y="10974"/>
                          <a:pt x="11248" y="10974"/>
                        </a:cubicBezTo>
                        <a:cubicBezTo>
                          <a:pt x="12022" y="10974"/>
                          <a:pt x="22498" y="6335"/>
                          <a:pt x="22498" y="1514"/>
                        </a:cubicBezTo>
                        <a:lnTo>
                          <a:pt x="22498" y="1"/>
                        </a:lnTo>
                        <a:cubicBezTo>
                          <a:pt x="22498" y="4821"/>
                          <a:pt x="12022" y="9459"/>
                          <a:pt x="11248" y="9459"/>
                        </a:cubicBezTo>
                        <a:cubicBezTo>
                          <a:pt x="10476" y="9459"/>
                          <a:pt x="1" y="5665"/>
                          <a:pt x="1"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68"/>
                  <p:cNvSpPr/>
                  <p:nvPr/>
                </p:nvSpPr>
                <p:spPr>
                  <a:xfrm>
                    <a:off x="6969091" y="2693467"/>
                    <a:ext cx="131729" cy="11765"/>
                  </a:xfrm>
                  <a:custGeom>
                    <a:avLst/>
                    <a:gdLst/>
                    <a:ahLst/>
                    <a:cxnLst/>
                    <a:rect l="l" t="t" r="r" b="b"/>
                    <a:pathLst>
                      <a:path w="22327" h="1994" extrusionOk="0">
                        <a:moveTo>
                          <a:pt x="52" y="1"/>
                        </a:moveTo>
                        <a:cubicBezTo>
                          <a:pt x="34" y="1"/>
                          <a:pt x="18" y="4"/>
                          <a:pt x="1" y="4"/>
                        </a:cubicBezTo>
                        <a:cubicBezTo>
                          <a:pt x="122" y="701"/>
                          <a:pt x="392" y="1367"/>
                          <a:pt x="778" y="1994"/>
                        </a:cubicBezTo>
                        <a:lnTo>
                          <a:pt x="21362" y="1994"/>
                        </a:lnTo>
                        <a:cubicBezTo>
                          <a:pt x="21834" y="1347"/>
                          <a:pt x="22173" y="680"/>
                          <a:pt x="22326" y="2"/>
                        </a:cubicBezTo>
                        <a:cubicBezTo>
                          <a:pt x="22316" y="2"/>
                          <a:pt x="22307" y="1"/>
                          <a:pt x="22297"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68"/>
                  <p:cNvSpPr/>
                  <p:nvPr/>
                </p:nvSpPr>
                <p:spPr>
                  <a:xfrm>
                    <a:off x="6821586" y="2078634"/>
                    <a:ext cx="426871" cy="544694"/>
                  </a:xfrm>
                  <a:custGeom>
                    <a:avLst/>
                    <a:gdLst/>
                    <a:ahLst/>
                    <a:cxnLst/>
                    <a:rect l="l" t="t" r="r" b="b"/>
                    <a:pathLst>
                      <a:path w="72351" h="92321" extrusionOk="0">
                        <a:moveTo>
                          <a:pt x="36174" y="1"/>
                        </a:moveTo>
                        <a:cubicBezTo>
                          <a:pt x="16216" y="1"/>
                          <a:pt x="37" y="16180"/>
                          <a:pt x="37" y="36140"/>
                        </a:cubicBezTo>
                        <a:cubicBezTo>
                          <a:pt x="37" y="36140"/>
                          <a:pt x="0" y="37141"/>
                          <a:pt x="140" y="38891"/>
                        </a:cubicBezTo>
                        <a:cubicBezTo>
                          <a:pt x="143" y="38928"/>
                          <a:pt x="147" y="38965"/>
                          <a:pt x="149" y="39003"/>
                        </a:cubicBezTo>
                        <a:cubicBezTo>
                          <a:pt x="164" y="39192"/>
                          <a:pt x="182" y="39386"/>
                          <a:pt x="201" y="39590"/>
                        </a:cubicBezTo>
                        <a:cubicBezTo>
                          <a:pt x="222" y="39817"/>
                          <a:pt x="246" y="40044"/>
                          <a:pt x="273" y="40271"/>
                        </a:cubicBezTo>
                        <a:cubicBezTo>
                          <a:pt x="281" y="40354"/>
                          <a:pt x="292" y="40436"/>
                          <a:pt x="301" y="40521"/>
                        </a:cubicBezTo>
                        <a:cubicBezTo>
                          <a:pt x="313" y="40621"/>
                          <a:pt x="325" y="40722"/>
                          <a:pt x="337" y="40822"/>
                        </a:cubicBezTo>
                        <a:cubicBezTo>
                          <a:pt x="1211" y="47845"/>
                          <a:pt x="4544" y="61615"/>
                          <a:pt x="17111" y="74112"/>
                        </a:cubicBezTo>
                        <a:cubicBezTo>
                          <a:pt x="19581" y="76568"/>
                          <a:pt x="21548" y="79501"/>
                          <a:pt x="22771" y="82763"/>
                        </a:cubicBezTo>
                        <a:cubicBezTo>
                          <a:pt x="23307" y="84192"/>
                          <a:pt x="23522" y="85567"/>
                          <a:pt x="23526" y="86552"/>
                        </a:cubicBezTo>
                        <a:cubicBezTo>
                          <a:pt x="23540" y="90527"/>
                          <a:pt x="23421" y="92321"/>
                          <a:pt x="36174" y="92321"/>
                        </a:cubicBezTo>
                        <a:cubicBezTo>
                          <a:pt x="48929" y="92321"/>
                          <a:pt x="48811" y="90527"/>
                          <a:pt x="48825" y="86552"/>
                        </a:cubicBezTo>
                        <a:cubicBezTo>
                          <a:pt x="48828" y="85567"/>
                          <a:pt x="49043" y="84192"/>
                          <a:pt x="49579" y="82763"/>
                        </a:cubicBezTo>
                        <a:cubicBezTo>
                          <a:pt x="50802" y="79501"/>
                          <a:pt x="52769" y="76568"/>
                          <a:pt x="55240" y="74112"/>
                        </a:cubicBezTo>
                        <a:cubicBezTo>
                          <a:pt x="67806" y="61615"/>
                          <a:pt x="71138" y="47845"/>
                          <a:pt x="72011" y="40822"/>
                        </a:cubicBezTo>
                        <a:cubicBezTo>
                          <a:pt x="72025" y="40722"/>
                          <a:pt x="72038" y="40621"/>
                          <a:pt x="72050" y="40521"/>
                        </a:cubicBezTo>
                        <a:cubicBezTo>
                          <a:pt x="72059" y="40436"/>
                          <a:pt x="72069" y="40354"/>
                          <a:pt x="72078" y="40271"/>
                        </a:cubicBezTo>
                        <a:cubicBezTo>
                          <a:pt x="72104" y="40044"/>
                          <a:pt x="72127" y="39817"/>
                          <a:pt x="72149" y="39590"/>
                        </a:cubicBezTo>
                        <a:cubicBezTo>
                          <a:pt x="72169" y="39386"/>
                          <a:pt x="72186" y="39192"/>
                          <a:pt x="72202" y="39003"/>
                        </a:cubicBezTo>
                        <a:cubicBezTo>
                          <a:pt x="72205" y="38966"/>
                          <a:pt x="72207" y="38928"/>
                          <a:pt x="72211" y="38891"/>
                        </a:cubicBezTo>
                        <a:cubicBezTo>
                          <a:pt x="72350" y="37141"/>
                          <a:pt x="72314" y="36140"/>
                          <a:pt x="72314" y="36140"/>
                        </a:cubicBezTo>
                        <a:cubicBezTo>
                          <a:pt x="72314" y="16180"/>
                          <a:pt x="56134" y="1"/>
                          <a:pt x="36174" y="1"/>
                        </a:cubicBezTo>
                        <a:close/>
                      </a:path>
                    </a:pathLst>
                  </a:custGeom>
                  <a:solidFill>
                    <a:srgbClr val="FEFEF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68"/>
                  <p:cNvSpPr/>
                  <p:nvPr/>
                </p:nvSpPr>
                <p:spPr>
                  <a:xfrm>
                    <a:off x="6984514" y="2448953"/>
                    <a:ext cx="101008" cy="164409"/>
                  </a:xfrm>
                  <a:custGeom>
                    <a:avLst/>
                    <a:gdLst/>
                    <a:ahLst/>
                    <a:cxnLst/>
                    <a:rect l="l" t="t" r="r" b="b"/>
                    <a:pathLst>
                      <a:path w="17120" h="27866" extrusionOk="0">
                        <a:moveTo>
                          <a:pt x="1" y="0"/>
                        </a:moveTo>
                        <a:lnTo>
                          <a:pt x="4920" y="27866"/>
                        </a:lnTo>
                        <a:lnTo>
                          <a:pt x="12200" y="27866"/>
                        </a:lnTo>
                        <a:lnTo>
                          <a:pt x="17120" y="0"/>
                        </a:lnTo>
                        <a:close/>
                      </a:path>
                    </a:pathLst>
                  </a:custGeom>
                  <a:solidFill>
                    <a:srgbClr val="EDF1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68"/>
                  <p:cNvSpPr/>
                  <p:nvPr/>
                </p:nvSpPr>
                <p:spPr>
                  <a:xfrm>
                    <a:off x="6984514" y="2448953"/>
                    <a:ext cx="101008" cy="140963"/>
                  </a:xfrm>
                  <a:custGeom>
                    <a:avLst/>
                    <a:gdLst/>
                    <a:ahLst/>
                    <a:cxnLst/>
                    <a:rect l="l" t="t" r="r" b="b"/>
                    <a:pathLst>
                      <a:path w="17120" h="23892" extrusionOk="0">
                        <a:moveTo>
                          <a:pt x="1" y="0"/>
                        </a:moveTo>
                        <a:lnTo>
                          <a:pt x="4218" y="23891"/>
                        </a:lnTo>
                        <a:lnTo>
                          <a:pt x="12902" y="23891"/>
                        </a:lnTo>
                        <a:lnTo>
                          <a:pt x="1712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68"/>
                  <p:cNvSpPr/>
                  <p:nvPr/>
                </p:nvSpPr>
                <p:spPr>
                  <a:xfrm>
                    <a:off x="7012451" y="2607162"/>
                    <a:ext cx="45141" cy="6201"/>
                  </a:xfrm>
                  <a:custGeom>
                    <a:avLst/>
                    <a:gdLst/>
                    <a:ahLst/>
                    <a:cxnLst/>
                    <a:rect l="l" t="t" r="r" b="b"/>
                    <a:pathLst>
                      <a:path w="7651" h="1051" extrusionOk="0">
                        <a:moveTo>
                          <a:pt x="0" y="1"/>
                        </a:moveTo>
                        <a:lnTo>
                          <a:pt x="185" y="1051"/>
                        </a:lnTo>
                        <a:lnTo>
                          <a:pt x="7465" y="1051"/>
                        </a:lnTo>
                        <a:lnTo>
                          <a:pt x="765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68"/>
                  <p:cNvSpPr/>
                  <p:nvPr/>
                </p:nvSpPr>
                <p:spPr>
                  <a:xfrm>
                    <a:off x="6968649" y="2664244"/>
                    <a:ext cx="132738" cy="25199"/>
                  </a:xfrm>
                  <a:custGeom>
                    <a:avLst/>
                    <a:gdLst/>
                    <a:ahLst/>
                    <a:cxnLst/>
                    <a:rect l="l" t="t" r="r" b="b"/>
                    <a:pathLst>
                      <a:path w="22498" h="4271" extrusionOk="0">
                        <a:moveTo>
                          <a:pt x="93" y="1"/>
                        </a:moveTo>
                        <a:cubicBezTo>
                          <a:pt x="43" y="1"/>
                          <a:pt x="1" y="43"/>
                          <a:pt x="1" y="95"/>
                        </a:cubicBezTo>
                        <a:lnTo>
                          <a:pt x="1" y="4176"/>
                        </a:lnTo>
                        <a:cubicBezTo>
                          <a:pt x="1" y="4229"/>
                          <a:pt x="43" y="4270"/>
                          <a:pt x="93" y="4270"/>
                        </a:cubicBezTo>
                        <a:lnTo>
                          <a:pt x="22405" y="4270"/>
                        </a:lnTo>
                        <a:cubicBezTo>
                          <a:pt x="22456" y="4270"/>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68"/>
                  <p:cNvSpPr/>
                  <p:nvPr/>
                </p:nvSpPr>
                <p:spPr>
                  <a:xfrm>
                    <a:off x="6968649" y="2667389"/>
                    <a:ext cx="132738" cy="11776"/>
                  </a:xfrm>
                  <a:custGeom>
                    <a:avLst/>
                    <a:gdLst/>
                    <a:ahLst/>
                    <a:cxnLst/>
                    <a:rect l="l" t="t" r="r" b="b"/>
                    <a:pathLst>
                      <a:path w="22498" h="1996" extrusionOk="0">
                        <a:moveTo>
                          <a:pt x="22185" y="1"/>
                        </a:moveTo>
                        <a:lnTo>
                          <a:pt x="314" y="2"/>
                        </a:lnTo>
                        <a:cubicBezTo>
                          <a:pt x="113" y="247"/>
                          <a:pt x="3" y="556"/>
                          <a:pt x="1" y="874"/>
                        </a:cubicBezTo>
                        <a:lnTo>
                          <a:pt x="1" y="1880"/>
                        </a:lnTo>
                        <a:cubicBezTo>
                          <a:pt x="1" y="1915"/>
                          <a:pt x="8" y="1948"/>
                          <a:pt x="11" y="1983"/>
                        </a:cubicBezTo>
                        <a:cubicBezTo>
                          <a:pt x="48" y="1990"/>
                          <a:pt x="88" y="1994"/>
                          <a:pt x="127" y="1996"/>
                        </a:cubicBezTo>
                        <a:lnTo>
                          <a:pt x="22372" y="1996"/>
                        </a:lnTo>
                        <a:cubicBezTo>
                          <a:pt x="22410" y="1994"/>
                          <a:pt x="22449" y="1990"/>
                          <a:pt x="22487" y="1983"/>
                        </a:cubicBezTo>
                        <a:cubicBezTo>
                          <a:pt x="22491" y="1948"/>
                          <a:pt x="22498" y="1915"/>
                          <a:pt x="22498" y="1880"/>
                        </a:cubicBezTo>
                        <a:lnTo>
                          <a:pt x="22498" y="872"/>
                        </a:lnTo>
                        <a:cubicBezTo>
                          <a:pt x="22496" y="554"/>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68"/>
                  <p:cNvSpPr/>
                  <p:nvPr/>
                </p:nvSpPr>
                <p:spPr>
                  <a:xfrm>
                    <a:off x="6963510" y="2683549"/>
                    <a:ext cx="143022" cy="11776"/>
                  </a:xfrm>
                  <a:custGeom>
                    <a:avLst/>
                    <a:gdLst/>
                    <a:ahLst/>
                    <a:cxnLst/>
                    <a:rect l="l" t="t" r="r" b="b"/>
                    <a:pathLst>
                      <a:path w="24241" h="1996" extrusionOk="0">
                        <a:moveTo>
                          <a:pt x="46" y="1"/>
                        </a:moveTo>
                        <a:cubicBezTo>
                          <a:pt x="19" y="1"/>
                          <a:pt x="0" y="22"/>
                          <a:pt x="0" y="46"/>
                        </a:cubicBezTo>
                        <a:lnTo>
                          <a:pt x="0" y="1951"/>
                        </a:lnTo>
                        <a:cubicBezTo>
                          <a:pt x="0" y="1975"/>
                          <a:pt x="19" y="1996"/>
                          <a:pt x="46" y="1996"/>
                        </a:cubicBezTo>
                        <a:lnTo>
                          <a:pt x="24195" y="1996"/>
                        </a:lnTo>
                        <a:cubicBezTo>
                          <a:pt x="24219" y="1996"/>
                          <a:pt x="24240" y="1975"/>
                          <a:pt x="24240" y="1951"/>
                        </a:cubicBezTo>
                        <a:lnTo>
                          <a:pt x="24240" y="46"/>
                        </a:lnTo>
                        <a:cubicBezTo>
                          <a:pt x="24240" y="22"/>
                          <a:pt x="24219" y="1"/>
                          <a:pt x="24195"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68"/>
                  <p:cNvSpPr/>
                  <p:nvPr/>
                </p:nvSpPr>
                <p:spPr>
                  <a:xfrm>
                    <a:off x="6968649" y="2642639"/>
                    <a:ext cx="132738" cy="25199"/>
                  </a:xfrm>
                  <a:custGeom>
                    <a:avLst/>
                    <a:gdLst/>
                    <a:ahLst/>
                    <a:cxnLst/>
                    <a:rect l="l" t="t" r="r" b="b"/>
                    <a:pathLst>
                      <a:path w="22498" h="4271" extrusionOk="0">
                        <a:moveTo>
                          <a:pt x="93" y="1"/>
                        </a:moveTo>
                        <a:cubicBezTo>
                          <a:pt x="43" y="1"/>
                          <a:pt x="1" y="43"/>
                          <a:pt x="1" y="95"/>
                        </a:cubicBezTo>
                        <a:lnTo>
                          <a:pt x="1" y="4176"/>
                        </a:lnTo>
                        <a:cubicBezTo>
                          <a:pt x="1" y="4229"/>
                          <a:pt x="43" y="4271"/>
                          <a:pt x="93" y="4271"/>
                        </a:cubicBezTo>
                        <a:lnTo>
                          <a:pt x="22405" y="4271"/>
                        </a:lnTo>
                        <a:cubicBezTo>
                          <a:pt x="22456" y="4271"/>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68"/>
                  <p:cNvSpPr/>
                  <p:nvPr/>
                </p:nvSpPr>
                <p:spPr>
                  <a:xfrm>
                    <a:off x="6968649" y="2643990"/>
                    <a:ext cx="132738" cy="11776"/>
                  </a:xfrm>
                  <a:custGeom>
                    <a:avLst/>
                    <a:gdLst/>
                    <a:ahLst/>
                    <a:cxnLst/>
                    <a:rect l="l" t="t" r="r" b="b"/>
                    <a:pathLst>
                      <a:path w="22498" h="1996" extrusionOk="0">
                        <a:moveTo>
                          <a:pt x="642" y="1"/>
                        </a:moveTo>
                        <a:cubicBezTo>
                          <a:pt x="242" y="259"/>
                          <a:pt x="1" y="701"/>
                          <a:pt x="1" y="1177"/>
                        </a:cubicBezTo>
                        <a:lnTo>
                          <a:pt x="1" y="1984"/>
                        </a:lnTo>
                        <a:cubicBezTo>
                          <a:pt x="41" y="1991"/>
                          <a:pt x="83" y="1994"/>
                          <a:pt x="127" y="1996"/>
                        </a:cubicBezTo>
                        <a:lnTo>
                          <a:pt x="22372" y="1996"/>
                        </a:lnTo>
                        <a:cubicBezTo>
                          <a:pt x="22414" y="1994"/>
                          <a:pt x="22456" y="1991"/>
                          <a:pt x="22498" y="1984"/>
                        </a:cubicBezTo>
                        <a:lnTo>
                          <a:pt x="22498" y="1177"/>
                        </a:lnTo>
                        <a:cubicBezTo>
                          <a:pt x="22496" y="701"/>
                          <a:pt x="22255" y="259"/>
                          <a:pt x="21856"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68"/>
                  <p:cNvSpPr/>
                  <p:nvPr/>
                </p:nvSpPr>
                <p:spPr>
                  <a:xfrm>
                    <a:off x="6963510" y="2660156"/>
                    <a:ext cx="143022" cy="11776"/>
                  </a:xfrm>
                  <a:custGeom>
                    <a:avLst/>
                    <a:gdLst/>
                    <a:ahLst/>
                    <a:cxnLst/>
                    <a:rect l="l" t="t" r="r" b="b"/>
                    <a:pathLst>
                      <a:path w="24241" h="1996" extrusionOk="0">
                        <a:moveTo>
                          <a:pt x="998" y="0"/>
                        </a:moveTo>
                        <a:cubicBezTo>
                          <a:pt x="447" y="2"/>
                          <a:pt x="2" y="447"/>
                          <a:pt x="0" y="998"/>
                        </a:cubicBezTo>
                        <a:cubicBezTo>
                          <a:pt x="2" y="1548"/>
                          <a:pt x="447" y="1993"/>
                          <a:pt x="998" y="1995"/>
                        </a:cubicBezTo>
                        <a:lnTo>
                          <a:pt x="23243" y="1995"/>
                        </a:lnTo>
                        <a:cubicBezTo>
                          <a:pt x="23793" y="1993"/>
                          <a:pt x="24239" y="1548"/>
                          <a:pt x="24240" y="998"/>
                        </a:cubicBezTo>
                        <a:cubicBezTo>
                          <a:pt x="24239" y="447"/>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68"/>
                  <p:cNvSpPr/>
                  <p:nvPr/>
                </p:nvSpPr>
                <p:spPr>
                  <a:xfrm>
                    <a:off x="6968649" y="2617451"/>
                    <a:ext cx="132738" cy="25193"/>
                  </a:xfrm>
                  <a:custGeom>
                    <a:avLst/>
                    <a:gdLst/>
                    <a:ahLst/>
                    <a:cxnLst/>
                    <a:rect l="l" t="t" r="r" b="b"/>
                    <a:pathLst>
                      <a:path w="22498" h="4270" extrusionOk="0">
                        <a:moveTo>
                          <a:pt x="93" y="0"/>
                        </a:moveTo>
                        <a:cubicBezTo>
                          <a:pt x="43" y="0"/>
                          <a:pt x="1" y="42"/>
                          <a:pt x="1" y="94"/>
                        </a:cubicBezTo>
                        <a:lnTo>
                          <a:pt x="1" y="4176"/>
                        </a:lnTo>
                        <a:cubicBezTo>
                          <a:pt x="1" y="4228"/>
                          <a:pt x="43" y="4270"/>
                          <a:pt x="93" y="4270"/>
                        </a:cubicBezTo>
                        <a:lnTo>
                          <a:pt x="22405" y="4270"/>
                        </a:lnTo>
                        <a:cubicBezTo>
                          <a:pt x="22456" y="4270"/>
                          <a:pt x="22498" y="4228"/>
                          <a:pt x="22498" y="4176"/>
                        </a:cubicBezTo>
                        <a:lnTo>
                          <a:pt x="22498" y="94"/>
                        </a:lnTo>
                        <a:cubicBezTo>
                          <a:pt x="22498" y="42"/>
                          <a:pt x="22456" y="0"/>
                          <a:pt x="22405" y="0"/>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68"/>
                  <p:cNvSpPr/>
                  <p:nvPr/>
                </p:nvSpPr>
                <p:spPr>
                  <a:xfrm>
                    <a:off x="6968649" y="2620590"/>
                    <a:ext cx="132738" cy="11782"/>
                  </a:xfrm>
                  <a:custGeom>
                    <a:avLst/>
                    <a:gdLst/>
                    <a:ahLst/>
                    <a:cxnLst/>
                    <a:rect l="l" t="t" r="r" b="b"/>
                    <a:pathLst>
                      <a:path w="22498" h="1997" extrusionOk="0">
                        <a:moveTo>
                          <a:pt x="314" y="1"/>
                        </a:moveTo>
                        <a:cubicBezTo>
                          <a:pt x="113" y="247"/>
                          <a:pt x="3" y="555"/>
                          <a:pt x="1" y="873"/>
                        </a:cubicBezTo>
                        <a:lnTo>
                          <a:pt x="1" y="1982"/>
                        </a:lnTo>
                        <a:cubicBezTo>
                          <a:pt x="41" y="1989"/>
                          <a:pt x="83" y="1994"/>
                          <a:pt x="127" y="1996"/>
                        </a:cubicBezTo>
                        <a:lnTo>
                          <a:pt x="22372" y="1996"/>
                        </a:lnTo>
                        <a:cubicBezTo>
                          <a:pt x="22414" y="1994"/>
                          <a:pt x="22456" y="1989"/>
                          <a:pt x="22498" y="1982"/>
                        </a:cubicBezTo>
                        <a:lnTo>
                          <a:pt x="22498" y="873"/>
                        </a:lnTo>
                        <a:cubicBezTo>
                          <a:pt x="22496" y="555"/>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68"/>
                  <p:cNvSpPr/>
                  <p:nvPr/>
                </p:nvSpPr>
                <p:spPr>
                  <a:xfrm>
                    <a:off x="6963510" y="2613357"/>
                    <a:ext cx="143022" cy="11765"/>
                  </a:xfrm>
                  <a:custGeom>
                    <a:avLst/>
                    <a:gdLst/>
                    <a:ahLst/>
                    <a:cxnLst/>
                    <a:rect l="l" t="t" r="r" b="b"/>
                    <a:pathLst>
                      <a:path w="24241" h="1994" extrusionOk="0">
                        <a:moveTo>
                          <a:pt x="998" y="1"/>
                        </a:moveTo>
                        <a:cubicBezTo>
                          <a:pt x="447" y="2"/>
                          <a:pt x="2" y="448"/>
                          <a:pt x="0" y="996"/>
                        </a:cubicBezTo>
                        <a:cubicBezTo>
                          <a:pt x="2" y="1547"/>
                          <a:pt x="447" y="1992"/>
                          <a:pt x="998" y="1994"/>
                        </a:cubicBezTo>
                        <a:lnTo>
                          <a:pt x="23243" y="1994"/>
                        </a:lnTo>
                        <a:cubicBezTo>
                          <a:pt x="23793" y="1992"/>
                          <a:pt x="24239" y="1547"/>
                          <a:pt x="24240" y="996"/>
                        </a:cubicBezTo>
                        <a:cubicBezTo>
                          <a:pt x="24239" y="448"/>
                          <a:pt x="23793" y="2"/>
                          <a:pt x="23243"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68"/>
                  <p:cNvSpPr/>
                  <p:nvPr/>
                </p:nvSpPr>
                <p:spPr>
                  <a:xfrm>
                    <a:off x="6850372" y="2107302"/>
                    <a:ext cx="369293" cy="477399"/>
                  </a:xfrm>
                  <a:custGeom>
                    <a:avLst/>
                    <a:gdLst/>
                    <a:ahLst/>
                    <a:cxnLst/>
                    <a:rect l="l" t="t" r="r" b="b"/>
                    <a:pathLst>
                      <a:path w="62592" h="80915" extrusionOk="0">
                        <a:moveTo>
                          <a:pt x="31297" y="0"/>
                        </a:moveTo>
                        <a:cubicBezTo>
                          <a:pt x="14049" y="0"/>
                          <a:pt x="16" y="14032"/>
                          <a:pt x="16" y="31281"/>
                        </a:cubicBezTo>
                        <a:lnTo>
                          <a:pt x="16" y="31387"/>
                        </a:lnTo>
                        <a:lnTo>
                          <a:pt x="13" y="31445"/>
                        </a:lnTo>
                        <a:cubicBezTo>
                          <a:pt x="11" y="31548"/>
                          <a:pt x="1" y="32341"/>
                          <a:pt x="104" y="33646"/>
                        </a:cubicBezTo>
                        <a:lnTo>
                          <a:pt x="104" y="33657"/>
                        </a:lnTo>
                        <a:lnTo>
                          <a:pt x="104" y="33667"/>
                        </a:lnTo>
                        <a:lnTo>
                          <a:pt x="105" y="33683"/>
                        </a:lnTo>
                        <a:lnTo>
                          <a:pt x="111" y="33746"/>
                        </a:lnTo>
                        <a:cubicBezTo>
                          <a:pt x="125" y="33912"/>
                          <a:pt x="139" y="34083"/>
                          <a:pt x="156" y="34265"/>
                        </a:cubicBezTo>
                        <a:cubicBezTo>
                          <a:pt x="175" y="34469"/>
                          <a:pt x="198" y="34667"/>
                          <a:pt x="219" y="34862"/>
                        </a:cubicBezTo>
                        <a:lnTo>
                          <a:pt x="245" y="35093"/>
                        </a:lnTo>
                        <a:lnTo>
                          <a:pt x="257" y="35191"/>
                        </a:lnTo>
                        <a:cubicBezTo>
                          <a:pt x="264" y="35241"/>
                          <a:pt x="270" y="35290"/>
                          <a:pt x="277" y="35341"/>
                        </a:cubicBezTo>
                        <a:lnTo>
                          <a:pt x="278" y="35353"/>
                        </a:lnTo>
                        <a:lnTo>
                          <a:pt x="278" y="35364"/>
                        </a:lnTo>
                        <a:cubicBezTo>
                          <a:pt x="1082" y="41822"/>
                          <a:pt x="4150" y="54364"/>
                          <a:pt x="15656" y="65807"/>
                        </a:cubicBezTo>
                        <a:cubicBezTo>
                          <a:pt x="18711" y="68844"/>
                          <a:pt x="20993" y="72340"/>
                          <a:pt x="22440" y="76197"/>
                        </a:cubicBezTo>
                        <a:cubicBezTo>
                          <a:pt x="22707" y="76910"/>
                          <a:pt x="22927" y="77638"/>
                          <a:pt x="23098" y="78379"/>
                        </a:cubicBezTo>
                        <a:cubicBezTo>
                          <a:pt x="23441" y="79855"/>
                          <a:pt x="24733" y="80914"/>
                          <a:pt x="26250" y="80914"/>
                        </a:cubicBezTo>
                        <a:lnTo>
                          <a:pt x="36339" y="80914"/>
                        </a:lnTo>
                        <a:cubicBezTo>
                          <a:pt x="37855" y="80914"/>
                          <a:pt x="39148" y="79855"/>
                          <a:pt x="39491" y="78379"/>
                        </a:cubicBezTo>
                        <a:cubicBezTo>
                          <a:pt x="39662" y="77638"/>
                          <a:pt x="39882" y="76910"/>
                          <a:pt x="40149" y="76197"/>
                        </a:cubicBezTo>
                        <a:cubicBezTo>
                          <a:pt x="41596" y="72340"/>
                          <a:pt x="43879" y="68844"/>
                          <a:pt x="46933" y="65807"/>
                        </a:cubicBezTo>
                        <a:cubicBezTo>
                          <a:pt x="58441" y="54364"/>
                          <a:pt x="61509" y="41822"/>
                          <a:pt x="62312" y="35364"/>
                        </a:cubicBezTo>
                        <a:lnTo>
                          <a:pt x="62314" y="35351"/>
                        </a:lnTo>
                        <a:lnTo>
                          <a:pt x="62314" y="35341"/>
                        </a:lnTo>
                        <a:cubicBezTo>
                          <a:pt x="62321" y="35290"/>
                          <a:pt x="62326" y="35240"/>
                          <a:pt x="62333" y="35191"/>
                        </a:cubicBezTo>
                        <a:lnTo>
                          <a:pt x="62346" y="35091"/>
                        </a:lnTo>
                        <a:lnTo>
                          <a:pt x="62370" y="34871"/>
                        </a:lnTo>
                        <a:cubicBezTo>
                          <a:pt x="62393" y="34667"/>
                          <a:pt x="62414" y="34469"/>
                          <a:pt x="62433" y="34272"/>
                        </a:cubicBezTo>
                        <a:cubicBezTo>
                          <a:pt x="62452" y="34083"/>
                          <a:pt x="62466" y="33912"/>
                          <a:pt x="62480" y="33746"/>
                        </a:cubicBezTo>
                        <a:lnTo>
                          <a:pt x="62485" y="33681"/>
                        </a:lnTo>
                        <a:lnTo>
                          <a:pt x="62487" y="33662"/>
                        </a:lnTo>
                        <a:cubicBezTo>
                          <a:pt x="62592" y="32338"/>
                          <a:pt x="62581" y="31543"/>
                          <a:pt x="62580" y="31443"/>
                        </a:cubicBezTo>
                        <a:lnTo>
                          <a:pt x="62574" y="31345"/>
                        </a:lnTo>
                        <a:lnTo>
                          <a:pt x="62576" y="31281"/>
                        </a:lnTo>
                        <a:cubicBezTo>
                          <a:pt x="62576" y="14032"/>
                          <a:pt x="48544" y="0"/>
                          <a:pt x="31297" y="0"/>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68"/>
                  <p:cNvSpPr/>
                  <p:nvPr/>
                </p:nvSpPr>
                <p:spPr>
                  <a:xfrm>
                    <a:off x="6963510" y="2636756"/>
                    <a:ext cx="143022" cy="11776"/>
                  </a:xfrm>
                  <a:custGeom>
                    <a:avLst/>
                    <a:gdLst/>
                    <a:ahLst/>
                    <a:cxnLst/>
                    <a:rect l="l" t="t" r="r" b="b"/>
                    <a:pathLst>
                      <a:path w="24241" h="1996" extrusionOk="0">
                        <a:moveTo>
                          <a:pt x="998" y="0"/>
                        </a:moveTo>
                        <a:cubicBezTo>
                          <a:pt x="447" y="2"/>
                          <a:pt x="2" y="448"/>
                          <a:pt x="0" y="998"/>
                        </a:cubicBezTo>
                        <a:cubicBezTo>
                          <a:pt x="2" y="1548"/>
                          <a:pt x="447" y="1994"/>
                          <a:pt x="998" y="1995"/>
                        </a:cubicBezTo>
                        <a:lnTo>
                          <a:pt x="23243" y="1995"/>
                        </a:lnTo>
                        <a:cubicBezTo>
                          <a:pt x="23793" y="1994"/>
                          <a:pt x="24239" y="1548"/>
                          <a:pt x="24240" y="998"/>
                        </a:cubicBezTo>
                        <a:cubicBezTo>
                          <a:pt x="24239" y="448"/>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04" name="Google Shape;5304;p68"/>
                <p:cNvSpPr/>
                <p:nvPr/>
              </p:nvSpPr>
              <p:spPr>
                <a:xfrm>
                  <a:off x="7046588" y="2275942"/>
                  <a:ext cx="173076" cy="113894"/>
                </a:xfrm>
                <a:custGeom>
                  <a:avLst/>
                  <a:gdLst/>
                  <a:ahLst/>
                  <a:cxnLst/>
                  <a:rect l="l" t="t" r="r" b="b"/>
                  <a:pathLst>
                    <a:path w="29335" h="19304" extrusionOk="0">
                      <a:moveTo>
                        <a:pt x="0" y="0"/>
                      </a:moveTo>
                      <a:lnTo>
                        <a:pt x="0" y="19303"/>
                      </a:lnTo>
                      <a:lnTo>
                        <a:pt x="25725" y="19303"/>
                      </a:lnTo>
                      <a:cubicBezTo>
                        <a:pt x="27782" y="14272"/>
                        <a:pt x="28673" y="9841"/>
                        <a:pt x="29054" y="6781"/>
                      </a:cubicBezTo>
                      <a:lnTo>
                        <a:pt x="29055" y="6770"/>
                      </a:lnTo>
                      <a:lnTo>
                        <a:pt x="29057" y="6758"/>
                      </a:lnTo>
                      <a:cubicBezTo>
                        <a:pt x="29064" y="6707"/>
                        <a:pt x="29069" y="6657"/>
                        <a:pt x="29075" y="6608"/>
                      </a:cubicBezTo>
                      <a:lnTo>
                        <a:pt x="29087" y="6508"/>
                      </a:lnTo>
                      <a:lnTo>
                        <a:pt x="29113" y="6288"/>
                      </a:lnTo>
                      <a:cubicBezTo>
                        <a:pt x="29136" y="6084"/>
                        <a:pt x="29157" y="5886"/>
                        <a:pt x="29176" y="5689"/>
                      </a:cubicBezTo>
                      <a:cubicBezTo>
                        <a:pt x="29193" y="5500"/>
                        <a:pt x="29209" y="5329"/>
                        <a:pt x="29221" y="5163"/>
                      </a:cubicBezTo>
                      <a:lnTo>
                        <a:pt x="29227" y="5098"/>
                      </a:lnTo>
                      <a:lnTo>
                        <a:pt x="29228" y="5079"/>
                      </a:lnTo>
                      <a:cubicBezTo>
                        <a:pt x="29335" y="3755"/>
                        <a:pt x="29323" y="2960"/>
                        <a:pt x="29321" y="2860"/>
                      </a:cubicBezTo>
                      <a:lnTo>
                        <a:pt x="29316" y="2762"/>
                      </a:lnTo>
                      <a:lnTo>
                        <a:pt x="29317" y="2698"/>
                      </a:lnTo>
                      <a:cubicBezTo>
                        <a:pt x="29317" y="1789"/>
                        <a:pt x="29277" y="890"/>
                        <a:pt x="29200" y="0"/>
                      </a:cubicBez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68"/>
                <p:cNvSpPr/>
                <p:nvPr/>
              </p:nvSpPr>
              <p:spPr>
                <a:xfrm>
                  <a:off x="7046588" y="2107680"/>
                  <a:ext cx="168811" cy="145128"/>
                </a:xfrm>
                <a:custGeom>
                  <a:avLst/>
                  <a:gdLst/>
                  <a:ahLst/>
                  <a:cxnLst/>
                  <a:rect l="l" t="t" r="r" b="b"/>
                  <a:pathLst>
                    <a:path w="28612" h="24598" extrusionOk="0">
                      <a:moveTo>
                        <a:pt x="0" y="1"/>
                      </a:moveTo>
                      <a:lnTo>
                        <a:pt x="0" y="24597"/>
                      </a:lnTo>
                      <a:lnTo>
                        <a:pt x="28612" y="24597"/>
                      </a:lnTo>
                      <a:cubicBezTo>
                        <a:pt x="25701" y="11138"/>
                        <a:pt x="14102" y="876"/>
                        <a:pt x="0" y="1"/>
                      </a:cubicBez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68"/>
                <p:cNvSpPr/>
                <p:nvPr/>
              </p:nvSpPr>
              <p:spPr>
                <a:xfrm>
                  <a:off x="6850372" y="2275942"/>
                  <a:ext cx="173082" cy="113894"/>
                </a:xfrm>
                <a:custGeom>
                  <a:avLst/>
                  <a:gdLst/>
                  <a:ahLst/>
                  <a:cxnLst/>
                  <a:rect l="l" t="t" r="r" b="b"/>
                  <a:pathLst>
                    <a:path w="29336" h="19304" extrusionOk="0">
                      <a:moveTo>
                        <a:pt x="133" y="0"/>
                      </a:moveTo>
                      <a:cubicBezTo>
                        <a:pt x="58" y="890"/>
                        <a:pt x="16" y="1789"/>
                        <a:pt x="16" y="2698"/>
                      </a:cubicBezTo>
                      <a:lnTo>
                        <a:pt x="16" y="2804"/>
                      </a:lnTo>
                      <a:lnTo>
                        <a:pt x="13" y="2862"/>
                      </a:lnTo>
                      <a:cubicBezTo>
                        <a:pt x="11" y="2965"/>
                        <a:pt x="1" y="3758"/>
                        <a:pt x="104" y="5065"/>
                      </a:cubicBezTo>
                      <a:lnTo>
                        <a:pt x="104" y="5075"/>
                      </a:lnTo>
                      <a:lnTo>
                        <a:pt x="104" y="5086"/>
                      </a:lnTo>
                      <a:lnTo>
                        <a:pt x="105" y="5100"/>
                      </a:lnTo>
                      <a:lnTo>
                        <a:pt x="111" y="5163"/>
                      </a:lnTo>
                      <a:cubicBezTo>
                        <a:pt x="125" y="5329"/>
                        <a:pt x="139" y="5500"/>
                        <a:pt x="156" y="5682"/>
                      </a:cubicBezTo>
                      <a:cubicBezTo>
                        <a:pt x="175" y="5886"/>
                        <a:pt x="198" y="6084"/>
                        <a:pt x="219" y="6279"/>
                      </a:cubicBezTo>
                      <a:lnTo>
                        <a:pt x="245" y="6510"/>
                      </a:lnTo>
                      <a:lnTo>
                        <a:pt x="257" y="6608"/>
                      </a:lnTo>
                      <a:cubicBezTo>
                        <a:pt x="264" y="6658"/>
                        <a:pt x="270" y="6709"/>
                        <a:pt x="277" y="6758"/>
                      </a:cubicBezTo>
                      <a:lnTo>
                        <a:pt x="278" y="6770"/>
                      </a:lnTo>
                      <a:lnTo>
                        <a:pt x="278" y="6781"/>
                      </a:lnTo>
                      <a:cubicBezTo>
                        <a:pt x="661" y="9843"/>
                        <a:pt x="1552" y="14272"/>
                        <a:pt x="3608" y="19303"/>
                      </a:cubicBezTo>
                      <a:lnTo>
                        <a:pt x="29333" y="19303"/>
                      </a:lnTo>
                      <a:lnTo>
                        <a:pt x="29335" y="0"/>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68"/>
                <p:cNvSpPr/>
                <p:nvPr/>
              </p:nvSpPr>
              <p:spPr>
                <a:xfrm>
                  <a:off x="6882243" y="2412957"/>
                  <a:ext cx="141211" cy="171743"/>
                </a:xfrm>
                <a:custGeom>
                  <a:avLst/>
                  <a:gdLst/>
                  <a:ahLst/>
                  <a:cxnLst/>
                  <a:rect l="l" t="t" r="r" b="b"/>
                  <a:pathLst>
                    <a:path w="23934" h="29109" extrusionOk="0">
                      <a:moveTo>
                        <a:pt x="0" y="1"/>
                      </a:moveTo>
                      <a:cubicBezTo>
                        <a:pt x="2303" y="4529"/>
                        <a:pt x="5584" y="9356"/>
                        <a:pt x="10256" y="14001"/>
                      </a:cubicBezTo>
                      <a:cubicBezTo>
                        <a:pt x="13309" y="17038"/>
                        <a:pt x="15593" y="20534"/>
                        <a:pt x="17039" y="24391"/>
                      </a:cubicBezTo>
                      <a:cubicBezTo>
                        <a:pt x="17307" y="25104"/>
                        <a:pt x="17527" y="25832"/>
                        <a:pt x="17698" y="26573"/>
                      </a:cubicBezTo>
                      <a:cubicBezTo>
                        <a:pt x="18040" y="28049"/>
                        <a:pt x="19333" y="29108"/>
                        <a:pt x="20850" y="29108"/>
                      </a:cubicBezTo>
                      <a:lnTo>
                        <a:pt x="23933" y="29108"/>
                      </a:lnTo>
                      <a:lnTo>
                        <a:pt x="23933" y="1"/>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68"/>
                <p:cNvSpPr/>
                <p:nvPr/>
              </p:nvSpPr>
              <p:spPr>
                <a:xfrm>
                  <a:off x="6854637" y="2107680"/>
                  <a:ext cx="168817" cy="145128"/>
                </a:xfrm>
                <a:custGeom>
                  <a:avLst/>
                  <a:gdLst/>
                  <a:ahLst/>
                  <a:cxnLst/>
                  <a:rect l="l" t="t" r="r" b="b"/>
                  <a:pathLst>
                    <a:path w="28613" h="24598" extrusionOk="0">
                      <a:moveTo>
                        <a:pt x="28612" y="1"/>
                      </a:moveTo>
                      <a:cubicBezTo>
                        <a:pt x="14512" y="876"/>
                        <a:pt x="2911" y="11138"/>
                        <a:pt x="1" y="24597"/>
                      </a:cubicBezTo>
                      <a:lnTo>
                        <a:pt x="28612" y="24597"/>
                      </a:lnTo>
                      <a:lnTo>
                        <a:pt x="28612" y="1"/>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68"/>
                <p:cNvSpPr/>
                <p:nvPr/>
              </p:nvSpPr>
              <p:spPr>
                <a:xfrm>
                  <a:off x="7046588" y="2412957"/>
                  <a:ext cx="141205" cy="171743"/>
                </a:xfrm>
                <a:custGeom>
                  <a:avLst/>
                  <a:gdLst/>
                  <a:ahLst/>
                  <a:cxnLst/>
                  <a:rect l="l" t="t" r="r" b="b"/>
                  <a:pathLst>
                    <a:path w="23933" h="29109" extrusionOk="0">
                      <a:moveTo>
                        <a:pt x="0" y="1"/>
                      </a:moveTo>
                      <a:lnTo>
                        <a:pt x="0" y="29108"/>
                      </a:lnTo>
                      <a:lnTo>
                        <a:pt x="3084" y="29108"/>
                      </a:lnTo>
                      <a:cubicBezTo>
                        <a:pt x="4600" y="29108"/>
                        <a:pt x="5893" y="28049"/>
                        <a:pt x="6235" y="26573"/>
                      </a:cubicBezTo>
                      <a:cubicBezTo>
                        <a:pt x="6407" y="25832"/>
                        <a:pt x="6627" y="25104"/>
                        <a:pt x="6894" y="24391"/>
                      </a:cubicBezTo>
                      <a:cubicBezTo>
                        <a:pt x="8341" y="20534"/>
                        <a:pt x="10622" y="17038"/>
                        <a:pt x="13678" y="14001"/>
                      </a:cubicBezTo>
                      <a:cubicBezTo>
                        <a:pt x="18349" y="9356"/>
                        <a:pt x="21630" y="4529"/>
                        <a:pt x="23933" y="1"/>
                      </a:cubicBez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310" name="Google Shape;5310;p68"/>
          <p:cNvGrpSpPr/>
          <p:nvPr/>
        </p:nvGrpSpPr>
        <p:grpSpPr>
          <a:xfrm>
            <a:off x="5780173" y="1862968"/>
            <a:ext cx="671358" cy="671358"/>
            <a:chOff x="6535625" y="760425"/>
            <a:chExt cx="1665900" cy="1665900"/>
          </a:xfrm>
        </p:grpSpPr>
        <p:sp>
          <p:nvSpPr>
            <p:cNvPr id="5311" name="Google Shape;5311;p68"/>
            <p:cNvSpPr/>
            <p:nvPr/>
          </p:nvSpPr>
          <p:spPr>
            <a:xfrm>
              <a:off x="6535625" y="760425"/>
              <a:ext cx="1665900" cy="16659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68"/>
            <p:cNvSpPr/>
            <p:nvPr/>
          </p:nvSpPr>
          <p:spPr>
            <a:xfrm>
              <a:off x="6713675" y="1116525"/>
              <a:ext cx="1309800" cy="13098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68"/>
            <p:cNvSpPr/>
            <p:nvPr/>
          </p:nvSpPr>
          <p:spPr>
            <a:xfrm>
              <a:off x="6831275" y="1351725"/>
              <a:ext cx="1074600" cy="1074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68"/>
            <p:cNvSpPr/>
            <p:nvPr/>
          </p:nvSpPr>
          <p:spPr>
            <a:xfrm>
              <a:off x="6942425" y="1574025"/>
              <a:ext cx="852300" cy="852300"/>
            </a:xfrm>
            <a:prstGeom prst="ellipse">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15" name="Google Shape;5315;p68"/>
          <p:cNvGrpSpPr/>
          <p:nvPr/>
        </p:nvGrpSpPr>
        <p:grpSpPr>
          <a:xfrm>
            <a:off x="716989" y="3531368"/>
            <a:ext cx="1340789" cy="640830"/>
            <a:chOff x="238125" y="1151100"/>
            <a:chExt cx="7139450" cy="3412300"/>
          </a:xfrm>
        </p:grpSpPr>
        <p:sp>
          <p:nvSpPr>
            <p:cNvPr id="5316" name="Google Shape;5316;p68"/>
            <p:cNvSpPr/>
            <p:nvPr/>
          </p:nvSpPr>
          <p:spPr>
            <a:xfrm>
              <a:off x="3468350" y="4223875"/>
              <a:ext cx="679000" cy="33952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68"/>
            <p:cNvSpPr/>
            <p:nvPr/>
          </p:nvSpPr>
          <p:spPr>
            <a:xfrm>
              <a:off x="3730250" y="3276125"/>
              <a:ext cx="147275" cy="956575"/>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68"/>
            <p:cNvSpPr/>
            <p:nvPr/>
          </p:nvSpPr>
          <p:spPr>
            <a:xfrm>
              <a:off x="3796275" y="3875600"/>
              <a:ext cx="839350" cy="630550"/>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68"/>
            <p:cNvSpPr/>
            <p:nvPr/>
          </p:nvSpPr>
          <p:spPr>
            <a:xfrm>
              <a:off x="6240475" y="3130600"/>
              <a:ext cx="1137100" cy="1432800"/>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68"/>
            <p:cNvSpPr/>
            <p:nvPr/>
          </p:nvSpPr>
          <p:spPr>
            <a:xfrm>
              <a:off x="5243900" y="1696775"/>
              <a:ext cx="1764175" cy="1777475"/>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68"/>
            <p:cNvSpPr/>
            <p:nvPr/>
          </p:nvSpPr>
          <p:spPr>
            <a:xfrm>
              <a:off x="3812150" y="1151100"/>
              <a:ext cx="1896075" cy="1245900"/>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68"/>
            <p:cNvSpPr/>
            <p:nvPr/>
          </p:nvSpPr>
          <p:spPr>
            <a:xfrm>
              <a:off x="1910550" y="1151100"/>
              <a:ext cx="1901625" cy="1244175"/>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68"/>
            <p:cNvSpPr/>
            <p:nvPr/>
          </p:nvSpPr>
          <p:spPr>
            <a:xfrm>
              <a:off x="608475" y="1694725"/>
              <a:ext cx="1766425" cy="1778150"/>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68"/>
            <p:cNvSpPr/>
            <p:nvPr/>
          </p:nvSpPr>
          <p:spPr>
            <a:xfrm>
              <a:off x="238125" y="3129050"/>
              <a:ext cx="1137975" cy="1434175"/>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68"/>
            <p:cNvSpPr/>
            <p:nvPr/>
          </p:nvSpPr>
          <p:spPr>
            <a:xfrm>
              <a:off x="1924656" y="1941325"/>
              <a:ext cx="3773110" cy="164632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68"/>
            <p:cNvSpPr/>
            <p:nvPr/>
          </p:nvSpPr>
          <p:spPr>
            <a:xfrm>
              <a:off x="1028863" y="2678027"/>
              <a:ext cx="1805597" cy="188532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68"/>
            <p:cNvSpPr/>
            <p:nvPr/>
          </p:nvSpPr>
          <p:spPr>
            <a:xfrm>
              <a:off x="4792190" y="2679937"/>
              <a:ext cx="1798951" cy="1883410"/>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28" name="Google Shape;5328;p68"/>
          <p:cNvGrpSpPr/>
          <p:nvPr/>
        </p:nvGrpSpPr>
        <p:grpSpPr>
          <a:xfrm>
            <a:off x="5584212" y="2734649"/>
            <a:ext cx="985357" cy="585764"/>
            <a:chOff x="5145061" y="2881789"/>
            <a:chExt cx="1107641" cy="658458"/>
          </a:xfrm>
        </p:grpSpPr>
        <p:grpSp>
          <p:nvGrpSpPr>
            <p:cNvPr id="5329" name="Google Shape;5329;p68"/>
            <p:cNvGrpSpPr/>
            <p:nvPr/>
          </p:nvGrpSpPr>
          <p:grpSpPr>
            <a:xfrm>
              <a:off x="5722989" y="3244587"/>
              <a:ext cx="529713" cy="295659"/>
              <a:chOff x="5722989" y="3244587"/>
              <a:chExt cx="529713" cy="295659"/>
            </a:xfrm>
          </p:grpSpPr>
          <p:sp>
            <p:nvSpPr>
              <p:cNvPr id="5330" name="Google Shape;5330;p68"/>
              <p:cNvSpPr/>
              <p:nvPr/>
            </p:nvSpPr>
            <p:spPr>
              <a:xfrm>
                <a:off x="5722989" y="3244587"/>
                <a:ext cx="341346" cy="295659"/>
              </a:xfrm>
              <a:custGeom>
                <a:avLst/>
                <a:gdLst/>
                <a:ahLst/>
                <a:cxnLst/>
                <a:rect l="l" t="t" r="r" b="b"/>
                <a:pathLst>
                  <a:path w="2576195" h="2231390" extrusionOk="0">
                    <a:moveTo>
                      <a:pt x="1288021" y="0"/>
                    </a:moveTo>
                    <a:lnTo>
                      <a:pt x="0" y="2230932"/>
                    </a:lnTo>
                    <a:lnTo>
                      <a:pt x="2576042" y="2230932"/>
                    </a:lnTo>
                    <a:lnTo>
                      <a:pt x="1288021" y="0"/>
                    </a:lnTo>
                    <a:close/>
                  </a:path>
                </a:pathLst>
              </a:custGeom>
              <a:solidFill>
                <a:srgbClr val="869FB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1" name="Google Shape;5331;p68"/>
              <p:cNvSpPr/>
              <p:nvPr/>
            </p:nvSpPr>
            <p:spPr>
              <a:xfrm>
                <a:off x="6035543" y="3298113"/>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2" name="Google Shape;5332;p68"/>
            <p:cNvGrpSpPr/>
            <p:nvPr/>
          </p:nvGrpSpPr>
          <p:grpSpPr>
            <a:xfrm>
              <a:off x="5145061" y="3244587"/>
              <a:ext cx="536807" cy="295659"/>
              <a:chOff x="5145061" y="3244587"/>
              <a:chExt cx="536807" cy="295659"/>
            </a:xfrm>
          </p:grpSpPr>
          <p:sp>
            <p:nvSpPr>
              <p:cNvPr id="5333" name="Google Shape;5333;p68"/>
              <p:cNvSpPr/>
              <p:nvPr/>
            </p:nvSpPr>
            <p:spPr>
              <a:xfrm>
                <a:off x="5340522" y="3244587"/>
                <a:ext cx="341346" cy="295659"/>
              </a:xfrm>
              <a:custGeom>
                <a:avLst/>
                <a:gdLst/>
                <a:ahLst/>
                <a:cxnLst/>
                <a:rect l="l" t="t" r="r" b="b"/>
                <a:pathLst>
                  <a:path w="2576195" h="2231390" extrusionOk="0">
                    <a:moveTo>
                      <a:pt x="1288034" y="0"/>
                    </a:moveTo>
                    <a:lnTo>
                      <a:pt x="0" y="2230920"/>
                    </a:lnTo>
                    <a:lnTo>
                      <a:pt x="2576055" y="2230920"/>
                    </a:lnTo>
                    <a:lnTo>
                      <a:pt x="1288034" y="0"/>
                    </a:lnTo>
                    <a:close/>
                  </a:path>
                </a:pathLst>
              </a:custGeom>
              <a:solidFill>
                <a:srgbClr val="5F7D95"/>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4" name="Google Shape;5334;p68"/>
              <p:cNvSpPr/>
              <p:nvPr/>
            </p:nvSpPr>
            <p:spPr>
              <a:xfrm flipH="1">
                <a:off x="5145061" y="3298599"/>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5" name="Google Shape;5335;p68"/>
            <p:cNvGrpSpPr/>
            <p:nvPr/>
          </p:nvGrpSpPr>
          <p:grpSpPr>
            <a:xfrm>
              <a:off x="5341327" y="2898245"/>
              <a:ext cx="532309" cy="614891"/>
              <a:chOff x="5341327" y="2898245"/>
              <a:chExt cx="532309" cy="614891"/>
            </a:xfrm>
          </p:grpSpPr>
          <p:sp>
            <p:nvSpPr>
              <p:cNvPr id="5336" name="Google Shape;5336;p68"/>
              <p:cNvSpPr/>
              <p:nvPr/>
            </p:nvSpPr>
            <p:spPr>
              <a:xfrm>
                <a:off x="5532290" y="3217476"/>
                <a:ext cx="341346" cy="295659"/>
              </a:xfrm>
              <a:custGeom>
                <a:avLst/>
                <a:gdLst/>
                <a:ahLst/>
                <a:cxnLst/>
                <a:rect l="l" t="t" r="r" b="b"/>
                <a:pathLst>
                  <a:path w="2576195" h="2231390" extrusionOk="0">
                    <a:moveTo>
                      <a:pt x="2576042" y="0"/>
                    </a:moveTo>
                    <a:lnTo>
                      <a:pt x="0" y="0"/>
                    </a:lnTo>
                    <a:lnTo>
                      <a:pt x="1288021" y="2230920"/>
                    </a:lnTo>
                    <a:lnTo>
                      <a:pt x="2576042" y="0"/>
                    </a:lnTo>
                    <a:close/>
                  </a:path>
                </a:pathLst>
              </a:custGeom>
              <a:solidFill>
                <a:srgbClr val="E3E9ED"/>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7" name="Google Shape;5337;p68"/>
              <p:cNvSpPr/>
              <p:nvPr/>
            </p:nvSpPr>
            <p:spPr>
              <a:xfrm flipH="1">
                <a:off x="5341327" y="2898245"/>
                <a:ext cx="217159" cy="33450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8" name="Google Shape;5338;p68"/>
            <p:cNvGrpSpPr/>
            <p:nvPr/>
          </p:nvGrpSpPr>
          <p:grpSpPr>
            <a:xfrm>
              <a:off x="5532290" y="2881789"/>
              <a:ext cx="620516" cy="305456"/>
              <a:chOff x="5532290" y="2881789"/>
              <a:chExt cx="620516" cy="305456"/>
            </a:xfrm>
          </p:grpSpPr>
          <p:sp>
            <p:nvSpPr>
              <p:cNvPr id="5339" name="Google Shape;5339;p68"/>
              <p:cNvSpPr/>
              <p:nvPr/>
            </p:nvSpPr>
            <p:spPr>
              <a:xfrm>
                <a:off x="5532290" y="2891586"/>
                <a:ext cx="341346" cy="295659"/>
              </a:xfrm>
              <a:custGeom>
                <a:avLst/>
                <a:gdLst/>
                <a:ahLst/>
                <a:cxnLst/>
                <a:rect l="l" t="t" r="r" b="b"/>
                <a:pathLst>
                  <a:path w="2576195" h="2231390" extrusionOk="0">
                    <a:moveTo>
                      <a:pt x="1288021" y="0"/>
                    </a:moveTo>
                    <a:lnTo>
                      <a:pt x="0" y="2230920"/>
                    </a:lnTo>
                    <a:lnTo>
                      <a:pt x="2576042" y="2230920"/>
                    </a:lnTo>
                    <a:lnTo>
                      <a:pt x="1288021" y="0"/>
                    </a:lnTo>
                    <a:close/>
                  </a:path>
                </a:pathLst>
              </a:custGeom>
              <a:solidFill>
                <a:srgbClr val="435D74"/>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40" name="Google Shape;5340;p68"/>
              <p:cNvSpPr/>
              <p:nvPr/>
            </p:nvSpPr>
            <p:spPr>
              <a:xfrm>
                <a:off x="5837311" y="2881789"/>
                <a:ext cx="315495" cy="288369"/>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5341" name="Google Shape;5341;p68"/>
          <p:cNvGrpSpPr/>
          <p:nvPr/>
        </p:nvGrpSpPr>
        <p:grpSpPr>
          <a:xfrm>
            <a:off x="8163135" y="3526707"/>
            <a:ext cx="269068" cy="645491"/>
            <a:chOff x="7026852" y="3311869"/>
            <a:chExt cx="434331" cy="1041954"/>
          </a:xfrm>
        </p:grpSpPr>
        <p:sp>
          <p:nvSpPr>
            <p:cNvPr id="5342" name="Google Shape;5342;p68"/>
            <p:cNvSpPr/>
            <p:nvPr/>
          </p:nvSpPr>
          <p:spPr>
            <a:xfrm>
              <a:off x="7026852" y="3311869"/>
              <a:ext cx="434331" cy="847405"/>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68"/>
            <p:cNvSpPr/>
            <p:nvPr/>
          </p:nvSpPr>
          <p:spPr>
            <a:xfrm>
              <a:off x="7082395" y="3359392"/>
              <a:ext cx="323321" cy="32332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68"/>
            <p:cNvSpPr/>
            <p:nvPr/>
          </p:nvSpPr>
          <p:spPr>
            <a:xfrm>
              <a:off x="7026852" y="4159239"/>
              <a:ext cx="434331" cy="194585"/>
            </a:xfrm>
            <a:custGeom>
              <a:avLst/>
              <a:gdLst/>
              <a:ahLst/>
              <a:cxnLst/>
              <a:rect l="l" t="t" r="r" b="b"/>
              <a:pathLst>
                <a:path w="16734" h="7497" extrusionOk="0">
                  <a:moveTo>
                    <a:pt x="1" y="1"/>
                  </a:moveTo>
                  <a:lnTo>
                    <a:pt x="8369" y="7496"/>
                  </a:lnTo>
                  <a:lnTo>
                    <a:pt x="1673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5" name="Google Shape;5345;p68"/>
          <p:cNvGrpSpPr/>
          <p:nvPr/>
        </p:nvGrpSpPr>
        <p:grpSpPr>
          <a:xfrm>
            <a:off x="6179716" y="3565945"/>
            <a:ext cx="293882" cy="293836"/>
            <a:chOff x="4873519" y="3311869"/>
            <a:chExt cx="499374" cy="499296"/>
          </a:xfrm>
        </p:grpSpPr>
        <p:sp>
          <p:nvSpPr>
            <p:cNvPr id="5346" name="Google Shape;5346;p68"/>
            <p:cNvSpPr/>
            <p:nvPr/>
          </p:nvSpPr>
          <p:spPr>
            <a:xfrm>
              <a:off x="4873519" y="3311869"/>
              <a:ext cx="499374" cy="499296"/>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68"/>
            <p:cNvSpPr/>
            <p:nvPr/>
          </p:nvSpPr>
          <p:spPr>
            <a:xfrm>
              <a:off x="4894620" y="3329830"/>
              <a:ext cx="202112" cy="182386"/>
            </a:xfrm>
            <a:custGeom>
              <a:avLst/>
              <a:gdLst/>
              <a:ahLst/>
              <a:cxnLst/>
              <a:rect l="l" t="t" r="r" b="b"/>
              <a:pathLst>
                <a:path w="7787" h="7027" extrusionOk="0">
                  <a:moveTo>
                    <a:pt x="0" y="1"/>
                  </a:moveTo>
                  <a:lnTo>
                    <a:pt x="0" y="7026"/>
                  </a:lnTo>
                  <a:lnTo>
                    <a:pt x="7787"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8" name="Google Shape;5348;p68"/>
          <p:cNvGrpSpPr/>
          <p:nvPr/>
        </p:nvGrpSpPr>
        <p:grpSpPr>
          <a:xfrm>
            <a:off x="6179716" y="3878316"/>
            <a:ext cx="293882" cy="293882"/>
            <a:chOff x="4873519" y="3875839"/>
            <a:chExt cx="499374" cy="499374"/>
          </a:xfrm>
        </p:grpSpPr>
        <p:sp>
          <p:nvSpPr>
            <p:cNvPr id="5349" name="Google Shape;5349;p68"/>
            <p:cNvSpPr/>
            <p:nvPr/>
          </p:nvSpPr>
          <p:spPr>
            <a:xfrm>
              <a:off x="4873519" y="3875839"/>
              <a:ext cx="499374" cy="499374"/>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68"/>
            <p:cNvSpPr/>
            <p:nvPr/>
          </p:nvSpPr>
          <p:spPr>
            <a:xfrm>
              <a:off x="4894620" y="3893826"/>
              <a:ext cx="202112" cy="182360"/>
            </a:xfrm>
            <a:custGeom>
              <a:avLst/>
              <a:gdLst/>
              <a:ahLst/>
              <a:cxnLst/>
              <a:rect l="l" t="t" r="r" b="b"/>
              <a:pathLst>
                <a:path w="7787" h="7026" extrusionOk="0">
                  <a:moveTo>
                    <a:pt x="0" y="0"/>
                  </a:moveTo>
                  <a:lnTo>
                    <a:pt x="0" y="7026"/>
                  </a:lnTo>
                  <a:lnTo>
                    <a:pt x="7787"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1" name="Google Shape;5351;p68"/>
          <p:cNvGrpSpPr/>
          <p:nvPr/>
        </p:nvGrpSpPr>
        <p:grpSpPr>
          <a:xfrm>
            <a:off x="2410244" y="1850269"/>
            <a:ext cx="698104" cy="698208"/>
            <a:chOff x="2565073" y="2075876"/>
            <a:chExt cx="672482" cy="672518"/>
          </a:xfrm>
        </p:grpSpPr>
        <p:sp>
          <p:nvSpPr>
            <p:cNvPr id="5352" name="Google Shape;5352;p68"/>
            <p:cNvSpPr/>
            <p:nvPr/>
          </p:nvSpPr>
          <p:spPr>
            <a:xfrm>
              <a:off x="2642193" y="2530650"/>
              <a:ext cx="419588" cy="217743"/>
            </a:xfrm>
            <a:custGeom>
              <a:avLst/>
              <a:gdLst/>
              <a:ahLst/>
              <a:cxnLst/>
              <a:rect l="l" t="t" r="r" b="b"/>
              <a:pathLst>
                <a:path w="130611" h="67780" extrusionOk="0">
                  <a:moveTo>
                    <a:pt x="28498" y="0"/>
                  </a:moveTo>
                  <a:cubicBezTo>
                    <a:pt x="24484" y="0"/>
                    <a:pt x="20456" y="1023"/>
                    <a:pt x="16802" y="3132"/>
                  </a:cubicBezTo>
                  <a:lnTo>
                    <a:pt x="16191" y="3487"/>
                  </a:lnTo>
                  <a:cubicBezTo>
                    <a:pt x="1795" y="11796"/>
                    <a:pt x="1" y="31826"/>
                    <a:pt x="12628" y="42639"/>
                  </a:cubicBezTo>
                  <a:cubicBezTo>
                    <a:pt x="28340" y="56094"/>
                    <a:pt x="48088" y="64970"/>
                    <a:pt x="69808" y="67207"/>
                  </a:cubicBezTo>
                  <a:cubicBezTo>
                    <a:pt x="70015" y="67227"/>
                    <a:pt x="70217" y="67252"/>
                    <a:pt x="70419" y="67271"/>
                  </a:cubicBezTo>
                  <a:cubicBezTo>
                    <a:pt x="70804" y="67306"/>
                    <a:pt x="71188" y="67345"/>
                    <a:pt x="71572" y="67375"/>
                  </a:cubicBezTo>
                  <a:cubicBezTo>
                    <a:pt x="72080" y="67419"/>
                    <a:pt x="72588" y="67464"/>
                    <a:pt x="73100" y="67498"/>
                  </a:cubicBezTo>
                  <a:lnTo>
                    <a:pt x="73440" y="67523"/>
                  </a:lnTo>
                  <a:cubicBezTo>
                    <a:pt x="75877" y="67694"/>
                    <a:pt x="78323" y="67780"/>
                    <a:pt x="80773" y="67780"/>
                  </a:cubicBezTo>
                  <a:cubicBezTo>
                    <a:pt x="97672" y="67780"/>
                    <a:pt x="114788" y="63683"/>
                    <a:pt x="130611" y="55083"/>
                  </a:cubicBezTo>
                  <a:lnTo>
                    <a:pt x="106348" y="13068"/>
                  </a:lnTo>
                  <a:cubicBezTo>
                    <a:pt x="98422" y="17162"/>
                    <a:pt x="89641" y="19287"/>
                    <a:pt x="80747" y="19287"/>
                  </a:cubicBezTo>
                  <a:cubicBezTo>
                    <a:pt x="79675" y="19287"/>
                    <a:pt x="78601" y="19256"/>
                    <a:pt x="77526" y="19194"/>
                  </a:cubicBezTo>
                  <a:cubicBezTo>
                    <a:pt x="77220" y="19174"/>
                    <a:pt x="76910" y="19149"/>
                    <a:pt x="76599" y="19130"/>
                  </a:cubicBezTo>
                  <a:cubicBezTo>
                    <a:pt x="76072" y="19090"/>
                    <a:pt x="75545" y="19051"/>
                    <a:pt x="75017" y="18997"/>
                  </a:cubicBezTo>
                  <a:cubicBezTo>
                    <a:pt x="74943" y="18992"/>
                    <a:pt x="74865" y="18982"/>
                    <a:pt x="74791" y="18972"/>
                  </a:cubicBezTo>
                  <a:cubicBezTo>
                    <a:pt x="73347" y="18819"/>
                    <a:pt x="71908" y="18612"/>
                    <a:pt x="70478" y="18351"/>
                  </a:cubicBezTo>
                  <a:cubicBezTo>
                    <a:pt x="70409" y="18336"/>
                    <a:pt x="70340" y="18331"/>
                    <a:pt x="70266" y="18317"/>
                  </a:cubicBezTo>
                  <a:cubicBezTo>
                    <a:pt x="60646" y="16518"/>
                    <a:pt x="51666" y="12220"/>
                    <a:pt x="44224" y="5857"/>
                  </a:cubicBezTo>
                  <a:cubicBezTo>
                    <a:pt x="39725" y="2011"/>
                    <a:pt x="34125" y="0"/>
                    <a:pt x="2849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68"/>
            <p:cNvSpPr/>
            <p:nvPr/>
          </p:nvSpPr>
          <p:spPr>
            <a:xfrm>
              <a:off x="2910083" y="2420918"/>
              <a:ext cx="327379" cy="312727"/>
            </a:xfrm>
            <a:custGeom>
              <a:avLst/>
              <a:gdLst/>
              <a:ahLst/>
              <a:cxnLst/>
              <a:rect l="l" t="t" r="r" b="b"/>
              <a:pathLst>
                <a:path w="101908" h="97347" extrusionOk="0">
                  <a:moveTo>
                    <a:pt x="53377" y="1"/>
                  </a:moveTo>
                  <a:cubicBezTo>
                    <a:pt x="52884" y="9843"/>
                    <a:pt x="49823" y="19390"/>
                    <a:pt x="44495" y="27689"/>
                  </a:cubicBezTo>
                  <a:lnTo>
                    <a:pt x="44490" y="27684"/>
                  </a:lnTo>
                  <a:cubicBezTo>
                    <a:pt x="37847" y="37980"/>
                    <a:pt x="27936" y="45964"/>
                    <a:pt x="16216" y="50163"/>
                  </a:cubicBezTo>
                  <a:cubicBezTo>
                    <a:pt x="6521" y="53638"/>
                    <a:pt x="1" y="62746"/>
                    <a:pt x="1" y="73041"/>
                  </a:cubicBezTo>
                  <a:cubicBezTo>
                    <a:pt x="1" y="86873"/>
                    <a:pt x="11336" y="97347"/>
                    <a:pt x="24173" y="97347"/>
                  </a:cubicBezTo>
                  <a:cubicBezTo>
                    <a:pt x="26820" y="97347"/>
                    <a:pt x="29530" y="96902"/>
                    <a:pt x="32219" y="95949"/>
                  </a:cubicBezTo>
                  <a:cubicBezTo>
                    <a:pt x="49306" y="89897"/>
                    <a:pt x="64347" y="79537"/>
                    <a:pt x="76048" y="66171"/>
                  </a:cubicBezTo>
                  <a:cubicBezTo>
                    <a:pt x="76329" y="65870"/>
                    <a:pt x="76609" y="65570"/>
                    <a:pt x="76881" y="65254"/>
                  </a:cubicBezTo>
                  <a:cubicBezTo>
                    <a:pt x="92548" y="46905"/>
                    <a:pt x="101267" y="23751"/>
                    <a:pt x="1019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68"/>
            <p:cNvSpPr/>
            <p:nvPr/>
          </p:nvSpPr>
          <p:spPr>
            <a:xfrm>
              <a:off x="2999034" y="2125384"/>
              <a:ext cx="238522" cy="411351"/>
            </a:xfrm>
            <a:custGeom>
              <a:avLst/>
              <a:gdLst/>
              <a:ahLst/>
              <a:cxnLst/>
              <a:rect l="l" t="t" r="r" b="b"/>
              <a:pathLst>
                <a:path w="74248" h="128047" extrusionOk="0">
                  <a:moveTo>
                    <a:pt x="24273" y="0"/>
                  </a:moveTo>
                  <a:lnTo>
                    <a:pt x="0" y="42036"/>
                  </a:lnTo>
                  <a:cubicBezTo>
                    <a:pt x="7521" y="46866"/>
                    <a:pt x="13775" y="53430"/>
                    <a:pt x="18236" y="61173"/>
                  </a:cubicBezTo>
                  <a:cubicBezTo>
                    <a:pt x="18694" y="61966"/>
                    <a:pt x="19128" y="62765"/>
                    <a:pt x="19542" y="63573"/>
                  </a:cubicBezTo>
                  <a:cubicBezTo>
                    <a:pt x="19601" y="63696"/>
                    <a:pt x="19665" y="63829"/>
                    <a:pt x="19729" y="63953"/>
                  </a:cubicBezTo>
                  <a:cubicBezTo>
                    <a:pt x="19970" y="64426"/>
                    <a:pt x="20202" y="64904"/>
                    <a:pt x="20429" y="65382"/>
                  </a:cubicBezTo>
                  <a:cubicBezTo>
                    <a:pt x="20557" y="65658"/>
                    <a:pt x="20685" y="65929"/>
                    <a:pt x="20808" y="66210"/>
                  </a:cubicBezTo>
                  <a:cubicBezTo>
                    <a:pt x="21079" y="66806"/>
                    <a:pt x="21346" y="67408"/>
                    <a:pt x="21592" y="68014"/>
                  </a:cubicBezTo>
                  <a:cubicBezTo>
                    <a:pt x="21676" y="68226"/>
                    <a:pt x="21755" y="68433"/>
                    <a:pt x="21838" y="68645"/>
                  </a:cubicBezTo>
                  <a:cubicBezTo>
                    <a:pt x="22036" y="69142"/>
                    <a:pt x="22223" y="69645"/>
                    <a:pt x="22405" y="70148"/>
                  </a:cubicBezTo>
                  <a:cubicBezTo>
                    <a:pt x="25816" y="79561"/>
                    <a:pt x="26649" y="89714"/>
                    <a:pt x="24815" y="99561"/>
                  </a:cubicBezTo>
                  <a:cubicBezTo>
                    <a:pt x="22952" y="109586"/>
                    <a:pt x="27738" y="119679"/>
                    <a:pt x="36570" y="124780"/>
                  </a:cubicBezTo>
                  <a:cubicBezTo>
                    <a:pt x="40441" y="127014"/>
                    <a:pt x="44590" y="128047"/>
                    <a:pt x="48651" y="128047"/>
                  </a:cubicBezTo>
                  <a:cubicBezTo>
                    <a:pt x="59837" y="128047"/>
                    <a:pt x="70356" y="120215"/>
                    <a:pt x="72558" y="108102"/>
                  </a:cubicBezTo>
                  <a:cubicBezTo>
                    <a:pt x="73686" y="101887"/>
                    <a:pt x="74248" y="95579"/>
                    <a:pt x="74248" y="89261"/>
                  </a:cubicBezTo>
                  <a:cubicBezTo>
                    <a:pt x="74243" y="71168"/>
                    <a:pt x="69655" y="54150"/>
                    <a:pt x="61577" y="39305"/>
                  </a:cubicBezTo>
                  <a:lnTo>
                    <a:pt x="61557" y="39315"/>
                  </a:lnTo>
                  <a:cubicBezTo>
                    <a:pt x="61123" y="38517"/>
                    <a:pt x="60680" y="37723"/>
                    <a:pt x="60222" y="36930"/>
                  </a:cubicBezTo>
                  <a:cubicBezTo>
                    <a:pt x="51178" y="21262"/>
                    <a:pt x="38694" y="8818"/>
                    <a:pt x="24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68"/>
            <p:cNvSpPr/>
            <p:nvPr/>
          </p:nvSpPr>
          <p:spPr>
            <a:xfrm>
              <a:off x="2740849" y="2075876"/>
              <a:ext cx="419604" cy="217734"/>
            </a:xfrm>
            <a:custGeom>
              <a:avLst/>
              <a:gdLst/>
              <a:ahLst/>
              <a:cxnLst/>
              <a:rect l="l" t="t" r="r" b="b"/>
              <a:pathLst>
                <a:path w="130616" h="67777" extrusionOk="0">
                  <a:moveTo>
                    <a:pt x="49853" y="1"/>
                  </a:moveTo>
                  <a:cubicBezTo>
                    <a:pt x="32949" y="1"/>
                    <a:pt x="15828" y="4093"/>
                    <a:pt x="0" y="12696"/>
                  </a:cubicBezTo>
                  <a:lnTo>
                    <a:pt x="24263" y="54711"/>
                  </a:lnTo>
                  <a:cubicBezTo>
                    <a:pt x="32189" y="50621"/>
                    <a:pt x="40970" y="48497"/>
                    <a:pt x="49860" y="48497"/>
                  </a:cubicBezTo>
                  <a:cubicBezTo>
                    <a:pt x="50932" y="48497"/>
                    <a:pt x="52006" y="48528"/>
                    <a:pt x="53080" y="48590"/>
                  </a:cubicBezTo>
                  <a:cubicBezTo>
                    <a:pt x="53391" y="48605"/>
                    <a:pt x="53701" y="48630"/>
                    <a:pt x="54012" y="48649"/>
                  </a:cubicBezTo>
                  <a:cubicBezTo>
                    <a:pt x="54539" y="48689"/>
                    <a:pt x="55066" y="48728"/>
                    <a:pt x="55594" y="48782"/>
                  </a:cubicBezTo>
                  <a:cubicBezTo>
                    <a:pt x="55668" y="48792"/>
                    <a:pt x="55746" y="48802"/>
                    <a:pt x="55820" y="48807"/>
                  </a:cubicBezTo>
                  <a:cubicBezTo>
                    <a:pt x="57264" y="48960"/>
                    <a:pt x="58704" y="49172"/>
                    <a:pt x="60133" y="49433"/>
                  </a:cubicBezTo>
                  <a:cubicBezTo>
                    <a:pt x="60202" y="49448"/>
                    <a:pt x="60271" y="49453"/>
                    <a:pt x="60345" y="49462"/>
                  </a:cubicBezTo>
                  <a:cubicBezTo>
                    <a:pt x="69965" y="51266"/>
                    <a:pt x="78945" y="55564"/>
                    <a:pt x="86387" y="61927"/>
                  </a:cubicBezTo>
                  <a:cubicBezTo>
                    <a:pt x="90886" y="65767"/>
                    <a:pt x="96484" y="67777"/>
                    <a:pt x="102111" y="67777"/>
                  </a:cubicBezTo>
                  <a:cubicBezTo>
                    <a:pt x="106125" y="67777"/>
                    <a:pt x="110154" y="66754"/>
                    <a:pt x="113809" y="64642"/>
                  </a:cubicBezTo>
                  <a:lnTo>
                    <a:pt x="114420" y="64292"/>
                  </a:lnTo>
                  <a:cubicBezTo>
                    <a:pt x="128816" y="55983"/>
                    <a:pt x="130615" y="35958"/>
                    <a:pt x="117988" y="25140"/>
                  </a:cubicBezTo>
                  <a:cubicBezTo>
                    <a:pt x="102271" y="11685"/>
                    <a:pt x="82523" y="2809"/>
                    <a:pt x="60803" y="572"/>
                  </a:cubicBezTo>
                  <a:cubicBezTo>
                    <a:pt x="60596" y="552"/>
                    <a:pt x="60394" y="532"/>
                    <a:pt x="60192" y="513"/>
                  </a:cubicBezTo>
                  <a:cubicBezTo>
                    <a:pt x="59808" y="473"/>
                    <a:pt x="59423" y="439"/>
                    <a:pt x="59039" y="404"/>
                  </a:cubicBezTo>
                  <a:cubicBezTo>
                    <a:pt x="58531" y="360"/>
                    <a:pt x="58023" y="320"/>
                    <a:pt x="57511" y="281"/>
                  </a:cubicBezTo>
                  <a:lnTo>
                    <a:pt x="57171" y="256"/>
                  </a:lnTo>
                  <a:cubicBezTo>
                    <a:pt x="54739" y="86"/>
                    <a:pt x="52298" y="1"/>
                    <a:pt x="4985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68"/>
            <p:cNvSpPr/>
            <p:nvPr/>
          </p:nvSpPr>
          <p:spPr>
            <a:xfrm>
              <a:off x="2565167" y="2090625"/>
              <a:ext cx="327379" cy="312740"/>
            </a:xfrm>
            <a:custGeom>
              <a:avLst/>
              <a:gdLst/>
              <a:ahLst/>
              <a:cxnLst/>
              <a:rect l="l" t="t" r="r" b="b"/>
              <a:pathLst>
                <a:path w="101908" h="97351" extrusionOk="0">
                  <a:moveTo>
                    <a:pt x="77732" y="1"/>
                  </a:moveTo>
                  <a:cubicBezTo>
                    <a:pt x="75086" y="1"/>
                    <a:pt x="72377" y="446"/>
                    <a:pt x="69690" y="1397"/>
                  </a:cubicBezTo>
                  <a:cubicBezTo>
                    <a:pt x="52607" y="7449"/>
                    <a:pt x="37561" y="17814"/>
                    <a:pt x="25865" y="31175"/>
                  </a:cubicBezTo>
                  <a:cubicBezTo>
                    <a:pt x="25580" y="31476"/>
                    <a:pt x="25299" y="31776"/>
                    <a:pt x="25028" y="32097"/>
                  </a:cubicBezTo>
                  <a:cubicBezTo>
                    <a:pt x="9365" y="50441"/>
                    <a:pt x="646" y="73600"/>
                    <a:pt x="1" y="97350"/>
                  </a:cubicBezTo>
                  <a:lnTo>
                    <a:pt x="48536" y="97350"/>
                  </a:lnTo>
                  <a:cubicBezTo>
                    <a:pt x="49024" y="87503"/>
                    <a:pt x="52085" y="77956"/>
                    <a:pt x="57413" y="69662"/>
                  </a:cubicBezTo>
                  <a:lnTo>
                    <a:pt x="57418" y="69662"/>
                  </a:lnTo>
                  <a:cubicBezTo>
                    <a:pt x="64061" y="59371"/>
                    <a:pt x="73977" y="51382"/>
                    <a:pt x="85697" y="47183"/>
                  </a:cubicBezTo>
                  <a:cubicBezTo>
                    <a:pt x="95382" y="43708"/>
                    <a:pt x="101907" y="34605"/>
                    <a:pt x="101907" y="24310"/>
                  </a:cubicBezTo>
                  <a:cubicBezTo>
                    <a:pt x="101907" y="10473"/>
                    <a:pt x="90570" y="1"/>
                    <a:pt x="7773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68"/>
            <p:cNvSpPr/>
            <p:nvPr/>
          </p:nvSpPr>
          <p:spPr>
            <a:xfrm>
              <a:off x="2565073" y="2287538"/>
              <a:ext cx="218572" cy="409555"/>
            </a:xfrm>
            <a:custGeom>
              <a:avLst/>
              <a:gdLst/>
              <a:ahLst/>
              <a:cxnLst/>
              <a:rect l="l" t="t" r="r" b="b"/>
              <a:pathLst>
                <a:path w="68038" h="127488" extrusionOk="0">
                  <a:moveTo>
                    <a:pt x="25598" y="0"/>
                  </a:moveTo>
                  <a:cubicBezTo>
                    <a:pt x="14413" y="0"/>
                    <a:pt x="3897" y="7831"/>
                    <a:pt x="1695" y="19943"/>
                  </a:cubicBezTo>
                  <a:cubicBezTo>
                    <a:pt x="567" y="26163"/>
                    <a:pt x="0" y="32466"/>
                    <a:pt x="5" y="38785"/>
                  </a:cubicBezTo>
                  <a:cubicBezTo>
                    <a:pt x="5" y="56877"/>
                    <a:pt x="4598" y="73900"/>
                    <a:pt x="12676" y="88745"/>
                  </a:cubicBezTo>
                  <a:lnTo>
                    <a:pt x="12696" y="88735"/>
                  </a:lnTo>
                  <a:cubicBezTo>
                    <a:pt x="13125" y="89533"/>
                    <a:pt x="13568" y="90327"/>
                    <a:pt x="14027" y="91120"/>
                  </a:cubicBezTo>
                  <a:cubicBezTo>
                    <a:pt x="22888" y="106463"/>
                    <a:pt x="35052" y="118705"/>
                    <a:pt x="49093" y="127488"/>
                  </a:cubicBezTo>
                  <a:cubicBezTo>
                    <a:pt x="44721" y="124742"/>
                    <a:pt x="40552" y="121677"/>
                    <a:pt x="36634" y="118316"/>
                  </a:cubicBezTo>
                  <a:cubicBezTo>
                    <a:pt x="24002" y="107503"/>
                    <a:pt x="25801" y="87473"/>
                    <a:pt x="40197" y="79164"/>
                  </a:cubicBezTo>
                  <a:lnTo>
                    <a:pt x="40808" y="78809"/>
                  </a:lnTo>
                  <a:cubicBezTo>
                    <a:pt x="44459" y="76702"/>
                    <a:pt x="48483" y="75681"/>
                    <a:pt x="52492" y="75681"/>
                  </a:cubicBezTo>
                  <a:cubicBezTo>
                    <a:pt x="58042" y="75681"/>
                    <a:pt x="63566" y="77637"/>
                    <a:pt x="68038" y="81377"/>
                  </a:cubicBezTo>
                  <a:cubicBezTo>
                    <a:pt x="63238" y="77256"/>
                    <a:pt x="59172" y="72353"/>
                    <a:pt x="56017" y="66877"/>
                  </a:cubicBezTo>
                  <a:cubicBezTo>
                    <a:pt x="55559" y="66083"/>
                    <a:pt x="55120" y="65280"/>
                    <a:pt x="54706" y="64472"/>
                  </a:cubicBezTo>
                  <a:cubicBezTo>
                    <a:pt x="54647" y="64349"/>
                    <a:pt x="54583" y="64221"/>
                    <a:pt x="54519" y="64092"/>
                  </a:cubicBezTo>
                  <a:cubicBezTo>
                    <a:pt x="54278" y="63619"/>
                    <a:pt x="54046" y="63141"/>
                    <a:pt x="53824" y="62663"/>
                  </a:cubicBezTo>
                  <a:cubicBezTo>
                    <a:pt x="53691" y="62392"/>
                    <a:pt x="53568" y="62116"/>
                    <a:pt x="53440" y="61840"/>
                  </a:cubicBezTo>
                  <a:cubicBezTo>
                    <a:pt x="53169" y="61239"/>
                    <a:pt x="52907" y="60637"/>
                    <a:pt x="52656" y="60031"/>
                  </a:cubicBezTo>
                  <a:cubicBezTo>
                    <a:pt x="52572" y="59824"/>
                    <a:pt x="52493" y="59612"/>
                    <a:pt x="52410" y="59400"/>
                  </a:cubicBezTo>
                  <a:cubicBezTo>
                    <a:pt x="52217" y="58903"/>
                    <a:pt x="52025" y="58400"/>
                    <a:pt x="51843" y="57902"/>
                  </a:cubicBezTo>
                  <a:cubicBezTo>
                    <a:pt x="48437" y="48484"/>
                    <a:pt x="47604" y="38331"/>
                    <a:pt x="49433" y="28484"/>
                  </a:cubicBezTo>
                  <a:cubicBezTo>
                    <a:pt x="51301" y="18459"/>
                    <a:pt x="46515" y="8366"/>
                    <a:pt x="37683" y="3270"/>
                  </a:cubicBezTo>
                  <a:cubicBezTo>
                    <a:pt x="33811" y="1033"/>
                    <a:pt x="29660" y="0"/>
                    <a:pt x="2559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8" name="Google Shape;5358;p68"/>
          <p:cNvGrpSpPr/>
          <p:nvPr/>
        </p:nvGrpSpPr>
        <p:grpSpPr>
          <a:xfrm>
            <a:off x="5633655" y="3534869"/>
            <a:ext cx="438354" cy="637329"/>
            <a:chOff x="1697726" y="3244179"/>
            <a:chExt cx="788124" cy="1146069"/>
          </a:xfrm>
        </p:grpSpPr>
        <p:sp>
          <p:nvSpPr>
            <p:cNvPr id="5359" name="Google Shape;5359;p68"/>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68"/>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61" name="Google Shape;5361;p68"/>
          <p:cNvSpPr/>
          <p:nvPr/>
        </p:nvSpPr>
        <p:spPr>
          <a:xfrm>
            <a:off x="8130914" y="342265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62" name="Google Shape;5362;p68"/>
          <p:cNvGrpSpPr/>
          <p:nvPr/>
        </p:nvGrpSpPr>
        <p:grpSpPr>
          <a:xfrm>
            <a:off x="7634869" y="1863232"/>
            <a:ext cx="799565" cy="670282"/>
            <a:chOff x="7617850" y="2063282"/>
            <a:chExt cx="799565" cy="670282"/>
          </a:xfrm>
        </p:grpSpPr>
        <p:cxnSp>
          <p:nvCxnSpPr>
            <p:cNvPr id="5363" name="Google Shape;5363;p68"/>
            <p:cNvCxnSpPr/>
            <p:nvPr/>
          </p:nvCxnSpPr>
          <p:spPr>
            <a:xfrm rot="5400000" flipH="1">
              <a:off x="7629118"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4" name="Google Shape;5364;p68"/>
            <p:cNvCxnSpPr/>
            <p:nvPr/>
          </p:nvCxnSpPr>
          <p:spPr>
            <a:xfrm rot="-5400000">
              <a:off x="8276270"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5" name="Google Shape;5365;p68"/>
            <p:cNvCxnSpPr/>
            <p:nvPr/>
          </p:nvCxnSpPr>
          <p:spPr>
            <a:xfrm rot="5400000">
              <a:off x="7629118"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6" name="Google Shape;5366;p68"/>
            <p:cNvCxnSpPr/>
            <p:nvPr/>
          </p:nvCxnSpPr>
          <p:spPr>
            <a:xfrm rot="-5400000" flipH="1">
              <a:off x="8276270"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7" name="Google Shape;5367;p68"/>
            <p:cNvCxnSpPr/>
            <p:nvPr/>
          </p:nvCxnSpPr>
          <p:spPr>
            <a:xfrm rot="10800000">
              <a:off x="7617850" y="2393356"/>
              <a:ext cx="83400" cy="0"/>
            </a:xfrm>
            <a:prstGeom prst="straightConnector1">
              <a:avLst/>
            </a:prstGeom>
            <a:noFill/>
            <a:ln w="9525" cap="flat" cmpd="sng">
              <a:solidFill>
                <a:srgbClr val="667E92"/>
              </a:solidFill>
              <a:prstDash val="solid"/>
              <a:round/>
              <a:headEnd type="none" w="med" len="med"/>
              <a:tailEnd type="none" w="med" len="med"/>
            </a:ln>
          </p:spPr>
        </p:cxnSp>
        <p:cxnSp>
          <p:nvCxnSpPr>
            <p:cNvPr id="5368" name="Google Shape;5368;p68"/>
            <p:cNvCxnSpPr/>
            <p:nvPr/>
          </p:nvCxnSpPr>
          <p:spPr>
            <a:xfrm rot="10800000">
              <a:off x="8334015" y="2393356"/>
              <a:ext cx="83400" cy="0"/>
            </a:xfrm>
            <a:prstGeom prst="straightConnector1">
              <a:avLst/>
            </a:prstGeom>
            <a:noFill/>
            <a:ln w="9525" cap="flat" cmpd="sng">
              <a:solidFill>
                <a:srgbClr val="667E92"/>
              </a:solidFill>
              <a:prstDash val="solid"/>
              <a:round/>
              <a:headEnd type="none" w="med" len="med"/>
              <a:tailEnd type="none" w="med" len="med"/>
            </a:ln>
          </p:spPr>
        </p:cxnSp>
        <p:grpSp>
          <p:nvGrpSpPr>
            <p:cNvPr id="5369" name="Google Shape;5369;p68"/>
            <p:cNvGrpSpPr/>
            <p:nvPr/>
          </p:nvGrpSpPr>
          <p:grpSpPr>
            <a:xfrm>
              <a:off x="7734309" y="2063282"/>
              <a:ext cx="570957" cy="620095"/>
              <a:chOff x="7734309" y="2063282"/>
              <a:chExt cx="570957" cy="620095"/>
            </a:xfrm>
          </p:grpSpPr>
          <p:grpSp>
            <p:nvGrpSpPr>
              <p:cNvPr id="5370" name="Google Shape;5370;p68"/>
              <p:cNvGrpSpPr/>
              <p:nvPr/>
            </p:nvGrpSpPr>
            <p:grpSpPr>
              <a:xfrm>
                <a:off x="8031573" y="2063282"/>
                <a:ext cx="273693" cy="620095"/>
                <a:chOff x="8031573" y="2063282"/>
                <a:chExt cx="273693" cy="620095"/>
              </a:xfrm>
            </p:grpSpPr>
            <p:sp>
              <p:nvSpPr>
                <p:cNvPr id="5371" name="Google Shape;5371;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75" name="Google Shape;5375;p68"/>
              <p:cNvGrpSpPr/>
              <p:nvPr/>
            </p:nvGrpSpPr>
            <p:grpSpPr>
              <a:xfrm flipH="1">
                <a:off x="7734309" y="2063282"/>
                <a:ext cx="273693" cy="620095"/>
                <a:chOff x="8031573" y="2063282"/>
                <a:chExt cx="273693" cy="620095"/>
              </a:xfrm>
            </p:grpSpPr>
            <p:sp>
              <p:nvSpPr>
                <p:cNvPr id="5376" name="Google Shape;5376;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5380" name="Google Shape;5380;p68"/>
          <p:cNvSpPr/>
          <p:nvPr/>
        </p:nvSpPr>
        <p:spPr>
          <a:xfrm>
            <a:off x="7095123" y="3555322"/>
            <a:ext cx="558742" cy="616877"/>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68"/>
          <p:cNvSpPr/>
          <p:nvPr/>
        </p:nvSpPr>
        <p:spPr>
          <a:xfrm rot="10800000">
            <a:off x="6581305" y="3552736"/>
            <a:ext cx="406111" cy="619462"/>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82" name="Google Shape;5382;p68"/>
          <p:cNvGrpSpPr/>
          <p:nvPr/>
        </p:nvGrpSpPr>
        <p:grpSpPr>
          <a:xfrm>
            <a:off x="7821475" y="2716715"/>
            <a:ext cx="602567" cy="601884"/>
            <a:chOff x="1186975" y="238125"/>
            <a:chExt cx="5244275" cy="5238325"/>
          </a:xfrm>
        </p:grpSpPr>
        <p:sp>
          <p:nvSpPr>
            <p:cNvPr id="5383" name="Google Shape;5383;p68"/>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68"/>
            <p:cNvSpPr/>
            <p:nvPr/>
          </p:nvSpPr>
          <p:spPr>
            <a:xfrm>
              <a:off x="1186975" y="2279750"/>
              <a:ext cx="2628625"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68"/>
            <p:cNvSpPr/>
            <p:nvPr/>
          </p:nvSpPr>
          <p:spPr>
            <a:xfrm>
              <a:off x="3802600" y="239450"/>
              <a:ext cx="2628650" cy="3196825"/>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68"/>
            <p:cNvSpPr/>
            <p:nvPr/>
          </p:nvSpPr>
          <p:spPr>
            <a:xfrm>
              <a:off x="3232500"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87" name="Google Shape;5387;p68"/>
          <p:cNvGrpSpPr/>
          <p:nvPr/>
        </p:nvGrpSpPr>
        <p:grpSpPr>
          <a:xfrm>
            <a:off x="3264213" y="1856199"/>
            <a:ext cx="651848" cy="687338"/>
            <a:chOff x="3400515" y="2056248"/>
            <a:chExt cx="698134" cy="735987"/>
          </a:xfrm>
        </p:grpSpPr>
        <p:grpSp>
          <p:nvGrpSpPr>
            <p:cNvPr id="5388" name="Google Shape;5388;p68"/>
            <p:cNvGrpSpPr/>
            <p:nvPr/>
          </p:nvGrpSpPr>
          <p:grpSpPr>
            <a:xfrm>
              <a:off x="3400515" y="2283913"/>
              <a:ext cx="312919" cy="219900"/>
              <a:chOff x="3400515" y="2283913"/>
              <a:chExt cx="312919" cy="219900"/>
            </a:xfrm>
          </p:grpSpPr>
          <p:sp>
            <p:nvSpPr>
              <p:cNvPr id="5389" name="Google Shape;5389;p68"/>
              <p:cNvSpPr/>
              <p:nvPr/>
            </p:nvSpPr>
            <p:spPr>
              <a:xfrm>
                <a:off x="3493534" y="2283913"/>
                <a:ext cx="219900" cy="219900"/>
              </a:xfrm>
              <a:prstGeom prst="ellipse">
                <a:avLst/>
              </a:prstGeom>
              <a:solidFill>
                <a:srgbClr val="435D7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0" name="Google Shape;5390;p68"/>
              <p:cNvCxnSpPr/>
              <p:nvPr/>
            </p:nvCxnSpPr>
            <p:spPr>
              <a:xfrm rot="10800000">
                <a:off x="3400515" y="2393804"/>
                <a:ext cx="95400" cy="0"/>
              </a:xfrm>
              <a:prstGeom prst="straightConnector1">
                <a:avLst/>
              </a:prstGeom>
              <a:noFill/>
              <a:ln w="28575" cap="flat" cmpd="sng">
                <a:solidFill>
                  <a:srgbClr val="435D74"/>
                </a:solidFill>
                <a:prstDash val="solid"/>
                <a:round/>
                <a:headEnd type="none" w="med" len="med"/>
                <a:tailEnd type="none" w="med" len="med"/>
              </a:ln>
            </p:spPr>
          </p:cxnSp>
        </p:grpSp>
        <p:grpSp>
          <p:nvGrpSpPr>
            <p:cNvPr id="5391" name="Google Shape;5391;p68"/>
            <p:cNvGrpSpPr/>
            <p:nvPr/>
          </p:nvGrpSpPr>
          <p:grpSpPr>
            <a:xfrm>
              <a:off x="3547823" y="2461089"/>
              <a:ext cx="219900" cy="331146"/>
              <a:chOff x="3547823" y="2461089"/>
              <a:chExt cx="219900" cy="331146"/>
            </a:xfrm>
          </p:grpSpPr>
          <p:sp>
            <p:nvSpPr>
              <p:cNvPr id="5392" name="Google Shape;5392;p68"/>
              <p:cNvSpPr/>
              <p:nvPr/>
            </p:nvSpPr>
            <p:spPr>
              <a:xfrm>
                <a:off x="3547823" y="2461089"/>
                <a:ext cx="219900" cy="219900"/>
              </a:xfrm>
              <a:prstGeom prst="ellipse">
                <a:avLst/>
              </a:prstGeom>
              <a:solidFill>
                <a:srgbClr val="5F7D9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3" name="Google Shape;5393;p68"/>
              <p:cNvCxnSpPr/>
              <p:nvPr/>
            </p:nvCxnSpPr>
            <p:spPr>
              <a:xfrm rot="10800000">
                <a:off x="3657701" y="2678535"/>
                <a:ext cx="0" cy="113700"/>
              </a:xfrm>
              <a:prstGeom prst="straightConnector1">
                <a:avLst/>
              </a:prstGeom>
              <a:noFill/>
              <a:ln w="28575" cap="flat" cmpd="sng">
                <a:solidFill>
                  <a:srgbClr val="5F7D95"/>
                </a:solidFill>
                <a:prstDash val="solid"/>
                <a:round/>
                <a:headEnd type="none" w="med" len="med"/>
                <a:tailEnd type="none" w="med" len="med"/>
              </a:ln>
            </p:spPr>
          </p:cxnSp>
        </p:grpSp>
        <p:grpSp>
          <p:nvGrpSpPr>
            <p:cNvPr id="5394" name="Google Shape;5394;p68"/>
            <p:cNvGrpSpPr/>
            <p:nvPr/>
          </p:nvGrpSpPr>
          <p:grpSpPr>
            <a:xfrm>
              <a:off x="3734138" y="2461089"/>
              <a:ext cx="219900" cy="331146"/>
              <a:chOff x="3734138" y="2461089"/>
              <a:chExt cx="219900" cy="331146"/>
            </a:xfrm>
          </p:grpSpPr>
          <p:sp>
            <p:nvSpPr>
              <p:cNvPr id="5395" name="Google Shape;5395;p68"/>
              <p:cNvSpPr/>
              <p:nvPr/>
            </p:nvSpPr>
            <p:spPr>
              <a:xfrm>
                <a:off x="3734138" y="2461089"/>
                <a:ext cx="219900" cy="219900"/>
              </a:xfrm>
              <a:prstGeom prst="ellipse">
                <a:avLst/>
              </a:prstGeom>
              <a:solidFill>
                <a:srgbClr val="869FB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6" name="Google Shape;5396;p68"/>
              <p:cNvCxnSpPr/>
              <p:nvPr/>
            </p:nvCxnSpPr>
            <p:spPr>
              <a:xfrm rot="10800000">
                <a:off x="3844020" y="2678535"/>
                <a:ext cx="0" cy="113700"/>
              </a:xfrm>
              <a:prstGeom prst="straightConnector1">
                <a:avLst/>
              </a:prstGeom>
              <a:noFill/>
              <a:ln w="28575" cap="flat" cmpd="sng">
                <a:solidFill>
                  <a:srgbClr val="869FB2"/>
                </a:solidFill>
                <a:prstDash val="solid"/>
                <a:round/>
                <a:headEnd type="none" w="med" len="med"/>
                <a:tailEnd type="none" w="med" len="med"/>
              </a:ln>
            </p:spPr>
          </p:cxnSp>
        </p:grpSp>
        <p:grpSp>
          <p:nvGrpSpPr>
            <p:cNvPr id="5397" name="Google Shape;5397;p68"/>
            <p:cNvGrpSpPr/>
            <p:nvPr/>
          </p:nvGrpSpPr>
          <p:grpSpPr>
            <a:xfrm>
              <a:off x="3787560" y="2281742"/>
              <a:ext cx="311089" cy="219900"/>
              <a:chOff x="3787560" y="2281742"/>
              <a:chExt cx="311089" cy="219900"/>
            </a:xfrm>
          </p:grpSpPr>
          <p:sp>
            <p:nvSpPr>
              <p:cNvPr id="5398" name="Google Shape;5398;p68"/>
              <p:cNvSpPr/>
              <p:nvPr/>
            </p:nvSpPr>
            <p:spPr>
              <a:xfrm>
                <a:off x="3787560" y="2281742"/>
                <a:ext cx="219900" cy="219900"/>
              </a:xfrm>
              <a:prstGeom prst="ellipse">
                <a:avLst/>
              </a:prstGeom>
              <a:solidFill>
                <a:srgbClr val="A5B7C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9" name="Google Shape;5399;p68"/>
              <p:cNvCxnSpPr/>
              <p:nvPr/>
            </p:nvCxnSpPr>
            <p:spPr>
              <a:xfrm rot="10800000">
                <a:off x="4003849" y="2393795"/>
                <a:ext cx="94800" cy="0"/>
              </a:xfrm>
              <a:prstGeom prst="straightConnector1">
                <a:avLst/>
              </a:prstGeom>
              <a:noFill/>
              <a:ln w="28575" cap="flat" cmpd="sng">
                <a:solidFill>
                  <a:srgbClr val="A5B7C6"/>
                </a:solidFill>
                <a:prstDash val="solid"/>
                <a:round/>
                <a:headEnd type="none" w="med" len="med"/>
                <a:tailEnd type="none" w="med" len="med"/>
              </a:ln>
            </p:spPr>
          </p:cxnSp>
        </p:grpSp>
        <p:grpSp>
          <p:nvGrpSpPr>
            <p:cNvPr id="5400" name="Google Shape;5400;p68"/>
            <p:cNvGrpSpPr/>
            <p:nvPr/>
          </p:nvGrpSpPr>
          <p:grpSpPr>
            <a:xfrm>
              <a:off x="3637290" y="2056248"/>
              <a:ext cx="219900" cy="330736"/>
              <a:chOff x="3637290" y="2056248"/>
              <a:chExt cx="219900" cy="330736"/>
            </a:xfrm>
          </p:grpSpPr>
          <p:sp>
            <p:nvSpPr>
              <p:cNvPr id="5401" name="Google Shape;5401;p68"/>
              <p:cNvSpPr/>
              <p:nvPr/>
            </p:nvSpPr>
            <p:spPr>
              <a:xfrm>
                <a:off x="3637290" y="2167085"/>
                <a:ext cx="219900" cy="219900"/>
              </a:xfrm>
              <a:prstGeom prst="ellipse">
                <a:avLst/>
              </a:prstGeom>
              <a:solidFill>
                <a:srgbClr val="BAC8D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5402" name="Google Shape;5402;p68"/>
              <p:cNvCxnSpPr/>
              <p:nvPr/>
            </p:nvCxnSpPr>
            <p:spPr>
              <a:xfrm rot="10800000">
                <a:off x="3747169" y="2056248"/>
                <a:ext cx="0" cy="113700"/>
              </a:xfrm>
              <a:prstGeom prst="straightConnector1">
                <a:avLst/>
              </a:prstGeom>
              <a:noFill/>
              <a:ln w="28575" cap="flat" cmpd="sng">
                <a:solidFill>
                  <a:srgbClr val="BAC8D3"/>
                </a:solidFill>
                <a:prstDash val="solid"/>
                <a:round/>
                <a:headEnd type="none" w="med" len="med"/>
                <a:tailEnd type="none" w="med" len="med"/>
              </a:ln>
            </p:spPr>
          </p:cxnSp>
        </p:grpSp>
      </p:grpSp>
      <p:grpSp>
        <p:nvGrpSpPr>
          <p:cNvPr id="5403" name="Google Shape;5403;p68"/>
          <p:cNvGrpSpPr/>
          <p:nvPr/>
        </p:nvGrpSpPr>
        <p:grpSpPr>
          <a:xfrm>
            <a:off x="2555919" y="2726205"/>
            <a:ext cx="1268144" cy="592394"/>
            <a:chOff x="238125" y="1188750"/>
            <a:chExt cx="7140450" cy="3335550"/>
          </a:xfrm>
        </p:grpSpPr>
        <p:sp>
          <p:nvSpPr>
            <p:cNvPr id="5404" name="Google Shape;5404;p68"/>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68"/>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68"/>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68"/>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68"/>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09" name="Google Shape;5409;p68"/>
          <p:cNvGrpSpPr/>
          <p:nvPr/>
        </p:nvGrpSpPr>
        <p:grpSpPr>
          <a:xfrm>
            <a:off x="6663819" y="2728360"/>
            <a:ext cx="1053944" cy="590147"/>
            <a:chOff x="238125" y="1335475"/>
            <a:chExt cx="5418735" cy="3034175"/>
          </a:xfrm>
        </p:grpSpPr>
        <p:sp>
          <p:nvSpPr>
            <p:cNvPr id="5410" name="Google Shape;5410;p68"/>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68"/>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68"/>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3" name="Google Shape;5413;p68"/>
          <p:cNvGrpSpPr/>
          <p:nvPr/>
        </p:nvGrpSpPr>
        <p:grpSpPr>
          <a:xfrm>
            <a:off x="4094628" y="3533259"/>
            <a:ext cx="1268207" cy="638939"/>
            <a:chOff x="3967651" y="3645904"/>
            <a:chExt cx="1479304" cy="745292"/>
          </a:xfrm>
        </p:grpSpPr>
        <p:grpSp>
          <p:nvGrpSpPr>
            <p:cNvPr id="5414" name="Google Shape;5414;p68"/>
            <p:cNvGrpSpPr/>
            <p:nvPr/>
          </p:nvGrpSpPr>
          <p:grpSpPr>
            <a:xfrm>
              <a:off x="3967651" y="4009026"/>
              <a:ext cx="1479304" cy="382170"/>
              <a:chOff x="3967651" y="4009026"/>
              <a:chExt cx="1479304" cy="382170"/>
            </a:xfrm>
          </p:grpSpPr>
          <p:grpSp>
            <p:nvGrpSpPr>
              <p:cNvPr id="5415" name="Google Shape;5415;p68"/>
              <p:cNvGrpSpPr/>
              <p:nvPr/>
            </p:nvGrpSpPr>
            <p:grpSpPr>
              <a:xfrm>
                <a:off x="4892216" y="4195630"/>
                <a:ext cx="554739" cy="195566"/>
                <a:chOff x="3604375" y="4892160"/>
                <a:chExt cx="1651500" cy="582215"/>
              </a:xfrm>
            </p:grpSpPr>
            <p:sp>
              <p:nvSpPr>
                <p:cNvPr id="5416" name="Google Shape;5416;p68"/>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68"/>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8" name="Google Shape;5418;p68"/>
              <p:cNvGrpSpPr/>
              <p:nvPr/>
            </p:nvGrpSpPr>
            <p:grpSpPr>
              <a:xfrm>
                <a:off x="3967651" y="4146303"/>
                <a:ext cx="579402" cy="244893"/>
                <a:chOff x="851875" y="4745310"/>
                <a:chExt cx="1724925" cy="729065"/>
              </a:xfrm>
            </p:grpSpPr>
            <p:sp>
              <p:nvSpPr>
                <p:cNvPr id="5419" name="Google Shape;5419;p68"/>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68"/>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21" name="Google Shape;5421;p68"/>
              <p:cNvGrpSpPr/>
              <p:nvPr/>
            </p:nvGrpSpPr>
            <p:grpSpPr>
              <a:xfrm>
                <a:off x="4460753" y="4009026"/>
                <a:ext cx="493110" cy="382170"/>
                <a:chOff x="2319875" y="4336625"/>
                <a:chExt cx="1468025" cy="1137750"/>
              </a:xfrm>
            </p:grpSpPr>
            <p:sp>
              <p:nvSpPr>
                <p:cNvPr id="5422" name="Google Shape;5422;p68"/>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68"/>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24" name="Google Shape;5424;p68"/>
            <p:cNvGrpSpPr/>
            <p:nvPr/>
          </p:nvGrpSpPr>
          <p:grpSpPr>
            <a:xfrm>
              <a:off x="4479443" y="3645904"/>
              <a:ext cx="455965" cy="388789"/>
              <a:chOff x="2957425" y="238100"/>
              <a:chExt cx="1910200" cy="1628775"/>
            </a:xfrm>
          </p:grpSpPr>
          <p:sp>
            <p:nvSpPr>
              <p:cNvPr id="5425" name="Google Shape;5425;p68"/>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68"/>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68"/>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68"/>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68"/>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68"/>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68"/>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68"/>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68"/>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68"/>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35" name="Google Shape;5435;p68"/>
          <p:cNvGrpSpPr/>
          <p:nvPr/>
        </p:nvGrpSpPr>
        <p:grpSpPr>
          <a:xfrm>
            <a:off x="2480742" y="3534460"/>
            <a:ext cx="1243128" cy="637739"/>
            <a:chOff x="2496310" y="3693351"/>
            <a:chExt cx="1342906" cy="688926"/>
          </a:xfrm>
        </p:grpSpPr>
        <p:grpSp>
          <p:nvGrpSpPr>
            <p:cNvPr id="5436" name="Google Shape;5436;p68"/>
            <p:cNvGrpSpPr/>
            <p:nvPr/>
          </p:nvGrpSpPr>
          <p:grpSpPr>
            <a:xfrm>
              <a:off x="2496310" y="3693351"/>
              <a:ext cx="1342906" cy="688875"/>
              <a:chOff x="2496310" y="3693351"/>
              <a:chExt cx="1342906" cy="688875"/>
            </a:xfrm>
          </p:grpSpPr>
          <p:sp>
            <p:nvSpPr>
              <p:cNvPr id="5437" name="Google Shape;5437;p68"/>
              <p:cNvSpPr/>
              <p:nvPr/>
            </p:nvSpPr>
            <p:spPr>
              <a:xfrm>
                <a:off x="2567815" y="3809577"/>
                <a:ext cx="1200140" cy="572649"/>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68"/>
              <p:cNvSpPr/>
              <p:nvPr/>
            </p:nvSpPr>
            <p:spPr>
              <a:xfrm>
                <a:off x="342068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68"/>
              <p:cNvSpPr/>
              <p:nvPr/>
            </p:nvSpPr>
            <p:spPr>
              <a:xfrm>
                <a:off x="3135700" y="3791751"/>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68"/>
              <p:cNvSpPr/>
              <p:nvPr/>
            </p:nvSpPr>
            <p:spPr>
              <a:xfrm>
                <a:off x="3620515"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68"/>
              <p:cNvSpPr/>
              <p:nvPr/>
            </p:nvSpPr>
            <p:spPr>
              <a:xfrm>
                <a:off x="284380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68"/>
              <p:cNvSpPr/>
              <p:nvPr/>
            </p:nvSpPr>
            <p:spPr>
              <a:xfrm>
                <a:off x="2652010"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443" name="Google Shape;5443;p68"/>
              <p:cNvCxnSpPr>
                <a:stCxn id="5441" idx="0"/>
              </p:cNvCxnSpPr>
              <p:nvPr/>
            </p:nvCxnSpPr>
            <p:spPr>
              <a:xfrm rot="5400000" flipH="1">
                <a:off x="2741958" y="3724116"/>
                <a:ext cx="68700" cy="200100"/>
              </a:xfrm>
              <a:prstGeom prst="bentConnector2">
                <a:avLst/>
              </a:prstGeom>
              <a:noFill/>
              <a:ln w="19050" cap="flat" cmpd="sng">
                <a:solidFill>
                  <a:srgbClr val="869FB2"/>
                </a:solidFill>
                <a:prstDash val="solid"/>
                <a:round/>
                <a:headEnd type="none" w="med" len="med"/>
                <a:tailEnd type="none" w="med" len="med"/>
              </a:ln>
            </p:spPr>
          </p:cxnSp>
          <p:cxnSp>
            <p:nvCxnSpPr>
              <p:cNvPr id="5444" name="Google Shape;5444;p68"/>
              <p:cNvCxnSpPr>
                <a:stCxn id="5438" idx="0"/>
              </p:cNvCxnSpPr>
              <p:nvPr/>
            </p:nvCxnSpPr>
            <p:spPr>
              <a:xfrm rot="-5400000">
                <a:off x="3512338" y="3723516"/>
                <a:ext cx="75900" cy="194100"/>
              </a:xfrm>
              <a:prstGeom prst="bentConnector2">
                <a:avLst/>
              </a:prstGeom>
              <a:noFill/>
              <a:ln w="19050" cap="flat" cmpd="sng">
                <a:solidFill>
                  <a:srgbClr val="869FB2"/>
                </a:solidFill>
                <a:prstDash val="solid"/>
                <a:round/>
                <a:headEnd type="none" w="med" len="med"/>
                <a:tailEnd type="none" w="med" len="med"/>
              </a:ln>
            </p:spPr>
          </p:cxnSp>
          <p:cxnSp>
            <p:nvCxnSpPr>
              <p:cNvPr id="5445" name="Google Shape;5445;p68"/>
              <p:cNvCxnSpPr>
                <a:stCxn id="5439" idx="0"/>
              </p:cNvCxnSpPr>
              <p:nvPr/>
            </p:nvCxnSpPr>
            <p:spPr>
              <a:xfrm rot="-5400000">
                <a:off x="3119350" y="3742251"/>
                <a:ext cx="984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6" name="Google Shape;5446;p68"/>
              <p:cNvCxnSpPr>
                <a:stCxn id="5442" idx="2"/>
              </p:cNvCxnSpPr>
              <p:nvPr/>
            </p:nvCxnSpPr>
            <p:spPr>
              <a:xfrm flipH="1">
                <a:off x="2496310" y="4065467"/>
                <a:ext cx="1557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7" name="Google Shape;5447;p68"/>
              <p:cNvCxnSpPr>
                <a:stCxn id="5440" idx="6"/>
              </p:cNvCxnSpPr>
              <p:nvPr/>
            </p:nvCxnSpPr>
            <p:spPr>
              <a:xfrm>
                <a:off x="3685615" y="4065467"/>
                <a:ext cx="153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5448" name="Google Shape;5448;p68"/>
            <p:cNvGrpSpPr/>
            <p:nvPr/>
          </p:nvGrpSpPr>
          <p:grpSpPr>
            <a:xfrm>
              <a:off x="2675275" y="3930557"/>
              <a:ext cx="1003306" cy="451719"/>
              <a:chOff x="2675275" y="4174282"/>
              <a:chExt cx="1003306" cy="451719"/>
            </a:xfrm>
          </p:grpSpPr>
          <p:sp>
            <p:nvSpPr>
              <p:cNvPr id="5449" name="Google Shape;5449;p68"/>
              <p:cNvSpPr/>
              <p:nvPr/>
            </p:nvSpPr>
            <p:spPr>
              <a:xfrm>
                <a:off x="2675275" y="4174282"/>
                <a:ext cx="1003306" cy="451719"/>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68"/>
              <p:cNvSpPr/>
              <p:nvPr/>
            </p:nvSpPr>
            <p:spPr>
              <a:xfrm>
                <a:off x="2716046" y="4210984"/>
                <a:ext cx="921789" cy="415018"/>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68"/>
              <p:cNvSpPr/>
              <p:nvPr/>
            </p:nvSpPr>
            <p:spPr>
              <a:xfrm>
                <a:off x="2762606" y="4252906"/>
                <a:ext cx="828676" cy="373095"/>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52" name="Google Shape;5452;p68"/>
          <p:cNvGrpSpPr/>
          <p:nvPr/>
        </p:nvGrpSpPr>
        <p:grpSpPr>
          <a:xfrm>
            <a:off x="1654412" y="971306"/>
            <a:ext cx="574511" cy="874709"/>
            <a:chOff x="1715404" y="1112080"/>
            <a:chExt cx="642270" cy="977984"/>
          </a:xfrm>
        </p:grpSpPr>
        <p:grpSp>
          <p:nvGrpSpPr>
            <p:cNvPr id="5453" name="Google Shape;5453;p68"/>
            <p:cNvGrpSpPr/>
            <p:nvPr/>
          </p:nvGrpSpPr>
          <p:grpSpPr>
            <a:xfrm>
              <a:off x="1715404" y="1112080"/>
              <a:ext cx="642270" cy="977984"/>
              <a:chOff x="1715404" y="1112080"/>
              <a:chExt cx="642270" cy="977984"/>
            </a:xfrm>
          </p:grpSpPr>
          <p:sp>
            <p:nvSpPr>
              <p:cNvPr id="5454" name="Google Shape;5454;p68"/>
              <p:cNvSpPr/>
              <p:nvPr/>
            </p:nvSpPr>
            <p:spPr>
              <a:xfrm>
                <a:off x="1715404" y="1112080"/>
                <a:ext cx="642270" cy="642270"/>
              </a:xfrm>
              <a:custGeom>
                <a:avLst/>
                <a:gdLst/>
                <a:ahLst/>
                <a:cxnLst/>
                <a:rect l="l" t="t" r="r" b="b"/>
                <a:pathLst>
                  <a:path w="41544" h="41544" extrusionOk="0">
                    <a:moveTo>
                      <a:pt x="20773" y="3462"/>
                    </a:moveTo>
                    <a:cubicBezTo>
                      <a:pt x="30333" y="3462"/>
                      <a:pt x="38081" y="11211"/>
                      <a:pt x="38081" y="20771"/>
                    </a:cubicBezTo>
                    <a:cubicBezTo>
                      <a:pt x="38081" y="30331"/>
                      <a:pt x="30333" y="38081"/>
                      <a:pt x="20773" y="38081"/>
                    </a:cubicBezTo>
                    <a:cubicBezTo>
                      <a:pt x="11213" y="38081"/>
                      <a:pt x="3462" y="30331"/>
                      <a:pt x="3462" y="20771"/>
                    </a:cubicBezTo>
                    <a:cubicBezTo>
                      <a:pt x="3462" y="11211"/>
                      <a:pt x="11213" y="3462"/>
                      <a:pt x="20773" y="3462"/>
                    </a:cubicBezTo>
                    <a:close/>
                    <a:moveTo>
                      <a:pt x="20773" y="0"/>
                    </a:moveTo>
                    <a:cubicBezTo>
                      <a:pt x="9301" y="0"/>
                      <a:pt x="0" y="9299"/>
                      <a:pt x="0" y="20771"/>
                    </a:cubicBezTo>
                    <a:cubicBezTo>
                      <a:pt x="0" y="32243"/>
                      <a:pt x="9301" y="41543"/>
                      <a:pt x="20773" y="41543"/>
                    </a:cubicBezTo>
                    <a:cubicBezTo>
                      <a:pt x="32245" y="41543"/>
                      <a:pt x="41543" y="32243"/>
                      <a:pt x="41543" y="20771"/>
                    </a:cubicBezTo>
                    <a:cubicBezTo>
                      <a:pt x="41543" y="9299"/>
                      <a:pt x="32245" y="0"/>
                      <a:pt x="20773"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68"/>
              <p:cNvSpPr/>
              <p:nvPr/>
            </p:nvSpPr>
            <p:spPr>
              <a:xfrm>
                <a:off x="1956781" y="1714402"/>
                <a:ext cx="9121" cy="375663"/>
              </a:xfrm>
              <a:custGeom>
                <a:avLst/>
                <a:gdLst/>
                <a:ahLst/>
                <a:cxnLst/>
                <a:rect l="l" t="t" r="r" b="b"/>
                <a:pathLst>
                  <a:path w="590" h="24299" extrusionOk="0">
                    <a:moveTo>
                      <a:pt x="0" y="0"/>
                    </a:moveTo>
                    <a:lnTo>
                      <a:pt x="0" y="24299"/>
                    </a:lnTo>
                    <a:lnTo>
                      <a:pt x="589" y="24299"/>
                    </a:lnTo>
                    <a:lnTo>
                      <a:pt x="589"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6" name="Google Shape;5456;p68"/>
            <p:cNvGrpSpPr/>
            <p:nvPr/>
          </p:nvGrpSpPr>
          <p:grpSpPr>
            <a:xfrm>
              <a:off x="1768927" y="1165603"/>
              <a:ext cx="535225" cy="851367"/>
              <a:chOff x="1768927" y="1165603"/>
              <a:chExt cx="535225" cy="851367"/>
            </a:xfrm>
          </p:grpSpPr>
          <p:sp>
            <p:nvSpPr>
              <p:cNvPr id="5457" name="Google Shape;5457;p68"/>
              <p:cNvSpPr/>
              <p:nvPr/>
            </p:nvSpPr>
            <p:spPr>
              <a:xfrm>
                <a:off x="1768927" y="1165603"/>
                <a:ext cx="535225" cy="535225"/>
              </a:xfrm>
              <a:custGeom>
                <a:avLst/>
                <a:gdLst/>
                <a:ahLst/>
                <a:cxnLst/>
                <a:rect l="l" t="t" r="r" b="b"/>
                <a:pathLst>
                  <a:path w="34620" h="34620" extrusionOk="0">
                    <a:moveTo>
                      <a:pt x="17311" y="3462"/>
                    </a:moveTo>
                    <a:cubicBezTo>
                      <a:pt x="24959" y="3462"/>
                      <a:pt x="31157" y="9661"/>
                      <a:pt x="31157" y="17309"/>
                    </a:cubicBezTo>
                    <a:cubicBezTo>
                      <a:pt x="31157" y="24957"/>
                      <a:pt x="24959" y="31157"/>
                      <a:pt x="17311" y="31157"/>
                    </a:cubicBezTo>
                    <a:cubicBezTo>
                      <a:pt x="9663" y="31157"/>
                      <a:pt x="3462" y="24957"/>
                      <a:pt x="3462" y="17309"/>
                    </a:cubicBezTo>
                    <a:cubicBezTo>
                      <a:pt x="3462" y="9661"/>
                      <a:pt x="9663" y="3462"/>
                      <a:pt x="17311" y="3462"/>
                    </a:cubicBezTo>
                    <a:close/>
                    <a:moveTo>
                      <a:pt x="17311" y="0"/>
                    </a:moveTo>
                    <a:cubicBezTo>
                      <a:pt x="7751" y="0"/>
                      <a:pt x="0" y="7749"/>
                      <a:pt x="0" y="17309"/>
                    </a:cubicBezTo>
                    <a:cubicBezTo>
                      <a:pt x="0" y="26869"/>
                      <a:pt x="7751" y="34619"/>
                      <a:pt x="17311" y="34619"/>
                    </a:cubicBezTo>
                    <a:cubicBezTo>
                      <a:pt x="26871" y="34619"/>
                      <a:pt x="34619" y="26869"/>
                      <a:pt x="34619" y="17309"/>
                    </a:cubicBezTo>
                    <a:cubicBezTo>
                      <a:pt x="34619" y="7749"/>
                      <a:pt x="26871" y="0"/>
                      <a:pt x="17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68"/>
              <p:cNvSpPr/>
              <p:nvPr/>
            </p:nvSpPr>
            <p:spPr>
              <a:xfrm>
                <a:off x="2006902" y="1668949"/>
                <a:ext cx="9137" cy="348020"/>
              </a:xfrm>
              <a:custGeom>
                <a:avLst/>
                <a:gdLst/>
                <a:ahLst/>
                <a:cxnLst/>
                <a:rect l="l" t="t" r="r" b="b"/>
                <a:pathLst>
                  <a:path w="591" h="22511" extrusionOk="0">
                    <a:moveTo>
                      <a:pt x="1" y="0"/>
                    </a:moveTo>
                    <a:lnTo>
                      <a:pt x="1" y="22510"/>
                    </a:lnTo>
                    <a:lnTo>
                      <a:pt x="590" y="22510"/>
                    </a:lnTo>
                    <a:lnTo>
                      <a:pt x="590"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9" name="Google Shape;5459;p68"/>
            <p:cNvGrpSpPr/>
            <p:nvPr/>
          </p:nvGrpSpPr>
          <p:grpSpPr>
            <a:xfrm>
              <a:off x="1822449" y="1219125"/>
              <a:ext cx="428180" cy="718859"/>
              <a:chOff x="1822449" y="1219125"/>
              <a:chExt cx="428180" cy="718859"/>
            </a:xfrm>
          </p:grpSpPr>
          <p:sp>
            <p:nvSpPr>
              <p:cNvPr id="5460" name="Google Shape;5460;p68"/>
              <p:cNvSpPr/>
              <p:nvPr/>
            </p:nvSpPr>
            <p:spPr>
              <a:xfrm>
                <a:off x="1822449" y="1219125"/>
                <a:ext cx="428180" cy="428180"/>
              </a:xfrm>
              <a:custGeom>
                <a:avLst/>
                <a:gdLst/>
                <a:ahLst/>
                <a:cxnLst/>
                <a:rect l="l" t="t" r="r" b="b"/>
                <a:pathLst>
                  <a:path w="27696" h="27696" extrusionOk="0">
                    <a:moveTo>
                      <a:pt x="13849" y="3462"/>
                    </a:moveTo>
                    <a:cubicBezTo>
                      <a:pt x="19585" y="3462"/>
                      <a:pt x="24233" y="8111"/>
                      <a:pt x="24233" y="13847"/>
                    </a:cubicBezTo>
                    <a:cubicBezTo>
                      <a:pt x="24233" y="19583"/>
                      <a:pt x="19585" y="24233"/>
                      <a:pt x="13849" y="24233"/>
                    </a:cubicBezTo>
                    <a:cubicBezTo>
                      <a:pt x="8113" y="24233"/>
                      <a:pt x="3462" y="19583"/>
                      <a:pt x="3462" y="13847"/>
                    </a:cubicBezTo>
                    <a:cubicBezTo>
                      <a:pt x="3462" y="8111"/>
                      <a:pt x="8113" y="3462"/>
                      <a:pt x="13849" y="3462"/>
                    </a:cubicBezTo>
                    <a:close/>
                    <a:moveTo>
                      <a:pt x="13849" y="0"/>
                    </a:moveTo>
                    <a:cubicBezTo>
                      <a:pt x="6201" y="0"/>
                      <a:pt x="0" y="6199"/>
                      <a:pt x="0" y="13847"/>
                    </a:cubicBezTo>
                    <a:cubicBezTo>
                      <a:pt x="0" y="21495"/>
                      <a:pt x="6201" y="27695"/>
                      <a:pt x="13849" y="27695"/>
                    </a:cubicBezTo>
                    <a:cubicBezTo>
                      <a:pt x="21497" y="27695"/>
                      <a:pt x="27695" y="21495"/>
                      <a:pt x="27695" y="13847"/>
                    </a:cubicBezTo>
                    <a:cubicBezTo>
                      <a:pt x="27695" y="6199"/>
                      <a:pt x="21497" y="0"/>
                      <a:pt x="1384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68"/>
              <p:cNvSpPr/>
              <p:nvPr/>
            </p:nvSpPr>
            <p:spPr>
              <a:xfrm>
                <a:off x="2057039" y="1605996"/>
                <a:ext cx="9121" cy="331988"/>
              </a:xfrm>
              <a:custGeom>
                <a:avLst/>
                <a:gdLst/>
                <a:ahLst/>
                <a:cxnLst/>
                <a:rect l="l" t="t" r="r" b="b"/>
                <a:pathLst>
                  <a:path w="590" h="21474" extrusionOk="0">
                    <a:moveTo>
                      <a:pt x="0" y="0"/>
                    </a:moveTo>
                    <a:lnTo>
                      <a:pt x="0" y="21474"/>
                    </a:lnTo>
                    <a:lnTo>
                      <a:pt x="590" y="21474"/>
                    </a:lnTo>
                    <a:lnTo>
                      <a:pt x="59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2" name="Google Shape;5462;p68"/>
            <p:cNvGrpSpPr/>
            <p:nvPr/>
          </p:nvGrpSpPr>
          <p:grpSpPr>
            <a:xfrm>
              <a:off x="1875972" y="1272648"/>
              <a:ext cx="321135" cy="586939"/>
              <a:chOff x="1875972" y="1272648"/>
              <a:chExt cx="321135" cy="586939"/>
            </a:xfrm>
          </p:grpSpPr>
          <p:sp>
            <p:nvSpPr>
              <p:cNvPr id="5463" name="Google Shape;5463;p68"/>
              <p:cNvSpPr/>
              <p:nvPr/>
            </p:nvSpPr>
            <p:spPr>
              <a:xfrm>
                <a:off x="1875972" y="1272648"/>
                <a:ext cx="321135" cy="321120"/>
              </a:xfrm>
              <a:custGeom>
                <a:avLst/>
                <a:gdLst/>
                <a:ahLst/>
                <a:cxnLst/>
                <a:rect l="l" t="t" r="r" b="b"/>
                <a:pathLst>
                  <a:path w="20772" h="20771" extrusionOk="0">
                    <a:moveTo>
                      <a:pt x="10387" y="3461"/>
                    </a:moveTo>
                    <a:cubicBezTo>
                      <a:pt x="14211" y="3461"/>
                      <a:pt x="17309" y="6561"/>
                      <a:pt x="17309" y="10385"/>
                    </a:cubicBezTo>
                    <a:cubicBezTo>
                      <a:pt x="17309" y="14209"/>
                      <a:pt x="14211" y="17309"/>
                      <a:pt x="10387" y="17309"/>
                    </a:cubicBezTo>
                    <a:cubicBezTo>
                      <a:pt x="6563" y="17309"/>
                      <a:pt x="3462" y="14209"/>
                      <a:pt x="3462" y="10385"/>
                    </a:cubicBezTo>
                    <a:cubicBezTo>
                      <a:pt x="3462" y="6561"/>
                      <a:pt x="6563" y="3461"/>
                      <a:pt x="10387" y="3461"/>
                    </a:cubicBezTo>
                    <a:close/>
                    <a:moveTo>
                      <a:pt x="10387" y="0"/>
                    </a:moveTo>
                    <a:cubicBezTo>
                      <a:pt x="4651" y="0"/>
                      <a:pt x="0" y="4649"/>
                      <a:pt x="0" y="10385"/>
                    </a:cubicBezTo>
                    <a:cubicBezTo>
                      <a:pt x="0" y="16121"/>
                      <a:pt x="4651" y="20771"/>
                      <a:pt x="10387" y="20771"/>
                    </a:cubicBezTo>
                    <a:cubicBezTo>
                      <a:pt x="16123" y="20771"/>
                      <a:pt x="20771" y="16121"/>
                      <a:pt x="20771" y="10385"/>
                    </a:cubicBezTo>
                    <a:cubicBezTo>
                      <a:pt x="20771" y="4649"/>
                      <a:pt x="16123" y="0"/>
                      <a:pt x="1038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68"/>
              <p:cNvSpPr/>
              <p:nvPr/>
            </p:nvSpPr>
            <p:spPr>
              <a:xfrm>
                <a:off x="2107176" y="1533705"/>
                <a:ext cx="9121" cy="325881"/>
              </a:xfrm>
              <a:custGeom>
                <a:avLst/>
                <a:gdLst/>
                <a:ahLst/>
                <a:cxnLst/>
                <a:rect l="l" t="t" r="r" b="b"/>
                <a:pathLst>
                  <a:path w="590" h="21079" extrusionOk="0">
                    <a:moveTo>
                      <a:pt x="0" y="0"/>
                    </a:moveTo>
                    <a:lnTo>
                      <a:pt x="0" y="21078"/>
                    </a:lnTo>
                    <a:lnTo>
                      <a:pt x="589" y="21078"/>
                    </a:lnTo>
                    <a:lnTo>
                      <a:pt x="589"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65" name="Google Shape;5465;p68"/>
          <p:cNvGrpSpPr/>
          <p:nvPr/>
        </p:nvGrpSpPr>
        <p:grpSpPr>
          <a:xfrm>
            <a:off x="7761573" y="3528028"/>
            <a:ext cx="293855" cy="644170"/>
            <a:chOff x="241025" y="3151575"/>
            <a:chExt cx="293855" cy="644170"/>
          </a:xfrm>
        </p:grpSpPr>
        <p:sp>
          <p:nvSpPr>
            <p:cNvPr id="5466" name="Google Shape;5466;p68"/>
            <p:cNvSpPr/>
            <p:nvPr/>
          </p:nvSpPr>
          <p:spPr>
            <a:xfrm>
              <a:off x="241025" y="3151575"/>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68"/>
            <p:cNvSpPr/>
            <p:nvPr/>
          </p:nvSpPr>
          <p:spPr>
            <a:xfrm>
              <a:off x="241347" y="3252796"/>
              <a:ext cx="293533" cy="164134"/>
            </a:xfrm>
            <a:custGeom>
              <a:avLst/>
              <a:gdLst/>
              <a:ahLst/>
              <a:cxnLst/>
              <a:rect l="l" t="t" r="r" b="b"/>
              <a:pathLst>
                <a:path w="19132" h="10698" extrusionOk="0">
                  <a:moveTo>
                    <a:pt x="1" y="1"/>
                  </a:moveTo>
                  <a:lnTo>
                    <a:pt x="1" y="10698"/>
                  </a:lnTo>
                  <a:lnTo>
                    <a:pt x="19132" y="10698"/>
                  </a:lnTo>
                  <a:lnTo>
                    <a:pt x="19132"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8" name="Google Shape;5468;p68"/>
          <p:cNvGrpSpPr/>
          <p:nvPr/>
        </p:nvGrpSpPr>
        <p:grpSpPr>
          <a:xfrm>
            <a:off x="709557" y="2728028"/>
            <a:ext cx="1779649" cy="591620"/>
            <a:chOff x="246070" y="1983375"/>
            <a:chExt cx="1855347" cy="616849"/>
          </a:xfrm>
        </p:grpSpPr>
        <p:sp>
          <p:nvSpPr>
            <p:cNvPr id="5469" name="Google Shape;5469;p68"/>
            <p:cNvSpPr/>
            <p:nvPr/>
          </p:nvSpPr>
          <p:spPr>
            <a:xfrm>
              <a:off x="1072131" y="1983872"/>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68"/>
            <p:cNvSpPr/>
            <p:nvPr/>
          </p:nvSpPr>
          <p:spPr>
            <a:xfrm>
              <a:off x="1430530" y="2193486"/>
              <a:ext cx="46960" cy="46948"/>
            </a:xfrm>
            <a:custGeom>
              <a:avLst/>
              <a:gdLst/>
              <a:ahLst/>
              <a:cxnLst/>
              <a:rect l="l" t="t" r="r" b="b"/>
              <a:pathLst>
                <a:path w="3915" h="3914" extrusionOk="0">
                  <a:moveTo>
                    <a:pt x="3914" y="1"/>
                  </a:moveTo>
                  <a:lnTo>
                    <a:pt x="3914" y="1"/>
                  </a:lnTo>
                  <a:cubicBezTo>
                    <a:pt x="3909" y="6"/>
                    <a:pt x="3902" y="8"/>
                    <a:pt x="3897" y="13"/>
                  </a:cubicBezTo>
                  <a:lnTo>
                    <a:pt x="1" y="3909"/>
                  </a:lnTo>
                  <a:lnTo>
                    <a:pt x="1" y="3914"/>
                  </a:lnTo>
                  <a:lnTo>
                    <a:pt x="3914"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68"/>
            <p:cNvSpPr/>
            <p:nvPr/>
          </p:nvSpPr>
          <p:spPr>
            <a:xfrm>
              <a:off x="1277847" y="2191554"/>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68"/>
            <p:cNvSpPr/>
            <p:nvPr/>
          </p:nvSpPr>
          <p:spPr>
            <a:xfrm>
              <a:off x="1690156" y="2190379"/>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68"/>
            <p:cNvSpPr/>
            <p:nvPr/>
          </p:nvSpPr>
          <p:spPr>
            <a:xfrm>
              <a:off x="1484068" y="1984268"/>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68"/>
            <p:cNvSpPr/>
            <p:nvPr/>
          </p:nvSpPr>
          <p:spPr>
            <a:xfrm flipH="1">
              <a:off x="865779" y="2190662"/>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68"/>
            <p:cNvSpPr/>
            <p:nvPr/>
          </p:nvSpPr>
          <p:spPr>
            <a:xfrm>
              <a:off x="246070" y="1983826"/>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68"/>
            <p:cNvSpPr/>
            <p:nvPr/>
          </p:nvSpPr>
          <p:spPr>
            <a:xfrm flipH="1">
              <a:off x="659595" y="1983375"/>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68"/>
            <p:cNvSpPr/>
            <p:nvPr/>
          </p:nvSpPr>
          <p:spPr>
            <a:xfrm flipH="1">
              <a:off x="451107" y="2189486"/>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78" name="Google Shape;5478;p68"/>
          <p:cNvGrpSpPr/>
          <p:nvPr/>
        </p:nvGrpSpPr>
        <p:grpSpPr>
          <a:xfrm>
            <a:off x="2320424" y="971306"/>
            <a:ext cx="711055" cy="745993"/>
            <a:chOff x="2496269" y="1171698"/>
            <a:chExt cx="761953" cy="799392"/>
          </a:xfrm>
        </p:grpSpPr>
        <p:grpSp>
          <p:nvGrpSpPr>
            <p:cNvPr id="5479" name="Google Shape;5479;p68"/>
            <p:cNvGrpSpPr/>
            <p:nvPr/>
          </p:nvGrpSpPr>
          <p:grpSpPr>
            <a:xfrm>
              <a:off x="2496269" y="1171698"/>
              <a:ext cx="761953" cy="723022"/>
              <a:chOff x="2496269" y="1171698"/>
              <a:chExt cx="761953" cy="723022"/>
            </a:xfrm>
          </p:grpSpPr>
          <p:sp>
            <p:nvSpPr>
              <p:cNvPr id="5480" name="Google Shape;5480;p68"/>
              <p:cNvSpPr/>
              <p:nvPr/>
            </p:nvSpPr>
            <p:spPr>
              <a:xfrm>
                <a:off x="2727495" y="1360642"/>
                <a:ext cx="175877" cy="207414"/>
              </a:xfrm>
              <a:custGeom>
                <a:avLst/>
                <a:gdLst/>
                <a:ahLst/>
                <a:cxnLst/>
                <a:rect l="l" t="t" r="r" b="b"/>
                <a:pathLst>
                  <a:path w="27928" h="32936" extrusionOk="0">
                    <a:moveTo>
                      <a:pt x="23" y="1"/>
                    </a:moveTo>
                    <a:cubicBezTo>
                      <a:pt x="8" y="305"/>
                      <a:pt x="0" y="607"/>
                      <a:pt x="0" y="910"/>
                    </a:cubicBezTo>
                    <a:cubicBezTo>
                      <a:pt x="0" y="18582"/>
                      <a:pt x="10658" y="32913"/>
                      <a:pt x="23811" y="32936"/>
                    </a:cubicBezTo>
                    <a:cubicBezTo>
                      <a:pt x="23827" y="32889"/>
                      <a:pt x="23841" y="32840"/>
                      <a:pt x="23857" y="32793"/>
                    </a:cubicBezTo>
                    <a:cubicBezTo>
                      <a:pt x="27927" y="20274"/>
                      <a:pt x="17588" y="5690"/>
                      <a:pt x="767" y="228"/>
                    </a:cubicBezTo>
                    <a:cubicBezTo>
                      <a:pt x="522" y="146"/>
                      <a:pt x="273" y="70"/>
                      <a:pt x="2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68"/>
              <p:cNvSpPr/>
              <p:nvPr/>
            </p:nvSpPr>
            <p:spPr>
              <a:xfrm>
                <a:off x="2730750" y="1408371"/>
                <a:ext cx="108720" cy="144761"/>
              </a:xfrm>
              <a:custGeom>
                <a:avLst/>
                <a:gdLst/>
                <a:ahLst/>
                <a:cxnLst/>
                <a:rect l="l" t="t" r="r" b="b"/>
                <a:pathLst>
                  <a:path w="17264" h="22987" extrusionOk="0">
                    <a:moveTo>
                      <a:pt x="0" y="0"/>
                    </a:moveTo>
                    <a:lnTo>
                      <a:pt x="0" y="0"/>
                    </a:lnTo>
                    <a:cubicBezTo>
                      <a:pt x="1651" y="10456"/>
                      <a:pt x="7099" y="19031"/>
                      <a:pt x="14312" y="22986"/>
                    </a:cubicBezTo>
                    <a:cubicBezTo>
                      <a:pt x="14397" y="22780"/>
                      <a:pt x="14469" y="22572"/>
                      <a:pt x="14539" y="22357"/>
                    </a:cubicBezTo>
                    <a:cubicBezTo>
                      <a:pt x="17263" y="13961"/>
                      <a:pt x="10821" y="4262"/>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82" name="Google Shape;5482;p68"/>
              <p:cNvGrpSpPr/>
              <p:nvPr/>
            </p:nvGrpSpPr>
            <p:grpSpPr>
              <a:xfrm>
                <a:off x="2496269" y="1171698"/>
                <a:ext cx="761953" cy="723022"/>
                <a:chOff x="2496269" y="1120652"/>
                <a:chExt cx="761953" cy="723022"/>
              </a:xfrm>
            </p:grpSpPr>
            <p:grpSp>
              <p:nvGrpSpPr>
                <p:cNvPr id="5483" name="Google Shape;5483;p68"/>
                <p:cNvGrpSpPr/>
                <p:nvPr/>
              </p:nvGrpSpPr>
              <p:grpSpPr>
                <a:xfrm>
                  <a:off x="2496269" y="1120652"/>
                  <a:ext cx="761953" cy="723022"/>
                  <a:chOff x="2496269" y="1120652"/>
                  <a:chExt cx="761953" cy="723022"/>
                </a:xfrm>
              </p:grpSpPr>
              <p:grpSp>
                <p:nvGrpSpPr>
                  <p:cNvPr id="5484" name="Google Shape;5484;p68"/>
                  <p:cNvGrpSpPr/>
                  <p:nvPr/>
                </p:nvGrpSpPr>
                <p:grpSpPr>
                  <a:xfrm>
                    <a:off x="2496269" y="1304589"/>
                    <a:ext cx="407089" cy="305057"/>
                    <a:chOff x="2496269" y="1304589"/>
                    <a:chExt cx="407089" cy="305057"/>
                  </a:xfrm>
                </p:grpSpPr>
                <p:sp>
                  <p:nvSpPr>
                    <p:cNvPr id="5485" name="Google Shape;5485;p68"/>
                    <p:cNvSpPr/>
                    <p:nvPr/>
                  </p:nvSpPr>
                  <p:spPr>
                    <a:xfrm>
                      <a:off x="2496269" y="1304589"/>
                      <a:ext cx="407089" cy="305057"/>
                    </a:xfrm>
                    <a:custGeom>
                      <a:avLst/>
                      <a:gdLst/>
                      <a:ahLst/>
                      <a:cxnLst/>
                      <a:rect l="l" t="t" r="r" b="b"/>
                      <a:pathLst>
                        <a:path w="64643" h="48441" extrusionOk="0">
                          <a:moveTo>
                            <a:pt x="30753" y="1"/>
                          </a:moveTo>
                          <a:cubicBezTo>
                            <a:pt x="19553" y="1"/>
                            <a:pt x="7984" y="7486"/>
                            <a:pt x="2667" y="11431"/>
                          </a:cubicBezTo>
                          <a:cubicBezTo>
                            <a:pt x="790" y="12823"/>
                            <a:pt x="1" y="15251"/>
                            <a:pt x="700" y="17481"/>
                          </a:cubicBezTo>
                          <a:cubicBezTo>
                            <a:pt x="3088" y="25083"/>
                            <a:pt x="9784" y="42156"/>
                            <a:pt x="22752" y="46368"/>
                          </a:cubicBezTo>
                          <a:cubicBezTo>
                            <a:pt x="27079" y="47774"/>
                            <a:pt x="31415" y="48440"/>
                            <a:pt x="35536" y="48440"/>
                          </a:cubicBezTo>
                          <a:cubicBezTo>
                            <a:pt x="47434" y="48440"/>
                            <a:pt x="57553" y="42892"/>
                            <a:pt x="60574" y="33591"/>
                          </a:cubicBezTo>
                          <a:cubicBezTo>
                            <a:pt x="64643" y="21069"/>
                            <a:pt x="54305" y="6487"/>
                            <a:pt x="37486" y="1023"/>
                          </a:cubicBezTo>
                          <a:cubicBezTo>
                            <a:pt x="35294" y="311"/>
                            <a:pt x="33031" y="1"/>
                            <a:pt x="3075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68"/>
                    <p:cNvSpPr/>
                    <p:nvPr/>
                  </p:nvSpPr>
                  <p:spPr>
                    <a:xfrm>
                      <a:off x="2553035" y="1348798"/>
                      <a:ext cx="287349" cy="215318"/>
                    </a:xfrm>
                    <a:custGeom>
                      <a:avLst/>
                      <a:gdLst/>
                      <a:ahLst/>
                      <a:cxnLst/>
                      <a:rect l="l" t="t" r="r" b="b"/>
                      <a:pathLst>
                        <a:path w="45629" h="34191" extrusionOk="0">
                          <a:moveTo>
                            <a:pt x="21708" y="1"/>
                          </a:moveTo>
                          <a:cubicBezTo>
                            <a:pt x="13802" y="1"/>
                            <a:pt x="5636" y="5284"/>
                            <a:pt x="1883" y="8068"/>
                          </a:cubicBezTo>
                          <a:cubicBezTo>
                            <a:pt x="558" y="9051"/>
                            <a:pt x="1" y="10765"/>
                            <a:pt x="495" y="12338"/>
                          </a:cubicBezTo>
                          <a:cubicBezTo>
                            <a:pt x="2180" y="17705"/>
                            <a:pt x="6907" y="29755"/>
                            <a:pt x="16060" y="32728"/>
                          </a:cubicBezTo>
                          <a:cubicBezTo>
                            <a:pt x="19114" y="33721"/>
                            <a:pt x="22174" y="34191"/>
                            <a:pt x="25083" y="34191"/>
                          </a:cubicBezTo>
                          <a:cubicBezTo>
                            <a:pt x="33482" y="34191"/>
                            <a:pt x="40624" y="30275"/>
                            <a:pt x="42758" y="23710"/>
                          </a:cubicBezTo>
                          <a:cubicBezTo>
                            <a:pt x="45629" y="14872"/>
                            <a:pt x="38332" y="4579"/>
                            <a:pt x="26460" y="722"/>
                          </a:cubicBezTo>
                          <a:cubicBezTo>
                            <a:pt x="24913" y="219"/>
                            <a:pt x="23316" y="1"/>
                            <a:pt x="2170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87" name="Google Shape;5487;p68"/>
                  <p:cNvGrpSpPr/>
                  <p:nvPr/>
                </p:nvGrpSpPr>
                <p:grpSpPr>
                  <a:xfrm>
                    <a:off x="2586468" y="1493376"/>
                    <a:ext cx="358850" cy="349656"/>
                    <a:chOff x="2586468" y="1493376"/>
                    <a:chExt cx="358850" cy="349656"/>
                  </a:xfrm>
                </p:grpSpPr>
                <p:sp>
                  <p:nvSpPr>
                    <p:cNvPr id="5488" name="Google Shape;5488;p68"/>
                    <p:cNvSpPr/>
                    <p:nvPr/>
                  </p:nvSpPr>
                  <p:spPr>
                    <a:xfrm>
                      <a:off x="2586468" y="1493376"/>
                      <a:ext cx="358850" cy="349656"/>
                    </a:xfrm>
                    <a:custGeom>
                      <a:avLst/>
                      <a:gdLst/>
                      <a:ahLst/>
                      <a:cxnLst/>
                      <a:rect l="l" t="t" r="r" b="b"/>
                      <a:pathLst>
                        <a:path w="56983" h="55523" extrusionOk="0">
                          <a:moveTo>
                            <a:pt x="34707" y="1"/>
                          </a:moveTo>
                          <a:cubicBezTo>
                            <a:pt x="25495" y="1"/>
                            <a:pt x="15173" y="5595"/>
                            <a:pt x="8014" y="15449"/>
                          </a:cubicBezTo>
                          <a:cubicBezTo>
                            <a:pt x="0" y="26478"/>
                            <a:pt x="4618" y="44227"/>
                            <a:pt x="7155" y="51780"/>
                          </a:cubicBezTo>
                          <a:cubicBezTo>
                            <a:pt x="7899" y="53993"/>
                            <a:pt x="9963" y="55495"/>
                            <a:pt x="12300" y="55519"/>
                          </a:cubicBezTo>
                          <a:cubicBezTo>
                            <a:pt x="12540" y="55521"/>
                            <a:pt x="12789" y="55522"/>
                            <a:pt x="13047" y="55522"/>
                          </a:cubicBezTo>
                          <a:cubicBezTo>
                            <a:pt x="21360" y="55522"/>
                            <a:pt x="38815" y="54172"/>
                            <a:pt x="46588" y="43473"/>
                          </a:cubicBezTo>
                          <a:cubicBezTo>
                            <a:pt x="56983" y="29165"/>
                            <a:pt x="56776" y="11292"/>
                            <a:pt x="46123" y="3553"/>
                          </a:cubicBezTo>
                          <a:cubicBezTo>
                            <a:pt x="42808" y="1144"/>
                            <a:pt x="38871" y="1"/>
                            <a:pt x="347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68"/>
                    <p:cNvSpPr/>
                    <p:nvPr/>
                  </p:nvSpPr>
                  <p:spPr>
                    <a:xfrm>
                      <a:off x="2637642" y="1547125"/>
                      <a:ext cx="253304" cy="246805"/>
                    </a:xfrm>
                    <a:custGeom>
                      <a:avLst/>
                      <a:gdLst/>
                      <a:ahLst/>
                      <a:cxnLst/>
                      <a:rect l="l" t="t" r="r" b="b"/>
                      <a:pathLst>
                        <a:path w="40223" h="39191" extrusionOk="0">
                          <a:moveTo>
                            <a:pt x="24498" y="0"/>
                          </a:moveTo>
                          <a:cubicBezTo>
                            <a:pt x="17996" y="0"/>
                            <a:pt x="10711" y="3949"/>
                            <a:pt x="5658" y="10904"/>
                          </a:cubicBezTo>
                          <a:cubicBezTo>
                            <a:pt x="0" y="18689"/>
                            <a:pt x="3260" y="31216"/>
                            <a:pt x="5050" y="36549"/>
                          </a:cubicBezTo>
                          <a:cubicBezTo>
                            <a:pt x="5576" y="38112"/>
                            <a:pt x="7034" y="39172"/>
                            <a:pt x="8683" y="39188"/>
                          </a:cubicBezTo>
                          <a:cubicBezTo>
                            <a:pt x="8850" y="39189"/>
                            <a:pt x="9023" y="39190"/>
                            <a:pt x="9202" y="39190"/>
                          </a:cubicBezTo>
                          <a:cubicBezTo>
                            <a:pt x="15067" y="39190"/>
                            <a:pt x="27395" y="38240"/>
                            <a:pt x="32884" y="30686"/>
                          </a:cubicBezTo>
                          <a:cubicBezTo>
                            <a:pt x="40222" y="20587"/>
                            <a:pt x="40075" y="7970"/>
                            <a:pt x="32557" y="2508"/>
                          </a:cubicBezTo>
                          <a:cubicBezTo>
                            <a:pt x="30217" y="807"/>
                            <a:pt x="27437" y="0"/>
                            <a:pt x="2449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0" name="Google Shape;5490;p68"/>
                  <p:cNvGrpSpPr/>
                  <p:nvPr/>
                </p:nvGrpSpPr>
                <p:grpSpPr>
                  <a:xfrm>
                    <a:off x="2807939" y="1494024"/>
                    <a:ext cx="358857" cy="349650"/>
                    <a:chOff x="2807939" y="1494024"/>
                    <a:chExt cx="358857" cy="349650"/>
                  </a:xfrm>
                </p:grpSpPr>
                <p:sp>
                  <p:nvSpPr>
                    <p:cNvPr id="5491" name="Google Shape;5491;p68"/>
                    <p:cNvSpPr/>
                    <p:nvPr/>
                  </p:nvSpPr>
                  <p:spPr>
                    <a:xfrm>
                      <a:off x="2807939" y="1494024"/>
                      <a:ext cx="358857" cy="349650"/>
                    </a:xfrm>
                    <a:custGeom>
                      <a:avLst/>
                      <a:gdLst/>
                      <a:ahLst/>
                      <a:cxnLst/>
                      <a:rect l="l" t="t" r="r" b="b"/>
                      <a:pathLst>
                        <a:path w="56984" h="55522" extrusionOk="0">
                          <a:moveTo>
                            <a:pt x="22278" y="1"/>
                          </a:moveTo>
                          <a:cubicBezTo>
                            <a:pt x="18114" y="1"/>
                            <a:pt x="14176" y="1144"/>
                            <a:pt x="10859" y="3554"/>
                          </a:cubicBezTo>
                          <a:cubicBezTo>
                            <a:pt x="208" y="11292"/>
                            <a:pt x="0" y="29166"/>
                            <a:pt x="10397" y="43474"/>
                          </a:cubicBezTo>
                          <a:cubicBezTo>
                            <a:pt x="18169" y="54172"/>
                            <a:pt x="35625" y="55522"/>
                            <a:pt x="43938" y="55522"/>
                          </a:cubicBezTo>
                          <a:cubicBezTo>
                            <a:pt x="44195" y="55522"/>
                            <a:pt x="44444" y="55521"/>
                            <a:pt x="44684" y="55518"/>
                          </a:cubicBezTo>
                          <a:cubicBezTo>
                            <a:pt x="47019" y="55494"/>
                            <a:pt x="49085" y="53995"/>
                            <a:pt x="49830" y="51779"/>
                          </a:cubicBezTo>
                          <a:cubicBezTo>
                            <a:pt x="52366" y="44227"/>
                            <a:pt x="56984" y="26479"/>
                            <a:pt x="48970" y="15448"/>
                          </a:cubicBezTo>
                          <a:cubicBezTo>
                            <a:pt x="41810" y="5595"/>
                            <a:pt x="31490" y="1"/>
                            <a:pt x="2227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68"/>
                    <p:cNvSpPr/>
                    <p:nvPr/>
                  </p:nvSpPr>
                  <p:spPr>
                    <a:xfrm>
                      <a:off x="2862324" y="1547767"/>
                      <a:ext cx="253292" cy="246805"/>
                    </a:xfrm>
                    <a:custGeom>
                      <a:avLst/>
                      <a:gdLst/>
                      <a:ahLst/>
                      <a:cxnLst/>
                      <a:rect l="l" t="t" r="r" b="b"/>
                      <a:pathLst>
                        <a:path w="40221" h="39191" extrusionOk="0">
                          <a:moveTo>
                            <a:pt x="15724" y="1"/>
                          </a:moveTo>
                          <a:cubicBezTo>
                            <a:pt x="12785" y="1"/>
                            <a:pt x="10006" y="808"/>
                            <a:pt x="7665" y="2508"/>
                          </a:cubicBezTo>
                          <a:cubicBezTo>
                            <a:pt x="146" y="7971"/>
                            <a:pt x="0" y="20586"/>
                            <a:pt x="7339" y="30686"/>
                          </a:cubicBezTo>
                          <a:cubicBezTo>
                            <a:pt x="12827" y="38240"/>
                            <a:pt x="25156" y="39191"/>
                            <a:pt x="31020" y="39191"/>
                          </a:cubicBezTo>
                          <a:cubicBezTo>
                            <a:pt x="31200" y="39191"/>
                            <a:pt x="31373" y="39190"/>
                            <a:pt x="31540" y="39188"/>
                          </a:cubicBezTo>
                          <a:cubicBezTo>
                            <a:pt x="33188" y="39171"/>
                            <a:pt x="34646" y="38111"/>
                            <a:pt x="35173" y="36549"/>
                          </a:cubicBezTo>
                          <a:cubicBezTo>
                            <a:pt x="36962" y="31218"/>
                            <a:pt x="40221" y="18689"/>
                            <a:pt x="34564" y="10904"/>
                          </a:cubicBezTo>
                          <a:cubicBezTo>
                            <a:pt x="29511" y="3949"/>
                            <a:pt x="22226" y="1"/>
                            <a:pt x="1572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3" name="Google Shape;5493;p68"/>
                  <p:cNvGrpSpPr/>
                  <p:nvPr/>
                </p:nvGrpSpPr>
                <p:grpSpPr>
                  <a:xfrm>
                    <a:off x="2851133" y="1305635"/>
                    <a:ext cx="407089" cy="305057"/>
                    <a:chOff x="2851133" y="1305635"/>
                    <a:chExt cx="407089" cy="305057"/>
                  </a:xfrm>
                </p:grpSpPr>
                <p:sp>
                  <p:nvSpPr>
                    <p:cNvPr id="5494" name="Google Shape;5494;p68"/>
                    <p:cNvSpPr/>
                    <p:nvPr/>
                  </p:nvSpPr>
                  <p:spPr>
                    <a:xfrm>
                      <a:off x="2851133" y="1305635"/>
                      <a:ext cx="407089" cy="305057"/>
                    </a:xfrm>
                    <a:custGeom>
                      <a:avLst/>
                      <a:gdLst/>
                      <a:ahLst/>
                      <a:cxnLst/>
                      <a:rect l="l" t="t" r="r" b="b"/>
                      <a:pathLst>
                        <a:path w="64643" h="48441" extrusionOk="0">
                          <a:moveTo>
                            <a:pt x="33890" y="0"/>
                          </a:moveTo>
                          <a:cubicBezTo>
                            <a:pt x="31613" y="0"/>
                            <a:pt x="29351" y="310"/>
                            <a:pt x="27159" y="1022"/>
                          </a:cubicBezTo>
                          <a:cubicBezTo>
                            <a:pt x="10340" y="6488"/>
                            <a:pt x="1" y="21070"/>
                            <a:pt x="4069" y="33592"/>
                          </a:cubicBezTo>
                          <a:cubicBezTo>
                            <a:pt x="7091" y="42892"/>
                            <a:pt x="17210" y="48440"/>
                            <a:pt x="29109" y="48440"/>
                          </a:cubicBezTo>
                          <a:cubicBezTo>
                            <a:pt x="33230" y="48440"/>
                            <a:pt x="37566" y="47775"/>
                            <a:pt x="41894" y="46368"/>
                          </a:cubicBezTo>
                          <a:cubicBezTo>
                            <a:pt x="54859" y="42156"/>
                            <a:pt x="61556" y="25084"/>
                            <a:pt x="63944" y="17481"/>
                          </a:cubicBezTo>
                          <a:cubicBezTo>
                            <a:pt x="64643" y="15252"/>
                            <a:pt x="63854" y="12824"/>
                            <a:pt x="61978" y="11431"/>
                          </a:cubicBezTo>
                          <a:cubicBezTo>
                            <a:pt x="56659" y="7487"/>
                            <a:pt x="45090" y="0"/>
                            <a:pt x="338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68"/>
                    <p:cNvSpPr/>
                    <p:nvPr/>
                  </p:nvSpPr>
                  <p:spPr>
                    <a:xfrm>
                      <a:off x="2914108" y="1349849"/>
                      <a:ext cx="287349" cy="215324"/>
                    </a:xfrm>
                    <a:custGeom>
                      <a:avLst/>
                      <a:gdLst/>
                      <a:ahLst/>
                      <a:cxnLst/>
                      <a:rect l="l" t="t" r="r" b="b"/>
                      <a:pathLst>
                        <a:path w="45629" h="34192" extrusionOk="0">
                          <a:moveTo>
                            <a:pt x="23922" y="0"/>
                          </a:moveTo>
                          <a:cubicBezTo>
                            <a:pt x="22315" y="0"/>
                            <a:pt x="20718" y="219"/>
                            <a:pt x="19171" y="721"/>
                          </a:cubicBezTo>
                          <a:cubicBezTo>
                            <a:pt x="7297" y="4578"/>
                            <a:pt x="1" y="14871"/>
                            <a:pt x="2873" y="23711"/>
                          </a:cubicBezTo>
                          <a:cubicBezTo>
                            <a:pt x="5006" y="30275"/>
                            <a:pt x="12149" y="34191"/>
                            <a:pt x="20548" y="34191"/>
                          </a:cubicBezTo>
                          <a:cubicBezTo>
                            <a:pt x="23457" y="34191"/>
                            <a:pt x="26517" y="33722"/>
                            <a:pt x="29571" y="32729"/>
                          </a:cubicBezTo>
                          <a:cubicBezTo>
                            <a:pt x="38723" y="29754"/>
                            <a:pt x="43449" y="17704"/>
                            <a:pt x="45134" y="12339"/>
                          </a:cubicBezTo>
                          <a:cubicBezTo>
                            <a:pt x="45629" y="10764"/>
                            <a:pt x="45072" y="9052"/>
                            <a:pt x="43747" y="8069"/>
                          </a:cubicBezTo>
                          <a:cubicBezTo>
                            <a:pt x="39994" y="5284"/>
                            <a:pt x="31827" y="0"/>
                            <a:pt x="239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6" name="Google Shape;5496;p68"/>
                  <p:cNvGrpSpPr/>
                  <p:nvPr/>
                </p:nvGrpSpPr>
                <p:grpSpPr>
                  <a:xfrm>
                    <a:off x="2727495" y="1120652"/>
                    <a:ext cx="300271" cy="396358"/>
                    <a:chOff x="2727495" y="1120652"/>
                    <a:chExt cx="300271" cy="396358"/>
                  </a:xfrm>
                </p:grpSpPr>
                <p:sp>
                  <p:nvSpPr>
                    <p:cNvPr id="5497" name="Google Shape;5497;p68"/>
                    <p:cNvSpPr/>
                    <p:nvPr/>
                  </p:nvSpPr>
                  <p:spPr>
                    <a:xfrm>
                      <a:off x="2727495" y="1120652"/>
                      <a:ext cx="300271" cy="396358"/>
                    </a:xfrm>
                    <a:custGeom>
                      <a:avLst/>
                      <a:gdLst/>
                      <a:ahLst/>
                      <a:cxnLst/>
                      <a:rect l="l" t="t" r="r" b="b"/>
                      <a:pathLst>
                        <a:path w="47681" h="62939" extrusionOk="0">
                          <a:moveTo>
                            <a:pt x="23841" y="1"/>
                          </a:moveTo>
                          <a:cubicBezTo>
                            <a:pt x="22726" y="1"/>
                            <a:pt x="21612" y="340"/>
                            <a:pt x="20660" y="1017"/>
                          </a:cubicBezTo>
                          <a:cubicBezTo>
                            <a:pt x="14168" y="5636"/>
                            <a:pt x="0" y="17280"/>
                            <a:pt x="0" y="30914"/>
                          </a:cubicBezTo>
                          <a:cubicBezTo>
                            <a:pt x="0" y="48601"/>
                            <a:pt x="10674" y="62939"/>
                            <a:pt x="23841" y="62939"/>
                          </a:cubicBezTo>
                          <a:cubicBezTo>
                            <a:pt x="37007" y="62939"/>
                            <a:pt x="47681" y="48600"/>
                            <a:pt x="47681" y="30914"/>
                          </a:cubicBezTo>
                          <a:cubicBezTo>
                            <a:pt x="47681" y="17280"/>
                            <a:pt x="33513" y="5636"/>
                            <a:pt x="27022" y="1017"/>
                          </a:cubicBezTo>
                          <a:cubicBezTo>
                            <a:pt x="26069" y="340"/>
                            <a:pt x="24955" y="1"/>
                            <a:pt x="238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68"/>
                    <p:cNvSpPr/>
                    <p:nvPr/>
                  </p:nvSpPr>
                  <p:spPr>
                    <a:xfrm>
                      <a:off x="2771659" y="1178948"/>
                      <a:ext cx="211942" cy="279766"/>
                    </a:xfrm>
                    <a:custGeom>
                      <a:avLst/>
                      <a:gdLst/>
                      <a:ahLst/>
                      <a:cxnLst/>
                      <a:rect l="l" t="t" r="r" b="b"/>
                      <a:pathLst>
                        <a:path w="33655" h="44425" extrusionOk="0">
                          <a:moveTo>
                            <a:pt x="16828" y="0"/>
                          </a:moveTo>
                          <a:cubicBezTo>
                            <a:pt x="16042" y="0"/>
                            <a:pt x="15255" y="240"/>
                            <a:pt x="14583" y="718"/>
                          </a:cubicBezTo>
                          <a:cubicBezTo>
                            <a:pt x="10001" y="3978"/>
                            <a:pt x="1" y="12199"/>
                            <a:pt x="1" y="21821"/>
                          </a:cubicBezTo>
                          <a:cubicBezTo>
                            <a:pt x="1" y="34304"/>
                            <a:pt x="7534" y="44424"/>
                            <a:pt x="16828" y="44424"/>
                          </a:cubicBezTo>
                          <a:cubicBezTo>
                            <a:pt x="26121" y="44424"/>
                            <a:pt x="33654" y="34304"/>
                            <a:pt x="33654" y="21821"/>
                          </a:cubicBezTo>
                          <a:cubicBezTo>
                            <a:pt x="33654" y="12197"/>
                            <a:pt x="23654" y="3978"/>
                            <a:pt x="19072" y="718"/>
                          </a:cubicBezTo>
                          <a:cubicBezTo>
                            <a:pt x="18401" y="240"/>
                            <a:pt x="17615" y="0"/>
                            <a:pt x="1682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99" name="Google Shape;5499;p68"/>
                <p:cNvGrpSpPr/>
                <p:nvPr/>
              </p:nvGrpSpPr>
              <p:grpSpPr>
                <a:xfrm>
                  <a:off x="2722305" y="1350460"/>
                  <a:ext cx="308357" cy="308344"/>
                  <a:chOff x="2722305" y="1350460"/>
                  <a:chExt cx="308357" cy="308344"/>
                </a:xfrm>
              </p:grpSpPr>
              <p:sp>
                <p:nvSpPr>
                  <p:cNvPr id="5500" name="Google Shape;5500;p68"/>
                  <p:cNvSpPr/>
                  <p:nvPr/>
                </p:nvSpPr>
                <p:spPr>
                  <a:xfrm>
                    <a:off x="2722305" y="1350460"/>
                    <a:ext cx="308357" cy="308344"/>
                  </a:xfrm>
                  <a:custGeom>
                    <a:avLst/>
                    <a:gdLst/>
                    <a:ahLst/>
                    <a:cxnLst/>
                    <a:rect l="l" t="t" r="r" b="b"/>
                    <a:pathLst>
                      <a:path w="48965" h="48963" extrusionOk="0">
                        <a:moveTo>
                          <a:pt x="24483" y="0"/>
                        </a:moveTo>
                        <a:cubicBezTo>
                          <a:pt x="17990" y="0"/>
                          <a:pt x="11762" y="2578"/>
                          <a:pt x="7172" y="7170"/>
                        </a:cubicBezTo>
                        <a:cubicBezTo>
                          <a:pt x="2580" y="11762"/>
                          <a:pt x="0" y="17988"/>
                          <a:pt x="0" y="24481"/>
                        </a:cubicBezTo>
                        <a:cubicBezTo>
                          <a:pt x="0" y="30974"/>
                          <a:pt x="2580" y="37202"/>
                          <a:pt x="7172" y="41792"/>
                        </a:cubicBezTo>
                        <a:cubicBezTo>
                          <a:pt x="11762" y="46384"/>
                          <a:pt x="17990" y="48962"/>
                          <a:pt x="24483" y="48962"/>
                        </a:cubicBezTo>
                        <a:cubicBezTo>
                          <a:pt x="30976" y="48962"/>
                          <a:pt x="37202" y="46384"/>
                          <a:pt x="41794" y="41792"/>
                        </a:cubicBezTo>
                        <a:cubicBezTo>
                          <a:pt x="46386" y="37202"/>
                          <a:pt x="48964" y="30974"/>
                          <a:pt x="48964" y="24481"/>
                        </a:cubicBezTo>
                        <a:cubicBezTo>
                          <a:pt x="48964" y="17988"/>
                          <a:pt x="46386" y="11762"/>
                          <a:pt x="41794" y="7170"/>
                        </a:cubicBezTo>
                        <a:cubicBezTo>
                          <a:pt x="37202" y="2578"/>
                          <a:pt x="30976" y="0"/>
                          <a:pt x="244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01" name="Google Shape;5501;p68"/>
                  <p:cNvGrpSpPr/>
                  <p:nvPr/>
                </p:nvGrpSpPr>
                <p:grpSpPr>
                  <a:xfrm>
                    <a:off x="2725064" y="1364529"/>
                    <a:ext cx="297954" cy="280182"/>
                    <a:chOff x="2725064" y="1364529"/>
                    <a:chExt cx="297954" cy="280182"/>
                  </a:xfrm>
                </p:grpSpPr>
                <p:sp>
                  <p:nvSpPr>
                    <p:cNvPr id="5502" name="Google Shape;5502;p68"/>
                    <p:cNvSpPr/>
                    <p:nvPr/>
                  </p:nvSpPr>
                  <p:spPr>
                    <a:xfrm>
                      <a:off x="2743100" y="1541306"/>
                      <a:ext cx="133551" cy="103405"/>
                    </a:xfrm>
                    <a:custGeom>
                      <a:avLst/>
                      <a:gdLst/>
                      <a:ahLst/>
                      <a:cxnLst/>
                      <a:rect l="l" t="t" r="r" b="b"/>
                      <a:pathLst>
                        <a:path w="21207" h="16420" extrusionOk="0">
                          <a:moveTo>
                            <a:pt x="3036" y="0"/>
                          </a:moveTo>
                          <a:lnTo>
                            <a:pt x="0" y="986"/>
                          </a:lnTo>
                          <a:cubicBezTo>
                            <a:pt x="722" y="3230"/>
                            <a:pt x="1796" y="5346"/>
                            <a:pt x="3182" y="7254"/>
                          </a:cubicBezTo>
                          <a:cubicBezTo>
                            <a:pt x="7535" y="13245"/>
                            <a:pt x="14318" y="16420"/>
                            <a:pt x="21196" y="16420"/>
                          </a:cubicBezTo>
                          <a:cubicBezTo>
                            <a:pt x="21200" y="16420"/>
                            <a:pt x="21203" y="16420"/>
                            <a:pt x="21207" y="16420"/>
                          </a:cubicBezTo>
                          <a:lnTo>
                            <a:pt x="21207" y="13228"/>
                          </a:lnTo>
                          <a:cubicBezTo>
                            <a:pt x="21203" y="13228"/>
                            <a:pt x="21200" y="13228"/>
                            <a:pt x="21196" y="13228"/>
                          </a:cubicBezTo>
                          <a:cubicBezTo>
                            <a:pt x="15304" y="13228"/>
                            <a:pt x="9492" y="10509"/>
                            <a:pt x="5763" y="5378"/>
                          </a:cubicBezTo>
                          <a:cubicBezTo>
                            <a:pt x="4574" y="3741"/>
                            <a:pt x="3654" y="1926"/>
                            <a:pt x="303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68"/>
                    <p:cNvSpPr/>
                    <p:nvPr/>
                  </p:nvSpPr>
                  <p:spPr>
                    <a:xfrm>
                      <a:off x="2946887" y="1391180"/>
                      <a:ext cx="76130" cy="156241"/>
                    </a:xfrm>
                    <a:custGeom>
                      <a:avLst/>
                      <a:gdLst/>
                      <a:ahLst/>
                      <a:cxnLst/>
                      <a:rect l="l" t="t" r="r" b="b"/>
                      <a:pathLst>
                        <a:path w="12089" h="24810" extrusionOk="0">
                          <a:moveTo>
                            <a:pt x="1876" y="0"/>
                          </a:moveTo>
                          <a:lnTo>
                            <a:pt x="0" y="2583"/>
                          </a:lnTo>
                          <a:cubicBezTo>
                            <a:pt x="1626" y="3761"/>
                            <a:pt x="3057" y="5189"/>
                            <a:pt x="4237" y="6815"/>
                          </a:cubicBezTo>
                          <a:cubicBezTo>
                            <a:pt x="7945" y="11917"/>
                            <a:pt x="8749" y="18242"/>
                            <a:pt x="6967" y="23823"/>
                          </a:cubicBezTo>
                          <a:lnTo>
                            <a:pt x="10002" y="24809"/>
                          </a:lnTo>
                          <a:cubicBezTo>
                            <a:pt x="12089" y="18290"/>
                            <a:pt x="11151" y="10899"/>
                            <a:pt x="6820" y="4938"/>
                          </a:cubicBezTo>
                          <a:cubicBezTo>
                            <a:pt x="5442" y="3041"/>
                            <a:pt x="3774" y="1375"/>
                            <a:pt x="187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68"/>
                    <p:cNvSpPr/>
                    <p:nvPr/>
                  </p:nvSpPr>
                  <p:spPr>
                    <a:xfrm>
                      <a:off x="2794481" y="1364529"/>
                      <a:ext cx="164226" cy="42924"/>
                    </a:xfrm>
                    <a:custGeom>
                      <a:avLst/>
                      <a:gdLst/>
                      <a:ahLst/>
                      <a:cxnLst/>
                      <a:rect l="l" t="t" r="r" b="b"/>
                      <a:pathLst>
                        <a:path w="26078" h="6816" extrusionOk="0">
                          <a:moveTo>
                            <a:pt x="12998" y="1"/>
                          </a:moveTo>
                          <a:cubicBezTo>
                            <a:pt x="8487" y="1"/>
                            <a:pt x="3935" y="1369"/>
                            <a:pt x="0" y="4210"/>
                          </a:cubicBezTo>
                          <a:lnTo>
                            <a:pt x="1876" y="6793"/>
                          </a:lnTo>
                          <a:cubicBezTo>
                            <a:pt x="5245" y="4363"/>
                            <a:pt x="9141" y="3193"/>
                            <a:pt x="13002" y="3193"/>
                          </a:cubicBezTo>
                          <a:cubicBezTo>
                            <a:pt x="16976" y="3193"/>
                            <a:pt x="20914" y="4433"/>
                            <a:pt x="24201" y="6815"/>
                          </a:cubicBezTo>
                          <a:lnTo>
                            <a:pt x="26077" y="4232"/>
                          </a:lnTo>
                          <a:cubicBezTo>
                            <a:pt x="22239" y="1449"/>
                            <a:pt x="17641" y="1"/>
                            <a:pt x="1299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68"/>
                    <p:cNvSpPr/>
                    <p:nvPr/>
                  </p:nvSpPr>
                  <p:spPr>
                    <a:xfrm>
                      <a:off x="2876645" y="1541193"/>
                      <a:ext cx="133243" cy="103518"/>
                    </a:xfrm>
                    <a:custGeom>
                      <a:avLst/>
                      <a:gdLst/>
                      <a:ahLst/>
                      <a:cxnLst/>
                      <a:rect l="l" t="t" r="r" b="b"/>
                      <a:pathLst>
                        <a:path w="21158" h="16438" extrusionOk="0">
                          <a:moveTo>
                            <a:pt x="18123" y="1"/>
                          </a:moveTo>
                          <a:cubicBezTo>
                            <a:pt x="16894" y="3864"/>
                            <a:pt x="14459" y="7233"/>
                            <a:pt x="11175" y="9612"/>
                          </a:cubicBezTo>
                          <a:cubicBezTo>
                            <a:pt x="7931" y="11974"/>
                            <a:pt x="4021" y="13246"/>
                            <a:pt x="8" y="13246"/>
                          </a:cubicBezTo>
                          <a:cubicBezTo>
                            <a:pt x="6" y="13246"/>
                            <a:pt x="3" y="13246"/>
                            <a:pt x="1" y="13246"/>
                          </a:cubicBezTo>
                          <a:lnTo>
                            <a:pt x="1" y="16438"/>
                          </a:lnTo>
                          <a:cubicBezTo>
                            <a:pt x="4532" y="16436"/>
                            <a:pt x="9106" y="15060"/>
                            <a:pt x="13053" y="12192"/>
                          </a:cubicBezTo>
                          <a:cubicBezTo>
                            <a:pt x="17030" y="9301"/>
                            <a:pt x="19767" y="5338"/>
                            <a:pt x="21157" y="988"/>
                          </a:cubicBezTo>
                          <a:lnTo>
                            <a:pt x="18123"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68"/>
                    <p:cNvSpPr/>
                    <p:nvPr/>
                  </p:nvSpPr>
                  <p:spPr>
                    <a:xfrm>
                      <a:off x="2725064" y="1391035"/>
                      <a:ext cx="81238" cy="156487"/>
                    </a:xfrm>
                    <a:custGeom>
                      <a:avLst/>
                      <a:gdLst/>
                      <a:ahLst/>
                      <a:cxnLst/>
                      <a:rect l="l" t="t" r="r" b="b"/>
                      <a:pathLst>
                        <a:path w="12900" h="24849" extrusionOk="0">
                          <a:moveTo>
                            <a:pt x="11023" y="1"/>
                          </a:moveTo>
                          <a:cubicBezTo>
                            <a:pt x="11006" y="13"/>
                            <a:pt x="10987" y="26"/>
                            <a:pt x="10967" y="39"/>
                          </a:cubicBezTo>
                          <a:cubicBezTo>
                            <a:pt x="2989" y="5836"/>
                            <a:pt x="1" y="15945"/>
                            <a:pt x="2866" y="24848"/>
                          </a:cubicBezTo>
                          <a:lnTo>
                            <a:pt x="5900" y="23861"/>
                          </a:lnTo>
                          <a:cubicBezTo>
                            <a:pt x="3451" y="16238"/>
                            <a:pt x="6012" y="7585"/>
                            <a:pt x="12845" y="2622"/>
                          </a:cubicBezTo>
                          <a:cubicBezTo>
                            <a:pt x="12862" y="2608"/>
                            <a:pt x="12882" y="2597"/>
                            <a:pt x="12899" y="2584"/>
                          </a:cubicBezTo>
                          <a:lnTo>
                            <a:pt x="11023"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5507" name="Google Shape;5507;p68"/>
            <p:cNvSpPr/>
            <p:nvPr/>
          </p:nvSpPr>
          <p:spPr>
            <a:xfrm>
              <a:off x="2621966" y="124587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68"/>
            <p:cNvSpPr/>
            <p:nvPr/>
          </p:nvSpPr>
          <p:spPr>
            <a:xfrm>
              <a:off x="2517909" y="160045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68"/>
            <p:cNvSpPr/>
            <p:nvPr/>
          </p:nvSpPr>
          <p:spPr>
            <a:xfrm>
              <a:off x="3174265" y="161404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68"/>
            <p:cNvSpPr/>
            <p:nvPr/>
          </p:nvSpPr>
          <p:spPr>
            <a:xfrm>
              <a:off x="3023194" y="125435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68"/>
            <p:cNvSpPr/>
            <p:nvPr/>
          </p:nvSpPr>
          <p:spPr>
            <a:xfrm rot="8660313">
              <a:off x="2818264" y="186144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2" name="Google Shape;5512;p68"/>
          <p:cNvGrpSpPr/>
          <p:nvPr/>
        </p:nvGrpSpPr>
        <p:grpSpPr>
          <a:xfrm>
            <a:off x="3909124" y="2727412"/>
            <a:ext cx="1569144" cy="591015"/>
            <a:chOff x="3820100" y="3023049"/>
            <a:chExt cx="1303926" cy="491162"/>
          </a:xfrm>
        </p:grpSpPr>
        <p:grpSp>
          <p:nvGrpSpPr>
            <p:cNvPr id="5513" name="Google Shape;5513;p68"/>
            <p:cNvGrpSpPr/>
            <p:nvPr/>
          </p:nvGrpSpPr>
          <p:grpSpPr>
            <a:xfrm>
              <a:off x="3820100" y="3023072"/>
              <a:ext cx="1303926" cy="491139"/>
              <a:chOff x="3820100" y="3023072"/>
              <a:chExt cx="1303926" cy="491139"/>
            </a:xfrm>
          </p:grpSpPr>
          <p:sp>
            <p:nvSpPr>
              <p:cNvPr id="5514" name="Google Shape;5514;p68"/>
              <p:cNvSpPr/>
              <p:nvPr/>
            </p:nvSpPr>
            <p:spPr>
              <a:xfrm>
                <a:off x="3820100" y="3023072"/>
                <a:ext cx="505424" cy="491139"/>
              </a:xfrm>
              <a:custGeom>
                <a:avLst/>
                <a:gdLst/>
                <a:ahLst/>
                <a:cxnLst/>
                <a:rect l="l" t="t" r="r" b="b"/>
                <a:pathLst>
                  <a:path w="45218" h="43940" extrusionOk="0">
                    <a:moveTo>
                      <a:pt x="0" y="0"/>
                    </a:moveTo>
                    <a:cubicBezTo>
                      <a:pt x="0" y="24200"/>
                      <a:pt x="19796" y="43939"/>
                      <a:pt x="44111" y="43939"/>
                    </a:cubicBezTo>
                    <a:lnTo>
                      <a:pt x="45218" y="43939"/>
                    </a:lnTo>
                    <a:lnTo>
                      <a:pt x="45218" y="34795"/>
                    </a:lnTo>
                    <a:lnTo>
                      <a:pt x="44111" y="34795"/>
                    </a:lnTo>
                    <a:cubicBezTo>
                      <a:pt x="24972" y="34795"/>
                      <a:pt x="9345" y="19439"/>
                      <a:pt x="9103" y="450"/>
                    </a:cubicBezTo>
                    <a:cubicBezTo>
                      <a:pt x="9103" y="301"/>
                      <a:pt x="9100" y="150"/>
                      <a:pt x="910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68"/>
              <p:cNvSpPr/>
              <p:nvPr/>
            </p:nvSpPr>
            <p:spPr>
              <a:xfrm>
                <a:off x="4323828" y="3411976"/>
                <a:ext cx="800197" cy="102229"/>
              </a:xfrm>
              <a:custGeom>
                <a:avLst/>
                <a:gdLst/>
                <a:ahLst/>
                <a:cxnLst/>
                <a:rect l="l" t="t" r="r" b="b"/>
                <a:pathLst>
                  <a:path w="71590" h="9146" extrusionOk="0">
                    <a:moveTo>
                      <a:pt x="1" y="1"/>
                    </a:moveTo>
                    <a:lnTo>
                      <a:pt x="1" y="9145"/>
                    </a:lnTo>
                    <a:lnTo>
                      <a:pt x="71589" y="9145"/>
                    </a:lnTo>
                    <a:lnTo>
                      <a:pt x="7158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6" name="Google Shape;5516;p68"/>
            <p:cNvGrpSpPr/>
            <p:nvPr/>
          </p:nvGrpSpPr>
          <p:grpSpPr>
            <a:xfrm>
              <a:off x="4132439" y="3023645"/>
              <a:ext cx="393633" cy="177096"/>
              <a:chOff x="4132439" y="3023645"/>
              <a:chExt cx="393633" cy="177096"/>
            </a:xfrm>
          </p:grpSpPr>
          <p:sp>
            <p:nvSpPr>
              <p:cNvPr id="5517" name="Google Shape;5517;p68"/>
              <p:cNvSpPr/>
              <p:nvPr/>
            </p:nvSpPr>
            <p:spPr>
              <a:xfrm>
                <a:off x="4132439" y="3023645"/>
                <a:ext cx="190085" cy="177096"/>
              </a:xfrm>
              <a:custGeom>
                <a:avLst/>
                <a:gdLst/>
                <a:ahLst/>
                <a:cxnLst/>
                <a:rect l="l" t="t" r="r" b="b"/>
                <a:pathLst>
                  <a:path w="17006" h="15844" extrusionOk="0">
                    <a:moveTo>
                      <a:pt x="0" y="1"/>
                    </a:moveTo>
                    <a:cubicBezTo>
                      <a:pt x="0" y="5035"/>
                      <a:pt x="2405" y="9521"/>
                      <a:pt x="6124" y="12423"/>
                    </a:cubicBezTo>
                    <a:cubicBezTo>
                      <a:pt x="8932" y="14639"/>
                      <a:pt x="12404" y="15844"/>
                      <a:pt x="15981" y="15844"/>
                    </a:cubicBezTo>
                    <a:lnTo>
                      <a:pt x="17005" y="15844"/>
                    </a:lnTo>
                    <a:lnTo>
                      <a:pt x="17005" y="6962"/>
                    </a:lnTo>
                    <a:lnTo>
                      <a:pt x="15905" y="6962"/>
                    </a:lnTo>
                    <a:cubicBezTo>
                      <a:pt x="12043" y="6962"/>
                      <a:pt x="8822" y="3862"/>
                      <a:pt x="8822"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68"/>
              <p:cNvSpPr/>
              <p:nvPr/>
            </p:nvSpPr>
            <p:spPr>
              <a:xfrm>
                <a:off x="4318649" y="3101461"/>
                <a:ext cx="207423" cy="99267"/>
              </a:xfrm>
              <a:custGeom>
                <a:avLst/>
                <a:gdLst/>
                <a:ahLst/>
                <a:cxnLst/>
                <a:rect l="l" t="t" r="r" b="b"/>
                <a:pathLst>
                  <a:path w="18211" h="8881" extrusionOk="0">
                    <a:moveTo>
                      <a:pt x="0" y="0"/>
                    </a:moveTo>
                    <a:lnTo>
                      <a:pt x="0" y="8880"/>
                    </a:lnTo>
                    <a:lnTo>
                      <a:pt x="18210" y="8880"/>
                    </a:lnTo>
                    <a:lnTo>
                      <a:pt x="1821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9" name="Google Shape;5519;p68"/>
            <p:cNvGrpSpPr/>
            <p:nvPr/>
          </p:nvGrpSpPr>
          <p:grpSpPr>
            <a:xfrm>
              <a:off x="3921811" y="3023049"/>
              <a:ext cx="1002397" cy="388943"/>
              <a:chOff x="3921811" y="3023049"/>
              <a:chExt cx="1002397" cy="388943"/>
            </a:xfrm>
          </p:grpSpPr>
          <p:sp>
            <p:nvSpPr>
              <p:cNvPr id="5520" name="Google Shape;5520;p68"/>
              <p:cNvSpPr/>
              <p:nvPr/>
            </p:nvSpPr>
            <p:spPr>
              <a:xfrm>
                <a:off x="3921811" y="3023049"/>
                <a:ext cx="403709" cy="388943"/>
              </a:xfrm>
              <a:custGeom>
                <a:avLst/>
                <a:gdLst/>
                <a:ahLst/>
                <a:cxnLst/>
                <a:rect l="l" t="t" r="r" b="b"/>
                <a:pathLst>
                  <a:path w="36118" h="34797" extrusionOk="0">
                    <a:moveTo>
                      <a:pt x="0" y="1"/>
                    </a:moveTo>
                    <a:cubicBezTo>
                      <a:pt x="0" y="152"/>
                      <a:pt x="3" y="301"/>
                      <a:pt x="3" y="452"/>
                    </a:cubicBezTo>
                    <a:cubicBezTo>
                      <a:pt x="245" y="19441"/>
                      <a:pt x="15879" y="34797"/>
                      <a:pt x="35018" y="34797"/>
                    </a:cubicBezTo>
                    <a:lnTo>
                      <a:pt x="36118" y="34797"/>
                    </a:lnTo>
                    <a:lnTo>
                      <a:pt x="36118" y="25652"/>
                    </a:lnTo>
                    <a:lnTo>
                      <a:pt x="34843" y="25652"/>
                    </a:lnTo>
                    <a:lnTo>
                      <a:pt x="34798" y="25632"/>
                    </a:lnTo>
                    <a:cubicBezTo>
                      <a:pt x="20649" y="25575"/>
                      <a:pt x="9181" y="14193"/>
                      <a:pt x="9115" y="123"/>
                    </a:cubicBezTo>
                    <a:cubicBezTo>
                      <a:pt x="9115" y="81"/>
                      <a:pt x="9108" y="42"/>
                      <a:pt x="910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68"/>
              <p:cNvSpPr/>
              <p:nvPr/>
            </p:nvSpPr>
            <p:spPr>
              <a:xfrm>
                <a:off x="4322109" y="3309770"/>
                <a:ext cx="602098" cy="102218"/>
              </a:xfrm>
              <a:custGeom>
                <a:avLst/>
                <a:gdLst/>
                <a:ahLst/>
                <a:cxnLst/>
                <a:rect l="l" t="t" r="r" b="b"/>
                <a:pathLst>
                  <a:path w="53867" h="9145" extrusionOk="0">
                    <a:moveTo>
                      <a:pt x="1" y="0"/>
                    </a:moveTo>
                    <a:lnTo>
                      <a:pt x="1" y="9145"/>
                    </a:lnTo>
                    <a:lnTo>
                      <a:pt x="53867" y="9145"/>
                    </a:lnTo>
                    <a:lnTo>
                      <a:pt x="5386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22" name="Google Shape;5522;p68"/>
            <p:cNvGrpSpPr/>
            <p:nvPr/>
          </p:nvGrpSpPr>
          <p:grpSpPr>
            <a:xfrm>
              <a:off x="4023645" y="3023049"/>
              <a:ext cx="683032" cy="286722"/>
              <a:chOff x="4023645" y="3023049"/>
              <a:chExt cx="683032" cy="286722"/>
            </a:xfrm>
          </p:grpSpPr>
          <p:sp>
            <p:nvSpPr>
              <p:cNvPr id="5523" name="Google Shape;5523;p68"/>
              <p:cNvSpPr/>
              <p:nvPr/>
            </p:nvSpPr>
            <p:spPr>
              <a:xfrm>
                <a:off x="4023645" y="3023049"/>
                <a:ext cx="300664" cy="286524"/>
              </a:xfrm>
              <a:custGeom>
                <a:avLst/>
                <a:gdLst/>
                <a:ahLst/>
                <a:cxnLst/>
                <a:rect l="l" t="t" r="r" b="b"/>
                <a:pathLst>
                  <a:path w="26899" h="25634" extrusionOk="0">
                    <a:moveTo>
                      <a:pt x="1" y="1"/>
                    </a:moveTo>
                    <a:cubicBezTo>
                      <a:pt x="1" y="42"/>
                      <a:pt x="4" y="81"/>
                      <a:pt x="4" y="121"/>
                    </a:cubicBezTo>
                    <a:cubicBezTo>
                      <a:pt x="70" y="14193"/>
                      <a:pt x="11538" y="25575"/>
                      <a:pt x="25687" y="25630"/>
                    </a:cubicBezTo>
                    <a:cubicBezTo>
                      <a:pt x="25723" y="25630"/>
                      <a:pt x="25757" y="25634"/>
                      <a:pt x="25792" y="25634"/>
                    </a:cubicBezTo>
                    <a:lnTo>
                      <a:pt x="26899" y="25634"/>
                    </a:lnTo>
                    <a:lnTo>
                      <a:pt x="26899" y="15842"/>
                    </a:lnTo>
                    <a:lnTo>
                      <a:pt x="25768" y="15842"/>
                    </a:lnTo>
                    <a:cubicBezTo>
                      <a:pt x="22191" y="15842"/>
                      <a:pt x="18719" y="14637"/>
                      <a:pt x="15911" y="12423"/>
                    </a:cubicBezTo>
                    <a:cubicBezTo>
                      <a:pt x="12192" y="9521"/>
                      <a:pt x="9787" y="5035"/>
                      <a:pt x="978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68"/>
              <p:cNvSpPr/>
              <p:nvPr/>
            </p:nvSpPr>
            <p:spPr>
              <a:xfrm>
                <a:off x="4314850" y="3200125"/>
                <a:ext cx="391827" cy="109646"/>
              </a:xfrm>
              <a:custGeom>
                <a:avLst/>
                <a:gdLst/>
                <a:ahLst/>
                <a:cxnLst/>
                <a:rect l="l" t="t" r="r" b="b"/>
                <a:pathLst>
                  <a:path w="35055" h="9792" extrusionOk="0">
                    <a:moveTo>
                      <a:pt x="1" y="0"/>
                    </a:moveTo>
                    <a:lnTo>
                      <a:pt x="1" y="88"/>
                    </a:lnTo>
                    <a:lnTo>
                      <a:pt x="1" y="9792"/>
                    </a:lnTo>
                    <a:lnTo>
                      <a:pt x="35054" y="9792"/>
                    </a:lnTo>
                    <a:lnTo>
                      <a:pt x="350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25" name="Google Shape;5525;p68"/>
          <p:cNvGrpSpPr/>
          <p:nvPr/>
        </p:nvGrpSpPr>
        <p:grpSpPr>
          <a:xfrm>
            <a:off x="1541246" y="1854257"/>
            <a:ext cx="713522" cy="688025"/>
            <a:chOff x="1706078" y="2092648"/>
            <a:chExt cx="660913" cy="637296"/>
          </a:xfrm>
        </p:grpSpPr>
        <p:sp>
          <p:nvSpPr>
            <p:cNvPr id="5526" name="Google Shape;5526;p68"/>
            <p:cNvSpPr/>
            <p:nvPr/>
          </p:nvSpPr>
          <p:spPr>
            <a:xfrm>
              <a:off x="1745332" y="2158066"/>
              <a:ext cx="571867" cy="571878"/>
            </a:xfrm>
            <a:custGeom>
              <a:avLst/>
              <a:gdLst/>
              <a:ahLst/>
              <a:cxnLst/>
              <a:rect l="l" t="t" r="r" b="b"/>
              <a:pathLst>
                <a:path w="107747" h="107749" extrusionOk="0">
                  <a:moveTo>
                    <a:pt x="53874" y="11565"/>
                  </a:moveTo>
                  <a:cubicBezTo>
                    <a:pt x="77238" y="11565"/>
                    <a:pt x="96182" y="30509"/>
                    <a:pt x="96182" y="53873"/>
                  </a:cubicBezTo>
                  <a:cubicBezTo>
                    <a:pt x="96182" y="77240"/>
                    <a:pt x="77240" y="96182"/>
                    <a:pt x="53874" y="96182"/>
                  </a:cubicBezTo>
                  <a:cubicBezTo>
                    <a:pt x="30507" y="96182"/>
                    <a:pt x="11565" y="77240"/>
                    <a:pt x="11565" y="53873"/>
                  </a:cubicBezTo>
                  <a:cubicBezTo>
                    <a:pt x="11565" y="30509"/>
                    <a:pt x="30507" y="11565"/>
                    <a:pt x="53874" y="11565"/>
                  </a:cubicBezTo>
                  <a:close/>
                  <a:moveTo>
                    <a:pt x="53874" y="1"/>
                  </a:moveTo>
                  <a:cubicBezTo>
                    <a:pt x="24120" y="1"/>
                    <a:pt x="1" y="24120"/>
                    <a:pt x="1" y="53873"/>
                  </a:cubicBezTo>
                  <a:cubicBezTo>
                    <a:pt x="1" y="83626"/>
                    <a:pt x="24120" y="107748"/>
                    <a:pt x="53874" y="107748"/>
                  </a:cubicBezTo>
                  <a:cubicBezTo>
                    <a:pt x="83625" y="107748"/>
                    <a:pt x="107746" y="83626"/>
                    <a:pt x="107746" y="53873"/>
                  </a:cubicBezTo>
                  <a:cubicBezTo>
                    <a:pt x="107746" y="24120"/>
                    <a:pt x="83627" y="1"/>
                    <a:pt x="5387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27" name="Google Shape;5527;p68"/>
            <p:cNvGrpSpPr/>
            <p:nvPr/>
          </p:nvGrpSpPr>
          <p:grpSpPr>
            <a:xfrm>
              <a:off x="1706078" y="2092648"/>
              <a:ext cx="660913" cy="575241"/>
              <a:chOff x="1706078" y="2092648"/>
              <a:chExt cx="660913" cy="575241"/>
            </a:xfrm>
          </p:grpSpPr>
          <p:sp>
            <p:nvSpPr>
              <p:cNvPr id="5528" name="Google Shape;5528;p68"/>
              <p:cNvSpPr/>
              <p:nvPr/>
            </p:nvSpPr>
            <p:spPr>
              <a:xfrm>
                <a:off x="1938891" y="2092648"/>
                <a:ext cx="192041" cy="353676"/>
              </a:xfrm>
              <a:custGeom>
                <a:avLst/>
                <a:gdLst/>
                <a:ahLst/>
                <a:cxnLst/>
                <a:rect l="l" t="t" r="r" b="b"/>
                <a:pathLst>
                  <a:path w="36183" h="66637" extrusionOk="0">
                    <a:moveTo>
                      <a:pt x="18094" y="1"/>
                    </a:moveTo>
                    <a:cubicBezTo>
                      <a:pt x="8801" y="1"/>
                      <a:pt x="1202" y="7552"/>
                      <a:pt x="1202" y="16877"/>
                    </a:cubicBezTo>
                    <a:cubicBezTo>
                      <a:pt x="1202" y="23723"/>
                      <a:pt x="5288" y="29491"/>
                      <a:pt x="11057" y="32260"/>
                    </a:cubicBezTo>
                    <a:cubicBezTo>
                      <a:pt x="13944" y="33580"/>
                      <a:pt x="15864" y="36464"/>
                      <a:pt x="15864" y="39714"/>
                    </a:cubicBezTo>
                    <a:cubicBezTo>
                      <a:pt x="15864" y="42954"/>
                      <a:pt x="13829" y="45963"/>
                      <a:pt x="10817" y="47040"/>
                    </a:cubicBezTo>
                    <a:cubicBezTo>
                      <a:pt x="6250" y="48723"/>
                      <a:pt x="2404" y="51972"/>
                      <a:pt x="1" y="56176"/>
                    </a:cubicBezTo>
                    <a:lnTo>
                      <a:pt x="18155" y="66637"/>
                    </a:lnTo>
                    <a:lnTo>
                      <a:pt x="36182" y="56176"/>
                    </a:lnTo>
                    <a:cubicBezTo>
                      <a:pt x="33779" y="51975"/>
                      <a:pt x="29930" y="48725"/>
                      <a:pt x="25479" y="47040"/>
                    </a:cubicBezTo>
                    <a:cubicBezTo>
                      <a:pt x="22352" y="45966"/>
                      <a:pt x="20316" y="42957"/>
                      <a:pt x="20316" y="39714"/>
                    </a:cubicBezTo>
                    <a:lnTo>
                      <a:pt x="20316" y="39474"/>
                    </a:lnTo>
                    <a:cubicBezTo>
                      <a:pt x="20316" y="36349"/>
                      <a:pt x="22239" y="33578"/>
                      <a:pt x="24998" y="32260"/>
                    </a:cubicBezTo>
                    <a:cubicBezTo>
                      <a:pt x="31250" y="29491"/>
                      <a:pt x="35461" y="22999"/>
                      <a:pt x="34980" y="15676"/>
                    </a:cubicBezTo>
                    <a:cubicBezTo>
                      <a:pt x="34375" y="7376"/>
                      <a:pt x="27644" y="646"/>
                      <a:pt x="19357" y="47"/>
                    </a:cubicBezTo>
                    <a:cubicBezTo>
                      <a:pt x="18933" y="18"/>
                      <a:pt x="18513" y="1"/>
                      <a:pt x="180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68"/>
              <p:cNvSpPr/>
              <p:nvPr/>
            </p:nvSpPr>
            <p:spPr>
              <a:xfrm>
                <a:off x="1706078" y="2390779"/>
                <a:ext cx="329208" cy="277004"/>
              </a:xfrm>
              <a:custGeom>
                <a:avLst/>
                <a:gdLst/>
                <a:ahLst/>
                <a:cxnLst/>
                <a:rect l="l" t="t" r="r" b="b"/>
                <a:pathLst>
                  <a:path w="62027" h="52191" extrusionOk="0">
                    <a:moveTo>
                      <a:pt x="43872" y="1"/>
                    </a:moveTo>
                    <a:cubicBezTo>
                      <a:pt x="41468" y="4212"/>
                      <a:pt x="40629" y="9019"/>
                      <a:pt x="41353" y="13829"/>
                    </a:cubicBezTo>
                    <a:cubicBezTo>
                      <a:pt x="41946" y="17069"/>
                      <a:pt x="40389" y="20321"/>
                      <a:pt x="37504" y="21878"/>
                    </a:cubicBezTo>
                    <a:lnTo>
                      <a:pt x="37379" y="22004"/>
                    </a:lnTo>
                    <a:cubicBezTo>
                      <a:pt x="36131" y="22712"/>
                      <a:pt x="34723" y="23085"/>
                      <a:pt x="33288" y="23090"/>
                    </a:cubicBezTo>
                    <a:cubicBezTo>
                      <a:pt x="31652" y="23095"/>
                      <a:pt x="30056" y="22587"/>
                      <a:pt x="28724" y="21638"/>
                    </a:cubicBezTo>
                    <a:cubicBezTo>
                      <a:pt x="25815" y="19553"/>
                      <a:pt x="22344" y="18435"/>
                      <a:pt x="18815" y="18435"/>
                    </a:cubicBezTo>
                    <a:cubicBezTo>
                      <a:pt x="15632" y="18435"/>
                      <a:pt x="12399" y="19345"/>
                      <a:pt x="9490" y="21282"/>
                    </a:cubicBezTo>
                    <a:cubicBezTo>
                      <a:pt x="2520" y="25965"/>
                      <a:pt x="1" y="35101"/>
                      <a:pt x="3721" y="42677"/>
                    </a:cubicBezTo>
                    <a:cubicBezTo>
                      <a:pt x="6677" y="48755"/>
                      <a:pt x="12664" y="52191"/>
                      <a:pt x="18840" y="52191"/>
                    </a:cubicBezTo>
                    <a:cubicBezTo>
                      <a:pt x="21707" y="52191"/>
                      <a:pt x="24613" y="51450"/>
                      <a:pt x="27282" y="49890"/>
                    </a:cubicBezTo>
                    <a:cubicBezTo>
                      <a:pt x="33291" y="46525"/>
                      <a:pt x="36303" y="40151"/>
                      <a:pt x="35694" y="33659"/>
                    </a:cubicBezTo>
                    <a:cubicBezTo>
                      <a:pt x="35456" y="30534"/>
                      <a:pt x="37024" y="27407"/>
                      <a:pt x="39783" y="25852"/>
                    </a:cubicBezTo>
                    <a:cubicBezTo>
                      <a:pt x="41044" y="25114"/>
                      <a:pt x="42424" y="24748"/>
                      <a:pt x="43786" y="24748"/>
                    </a:cubicBezTo>
                    <a:cubicBezTo>
                      <a:pt x="45537" y="24748"/>
                      <a:pt x="47261" y="25356"/>
                      <a:pt x="48676" y="26573"/>
                    </a:cubicBezTo>
                    <a:cubicBezTo>
                      <a:pt x="52525" y="29572"/>
                      <a:pt x="57216" y="31255"/>
                      <a:pt x="62026" y="31255"/>
                    </a:cubicBezTo>
                    <a:lnTo>
                      <a:pt x="62026" y="1046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68"/>
              <p:cNvSpPr/>
              <p:nvPr/>
            </p:nvSpPr>
            <p:spPr>
              <a:xfrm>
                <a:off x="2035235" y="2390779"/>
                <a:ext cx="331756" cy="277110"/>
              </a:xfrm>
              <a:custGeom>
                <a:avLst/>
                <a:gdLst/>
                <a:ahLst/>
                <a:cxnLst/>
                <a:rect l="l" t="t" r="r" b="b"/>
                <a:pathLst>
                  <a:path w="62507" h="52211" extrusionOk="0">
                    <a:moveTo>
                      <a:pt x="18030" y="1"/>
                    </a:moveTo>
                    <a:lnTo>
                      <a:pt x="0" y="10461"/>
                    </a:lnTo>
                    <a:lnTo>
                      <a:pt x="0" y="31253"/>
                    </a:lnTo>
                    <a:cubicBezTo>
                      <a:pt x="4807" y="31253"/>
                      <a:pt x="9489" y="29570"/>
                      <a:pt x="13222" y="26570"/>
                    </a:cubicBezTo>
                    <a:cubicBezTo>
                      <a:pt x="15722" y="24434"/>
                      <a:pt x="19307" y="24145"/>
                      <a:pt x="22118" y="25849"/>
                    </a:cubicBezTo>
                    <a:lnTo>
                      <a:pt x="22359" y="25965"/>
                    </a:lnTo>
                    <a:cubicBezTo>
                      <a:pt x="25003" y="27532"/>
                      <a:pt x="26560" y="30534"/>
                      <a:pt x="26204" y="33659"/>
                    </a:cubicBezTo>
                    <a:cubicBezTo>
                      <a:pt x="25599" y="40389"/>
                      <a:pt x="28964" y="47244"/>
                      <a:pt x="35578" y="50486"/>
                    </a:cubicBezTo>
                    <a:cubicBezTo>
                      <a:pt x="37877" y="51619"/>
                      <a:pt x="40405" y="52210"/>
                      <a:pt x="42968" y="52208"/>
                    </a:cubicBezTo>
                    <a:cubicBezTo>
                      <a:pt x="48435" y="52208"/>
                      <a:pt x="53755" y="49544"/>
                      <a:pt x="56978" y="44840"/>
                    </a:cubicBezTo>
                    <a:cubicBezTo>
                      <a:pt x="62506" y="36540"/>
                      <a:pt x="59862" y="25484"/>
                      <a:pt x="51447" y="20674"/>
                    </a:cubicBezTo>
                    <a:cubicBezTo>
                      <a:pt x="48774" y="19149"/>
                      <a:pt x="45855" y="18413"/>
                      <a:pt x="42983" y="18413"/>
                    </a:cubicBezTo>
                    <a:cubicBezTo>
                      <a:pt x="39520" y="18413"/>
                      <a:pt x="36121" y="19482"/>
                      <a:pt x="33290" y="21523"/>
                    </a:cubicBezTo>
                    <a:cubicBezTo>
                      <a:pt x="30671" y="23429"/>
                      <a:pt x="27161" y="23571"/>
                      <a:pt x="24397" y="21878"/>
                    </a:cubicBezTo>
                    <a:cubicBezTo>
                      <a:pt x="21510" y="20321"/>
                      <a:pt x="19955" y="17069"/>
                      <a:pt x="20549" y="13829"/>
                    </a:cubicBezTo>
                    <a:cubicBezTo>
                      <a:pt x="21272" y="9019"/>
                      <a:pt x="20433" y="4212"/>
                      <a:pt x="1803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31" name="Google Shape;5531;p68"/>
          <p:cNvGrpSpPr/>
          <p:nvPr/>
        </p:nvGrpSpPr>
        <p:grpSpPr>
          <a:xfrm>
            <a:off x="6303104" y="971806"/>
            <a:ext cx="1317459" cy="684168"/>
            <a:chOff x="238125" y="999450"/>
            <a:chExt cx="7140700" cy="3708225"/>
          </a:xfrm>
        </p:grpSpPr>
        <p:sp>
          <p:nvSpPr>
            <p:cNvPr id="5532" name="Google Shape;5532;p68"/>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68"/>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68"/>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68"/>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68"/>
            <p:cNvSpPr/>
            <p:nvPr/>
          </p:nvSpPr>
          <p:spPr>
            <a:xfrm>
              <a:off x="3808250" y="2852875"/>
              <a:ext cx="25" cy="25"/>
            </a:xfrm>
            <a:custGeom>
              <a:avLst/>
              <a:gdLst/>
              <a:ahLst/>
              <a:cxnLst/>
              <a:rect l="l" t="t" r="r" b="b"/>
              <a:pathLst>
                <a:path w="1" h="1" extrusionOk="0">
                  <a:moveTo>
                    <a:pt x="0" y="1"/>
                  </a:moveTo>
                  <a:close/>
                </a:path>
              </a:pathLst>
            </a:custGeom>
            <a:solidFill>
              <a:srgbClr val="DB634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68"/>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68"/>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68"/>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68"/>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5544"/>
        <p:cNvGrpSpPr/>
        <p:nvPr/>
      </p:nvGrpSpPr>
      <p:grpSpPr>
        <a:xfrm>
          <a:off x="0" y="0"/>
          <a:ext cx="0" cy="0"/>
          <a:chOff x="0" y="0"/>
          <a:chExt cx="0" cy="0"/>
        </a:xfrm>
      </p:grpSpPr>
      <p:grpSp>
        <p:nvGrpSpPr>
          <p:cNvPr id="5545" name="Google Shape;5545;p69"/>
          <p:cNvGrpSpPr/>
          <p:nvPr/>
        </p:nvGrpSpPr>
        <p:grpSpPr>
          <a:xfrm>
            <a:off x="717025" y="967615"/>
            <a:ext cx="1636117" cy="1526144"/>
            <a:chOff x="729238" y="1179665"/>
            <a:chExt cx="1636117" cy="1526144"/>
          </a:xfrm>
        </p:grpSpPr>
        <p:grpSp>
          <p:nvGrpSpPr>
            <p:cNvPr id="5546" name="Google Shape;5546;p69"/>
            <p:cNvGrpSpPr/>
            <p:nvPr/>
          </p:nvGrpSpPr>
          <p:grpSpPr>
            <a:xfrm>
              <a:off x="729238" y="1179665"/>
              <a:ext cx="80700" cy="1526144"/>
              <a:chOff x="729238" y="1179665"/>
              <a:chExt cx="80700" cy="1526144"/>
            </a:xfrm>
          </p:grpSpPr>
          <p:sp>
            <p:nvSpPr>
              <p:cNvPr id="5547" name="Google Shape;5547;p69"/>
              <p:cNvSpPr/>
              <p:nvPr/>
            </p:nvSpPr>
            <p:spPr>
              <a:xfrm>
                <a:off x="72923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69"/>
              <p:cNvSpPr/>
              <p:nvPr/>
            </p:nvSpPr>
            <p:spPr>
              <a:xfrm>
                <a:off x="72923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69"/>
              <p:cNvSpPr/>
              <p:nvPr/>
            </p:nvSpPr>
            <p:spPr>
              <a:xfrm>
                <a:off x="72923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69"/>
              <p:cNvSpPr/>
              <p:nvPr/>
            </p:nvSpPr>
            <p:spPr>
              <a:xfrm>
                <a:off x="72923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69"/>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69"/>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69"/>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69"/>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69"/>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69"/>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57" name="Google Shape;5557;p69"/>
            <p:cNvGrpSpPr/>
            <p:nvPr/>
          </p:nvGrpSpPr>
          <p:grpSpPr>
            <a:xfrm>
              <a:off x="903098" y="1179665"/>
              <a:ext cx="80700" cy="1526144"/>
              <a:chOff x="903098" y="1179665"/>
              <a:chExt cx="80700" cy="1526144"/>
            </a:xfrm>
          </p:grpSpPr>
          <p:sp>
            <p:nvSpPr>
              <p:cNvPr id="5558" name="Google Shape;5558;p69"/>
              <p:cNvSpPr/>
              <p:nvPr/>
            </p:nvSpPr>
            <p:spPr>
              <a:xfrm>
                <a:off x="90309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69"/>
              <p:cNvSpPr/>
              <p:nvPr/>
            </p:nvSpPr>
            <p:spPr>
              <a:xfrm>
                <a:off x="90309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69"/>
              <p:cNvSpPr/>
              <p:nvPr/>
            </p:nvSpPr>
            <p:spPr>
              <a:xfrm>
                <a:off x="90309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69"/>
              <p:cNvSpPr/>
              <p:nvPr/>
            </p:nvSpPr>
            <p:spPr>
              <a:xfrm>
                <a:off x="90309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69"/>
              <p:cNvSpPr/>
              <p:nvPr/>
            </p:nvSpPr>
            <p:spPr>
              <a:xfrm>
                <a:off x="90309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69"/>
              <p:cNvSpPr/>
              <p:nvPr/>
            </p:nvSpPr>
            <p:spPr>
              <a:xfrm>
                <a:off x="90309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69"/>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69"/>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69"/>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69"/>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68" name="Google Shape;5568;p69"/>
            <p:cNvGrpSpPr/>
            <p:nvPr/>
          </p:nvGrpSpPr>
          <p:grpSpPr>
            <a:xfrm>
              <a:off x="1076958" y="1179665"/>
              <a:ext cx="80700" cy="1526144"/>
              <a:chOff x="1076958" y="1179665"/>
              <a:chExt cx="80700" cy="1526144"/>
            </a:xfrm>
          </p:grpSpPr>
          <p:sp>
            <p:nvSpPr>
              <p:cNvPr id="5569" name="Google Shape;5569;p69"/>
              <p:cNvSpPr/>
              <p:nvPr/>
            </p:nvSpPr>
            <p:spPr>
              <a:xfrm>
                <a:off x="107695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69"/>
              <p:cNvSpPr/>
              <p:nvPr/>
            </p:nvSpPr>
            <p:spPr>
              <a:xfrm>
                <a:off x="107695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69"/>
              <p:cNvSpPr/>
              <p:nvPr/>
            </p:nvSpPr>
            <p:spPr>
              <a:xfrm>
                <a:off x="107695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69"/>
              <p:cNvSpPr/>
              <p:nvPr/>
            </p:nvSpPr>
            <p:spPr>
              <a:xfrm>
                <a:off x="107695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69"/>
              <p:cNvSpPr/>
              <p:nvPr/>
            </p:nvSpPr>
            <p:spPr>
              <a:xfrm>
                <a:off x="107695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69"/>
              <p:cNvSpPr/>
              <p:nvPr/>
            </p:nvSpPr>
            <p:spPr>
              <a:xfrm>
                <a:off x="107695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69"/>
              <p:cNvSpPr/>
              <p:nvPr/>
            </p:nvSpPr>
            <p:spPr>
              <a:xfrm>
                <a:off x="1076958"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69"/>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69"/>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69"/>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79" name="Google Shape;5579;p69"/>
            <p:cNvGrpSpPr/>
            <p:nvPr/>
          </p:nvGrpSpPr>
          <p:grpSpPr>
            <a:xfrm>
              <a:off x="1247707" y="1179665"/>
              <a:ext cx="80700" cy="1526144"/>
              <a:chOff x="1247707" y="1179665"/>
              <a:chExt cx="80700" cy="1526144"/>
            </a:xfrm>
          </p:grpSpPr>
          <p:sp>
            <p:nvSpPr>
              <p:cNvPr id="5580" name="Google Shape;5580;p69"/>
              <p:cNvSpPr/>
              <p:nvPr/>
            </p:nvSpPr>
            <p:spPr>
              <a:xfrm>
                <a:off x="124770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69"/>
              <p:cNvSpPr/>
              <p:nvPr/>
            </p:nvSpPr>
            <p:spPr>
              <a:xfrm>
                <a:off x="124770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69"/>
              <p:cNvSpPr/>
              <p:nvPr/>
            </p:nvSpPr>
            <p:spPr>
              <a:xfrm>
                <a:off x="124770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69"/>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69"/>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69"/>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69"/>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69"/>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69"/>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69"/>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90" name="Google Shape;5590;p69"/>
            <p:cNvGrpSpPr/>
            <p:nvPr/>
          </p:nvGrpSpPr>
          <p:grpSpPr>
            <a:xfrm>
              <a:off x="1421567" y="1179665"/>
              <a:ext cx="80700" cy="1526144"/>
              <a:chOff x="1421567" y="1179665"/>
              <a:chExt cx="80700" cy="1526144"/>
            </a:xfrm>
          </p:grpSpPr>
          <p:sp>
            <p:nvSpPr>
              <p:cNvPr id="5591" name="Google Shape;5591;p69"/>
              <p:cNvSpPr/>
              <p:nvPr/>
            </p:nvSpPr>
            <p:spPr>
              <a:xfrm>
                <a:off x="142156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69"/>
              <p:cNvSpPr/>
              <p:nvPr/>
            </p:nvSpPr>
            <p:spPr>
              <a:xfrm>
                <a:off x="142156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69"/>
              <p:cNvSpPr/>
              <p:nvPr/>
            </p:nvSpPr>
            <p:spPr>
              <a:xfrm>
                <a:off x="142156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69"/>
              <p:cNvSpPr/>
              <p:nvPr/>
            </p:nvSpPr>
            <p:spPr>
              <a:xfrm>
                <a:off x="142156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69"/>
              <p:cNvSpPr/>
              <p:nvPr/>
            </p:nvSpPr>
            <p:spPr>
              <a:xfrm>
                <a:off x="142156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69"/>
              <p:cNvSpPr/>
              <p:nvPr/>
            </p:nvSpPr>
            <p:spPr>
              <a:xfrm>
                <a:off x="142156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69"/>
              <p:cNvSpPr/>
              <p:nvPr/>
            </p:nvSpPr>
            <p:spPr>
              <a:xfrm>
                <a:off x="142156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69"/>
              <p:cNvSpPr/>
              <p:nvPr/>
            </p:nvSpPr>
            <p:spPr>
              <a:xfrm>
                <a:off x="142156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69"/>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69"/>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01" name="Google Shape;5601;p69"/>
            <p:cNvGrpSpPr/>
            <p:nvPr/>
          </p:nvGrpSpPr>
          <p:grpSpPr>
            <a:xfrm>
              <a:off x="1592327" y="1179665"/>
              <a:ext cx="80700" cy="1526144"/>
              <a:chOff x="1592327" y="1179665"/>
              <a:chExt cx="80700" cy="1526144"/>
            </a:xfrm>
          </p:grpSpPr>
          <p:sp>
            <p:nvSpPr>
              <p:cNvPr id="5602" name="Google Shape;5602;p69"/>
              <p:cNvSpPr/>
              <p:nvPr/>
            </p:nvSpPr>
            <p:spPr>
              <a:xfrm>
                <a:off x="159232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69"/>
              <p:cNvSpPr/>
              <p:nvPr/>
            </p:nvSpPr>
            <p:spPr>
              <a:xfrm>
                <a:off x="159232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69"/>
              <p:cNvSpPr/>
              <p:nvPr/>
            </p:nvSpPr>
            <p:spPr>
              <a:xfrm>
                <a:off x="159232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69"/>
              <p:cNvSpPr/>
              <p:nvPr/>
            </p:nvSpPr>
            <p:spPr>
              <a:xfrm>
                <a:off x="159232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69"/>
              <p:cNvSpPr/>
              <p:nvPr/>
            </p:nvSpPr>
            <p:spPr>
              <a:xfrm>
                <a:off x="159232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69"/>
              <p:cNvSpPr/>
              <p:nvPr/>
            </p:nvSpPr>
            <p:spPr>
              <a:xfrm>
                <a:off x="159232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69"/>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69"/>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69"/>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69"/>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12" name="Google Shape;5612;p69"/>
            <p:cNvGrpSpPr/>
            <p:nvPr/>
          </p:nvGrpSpPr>
          <p:grpSpPr>
            <a:xfrm>
              <a:off x="1766187" y="1179665"/>
              <a:ext cx="80700" cy="1526144"/>
              <a:chOff x="1766187" y="1179665"/>
              <a:chExt cx="80700" cy="1526144"/>
            </a:xfrm>
          </p:grpSpPr>
          <p:sp>
            <p:nvSpPr>
              <p:cNvPr id="5613" name="Google Shape;5613;p69"/>
              <p:cNvSpPr/>
              <p:nvPr/>
            </p:nvSpPr>
            <p:spPr>
              <a:xfrm>
                <a:off x="176618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69"/>
              <p:cNvSpPr/>
              <p:nvPr/>
            </p:nvSpPr>
            <p:spPr>
              <a:xfrm>
                <a:off x="176618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69"/>
              <p:cNvSpPr/>
              <p:nvPr/>
            </p:nvSpPr>
            <p:spPr>
              <a:xfrm>
                <a:off x="176618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69"/>
              <p:cNvSpPr/>
              <p:nvPr/>
            </p:nvSpPr>
            <p:spPr>
              <a:xfrm>
                <a:off x="176618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69"/>
              <p:cNvSpPr/>
              <p:nvPr/>
            </p:nvSpPr>
            <p:spPr>
              <a:xfrm>
                <a:off x="176618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69"/>
              <p:cNvSpPr/>
              <p:nvPr/>
            </p:nvSpPr>
            <p:spPr>
              <a:xfrm>
                <a:off x="176618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69"/>
              <p:cNvSpPr/>
              <p:nvPr/>
            </p:nvSpPr>
            <p:spPr>
              <a:xfrm>
                <a:off x="176618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69"/>
              <p:cNvSpPr/>
              <p:nvPr/>
            </p:nvSpPr>
            <p:spPr>
              <a:xfrm>
                <a:off x="176618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69"/>
              <p:cNvSpPr/>
              <p:nvPr/>
            </p:nvSpPr>
            <p:spPr>
              <a:xfrm>
                <a:off x="1766187" y="2464413"/>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69"/>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23" name="Google Shape;5623;p69"/>
            <p:cNvGrpSpPr/>
            <p:nvPr/>
          </p:nvGrpSpPr>
          <p:grpSpPr>
            <a:xfrm>
              <a:off x="1936935" y="1179665"/>
              <a:ext cx="80700" cy="1526144"/>
              <a:chOff x="1936935" y="1179665"/>
              <a:chExt cx="80700" cy="1526144"/>
            </a:xfrm>
          </p:grpSpPr>
          <p:sp>
            <p:nvSpPr>
              <p:cNvPr id="5624" name="Google Shape;5624;p69"/>
              <p:cNvSpPr/>
              <p:nvPr/>
            </p:nvSpPr>
            <p:spPr>
              <a:xfrm>
                <a:off x="193693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69"/>
              <p:cNvSpPr/>
              <p:nvPr/>
            </p:nvSpPr>
            <p:spPr>
              <a:xfrm>
                <a:off x="193693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69"/>
              <p:cNvSpPr/>
              <p:nvPr/>
            </p:nvSpPr>
            <p:spPr>
              <a:xfrm>
                <a:off x="193693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69"/>
              <p:cNvSpPr/>
              <p:nvPr/>
            </p:nvSpPr>
            <p:spPr>
              <a:xfrm>
                <a:off x="193693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69"/>
              <p:cNvSpPr/>
              <p:nvPr/>
            </p:nvSpPr>
            <p:spPr>
              <a:xfrm>
                <a:off x="193693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69"/>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69"/>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69"/>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69"/>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69"/>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34" name="Google Shape;5634;p69"/>
            <p:cNvGrpSpPr/>
            <p:nvPr/>
          </p:nvGrpSpPr>
          <p:grpSpPr>
            <a:xfrm>
              <a:off x="2110795" y="1179665"/>
              <a:ext cx="80700" cy="1526144"/>
              <a:chOff x="2110795" y="1179665"/>
              <a:chExt cx="80700" cy="1526144"/>
            </a:xfrm>
          </p:grpSpPr>
          <p:sp>
            <p:nvSpPr>
              <p:cNvPr id="5635" name="Google Shape;5635;p69"/>
              <p:cNvSpPr/>
              <p:nvPr/>
            </p:nvSpPr>
            <p:spPr>
              <a:xfrm>
                <a:off x="211079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69"/>
              <p:cNvSpPr/>
              <p:nvPr/>
            </p:nvSpPr>
            <p:spPr>
              <a:xfrm>
                <a:off x="211079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69"/>
              <p:cNvSpPr/>
              <p:nvPr/>
            </p:nvSpPr>
            <p:spPr>
              <a:xfrm>
                <a:off x="211079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69"/>
              <p:cNvSpPr/>
              <p:nvPr/>
            </p:nvSpPr>
            <p:spPr>
              <a:xfrm>
                <a:off x="211079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69"/>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69"/>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69"/>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69"/>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69"/>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69"/>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45" name="Google Shape;5645;p69"/>
            <p:cNvGrpSpPr/>
            <p:nvPr/>
          </p:nvGrpSpPr>
          <p:grpSpPr>
            <a:xfrm>
              <a:off x="2284655" y="1179665"/>
              <a:ext cx="80700" cy="1526144"/>
              <a:chOff x="2284655" y="1179665"/>
              <a:chExt cx="80700" cy="1526144"/>
            </a:xfrm>
          </p:grpSpPr>
          <p:sp>
            <p:nvSpPr>
              <p:cNvPr id="5646" name="Google Shape;5646;p69"/>
              <p:cNvSpPr/>
              <p:nvPr/>
            </p:nvSpPr>
            <p:spPr>
              <a:xfrm>
                <a:off x="228465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69"/>
              <p:cNvSpPr/>
              <p:nvPr/>
            </p:nvSpPr>
            <p:spPr>
              <a:xfrm>
                <a:off x="228465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69"/>
              <p:cNvSpPr/>
              <p:nvPr/>
            </p:nvSpPr>
            <p:spPr>
              <a:xfrm>
                <a:off x="228465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69"/>
              <p:cNvSpPr/>
              <p:nvPr/>
            </p:nvSpPr>
            <p:spPr>
              <a:xfrm>
                <a:off x="228465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69"/>
              <p:cNvSpPr/>
              <p:nvPr/>
            </p:nvSpPr>
            <p:spPr>
              <a:xfrm>
                <a:off x="228465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69"/>
              <p:cNvSpPr/>
              <p:nvPr/>
            </p:nvSpPr>
            <p:spPr>
              <a:xfrm>
                <a:off x="2284655"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69"/>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69"/>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69"/>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69"/>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56" name="Google Shape;5656;p69"/>
          <p:cNvGrpSpPr/>
          <p:nvPr/>
        </p:nvGrpSpPr>
        <p:grpSpPr>
          <a:xfrm>
            <a:off x="2611692" y="986753"/>
            <a:ext cx="1364248" cy="1102133"/>
            <a:chOff x="2623904" y="1198803"/>
            <a:chExt cx="1364248" cy="1102133"/>
          </a:xfrm>
        </p:grpSpPr>
        <p:grpSp>
          <p:nvGrpSpPr>
            <p:cNvPr id="5657" name="Google Shape;5657;p69"/>
            <p:cNvGrpSpPr/>
            <p:nvPr/>
          </p:nvGrpSpPr>
          <p:grpSpPr>
            <a:xfrm>
              <a:off x="2623907" y="1198803"/>
              <a:ext cx="1364245" cy="273000"/>
              <a:chOff x="2623907" y="1198803"/>
              <a:chExt cx="1364245" cy="273000"/>
            </a:xfrm>
          </p:grpSpPr>
          <p:sp>
            <p:nvSpPr>
              <p:cNvPr id="5658" name="Google Shape;5658;p69"/>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69"/>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69"/>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69"/>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69"/>
              <p:cNvSpPr/>
              <p:nvPr/>
            </p:nvSpPr>
            <p:spPr>
              <a:xfrm>
                <a:off x="3715152" y="1198803"/>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3" name="Google Shape;5663;p69"/>
            <p:cNvGrpSpPr/>
            <p:nvPr/>
          </p:nvGrpSpPr>
          <p:grpSpPr>
            <a:xfrm>
              <a:off x="2623904" y="1476964"/>
              <a:ext cx="1364245" cy="273000"/>
              <a:chOff x="2623904" y="1476964"/>
              <a:chExt cx="1364245" cy="273000"/>
            </a:xfrm>
          </p:grpSpPr>
          <p:sp>
            <p:nvSpPr>
              <p:cNvPr id="5664" name="Google Shape;5664;p69"/>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69"/>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69"/>
              <p:cNvSpPr/>
              <p:nvPr/>
            </p:nvSpPr>
            <p:spPr>
              <a:xfrm>
                <a:off x="3169527"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69"/>
              <p:cNvSpPr/>
              <p:nvPr/>
            </p:nvSpPr>
            <p:spPr>
              <a:xfrm>
                <a:off x="3442338"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69"/>
              <p:cNvSpPr/>
              <p:nvPr/>
            </p:nvSpPr>
            <p:spPr>
              <a:xfrm>
                <a:off x="3715149"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9" name="Google Shape;5669;p69"/>
            <p:cNvGrpSpPr/>
            <p:nvPr/>
          </p:nvGrpSpPr>
          <p:grpSpPr>
            <a:xfrm>
              <a:off x="2623907" y="1749775"/>
              <a:ext cx="1364245" cy="273000"/>
              <a:chOff x="2623907" y="1749775"/>
              <a:chExt cx="1364245" cy="273000"/>
            </a:xfrm>
          </p:grpSpPr>
          <p:sp>
            <p:nvSpPr>
              <p:cNvPr id="5670" name="Google Shape;5670;p69"/>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69"/>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69"/>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69"/>
              <p:cNvSpPr/>
              <p:nvPr/>
            </p:nvSpPr>
            <p:spPr>
              <a:xfrm>
                <a:off x="3442341"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69"/>
              <p:cNvSpPr/>
              <p:nvPr/>
            </p:nvSpPr>
            <p:spPr>
              <a:xfrm>
                <a:off x="3715152"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75" name="Google Shape;5675;p69"/>
            <p:cNvGrpSpPr/>
            <p:nvPr/>
          </p:nvGrpSpPr>
          <p:grpSpPr>
            <a:xfrm>
              <a:off x="2623904" y="2027936"/>
              <a:ext cx="1364245" cy="273000"/>
              <a:chOff x="2623904" y="2027936"/>
              <a:chExt cx="1364245" cy="273000"/>
            </a:xfrm>
          </p:grpSpPr>
          <p:sp>
            <p:nvSpPr>
              <p:cNvPr id="5676" name="Google Shape;5676;p69"/>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69"/>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69"/>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69"/>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69"/>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81" name="Google Shape;5681;p69"/>
          <p:cNvGrpSpPr/>
          <p:nvPr/>
        </p:nvGrpSpPr>
        <p:grpSpPr>
          <a:xfrm>
            <a:off x="2601153" y="2445826"/>
            <a:ext cx="1387541" cy="159124"/>
            <a:chOff x="3200660" y="2180272"/>
            <a:chExt cx="2563824" cy="378237"/>
          </a:xfrm>
        </p:grpSpPr>
        <p:sp>
          <p:nvSpPr>
            <p:cNvPr id="5682" name="Google Shape;5682;p69"/>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69"/>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69"/>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69"/>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69"/>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69"/>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69"/>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69"/>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69"/>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69"/>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69"/>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69"/>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69"/>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69"/>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69"/>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69"/>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69"/>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69"/>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0" name="Google Shape;5700;p69"/>
          <p:cNvGrpSpPr/>
          <p:nvPr/>
        </p:nvGrpSpPr>
        <p:grpSpPr>
          <a:xfrm>
            <a:off x="2597677" y="2723590"/>
            <a:ext cx="1390502" cy="159625"/>
            <a:chOff x="3530150" y="2790075"/>
            <a:chExt cx="1962600" cy="225300"/>
          </a:xfrm>
        </p:grpSpPr>
        <p:sp>
          <p:nvSpPr>
            <p:cNvPr id="5701" name="Google Shape;5701;p69"/>
            <p:cNvSpPr/>
            <p:nvPr/>
          </p:nvSpPr>
          <p:spPr>
            <a:xfrm>
              <a:off x="3530150" y="2790075"/>
              <a:ext cx="1962600" cy="2253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69"/>
            <p:cNvSpPr/>
            <p:nvPr/>
          </p:nvSpPr>
          <p:spPr>
            <a:xfrm>
              <a:off x="3530150" y="2790075"/>
              <a:ext cx="1110000" cy="2253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3" name="Google Shape;5703;p69"/>
          <p:cNvGrpSpPr/>
          <p:nvPr/>
        </p:nvGrpSpPr>
        <p:grpSpPr>
          <a:xfrm>
            <a:off x="2597735" y="3001855"/>
            <a:ext cx="1411629" cy="154175"/>
            <a:chOff x="3558802" y="4011244"/>
            <a:chExt cx="1866000" cy="111600"/>
          </a:xfrm>
        </p:grpSpPr>
        <p:sp>
          <p:nvSpPr>
            <p:cNvPr id="5704" name="Google Shape;5704;p69"/>
            <p:cNvSpPr/>
            <p:nvPr/>
          </p:nvSpPr>
          <p:spPr>
            <a:xfrm rot="5400000" flipH="1">
              <a:off x="4436152" y="3134077"/>
              <a:ext cx="111300" cy="1866000"/>
            </a:xfrm>
            <a:prstGeom prst="round2SameRect">
              <a:avLst>
                <a:gd name="adj1" fmla="val 50000"/>
                <a:gd name="adj2" fmla="val 50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69"/>
            <p:cNvSpPr/>
            <p:nvPr/>
          </p:nvSpPr>
          <p:spPr>
            <a:xfrm rot="5400000" flipH="1">
              <a:off x="4157232" y="3412894"/>
              <a:ext cx="111600" cy="13083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6" name="Google Shape;5706;p69"/>
          <p:cNvGrpSpPr/>
          <p:nvPr/>
        </p:nvGrpSpPr>
        <p:grpSpPr>
          <a:xfrm>
            <a:off x="2598023" y="2207425"/>
            <a:ext cx="1383503" cy="119761"/>
            <a:chOff x="3465975" y="2270258"/>
            <a:chExt cx="1986364" cy="171947"/>
          </a:xfrm>
        </p:grpSpPr>
        <p:sp>
          <p:nvSpPr>
            <p:cNvPr id="5707" name="Google Shape;5707;p69"/>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69"/>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69"/>
            <p:cNvSpPr/>
            <p:nvPr/>
          </p:nvSpPr>
          <p:spPr>
            <a:xfrm rot="-5400000">
              <a:off x="4243603"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69"/>
            <p:cNvSpPr/>
            <p:nvPr/>
          </p:nvSpPr>
          <p:spPr>
            <a:xfrm rot="-5400000">
              <a:off x="4502812"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69"/>
            <p:cNvSpPr/>
            <p:nvPr/>
          </p:nvSpPr>
          <p:spPr>
            <a:xfrm rot="-5400000">
              <a:off x="4762021"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69"/>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69"/>
            <p:cNvSpPr/>
            <p:nvPr/>
          </p:nvSpPr>
          <p:spPr>
            <a:xfrm rot="-5400000">
              <a:off x="502123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69"/>
            <p:cNvSpPr/>
            <p:nvPr/>
          </p:nvSpPr>
          <p:spPr>
            <a:xfrm rot="-5400000">
              <a:off x="528044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15" name="Google Shape;5715;p69"/>
          <p:cNvGrpSpPr/>
          <p:nvPr/>
        </p:nvGrpSpPr>
        <p:grpSpPr>
          <a:xfrm>
            <a:off x="2609030" y="3571198"/>
            <a:ext cx="1369531" cy="195460"/>
            <a:chOff x="723300" y="4253549"/>
            <a:chExt cx="2276482" cy="324900"/>
          </a:xfrm>
        </p:grpSpPr>
        <p:sp>
          <p:nvSpPr>
            <p:cNvPr id="5716" name="Google Shape;5716;p69"/>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69"/>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69"/>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69"/>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69"/>
            <p:cNvSpPr/>
            <p:nvPr/>
          </p:nvSpPr>
          <p:spPr>
            <a:xfrm>
              <a:off x="2658082" y="4253549"/>
              <a:ext cx="341700" cy="324900"/>
            </a:xfrm>
            <a:prstGeom prst="star5">
              <a:avLst>
                <a:gd name="adj" fmla="val 19098"/>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1" name="Google Shape;5721;p69"/>
          <p:cNvGrpSpPr/>
          <p:nvPr/>
        </p:nvGrpSpPr>
        <p:grpSpPr>
          <a:xfrm>
            <a:off x="2598591" y="3272439"/>
            <a:ext cx="1389066" cy="180119"/>
            <a:chOff x="705948" y="3788465"/>
            <a:chExt cx="2308953" cy="299400"/>
          </a:xfrm>
        </p:grpSpPr>
        <p:sp>
          <p:nvSpPr>
            <p:cNvPr id="5722" name="Google Shape;5722;p69"/>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69"/>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69"/>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69"/>
            <p:cNvSpPr/>
            <p:nvPr/>
          </p:nvSpPr>
          <p:spPr>
            <a:xfrm>
              <a:off x="2189639"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69"/>
            <p:cNvSpPr/>
            <p:nvPr/>
          </p:nvSpPr>
          <p:spPr>
            <a:xfrm>
              <a:off x="2679500"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7" name="Google Shape;5727;p69"/>
          <p:cNvGrpSpPr/>
          <p:nvPr/>
        </p:nvGrpSpPr>
        <p:grpSpPr>
          <a:xfrm>
            <a:off x="4195581" y="1876393"/>
            <a:ext cx="1433821" cy="191501"/>
            <a:chOff x="4273350" y="2088443"/>
            <a:chExt cx="1433821" cy="191501"/>
          </a:xfrm>
        </p:grpSpPr>
        <p:grpSp>
          <p:nvGrpSpPr>
            <p:cNvPr id="5728" name="Google Shape;5728;p69"/>
            <p:cNvGrpSpPr/>
            <p:nvPr/>
          </p:nvGrpSpPr>
          <p:grpSpPr>
            <a:xfrm>
              <a:off x="4273350" y="2088443"/>
              <a:ext cx="1433821" cy="0"/>
              <a:chOff x="5224975" y="2962250"/>
              <a:chExt cx="1544400" cy="0"/>
            </a:xfrm>
          </p:grpSpPr>
          <p:cxnSp>
            <p:nvCxnSpPr>
              <p:cNvPr id="5729" name="Google Shape;5729;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0" name="Google Shape;5730;p69"/>
              <p:cNvCxnSpPr/>
              <p:nvPr/>
            </p:nvCxnSpPr>
            <p:spPr>
              <a:xfrm>
                <a:off x="5225150" y="2962250"/>
                <a:ext cx="453300" cy="0"/>
              </a:xfrm>
              <a:prstGeom prst="straightConnector1">
                <a:avLst/>
              </a:prstGeom>
              <a:noFill/>
              <a:ln w="19050" cap="flat" cmpd="sng">
                <a:solidFill>
                  <a:srgbClr val="7994A9"/>
                </a:solidFill>
                <a:prstDash val="solid"/>
                <a:round/>
                <a:headEnd type="none" w="med" len="med"/>
                <a:tailEnd type="oval" w="med" len="med"/>
              </a:ln>
            </p:spPr>
          </p:cxnSp>
        </p:grpSp>
        <p:grpSp>
          <p:nvGrpSpPr>
            <p:cNvPr id="5731" name="Google Shape;5731;p69"/>
            <p:cNvGrpSpPr/>
            <p:nvPr/>
          </p:nvGrpSpPr>
          <p:grpSpPr>
            <a:xfrm>
              <a:off x="4273350" y="2279944"/>
              <a:ext cx="1433821" cy="0"/>
              <a:chOff x="5224975" y="2962250"/>
              <a:chExt cx="1544400" cy="0"/>
            </a:xfrm>
          </p:grpSpPr>
          <p:cxnSp>
            <p:nvCxnSpPr>
              <p:cNvPr id="5732" name="Google Shape;5732;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3" name="Google Shape;5733;p69"/>
              <p:cNvCxnSpPr/>
              <p:nvPr/>
            </p:nvCxnSpPr>
            <p:spPr>
              <a:xfrm>
                <a:off x="5225150" y="2962250"/>
                <a:ext cx="998700" cy="0"/>
              </a:xfrm>
              <a:prstGeom prst="straightConnector1">
                <a:avLst/>
              </a:prstGeom>
              <a:noFill/>
              <a:ln w="19050" cap="flat" cmpd="sng">
                <a:solidFill>
                  <a:srgbClr val="7994A9"/>
                </a:solidFill>
                <a:prstDash val="solid"/>
                <a:round/>
                <a:headEnd type="none" w="med" len="med"/>
                <a:tailEnd type="oval" w="med" len="med"/>
              </a:ln>
            </p:spPr>
          </p:cxnSp>
        </p:grpSp>
      </p:grpSp>
      <p:grpSp>
        <p:nvGrpSpPr>
          <p:cNvPr id="5734" name="Google Shape;5734;p69"/>
          <p:cNvGrpSpPr/>
          <p:nvPr/>
        </p:nvGrpSpPr>
        <p:grpSpPr>
          <a:xfrm>
            <a:off x="2646528" y="3885297"/>
            <a:ext cx="1304609" cy="294074"/>
            <a:chOff x="2658741" y="4097347"/>
            <a:chExt cx="1304609" cy="294074"/>
          </a:xfrm>
        </p:grpSpPr>
        <p:grpSp>
          <p:nvGrpSpPr>
            <p:cNvPr id="5735" name="Google Shape;5735;p69"/>
            <p:cNvGrpSpPr/>
            <p:nvPr/>
          </p:nvGrpSpPr>
          <p:grpSpPr>
            <a:xfrm>
              <a:off x="2658741" y="4097347"/>
              <a:ext cx="118572" cy="294074"/>
              <a:chOff x="3343310" y="4475555"/>
              <a:chExt cx="127717" cy="316753"/>
            </a:xfrm>
          </p:grpSpPr>
          <p:sp>
            <p:nvSpPr>
              <p:cNvPr id="5736" name="Google Shape;5736;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38" name="Google Shape;5738;p69"/>
            <p:cNvGrpSpPr/>
            <p:nvPr/>
          </p:nvGrpSpPr>
          <p:grpSpPr>
            <a:xfrm>
              <a:off x="3815519" y="4098388"/>
              <a:ext cx="147831" cy="291991"/>
              <a:chOff x="3527539" y="4476677"/>
              <a:chExt cx="159232" cy="314510"/>
            </a:xfrm>
          </p:grpSpPr>
          <p:sp>
            <p:nvSpPr>
              <p:cNvPr id="5739" name="Google Shape;5739;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1" name="Google Shape;5741;p69"/>
            <p:cNvGrpSpPr/>
            <p:nvPr/>
          </p:nvGrpSpPr>
          <p:grpSpPr>
            <a:xfrm>
              <a:off x="3511696" y="4098388"/>
              <a:ext cx="147831" cy="291991"/>
              <a:chOff x="3527539" y="4476677"/>
              <a:chExt cx="159232" cy="314510"/>
            </a:xfrm>
          </p:grpSpPr>
          <p:sp>
            <p:nvSpPr>
              <p:cNvPr id="5742" name="Google Shape;5742;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4" name="Google Shape;5744;p69"/>
            <p:cNvGrpSpPr/>
            <p:nvPr/>
          </p:nvGrpSpPr>
          <p:grpSpPr>
            <a:xfrm>
              <a:off x="3207874" y="4098388"/>
              <a:ext cx="147831" cy="291991"/>
              <a:chOff x="3527539" y="4476677"/>
              <a:chExt cx="159232" cy="314510"/>
            </a:xfrm>
          </p:grpSpPr>
          <p:sp>
            <p:nvSpPr>
              <p:cNvPr id="5745" name="Google Shape;5745;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7" name="Google Shape;5747;p69"/>
            <p:cNvGrpSpPr/>
            <p:nvPr/>
          </p:nvGrpSpPr>
          <p:grpSpPr>
            <a:xfrm>
              <a:off x="2933305" y="4097347"/>
              <a:ext cx="118572" cy="294074"/>
              <a:chOff x="3343310" y="4475555"/>
              <a:chExt cx="127717" cy="316753"/>
            </a:xfrm>
          </p:grpSpPr>
          <p:sp>
            <p:nvSpPr>
              <p:cNvPr id="5748" name="Google Shape;5748;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750" name="Google Shape;5750;p69"/>
          <p:cNvGrpSpPr/>
          <p:nvPr/>
        </p:nvGrpSpPr>
        <p:grpSpPr>
          <a:xfrm>
            <a:off x="4197136" y="963991"/>
            <a:ext cx="1430711" cy="751237"/>
            <a:chOff x="5159450" y="1919950"/>
            <a:chExt cx="1541050" cy="862500"/>
          </a:xfrm>
        </p:grpSpPr>
        <p:sp>
          <p:nvSpPr>
            <p:cNvPr id="5751" name="Google Shape;5751;p69"/>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txBody>
            <a:bodyPr/>
            <a:lstStyle/>
            <a:p>
              <a:endParaRPr lang="en-AT"/>
            </a:p>
          </p:txBody>
        </p:sp>
        <p:grpSp>
          <p:nvGrpSpPr>
            <p:cNvPr id="5752" name="Google Shape;5752;p69"/>
            <p:cNvGrpSpPr/>
            <p:nvPr/>
          </p:nvGrpSpPr>
          <p:grpSpPr>
            <a:xfrm>
              <a:off x="5159450" y="1919950"/>
              <a:ext cx="1541050" cy="862500"/>
              <a:chOff x="5159450" y="1919950"/>
              <a:chExt cx="1541050" cy="862500"/>
            </a:xfrm>
          </p:grpSpPr>
          <p:cxnSp>
            <p:nvCxnSpPr>
              <p:cNvPr id="5753" name="Google Shape;5753;p69"/>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5754" name="Google Shape;5754;p69"/>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5755" name="Google Shape;5755;p69"/>
          <p:cNvGrpSpPr/>
          <p:nvPr/>
        </p:nvGrpSpPr>
        <p:grpSpPr>
          <a:xfrm>
            <a:off x="4245274" y="2227761"/>
            <a:ext cx="1334436" cy="967914"/>
            <a:chOff x="4294923" y="2439811"/>
            <a:chExt cx="1334436" cy="967914"/>
          </a:xfrm>
        </p:grpSpPr>
        <p:grpSp>
          <p:nvGrpSpPr>
            <p:cNvPr id="5756" name="Google Shape;5756;p69"/>
            <p:cNvGrpSpPr/>
            <p:nvPr/>
          </p:nvGrpSpPr>
          <p:grpSpPr>
            <a:xfrm>
              <a:off x="4960455" y="2469658"/>
              <a:ext cx="668904" cy="885524"/>
              <a:chOff x="4960455" y="2469658"/>
              <a:chExt cx="668904" cy="885524"/>
            </a:xfrm>
          </p:grpSpPr>
          <p:sp>
            <p:nvSpPr>
              <p:cNvPr id="5757" name="Google Shape;5757;p69"/>
              <p:cNvSpPr/>
              <p:nvPr/>
            </p:nvSpPr>
            <p:spPr>
              <a:xfrm>
                <a:off x="4960455" y="3257057"/>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69"/>
              <p:cNvSpPr/>
              <p:nvPr/>
            </p:nvSpPr>
            <p:spPr>
              <a:xfrm>
                <a:off x="4960455" y="3099584"/>
                <a:ext cx="668904" cy="98124"/>
              </a:xfrm>
              <a:custGeom>
                <a:avLst/>
                <a:gdLst/>
                <a:ahLst/>
                <a:cxnLst/>
                <a:rect l="l" t="t" r="r" b="b"/>
                <a:pathLst>
                  <a:path w="42851" h="6286" extrusionOk="0">
                    <a:moveTo>
                      <a:pt x="0" y="0"/>
                    </a:moveTo>
                    <a:lnTo>
                      <a:pt x="0" y="6285"/>
                    </a:lnTo>
                    <a:lnTo>
                      <a:pt x="42851" y="6285"/>
                    </a:lnTo>
                    <a:lnTo>
                      <a:pt x="4285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6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6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6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6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63" name="Google Shape;5763;p69"/>
            <p:cNvGrpSpPr/>
            <p:nvPr/>
          </p:nvGrpSpPr>
          <p:grpSpPr>
            <a:xfrm>
              <a:off x="4294923" y="2469658"/>
              <a:ext cx="668951" cy="885524"/>
              <a:chOff x="4294923" y="2469658"/>
              <a:chExt cx="668951" cy="885524"/>
            </a:xfrm>
          </p:grpSpPr>
          <p:sp>
            <p:nvSpPr>
              <p:cNvPr id="5764" name="Google Shape;5764;p69"/>
              <p:cNvSpPr/>
              <p:nvPr/>
            </p:nvSpPr>
            <p:spPr>
              <a:xfrm>
                <a:off x="4294923" y="3257057"/>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69"/>
              <p:cNvSpPr/>
              <p:nvPr/>
            </p:nvSpPr>
            <p:spPr>
              <a:xfrm>
                <a:off x="4294923" y="3099584"/>
                <a:ext cx="668951" cy="98124"/>
              </a:xfrm>
              <a:custGeom>
                <a:avLst/>
                <a:gdLst/>
                <a:ahLst/>
                <a:cxnLst/>
                <a:rect l="l" t="t" r="r" b="b"/>
                <a:pathLst>
                  <a:path w="42854" h="6286" extrusionOk="0">
                    <a:moveTo>
                      <a:pt x="0" y="0"/>
                    </a:moveTo>
                    <a:lnTo>
                      <a:pt x="0" y="6285"/>
                    </a:lnTo>
                    <a:lnTo>
                      <a:pt x="42854" y="6285"/>
                    </a:lnTo>
                    <a:lnTo>
                      <a:pt x="428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6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6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6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6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70" name="Google Shape;5770;p6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71" name="Google Shape;5771;p69"/>
          <p:cNvGrpSpPr/>
          <p:nvPr/>
        </p:nvGrpSpPr>
        <p:grpSpPr>
          <a:xfrm>
            <a:off x="4231477" y="3282206"/>
            <a:ext cx="1430949" cy="897289"/>
            <a:chOff x="4351371" y="3547942"/>
            <a:chExt cx="1345130" cy="843475"/>
          </a:xfrm>
        </p:grpSpPr>
        <p:grpSp>
          <p:nvGrpSpPr>
            <p:cNvPr id="5772" name="Google Shape;5772;p69"/>
            <p:cNvGrpSpPr/>
            <p:nvPr/>
          </p:nvGrpSpPr>
          <p:grpSpPr>
            <a:xfrm>
              <a:off x="4351371" y="4209917"/>
              <a:ext cx="1345130" cy="181500"/>
              <a:chOff x="4351371" y="4209917"/>
              <a:chExt cx="1345130" cy="181500"/>
            </a:xfrm>
          </p:grpSpPr>
          <p:sp>
            <p:nvSpPr>
              <p:cNvPr id="5773" name="Google Shape;5773;p69"/>
              <p:cNvSpPr/>
              <p:nvPr/>
            </p:nvSpPr>
            <p:spPr>
              <a:xfrm rot="10800000">
                <a:off x="4351371" y="4209917"/>
                <a:ext cx="1281600" cy="181500"/>
              </a:xfrm>
              <a:prstGeom prst="rect">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4" name="Google Shape;5774;p69"/>
              <p:cNvCxnSpPr/>
              <p:nvPr/>
            </p:nvCxnSpPr>
            <p:spPr>
              <a:xfrm>
                <a:off x="5551000" y="4298797"/>
                <a:ext cx="145500" cy="0"/>
              </a:xfrm>
              <a:prstGeom prst="straightConnector1">
                <a:avLst/>
              </a:prstGeom>
              <a:noFill/>
              <a:ln w="28575" cap="flat" cmpd="sng">
                <a:solidFill>
                  <a:srgbClr val="435D74"/>
                </a:solidFill>
                <a:prstDash val="solid"/>
                <a:round/>
                <a:headEnd type="none" w="med" len="med"/>
                <a:tailEnd type="none" w="med" len="med"/>
              </a:ln>
            </p:spPr>
          </p:cxnSp>
        </p:grpSp>
        <p:grpSp>
          <p:nvGrpSpPr>
            <p:cNvPr id="5775" name="Google Shape;5775;p69"/>
            <p:cNvGrpSpPr/>
            <p:nvPr/>
          </p:nvGrpSpPr>
          <p:grpSpPr>
            <a:xfrm>
              <a:off x="4403010" y="3985221"/>
              <a:ext cx="1109518" cy="181500"/>
              <a:chOff x="4403010" y="3985221"/>
              <a:chExt cx="1109518" cy="181500"/>
            </a:xfrm>
          </p:grpSpPr>
          <p:sp>
            <p:nvSpPr>
              <p:cNvPr id="5776" name="Google Shape;5776;p69"/>
              <p:cNvSpPr/>
              <p:nvPr/>
            </p:nvSpPr>
            <p:spPr>
              <a:xfrm rot="10800000">
                <a:off x="4471829" y="3985221"/>
                <a:ext cx="1040700" cy="1815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7" name="Google Shape;5777;p69"/>
              <p:cNvCxnSpPr/>
              <p:nvPr/>
            </p:nvCxnSpPr>
            <p:spPr>
              <a:xfrm>
                <a:off x="4403010" y="4075993"/>
                <a:ext cx="145500" cy="0"/>
              </a:xfrm>
              <a:prstGeom prst="straightConnector1">
                <a:avLst/>
              </a:prstGeom>
              <a:noFill/>
              <a:ln w="28575" cap="flat" cmpd="sng">
                <a:solidFill>
                  <a:srgbClr val="5F7D95"/>
                </a:solidFill>
                <a:prstDash val="solid"/>
                <a:round/>
                <a:headEnd type="none" w="med" len="med"/>
                <a:tailEnd type="none" w="med" len="med"/>
              </a:ln>
            </p:spPr>
          </p:cxnSp>
        </p:grpSp>
        <p:grpSp>
          <p:nvGrpSpPr>
            <p:cNvPr id="5778" name="Google Shape;5778;p69"/>
            <p:cNvGrpSpPr/>
            <p:nvPr/>
          </p:nvGrpSpPr>
          <p:grpSpPr>
            <a:xfrm>
              <a:off x="4618704" y="3766582"/>
              <a:ext cx="807858" cy="181500"/>
              <a:chOff x="4618704" y="3766582"/>
              <a:chExt cx="807858" cy="181500"/>
            </a:xfrm>
          </p:grpSpPr>
          <p:sp>
            <p:nvSpPr>
              <p:cNvPr id="5779" name="Google Shape;5779;p69"/>
              <p:cNvSpPr/>
              <p:nvPr/>
            </p:nvSpPr>
            <p:spPr>
              <a:xfrm rot="10800000">
                <a:off x="4618704" y="3766582"/>
                <a:ext cx="747000" cy="181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0" name="Google Shape;5780;p69"/>
              <p:cNvCxnSpPr/>
              <p:nvPr/>
            </p:nvCxnSpPr>
            <p:spPr>
              <a:xfrm>
                <a:off x="5281062" y="3855291"/>
                <a:ext cx="145500" cy="0"/>
              </a:xfrm>
              <a:prstGeom prst="straightConnector1">
                <a:avLst/>
              </a:prstGeom>
              <a:noFill/>
              <a:ln w="28575" cap="flat" cmpd="sng">
                <a:solidFill>
                  <a:srgbClr val="869FB2"/>
                </a:solidFill>
                <a:prstDash val="solid"/>
                <a:round/>
                <a:headEnd type="none" w="med" len="med"/>
                <a:tailEnd type="none" w="med" len="med"/>
              </a:ln>
            </p:spPr>
          </p:cxnSp>
        </p:grpSp>
        <p:grpSp>
          <p:nvGrpSpPr>
            <p:cNvPr id="5781" name="Google Shape;5781;p69"/>
            <p:cNvGrpSpPr/>
            <p:nvPr/>
          </p:nvGrpSpPr>
          <p:grpSpPr>
            <a:xfrm>
              <a:off x="4735238" y="3547942"/>
              <a:ext cx="462839" cy="181500"/>
              <a:chOff x="4735238" y="3547942"/>
              <a:chExt cx="462839" cy="181500"/>
            </a:xfrm>
          </p:grpSpPr>
          <p:sp>
            <p:nvSpPr>
              <p:cNvPr id="5782" name="Google Shape;5782;p69"/>
              <p:cNvSpPr/>
              <p:nvPr/>
            </p:nvSpPr>
            <p:spPr>
              <a:xfrm rot="10800000">
                <a:off x="4786477" y="3547942"/>
                <a:ext cx="411600" cy="181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3" name="Google Shape;5783;p69"/>
              <p:cNvCxnSpPr/>
              <p:nvPr/>
            </p:nvCxnSpPr>
            <p:spPr>
              <a:xfrm>
                <a:off x="4735238" y="3636872"/>
                <a:ext cx="145500" cy="0"/>
              </a:xfrm>
              <a:prstGeom prst="straightConnector1">
                <a:avLst/>
              </a:prstGeom>
              <a:noFill/>
              <a:ln w="28575" cap="flat" cmpd="sng">
                <a:solidFill>
                  <a:srgbClr val="BAC8D3"/>
                </a:solidFill>
                <a:prstDash val="solid"/>
                <a:round/>
                <a:headEnd type="none" w="med" len="med"/>
                <a:tailEnd type="none" w="med" len="med"/>
              </a:ln>
            </p:spPr>
          </p:cxnSp>
        </p:grpSp>
      </p:grpSp>
      <p:grpSp>
        <p:nvGrpSpPr>
          <p:cNvPr id="5784" name="Google Shape;5784;p69"/>
          <p:cNvGrpSpPr/>
          <p:nvPr/>
        </p:nvGrpSpPr>
        <p:grpSpPr>
          <a:xfrm>
            <a:off x="7407835" y="2217530"/>
            <a:ext cx="1020955" cy="928853"/>
            <a:chOff x="926675" y="238125"/>
            <a:chExt cx="5755100" cy="5232975"/>
          </a:xfrm>
        </p:grpSpPr>
        <p:sp>
          <p:nvSpPr>
            <p:cNvPr id="5785" name="Google Shape;5785;p69"/>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69"/>
            <p:cNvSpPr/>
            <p:nvPr/>
          </p:nvSpPr>
          <p:spPr>
            <a:xfrm>
              <a:off x="2825775"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69"/>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69"/>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89" name="Google Shape;5789;p69"/>
          <p:cNvGrpSpPr/>
          <p:nvPr/>
        </p:nvGrpSpPr>
        <p:grpSpPr>
          <a:xfrm>
            <a:off x="715208" y="2616265"/>
            <a:ext cx="1695374" cy="1560837"/>
            <a:chOff x="727421" y="2828315"/>
            <a:chExt cx="1695374" cy="1560837"/>
          </a:xfrm>
        </p:grpSpPr>
        <p:grpSp>
          <p:nvGrpSpPr>
            <p:cNvPr id="5790" name="Google Shape;5790;p69"/>
            <p:cNvGrpSpPr/>
            <p:nvPr/>
          </p:nvGrpSpPr>
          <p:grpSpPr>
            <a:xfrm>
              <a:off x="727421" y="2828315"/>
              <a:ext cx="1695374" cy="1560837"/>
              <a:chOff x="734799" y="2782450"/>
              <a:chExt cx="1571100" cy="1577400"/>
            </a:xfrm>
          </p:grpSpPr>
          <p:cxnSp>
            <p:nvCxnSpPr>
              <p:cNvPr id="5791" name="Google Shape;5791;p69"/>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5792" name="Google Shape;5792;p69"/>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5793" name="Google Shape;5793;p69"/>
            <p:cNvGrpSpPr/>
            <p:nvPr/>
          </p:nvGrpSpPr>
          <p:grpSpPr>
            <a:xfrm>
              <a:off x="819108" y="2882501"/>
              <a:ext cx="1556791" cy="1426186"/>
              <a:chOff x="819108" y="2882501"/>
              <a:chExt cx="1556791" cy="1426186"/>
            </a:xfrm>
          </p:grpSpPr>
          <p:grpSp>
            <p:nvGrpSpPr>
              <p:cNvPr id="5794" name="Google Shape;5794;p69"/>
              <p:cNvGrpSpPr/>
              <p:nvPr/>
            </p:nvGrpSpPr>
            <p:grpSpPr>
              <a:xfrm>
                <a:off x="819108" y="2882501"/>
                <a:ext cx="103104" cy="1426186"/>
                <a:chOff x="4674013" y="3100904"/>
                <a:chExt cx="122758" cy="1698043"/>
              </a:xfrm>
            </p:grpSpPr>
            <p:sp>
              <p:nvSpPr>
                <p:cNvPr id="5795" name="Google Shape;5795;p69"/>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69"/>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69"/>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69"/>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69"/>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69"/>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69"/>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02" name="Google Shape;5802;p69"/>
              <p:cNvGrpSpPr/>
              <p:nvPr/>
            </p:nvGrpSpPr>
            <p:grpSpPr>
              <a:xfrm>
                <a:off x="1062475" y="2882501"/>
                <a:ext cx="103104" cy="1426186"/>
                <a:chOff x="4940438" y="3100904"/>
                <a:chExt cx="122758" cy="1698043"/>
              </a:xfrm>
            </p:grpSpPr>
            <p:sp>
              <p:nvSpPr>
                <p:cNvPr id="5803" name="Google Shape;5803;p69"/>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69"/>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69"/>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69"/>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69"/>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69"/>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69"/>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0" name="Google Shape;5810;p69"/>
              <p:cNvGrpSpPr/>
              <p:nvPr/>
            </p:nvGrpSpPr>
            <p:grpSpPr>
              <a:xfrm>
                <a:off x="1299324" y="2882501"/>
                <a:ext cx="103104" cy="1426186"/>
                <a:chOff x="5206863" y="3100904"/>
                <a:chExt cx="122758" cy="1698043"/>
              </a:xfrm>
            </p:grpSpPr>
            <p:sp>
              <p:nvSpPr>
                <p:cNvPr id="5811" name="Google Shape;5811;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8" name="Google Shape;5818;p69"/>
              <p:cNvGrpSpPr/>
              <p:nvPr/>
            </p:nvGrpSpPr>
            <p:grpSpPr>
              <a:xfrm>
                <a:off x="1786057" y="2882501"/>
                <a:ext cx="103104" cy="1426186"/>
                <a:chOff x="6006138" y="3143629"/>
                <a:chExt cx="122758" cy="1698043"/>
              </a:xfrm>
            </p:grpSpPr>
            <p:sp>
              <p:nvSpPr>
                <p:cNvPr id="5819" name="Google Shape;5819;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26" name="Google Shape;5826;p69"/>
              <p:cNvGrpSpPr/>
              <p:nvPr/>
            </p:nvGrpSpPr>
            <p:grpSpPr>
              <a:xfrm>
                <a:off x="2029422" y="2882501"/>
                <a:ext cx="103104" cy="1426186"/>
                <a:chOff x="6805413" y="3100904"/>
                <a:chExt cx="122758" cy="1698043"/>
              </a:xfrm>
            </p:grpSpPr>
            <p:sp>
              <p:nvSpPr>
                <p:cNvPr id="5827" name="Google Shape;5827;p69"/>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69"/>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69"/>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69"/>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69"/>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69"/>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69"/>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34" name="Google Shape;5834;p69"/>
              <p:cNvGrpSpPr/>
              <p:nvPr/>
            </p:nvGrpSpPr>
            <p:grpSpPr>
              <a:xfrm>
                <a:off x="2272795" y="2882501"/>
                <a:ext cx="103104" cy="1426186"/>
                <a:chOff x="5206863" y="3100904"/>
                <a:chExt cx="122758" cy="1698043"/>
              </a:xfrm>
            </p:grpSpPr>
            <p:sp>
              <p:nvSpPr>
                <p:cNvPr id="5835" name="Google Shape;5835;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2" name="Google Shape;5842;p69"/>
              <p:cNvGrpSpPr/>
              <p:nvPr/>
            </p:nvGrpSpPr>
            <p:grpSpPr>
              <a:xfrm>
                <a:off x="1542694" y="2882501"/>
                <a:ext cx="103104" cy="1426186"/>
                <a:chOff x="6006138" y="3143629"/>
                <a:chExt cx="122758" cy="1698043"/>
              </a:xfrm>
            </p:grpSpPr>
            <p:sp>
              <p:nvSpPr>
                <p:cNvPr id="5843" name="Google Shape;5843;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850" name="Google Shape;5850;p69"/>
          <p:cNvGrpSpPr/>
          <p:nvPr/>
        </p:nvGrpSpPr>
        <p:grpSpPr>
          <a:xfrm>
            <a:off x="5671259" y="3305987"/>
            <a:ext cx="2749952" cy="870677"/>
            <a:chOff x="238125" y="1725700"/>
            <a:chExt cx="7139025" cy="2260325"/>
          </a:xfrm>
        </p:grpSpPr>
        <p:sp>
          <p:nvSpPr>
            <p:cNvPr id="5851" name="Google Shape;5851;p69"/>
            <p:cNvSpPr/>
            <p:nvPr/>
          </p:nvSpPr>
          <p:spPr>
            <a:xfrm>
              <a:off x="238125" y="1741950"/>
              <a:ext cx="6506150" cy="2228050"/>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solidFill>
              <a:srgbClr val="E3E9ED">
                <a:alpha val="435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69"/>
            <p:cNvSpPr/>
            <p:nvPr/>
          </p:nvSpPr>
          <p:spPr>
            <a:xfrm>
              <a:off x="2480475" y="2435950"/>
              <a:ext cx="438500" cy="841400"/>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69"/>
            <p:cNvSpPr/>
            <p:nvPr/>
          </p:nvSpPr>
          <p:spPr>
            <a:xfrm>
              <a:off x="3663250" y="2219875"/>
              <a:ext cx="607450" cy="1272525"/>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69"/>
            <p:cNvSpPr/>
            <p:nvPr/>
          </p:nvSpPr>
          <p:spPr>
            <a:xfrm>
              <a:off x="4999700" y="1973525"/>
              <a:ext cx="820500" cy="1764350"/>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69"/>
            <p:cNvSpPr/>
            <p:nvPr/>
          </p:nvSpPr>
          <p:spPr>
            <a:xfrm>
              <a:off x="6838275" y="1725700"/>
              <a:ext cx="150" cy="0"/>
            </a:xfrm>
            <a:custGeom>
              <a:avLst/>
              <a:gdLst/>
              <a:ahLst/>
              <a:cxnLst/>
              <a:rect l="l" t="t" r="r" b="b"/>
              <a:pathLst>
                <a:path w="6" extrusionOk="0">
                  <a:moveTo>
                    <a:pt x="5" y="0"/>
                  </a:moveTo>
                  <a:lnTo>
                    <a:pt x="1"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69"/>
            <p:cNvSpPr/>
            <p:nvPr/>
          </p:nvSpPr>
          <p:spPr>
            <a:xfrm>
              <a:off x="6838400" y="3986000"/>
              <a:ext cx="25" cy="25"/>
            </a:xfrm>
            <a:custGeom>
              <a:avLst/>
              <a:gdLst/>
              <a:ahLst/>
              <a:cxnLst/>
              <a:rect l="l" t="t" r="r" b="b"/>
              <a:pathLst>
                <a:path w="1" h="1" extrusionOk="0">
                  <a:moveTo>
                    <a:pt x="0" y="1"/>
                  </a:moveTo>
                  <a:lnTo>
                    <a:pt x="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69"/>
            <p:cNvSpPr/>
            <p:nvPr/>
          </p:nvSpPr>
          <p:spPr>
            <a:xfrm>
              <a:off x="6744250" y="3969975"/>
              <a:ext cx="94175" cy="16050"/>
            </a:xfrm>
            <a:custGeom>
              <a:avLst/>
              <a:gdLst/>
              <a:ahLst/>
              <a:cxnLst/>
              <a:rect l="l" t="t" r="r" b="b"/>
              <a:pathLst>
                <a:path w="3767" h="642" extrusionOk="0">
                  <a:moveTo>
                    <a:pt x="1" y="0"/>
                  </a:moveTo>
                  <a:lnTo>
                    <a:pt x="1" y="0"/>
                  </a:lnTo>
                  <a:cubicBezTo>
                    <a:pt x="1190" y="425"/>
                    <a:pt x="2415" y="642"/>
                    <a:pt x="3662" y="642"/>
                  </a:cubicBezTo>
                  <a:lnTo>
                    <a:pt x="3766" y="642"/>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69"/>
            <p:cNvSpPr/>
            <p:nvPr/>
          </p:nvSpPr>
          <p:spPr>
            <a:xfrm>
              <a:off x="6744250" y="1725700"/>
              <a:ext cx="94050" cy="16175"/>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69"/>
            <p:cNvSpPr/>
            <p:nvPr/>
          </p:nvSpPr>
          <p:spPr>
            <a:xfrm>
              <a:off x="6294575" y="1725700"/>
              <a:ext cx="1082575" cy="2260225"/>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69"/>
            <p:cNvSpPr/>
            <p:nvPr/>
          </p:nvSpPr>
          <p:spPr>
            <a:xfrm>
              <a:off x="1511625" y="2613375"/>
              <a:ext cx="292400" cy="484275"/>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61" name="Google Shape;5861;p69"/>
          <p:cNvGrpSpPr/>
          <p:nvPr/>
        </p:nvGrpSpPr>
        <p:grpSpPr>
          <a:xfrm>
            <a:off x="5941423" y="2247733"/>
            <a:ext cx="1105452" cy="916747"/>
            <a:chOff x="5249100" y="1210600"/>
            <a:chExt cx="3502700" cy="2904775"/>
          </a:xfrm>
        </p:grpSpPr>
        <p:sp>
          <p:nvSpPr>
            <p:cNvPr id="5862" name="Google Shape;5862;p69"/>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69"/>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69"/>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69"/>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66" name="Google Shape;5866;p69"/>
            <p:cNvCxnSpPr/>
            <p:nvPr/>
          </p:nvCxnSpPr>
          <p:spPr>
            <a:xfrm>
              <a:off x="5249100" y="2382654"/>
              <a:ext cx="922800" cy="0"/>
            </a:xfrm>
            <a:prstGeom prst="straightConnector1">
              <a:avLst/>
            </a:prstGeom>
            <a:noFill/>
            <a:ln w="19050" cap="flat" cmpd="sng">
              <a:solidFill>
                <a:srgbClr val="869FB2"/>
              </a:solidFill>
              <a:prstDash val="solid"/>
              <a:round/>
              <a:headEnd type="oval" w="med" len="med"/>
              <a:tailEnd type="none" w="med" len="med"/>
            </a:ln>
          </p:spPr>
        </p:cxnSp>
        <p:cxnSp>
          <p:nvCxnSpPr>
            <p:cNvPr id="5867" name="Google Shape;5867;p69"/>
            <p:cNvCxnSpPr/>
            <p:nvPr/>
          </p:nvCxnSpPr>
          <p:spPr>
            <a:xfrm rot="10800000">
              <a:off x="8178522" y="1765431"/>
              <a:ext cx="559200" cy="0"/>
            </a:xfrm>
            <a:prstGeom prst="straightConnector1">
              <a:avLst/>
            </a:prstGeom>
            <a:noFill/>
            <a:ln w="19050" cap="flat" cmpd="sng">
              <a:solidFill>
                <a:srgbClr val="BAC8D3"/>
              </a:solidFill>
              <a:prstDash val="solid"/>
              <a:round/>
              <a:headEnd type="oval" w="med" len="med"/>
              <a:tailEnd type="none" w="med" len="med"/>
            </a:ln>
          </p:spPr>
        </p:cxnSp>
        <p:cxnSp>
          <p:nvCxnSpPr>
            <p:cNvPr id="5868" name="Google Shape;5868;p69"/>
            <p:cNvCxnSpPr/>
            <p:nvPr/>
          </p:nvCxnSpPr>
          <p:spPr>
            <a:xfrm rot="10800000">
              <a:off x="7467500" y="2943528"/>
              <a:ext cx="1284300" cy="0"/>
            </a:xfrm>
            <a:prstGeom prst="straightConnector1">
              <a:avLst/>
            </a:prstGeom>
            <a:noFill/>
            <a:ln w="19050" cap="flat" cmpd="sng">
              <a:solidFill>
                <a:srgbClr val="5F7D95"/>
              </a:solidFill>
              <a:prstDash val="solid"/>
              <a:round/>
              <a:headEnd type="oval" w="med" len="med"/>
              <a:tailEnd type="none" w="med" len="med"/>
            </a:ln>
          </p:spPr>
        </p:cxnSp>
        <p:cxnSp>
          <p:nvCxnSpPr>
            <p:cNvPr id="5869" name="Google Shape;5869;p69"/>
            <p:cNvCxnSpPr/>
            <p:nvPr/>
          </p:nvCxnSpPr>
          <p:spPr>
            <a:xfrm>
              <a:off x="5787288" y="3630350"/>
              <a:ext cx="922800" cy="0"/>
            </a:xfrm>
            <a:prstGeom prst="straightConnector1">
              <a:avLst/>
            </a:prstGeom>
            <a:noFill/>
            <a:ln w="19050" cap="flat" cmpd="sng">
              <a:solidFill>
                <a:srgbClr val="435D74"/>
              </a:solidFill>
              <a:prstDash val="solid"/>
              <a:round/>
              <a:headEnd type="oval" w="med" len="med"/>
              <a:tailEnd type="none" w="med" len="med"/>
            </a:ln>
          </p:spPr>
        </p:cxnSp>
        <p:sp>
          <p:nvSpPr>
            <p:cNvPr id="5870" name="Google Shape;5870;p69"/>
            <p:cNvSpPr/>
            <p:nvPr/>
          </p:nvSpPr>
          <p:spPr>
            <a:xfrm>
              <a:off x="6601902" y="3690575"/>
              <a:ext cx="566400" cy="424800"/>
            </a:xfrm>
            <a:prstGeom prst="downArrow">
              <a:avLst>
                <a:gd name="adj1" fmla="val 50000"/>
                <a:gd name="adj2" fmla="val 50000"/>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71" name="Google Shape;5871;p69"/>
          <p:cNvGrpSpPr/>
          <p:nvPr/>
        </p:nvGrpSpPr>
        <p:grpSpPr>
          <a:xfrm>
            <a:off x="7123971" y="967151"/>
            <a:ext cx="1304650" cy="1124856"/>
            <a:chOff x="7287122" y="1165658"/>
            <a:chExt cx="1219413" cy="1051365"/>
          </a:xfrm>
        </p:grpSpPr>
        <p:grpSp>
          <p:nvGrpSpPr>
            <p:cNvPr id="5872" name="Google Shape;5872;p69"/>
            <p:cNvGrpSpPr/>
            <p:nvPr/>
          </p:nvGrpSpPr>
          <p:grpSpPr>
            <a:xfrm>
              <a:off x="7287122" y="1969723"/>
              <a:ext cx="1219413" cy="247300"/>
              <a:chOff x="7287122" y="1969723"/>
              <a:chExt cx="1219413" cy="247300"/>
            </a:xfrm>
          </p:grpSpPr>
          <p:sp>
            <p:nvSpPr>
              <p:cNvPr id="5873" name="Google Shape;5873;p69"/>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4" name="Google Shape;5874;p69"/>
              <p:cNvGrpSpPr/>
              <p:nvPr/>
            </p:nvGrpSpPr>
            <p:grpSpPr>
              <a:xfrm>
                <a:off x="7287122" y="2063892"/>
                <a:ext cx="1151753" cy="73428"/>
                <a:chOff x="7287122" y="2063892"/>
                <a:chExt cx="1151753" cy="73428"/>
              </a:xfrm>
            </p:grpSpPr>
            <p:sp>
              <p:nvSpPr>
                <p:cNvPr id="5875" name="Google Shape;5875;p69"/>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76" name="Google Shape;5876;p69"/>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5877" name="Google Shape;5877;p69"/>
            <p:cNvGrpSpPr/>
            <p:nvPr/>
          </p:nvGrpSpPr>
          <p:grpSpPr>
            <a:xfrm>
              <a:off x="7287122" y="1712201"/>
              <a:ext cx="1219403" cy="246767"/>
              <a:chOff x="7287122" y="1712201"/>
              <a:chExt cx="1219403" cy="246767"/>
            </a:xfrm>
          </p:grpSpPr>
          <p:sp>
            <p:nvSpPr>
              <p:cNvPr id="5878" name="Google Shape;5878;p69"/>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9" name="Google Shape;5879;p69"/>
              <p:cNvGrpSpPr/>
              <p:nvPr/>
            </p:nvGrpSpPr>
            <p:grpSpPr>
              <a:xfrm>
                <a:off x="7287122" y="1842861"/>
                <a:ext cx="1005303" cy="73419"/>
                <a:chOff x="7287122" y="1842861"/>
                <a:chExt cx="1005303" cy="73419"/>
              </a:xfrm>
            </p:grpSpPr>
            <p:sp>
              <p:nvSpPr>
                <p:cNvPr id="5880" name="Google Shape;5880;p69"/>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1" name="Google Shape;5881;p69"/>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5882" name="Google Shape;5882;p69"/>
            <p:cNvGrpSpPr/>
            <p:nvPr/>
          </p:nvGrpSpPr>
          <p:grpSpPr>
            <a:xfrm>
              <a:off x="7287122" y="1447520"/>
              <a:ext cx="1219403" cy="286667"/>
              <a:chOff x="7287122" y="1447520"/>
              <a:chExt cx="1219403" cy="286667"/>
            </a:xfrm>
          </p:grpSpPr>
          <p:sp>
            <p:nvSpPr>
              <p:cNvPr id="5883" name="Google Shape;5883;p69"/>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4" name="Google Shape;5884;p69"/>
              <p:cNvGrpSpPr/>
              <p:nvPr/>
            </p:nvGrpSpPr>
            <p:grpSpPr>
              <a:xfrm>
                <a:off x="7287122" y="1581977"/>
                <a:ext cx="852803" cy="73428"/>
                <a:chOff x="7287122" y="1581977"/>
                <a:chExt cx="852803" cy="73428"/>
              </a:xfrm>
            </p:grpSpPr>
            <p:sp>
              <p:nvSpPr>
                <p:cNvPr id="5885" name="Google Shape;5885;p69"/>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6" name="Google Shape;5886;p69"/>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5887" name="Google Shape;5887;p69"/>
            <p:cNvGrpSpPr/>
            <p:nvPr/>
          </p:nvGrpSpPr>
          <p:grpSpPr>
            <a:xfrm>
              <a:off x="7287122" y="1165658"/>
              <a:ext cx="1219403" cy="344253"/>
              <a:chOff x="7287122" y="1165658"/>
              <a:chExt cx="1219403" cy="344253"/>
            </a:xfrm>
          </p:grpSpPr>
          <p:sp>
            <p:nvSpPr>
              <p:cNvPr id="5888" name="Google Shape;5888;p69"/>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9" name="Google Shape;5889;p69"/>
              <p:cNvGrpSpPr/>
              <p:nvPr/>
            </p:nvGrpSpPr>
            <p:grpSpPr>
              <a:xfrm>
                <a:off x="7287122" y="1341025"/>
                <a:ext cx="695703" cy="73419"/>
                <a:chOff x="7287122" y="1341025"/>
                <a:chExt cx="695703" cy="73419"/>
              </a:xfrm>
            </p:grpSpPr>
            <p:sp>
              <p:nvSpPr>
                <p:cNvPr id="5890" name="Google Shape;5890;p69"/>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1" name="Google Shape;5891;p69"/>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grpSp>
        <p:nvGrpSpPr>
          <p:cNvPr id="5892" name="Google Shape;5892;p69"/>
          <p:cNvGrpSpPr/>
          <p:nvPr/>
        </p:nvGrpSpPr>
        <p:grpSpPr>
          <a:xfrm>
            <a:off x="5790463" y="973174"/>
            <a:ext cx="1397729" cy="1098540"/>
            <a:chOff x="5900602" y="1193063"/>
            <a:chExt cx="1299851" cy="1021707"/>
          </a:xfrm>
        </p:grpSpPr>
        <p:grpSp>
          <p:nvGrpSpPr>
            <p:cNvPr id="5893" name="Google Shape;5893;p69"/>
            <p:cNvGrpSpPr/>
            <p:nvPr/>
          </p:nvGrpSpPr>
          <p:grpSpPr>
            <a:xfrm>
              <a:off x="6520337" y="1193063"/>
              <a:ext cx="341815" cy="799959"/>
              <a:chOff x="6520337" y="1193063"/>
              <a:chExt cx="341815" cy="799959"/>
            </a:xfrm>
          </p:grpSpPr>
          <p:grpSp>
            <p:nvGrpSpPr>
              <p:cNvPr id="5894" name="Google Shape;5894;p69"/>
              <p:cNvGrpSpPr/>
              <p:nvPr/>
            </p:nvGrpSpPr>
            <p:grpSpPr>
              <a:xfrm>
                <a:off x="6520337" y="1589527"/>
                <a:ext cx="213950" cy="403494"/>
                <a:chOff x="6520337" y="1589527"/>
                <a:chExt cx="213950" cy="403494"/>
              </a:xfrm>
            </p:grpSpPr>
            <p:sp>
              <p:nvSpPr>
                <p:cNvPr id="5895" name="Google Shape;5895;p69"/>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69"/>
                <p:cNvSpPr/>
                <p:nvPr/>
              </p:nvSpPr>
              <p:spPr>
                <a:xfrm rot="-5400000">
                  <a:off x="6529204" y="178793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97" name="Google Shape;5897;p69"/>
              <p:cNvGrpSpPr/>
              <p:nvPr/>
            </p:nvGrpSpPr>
            <p:grpSpPr>
              <a:xfrm>
                <a:off x="6577204" y="1193063"/>
                <a:ext cx="284947" cy="464512"/>
                <a:chOff x="6577204" y="1193063"/>
                <a:chExt cx="284947" cy="464512"/>
              </a:xfrm>
            </p:grpSpPr>
            <p:sp>
              <p:nvSpPr>
                <p:cNvPr id="5898" name="Google Shape;5898;p69"/>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9" name="Google Shape;5899;p69"/>
                <p:cNvCxnSpPr/>
                <p:nvPr/>
              </p:nvCxnSpPr>
              <p:spPr>
                <a:xfrm rot="10800000">
                  <a:off x="6677825" y="1279575"/>
                  <a:ext cx="0" cy="378000"/>
                </a:xfrm>
                <a:prstGeom prst="straightConnector1">
                  <a:avLst/>
                </a:prstGeom>
                <a:noFill/>
                <a:ln w="9525" cap="flat" cmpd="sng">
                  <a:solidFill>
                    <a:srgbClr val="A5B7C6"/>
                  </a:solidFill>
                  <a:prstDash val="solid"/>
                  <a:round/>
                  <a:headEnd type="none" w="med" len="med"/>
                  <a:tailEnd type="oval" w="med" len="med"/>
                </a:ln>
              </p:spPr>
            </p:cxnSp>
          </p:grpSp>
        </p:grpSp>
        <p:grpSp>
          <p:nvGrpSpPr>
            <p:cNvPr id="5900" name="Google Shape;5900;p69"/>
            <p:cNvGrpSpPr/>
            <p:nvPr/>
          </p:nvGrpSpPr>
          <p:grpSpPr>
            <a:xfrm>
              <a:off x="6238903" y="1193063"/>
              <a:ext cx="300475" cy="900152"/>
              <a:chOff x="6238903" y="1193063"/>
              <a:chExt cx="300475" cy="900152"/>
            </a:xfrm>
          </p:grpSpPr>
          <p:grpSp>
            <p:nvGrpSpPr>
              <p:cNvPr id="5901" name="Google Shape;5901;p69"/>
              <p:cNvGrpSpPr/>
              <p:nvPr/>
            </p:nvGrpSpPr>
            <p:grpSpPr>
              <a:xfrm>
                <a:off x="6290865" y="1489315"/>
                <a:ext cx="248514" cy="603900"/>
                <a:chOff x="6290865" y="1489315"/>
                <a:chExt cx="248514" cy="603900"/>
              </a:xfrm>
            </p:grpSpPr>
            <p:sp>
              <p:nvSpPr>
                <p:cNvPr id="5902" name="Google Shape;5902;p69"/>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69"/>
                <p:cNvSpPr/>
                <p:nvPr/>
              </p:nvSpPr>
              <p:spPr>
                <a:xfrm rot="-5400000">
                  <a:off x="6266916" y="1820752"/>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04" name="Google Shape;5904;p69"/>
              <p:cNvGrpSpPr/>
              <p:nvPr/>
            </p:nvGrpSpPr>
            <p:grpSpPr>
              <a:xfrm>
                <a:off x="6238903" y="1193063"/>
                <a:ext cx="284947" cy="333087"/>
                <a:chOff x="6238903" y="1193063"/>
                <a:chExt cx="284947" cy="333087"/>
              </a:xfrm>
            </p:grpSpPr>
            <p:sp>
              <p:nvSpPr>
                <p:cNvPr id="5905" name="Google Shape;5905;p69"/>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06" name="Google Shape;5906;p69"/>
                <p:cNvCxnSpPr/>
                <p:nvPr/>
              </p:nvCxnSpPr>
              <p:spPr>
                <a:xfrm rot="10800000">
                  <a:off x="6431250" y="1279250"/>
                  <a:ext cx="0" cy="246900"/>
                </a:xfrm>
                <a:prstGeom prst="straightConnector1">
                  <a:avLst/>
                </a:prstGeom>
                <a:noFill/>
                <a:ln w="9525" cap="flat" cmpd="sng">
                  <a:solidFill>
                    <a:srgbClr val="869FB2"/>
                  </a:solidFill>
                  <a:prstDash val="solid"/>
                  <a:round/>
                  <a:headEnd type="none" w="med" len="med"/>
                  <a:tailEnd type="oval" w="med" len="med"/>
                </a:ln>
              </p:spPr>
            </p:cxnSp>
          </p:grpSp>
        </p:grpSp>
        <p:grpSp>
          <p:nvGrpSpPr>
            <p:cNvPr id="5907" name="Google Shape;5907;p69"/>
            <p:cNvGrpSpPr/>
            <p:nvPr/>
          </p:nvGrpSpPr>
          <p:grpSpPr>
            <a:xfrm>
              <a:off x="5900602" y="1193063"/>
              <a:ext cx="444345" cy="1021707"/>
              <a:chOff x="5900602" y="1193063"/>
              <a:chExt cx="444345" cy="1021707"/>
            </a:xfrm>
          </p:grpSpPr>
          <p:grpSp>
            <p:nvGrpSpPr>
              <p:cNvPr id="5908" name="Google Shape;5908;p69"/>
              <p:cNvGrpSpPr/>
              <p:nvPr/>
            </p:nvGrpSpPr>
            <p:grpSpPr>
              <a:xfrm>
                <a:off x="6046501" y="1367785"/>
                <a:ext cx="298446" cy="846986"/>
                <a:chOff x="6046501" y="1367785"/>
                <a:chExt cx="298446" cy="846986"/>
              </a:xfrm>
            </p:grpSpPr>
            <p:sp>
              <p:nvSpPr>
                <p:cNvPr id="5909" name="Google Shape;5909;p69"/>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69"/>
                <p:cNvSpPr/>
                <p:nvPr/>
              </p:nvSpPr>
              <p:spPr>
                <a:xfrm rot="-5400000">
                  <a:off x="5986745" y="185656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11" name="Google Shape;5911;p69"/>
              <p:cNvGrpSpPr/>
              <p:nvPr/>
            </p:nvGrpSpPr>
            <p:grpSpPr>
              <a:xfrm>
                <a:off x="5900602" y="1193063"/>
                <a:ext cx="284947" cy="182312"/>
                <a:chOff x="5900602" y="1193063"/>
                <a:chExt cx="284947" cy="182312"/>
              </a:xfrm>
            </p:grpSpPr>
            <p:sp>
              <p:nvSpPr>
                <p:cNvPr id="5912" name="Google Shape;5912;p69"/>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3" name="Google Shape;5913;p69"/>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nvGrpSpPr>
            <p:cNvPr id="5914" name="Google Shape;5914;p69"/>
            <p:cNvGrpSpPr/>
            <p:nvPr/>
          </p:nvGrpSpPr>
          <p:grpSpPr>
            <a:xfrm>
              <a:off x="6738300" y="1193063"/>
              <a:ext cx="462153" cy="707634"/>
              <a:chOff x="6738300" y="1193063"/>
              <a:chExt cx="462153" cy="707634"/>
            </a:xfrm>
          </p:grpSpPr>
          <p:grpSp>
            <p:nvGrpSpPr>
              <p:cNvPr id="5915" name="Google Shape;5915;p69"/>
              <p:cNvGrpSpPr/>
              <p:nvPr/>
            </p:nvGrpSpPr>
            <p:grpSpPr>
              <a:xfrm>
                <a:off x="6915505" y="1193063"/>
                <a:ext cx="284947" cy="597387"/>
                <a:chOff x="6915505" y="1193063"/>
                <a:chExt cx="284947" cy="597387"/>
              </a:xfrm>
            </p:grpSpPr>
            <p:sp>
              <p:nvSpPr>
                <p:cNvPr id="5916" name="Google Shape;5916;p69"/>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7" name="Google Shape;5917;p69"/>
                <p:cNvCxnSpPr/>
                <p:nvPr/>
              </p:nvCxnSpPr>
              <p:spPr>
                <a:xfrm rot="10800000">
                  <a:off x="6938275" y="1279850"/>
                  <a:ext cx="0" cy="510600"/>
                </a:xfrm>
                <a:prstGeom prst="straightConnector1">
                  <a:avLst/>
                </a:prstGeom>
                <a:noFill/>
                <a:ln w="9525" cap="flat" cmpd="sng">
                  <a:solidFill>
                    <a:srgbClr val="E3E7EA"/>
                  </a:solidFill>
                  <a:prstDash val="solid"/>
                  <a:round/>
                  <a:headEnd type="none" w="med" len="med"/>
                  <a:tailEnd type="oval" w="med" len="med"/>
                </a:ln>
              </p:spPr>
            </p:cxnSp>
          </p:grpSp>
          <p:grpSp>
            <p:nvGrpSpPr>
              <p:cNvPr id="5918" name="Google Shape;5918;p69"/>
              <p:cNvGrpSpPr/>
              <p:nvPr/>
            </p:nvGrpSpPr>
            <p:grpSpPr>
              <a:xfrm>
                <a:off x="6738300" y="1684725"/>
                <a:ext cx="230066" cy="215971"/>
                <a:chOff x="6738300" y="1684725"/>
                <a:chExt cx="230066" cy="215971"/>
              </a:xfrm>
            </p:grpSpPr>
            <p:sp>
              <p:nvSpPr>
                <p:cNvPr id="5919" name="Google Shape;5919;p69"/>
                <p:cNvSpPr/>
                <p:nvPr/>
              </p:nvSpPr>
              <p:spPr>
                <a:xfrm rot="-5400000">
                  <a:off x="6799187" y="1731518"/>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69"/>
                <p:cNvSpPr/>
                <p:nvPr/>
              </p:nvSpPr>
              <p:spPr>
                <a:xfrm rot="-5400000" flipH="1">
                  <a:off x="6799182" y="1623843"/>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924"/>
        <p:cNvGrpSpPr/>
        <p:nvPr/>
      </p:nvGrpSpPr>
      <p:grpSpPr>
        <a:xfrm>
          <a:off x="0" y="0"/>
          <a:ext cx="0" cy="0"/>
          <a:chOff x="0" y="0"/>
          <a:chExt cx="0" cy="0"/>
        </a:xfrm>
      </p:grpSpPr>
      <p:grpSp>
        <p:nvGrpSpPr>
          <p:cNvPr id="5925" name="Google Shape;5925;p70"/>
          <p:cNvGrpSpPr/>
          <p:nvPr/>
        </p:nvGrpSpPr>
        <p:grpSpPr>
          <a:xfrm>
            <a:off x="829359" y="2307635"/>
            <a:ext cx="339235" cy="298186"/>
            <a:chOff x="898875" y="244725"/>
            <a:chExt cx="481800" cy="423500"/>
          </a:xfrm>
        </p:grpSpPr>
        <p:sp>
          <p:nvSpPr>
            <p:cNvPr id="5926" name="Google Shape;5926;p70"/>
            <p:cNvSpPr/>
            <p:nvPr/>
          </p:nvSpPr>
          <p:spPr>
            <a:xfrm>
              <a:off x="1125675" y="470575"/>
              <a:ext cx="28275" cy="28250"/>
            </a:xfrm>
            <a:custGeom>
              <a:avLst/>
              <a:gdLst/>
              <a:ahLst/>
              <a:cxnLst/>
              <a:rect l="l" t="t" r="r" b="b"/>
              <a:pathLst>
                <a:path w="1131" h="1130" extrusionOk="0">
                  <a:moveTo>
                    <a:pt x="564" y="1"/>
                  </a:moveTo>
                  <a:cubicBezTo>
                    <a:pt x="251" y="1"/>
                    <a:pt x="1" y="251"/>
                    <a:pt x="1" y="564"/>
                  </a:cubicBezTo>
                  <a:cubicBezTo>
                    <a:pt x="1" y="877"/>
                    <a:pt x="251" y="1130"/>
                    <a:pt x="564" y="1130"/>
                  </a:cubicBezTo>
                  <a:cubicBezTo>
                    <a:pt x="877" y="1130"/>
                    <a:pt x="1130" y="877"/>
                    <a:pt x="1130" y="564"/>
                  </a:cubicBezTo>
                  <a:cubicBezTo>
                    <a:pt x="1130" y="251"/>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7" name="Google Shape;5927;p70"/>
            <p:cNvSpPr/>
            <p:nvPr/>
          </p:nvSpPr>
          <p:spPr>
            <a:xfrm>
              <a:off x="898875" y="244725"/>
              <a:ext cx="481800" cy="225875"/>
            </a:xfrm>
            <a:custGeom>
              <a:avLst/>
              <a:gdLst/>
              <a:ahLst/>
              <a:cxnLst/>
              <a:rect l="l" t="t" r="r" b="b"/>
              <a:pathLst>
                <a:path w="19272" h="9035" extrusionOk="0">
                  <a:moveTo>
                    <a:pt x="2825" y="1130"/>
                  </a:moveTo>
                  <a:cubicBezTo>
                    <a:pt x="3135" y="1130"/>
                    <a:pt x="3388" y="1380"/>
                    <a:pt x="3388" y="1693"/>
                  </a:cubicBezTo>
                  <a:lnTo>
                    <a:pt x="3388" y="2259"/>
                  </a:lnTo>
                  <a:lnTo>
                    <a:pt x="2258" y="2259"/>
                  </a:lnTo>
                  <a:lnTo>
                    <a:pt x="2258" y="1693"/>
                  </a:lnTo>
                  <a:cubicBezTo>
                    <a:pt x="2258" y="1380"/>
                    <a:pt x="2511" y="1130"/>
                    <a:pt x="2825" y="1130"/>
                  </a:cubicBezTo>
                  <a:close/>
                  <a:moveTo>
                    <a:pt x="11894" y="1130"/>
                  </a:moveTo>
                  <a:cubicBezTo>
                    <a:pt x="12208" y="1130"/>
                    <a:pt x="12461" y="1380"/>
                    <a:pt x="12461" y="1693"/>
                  </a:cubicBezTo>
                  <a:lnTo>
                    <a:pt x="12461" y="2259"/>
                  </a:lnTo>
                  <a:lnTo>
                    <a:pt x="6814" y="2259"/>
                  </a:lnTo>
                  <a:lnTo>
                    <a:pt x="6814" y="1693"/>
                  </a:lnTo>
                  <a:cubicBezTo>
                    <a:pt x="6814" y="1380"/>
                    <a:pt x="7064" y="1130"/>
                    <a:pt x="7378" y="1130"/>
                  </a:cubicBezTo>
                  <a:close/>
                  <a:moveTo>
                    <a:pt x="5083" y="4518"/>
                  </a:moveTo>
                  <a:cubicBezTo>
                    <a:pt x="5586" y="4518"/>
                    <a:pt x="5836" y="5123"/>
                    <a:pt x="5480" y="5481"/>
                  </a:cubicBezTo>
                  <a:cubicBezTo>
                    <a:pt x="5366" y="5596"/>
                    <a:pt x="5225" y="5647"/>
                    <a:pt x="5086" y="5647"/>
                  </a:cubicBezTo>
                  <a:cubicBezTo>
                    <a:pt x="4796" y="5647"/>
                    <a:pt x="4517" y="5422"/>
                    <a:pt x="4517" y="5081"/>
                  </a:cubicBezTo>
                  <a:cubicBezTo>
                    <a:pt x="4517" y="4768"/>
                    <a:pt x="4770" y="4518"/>
                    <a:pt x="5083" y="4518"/>
                  </a:cubicBezTo>
                  <a:close/>
                  <a:moveTo>
                    <a:pt x="2825" y="1"/>
                  </a:moveTo>
                  <a:cubicBezTo>
                    <a:pt x="1888" y="1"/>
                    <a:pt x="1129" y="757"/>
                    <a:pt x="1129" y="1693"/>
                  </a:cubicBezTo>
                  <a:lnTo>
                    <a:pt x="1129" y="2362"/>
                  </a:lnTo>
                  <a:cubicBezTo>
                    <a:pt x="455" y="2600"/>
                    <a:pt x="3" y="3235"/>
                    <a:pt x="0" y="3952"/>
                  </a:cubicBezTo>
                  <a:lnTo>
                    <a:pt x="0" y="4518"/>
                  </a:lnTo>
                  <a:lnTo>
                    <a:pt x="1695" y="4518"/>
                  </a:lnTo>
                  <a:cubicBezTo>
                    <a:pt x="2629" y="4518"/>
                    <a:pt x="3388" y="5274"/>
                    <a:pt x="3388" y="6210"/>
                  </a:cubicBezTo>
                  <a:lnTo>
                    <a:pt x="3388" y="9035"/>
                  </a:lnTo>
                  <a:lnTo>
                    <a:pt x="5742" y="9035"/>
                  </a:lnTo>
                  <a:cubicBezTo>
                    <a:pt x="6016" y="7123"/>
                    <a:pt x="7652" y="5647"/>
                    <a:pt x="9636" y="5647"/>
                  </a:cubicBezTo>
                  <a:cubicBezTo>
                    <a:pt x="11620" y="5647"/>
                    <a:pt x="13256" y="7123"/>
                    <a:pt x="13533" y="9035"/>
                  </a:cubicBezTo>
                  <a:lnTo>
                    <a:pt x="15884" y="9035"/>
                  </a:lnTo>
                  <a:lnTo>
                    <a:pt x="15884" y="6210"/>
                  </a:lnTo>
                  <a:cubicBezTo>
                    <a:pt x="15884" y="5274"/>
                    <a:pt x="16643" y="4518"/>
                    <a:pt x="17580" y="4518"/>
                  </a:cubicBezTo>
                  <a:lnTo>
                    <a:pt x="19272" y="4518"/>
                  </a:lnTo>
                  <a:lnTo>
                    <a:pt x="19272" y="3952"/>
                  </a:lnTo>
                  <a:cubicBezTo>
                    <a:pt x="19272" y="3015"/>
                    <a:pt x="18513" y="2259"/>
                    <a:pt x="17580" y="2259"/>
                  </a:cubicBezTo>
                  <a:lnTo>
                    <a:pt x="13590" y="2259"/>
                  </a:lnTo>
                  <a:lnTo>
                    <a:pt x="13590" y="1693"/>
                  </a:lnTo>
                  <a:cubicBezTo>
                    <a:pt x="13587" y="757"/>
                    <a:pt x="12831" y="1"/>
                    <a:pt x="11894" y="1"/>
                  </a:cubicBezTo>
                  <a:lnTo>
                    <a:pt x="7378" y="1"/>
                  </a:lnTo>
                  <a:cubicBezTo>
                    <a:pt x="6441" y="1"/>
                    <a:pt x="5685" y="757"/>
                    <a:pt x="5685" y="1693"/>
                  </a:cubicBezTo>
                  <a:lnTo>
                    <a:pt x="5685" y="2259"/>
                  </a:lnTo>
                  <a:lnTo>
                    <a:pt x="4517" y="2259"/>
                  </a:lnTo>
                  <a:lnTo>
                    <a:pt x="4517" y="1693"/>
                  </a:lnTo>
                  <a:cubicBezTo>
                    <a:pt x="4517" y="757"/>
                    <a:pt x="3758"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8" name="Google Shape;5928;p70"/>
            <p:cNvSpPr/>
            <p:nvPr/>
          </p:nvSpPr>
          <p:spPr>
            <a:xfrm>
              <a:off x="1324200" y="385900"/>
              <a:ext cx="56475" cy="197625"/>
            </a:xfrm>
            <a:custGeom>
              <a:avLst/>
              <a:gdLst/>
              <a:ahLst/>
              <a:cxnLst/>
              <a:rect l="l" t="t" r="r" b="b"/>
              <a:pathLst>
                <a:path w="2259" h="7905" extrusionOk="0">
                  <a:moveTo>
                    <a:pt x="567" y="0"/>
                  </a:moveTo>
                  <a:cubicBezTo>
                    <a:pt x="254" y="0"/>
                    <a:pt x="1" y="250"/>
                    <a:pt x="1" y="563"/>
                  </a:cubicBezTo>
                  <a:lnTo>
                    <a:pt x="1" y="7339"/>
                  </a:lnTo>
                  <a:cubicBezTo>
                    <a:pt x="1" y="7652"/>
                    <a:pt x="254" y="7905"/>
                    <a:pt x="567" y="7905"/>
                  </a:cubicBezTo>
                  <a:lnTo>
                    <a:pt x="2259" y="7905"/>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9" name="Google Shape;5929;p70"/>
            <p:cNvSpPr/>
            <p:nvPr/>
          </p:nvSpPr>
          <p:spPr>
            <a:xfrm>
              <a:off x="898875" y="385900"/>
              <a:ext cx="56475" cy="197625"/>
            </a:xfrm>
            <a:custGeom>
              <a:avLst/>
              <a:gdLst/>
              <a:ahLst/>
              <a:cxnLst/>
              <a:rect l="l" t="t" r="r" b="b"/>
              <a:pathLst>
                <a:path w="2259" h="7905" extrusionOk="0">
                  <a:moveTo>
                    <a:pt x="0" y="0"/>
                  </a:moveTo>
                  <a:lnTo>
                    <a:pt x="0" y="7905"/>
                  </a:lnTo>
                  <a:lnTo>
                    <a:pt x="1695" y="7905"/>
                  </a:lnTo>
                  <a:cubicBezTo>
                    <a:pt x="2005" y="7905"/>
                    <a:pt x="2258" y="7652"/>
                    <a:pt x="2258" y="7339"/>
                  </a:cubicBezTo>
                  <a:lnTo>
                    <a:pt x="2258" y="563"/>
                  </a:lnTo>
                  <a:cubicBezTo>
                    <a:pt x="2258" y="250"/>
                    <a:pt x="2005" y="0"/>
                    <a:pt x="1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0" name="Google Shape;5930;p70"/>
            <p:cNvSpPr/>
            <p:nvPr/>
          </p:nvSpPr>
          <p:spPr>
            <a:xfrm>
              <a:off x="1063650" y="414125"/>
              <a:ext cx="146750" cy="141125"/>
            </a:xfrm>
            <a:custGeom>
              <a:avLst/>
              <a:gdLst/>
              <a:ahLst/>
              <a:cxnLst/>
              <a:rect l="l" t="t" r="r" b="b"/>
              <a:pathLst>
                <a:path w="5870" h="5645" extrusionOk="0">
                  <a:moveTo>
                    <a:pt x="3045" y="1127"/>
                  </a:moveTo>
                  <a:cubicBezTo>
                    <a:pt x="3263" y="1127"/>
                    <a:pt x="3483" y="1169"/>
                    <a:pt x="3692" y="1256"/>
                  </a:cubicBezTo>
                  <a:cubicBezTo>
                    <a:pt x="4325" y="1518"/>
                    <a:pt x="4740" y="2135"/>
                    <a:pt x="4740" y="2822"/>
                  </a:cubicBezTo>
                  <a:cubicBezTo>
                    <a:pt x="4737" y="3758"/>
                    <a:pt x="3981" y="4514"/>
                    <a:pt x="3045" y="4517"/>
                  </a:cubicBezTo>
                  <a:cubicBezTo>
                    <a:pt x="2358" y="4517"/>
                    <a:pt x="1741" y="4102"/>
                    <a:pt x="1479" y="3469"/>
                  </a:cubicBezTo>
                  <a:cubicBezTo>
                    <a:pt x="1217" y="2837"/>
                    <a:pt x="1362" y="2108"/>
                    <a:pt x="1847" y="1623"/>
                  </a:cubicBezTo>
                  <a:cubicBezTo>
                    <a:pt x="2171" y="1299"/>
                    <a:pt x="2604" y="1127"/>
                    <a:pt x="3045" y="1127"/>
                  </a:cubicBezTo>
                  <a:close/>
                  <a:moveTo>
                    <a:pt x="3045" y="0"/>
                  </a:moveTo>
                  <a:cubicBezTo>
                    <a:pt x="1904" y="0"/>
                    <a:pt x="874" y="687"/>
                    <a:pt x="437" y="1741"/>
                  </a:cubicBezTo>
                  <a:cubicBezTo>
                    <a:pt x="1" y="2798"/>
                    <a:pt x="242" y="4011"/>
                    <a:pt x="1049" y="4818"/>
                  </a:cubicBezTo>
                  <a:cubicBezTo>
                    <a:pt x="1588" y="5358"/>
                    <a:pt x="2310" y="5645"/>
                    <a:pt x="3045" y="5645"/>
                  </a:cubicBezTo>
                  <a:cubicBezTo>
                    <a:pt x="3409" y="5645"/>
                    <a:pt x="3776" y="5574"/>
                    <a:pt x="4126" y="5430"/>
                  </a:cubicBezTo>
                  <a:cubicBezTo>
                    <a:pt x="5180" y="4993"/>
                    <a:pt x="5870" y="3963"/>
                    <a:pt x="5870" y="2822"/>
                  </a:cubicBezTo>
                  <a:cubicBezTo>
                    <a:pt x="5867" y="1262"/>
                    <a:pt x="4605" y="0"/>
                    <a:pt x="30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1" name="Google Shape;5931;p70"/>
            <p:cNvSpPr/>
            <p:nvPr/>
          </p:nvSpPr>
          <p:spPr>
            <a:xfrm>
              <a:off x="898875" y="498800"/>
              <a:ext cx="481800" cy="169425"/>
            </a:xfrm>
            <a:custGeom>
              <a:avLst/>
              <a:gdLst/>
              <a:ahLst/>
              <a:cxnLst/>
              <a:rect l="l" t="t" r="r" b="b"/>
              <a:pathLst>
                <a:path w="19272" h="6777" extrusionOk="0">
                  <a:moveTo>
                    <a:pt x="3388" y="1"/>
                  </a:moveTo>
                  <a:lnTo>
                    <a:pt x="3388" y="2823"/>
                  </a:lnTo>
                  <a:cubicBezTo>
                    <a:pt x="3388" y="3759"/>
                    <a:pt x="2629" y="4515"/>
                    <a:pt x="1695" y="4518"/>
                  </a:cubicBezTo>
                  <a:lnTo>
                    <a:pt x="0" y="4518"/>
                  </a:lnTo>
                  <a:lnTo>
                    <a:pt x="0" y="5081"/>
                  </a:lnTo>
                  <a:cubicBezTo>
                    <a:pt x="0" y="6017"/>
                    <a:pt x="759" y="6773"/>
                    <a:pt x="1695" y="6776"/>
                  </a:cubicBezTo>
                  <a:lnTo>
                    <a:pt x="17580" y="6776"/>
                  </a:lnTo>
                  <a:cubicBezTo>
                    <a:pt x="18513" y="6773"/>
                    <a:pt x="19272" y="6017"/>
                    <a:pt x="19272" y="5081"/>
                  </a:cubicBezTo>
                  <a:lnTo>
                    <a:pt x="19272" y="4518"/>
                  </a:lnTo>
                  <a:lnTo>
                    <a:pt x="17580" y="4518"/>
                  </a:lnTo>
                  <a:cubicBezTo>
                    <a:pt x="16643" y="4515"/>
                    <a:pt x="15884" y="3759"/>
                    <a:pt x="15884" y="2823"/>
                  </a:cubicBezTo>
                  <a:lnTo>
                    <a:pt x="15884" y="1"/>
                  </a:lnTo>
                  <a:lnTo>
                    <a:pt x="13533" y="1"/>
                  </a:lnTo>
                  <a:cubicBezTo>
                    <a:pt x="13256" y="1910"/>
                    <a:pt x="11620" y="3389"/>
                    <a:pt x="9636" y="3389"/>
                  </a:cubicBezTo>
                  <a:cubicBezTo>
                    <a:pt x="7652" y="3389"/>
                    <a:pt x="6016" y="1910"/>
                    <a:pt x="5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2" name="Google Shape;5932;p70"/>
          <p:cNvGrpSpPr/>
          <p:nvPr/>
        </p:nvGrpSpPr>
        <p:grpSpPr>
          <a:xfrm>
            <a:off x="1267741" y="2287103"/>
            <a:ext cx="298169" cy="339253"/>
            <a:chOff x="1529350" y="258825"/>
            <a:chExt cx="423475" cy="481825"/>
          </a:xfrm>
        </p:grpSpPr>
        <p:sp>
          <p:nvSpPr>
            <p:cNvPr id="5933" name="Google Shape;5933;p70"/>
            <p:cNvSpPr/>
            <p:nvPr/>
          </p:nvSpPr>
          <p:spPr>
            <a:xfrm>
              <a:off x="1585800" y="258825"/>
              <a:ext cx="310650" cy="430550"/>
            </a:xfrm>
            <a:custGeom>
              <a:avLst/>
              <a:gdLst/>
              <a:ahLst/>
              <a:cxnLst/>
              <a:rect l="l" t="t" r="r" b="b"/>
              <a:pathLst>
                <a:path w="12426" h="17222" extrusionOk="0">
                  <a:moveTo>
                    <a:pt x="6213" y="3388"/>
                  </a:moveTo>
                  <a:cubicBezTo>
                    <a:pt x="7354" y="3388"/>
                    <a:pt x="8384" y="4074"/>
                    <a:pt x="8821" y="5131"/>
                  </a:cubicBezTo>
                  <a:cubicBezTo>
                    <a:pt x="9257" y="6185"/>
                    <a:pt x="9016" y="7399"/>
                    <a:pt x="8206" y="8206"/>
                  </a:cubicBezTo>
                  <a:cubicBezTo>
                    <a:pt x="7666" y="8748"/>
                    <a:pt x="6945" y="9035"/>
                    <a:pt x="6210" y="9035"/>
                  </a:cubicBezTo>
                  <a:cubicBezTo>
                    <a:pt x="5847" y="9035"/>
                    <a:pt x="5481" y="8965"/>
                    <a:pt x="5132" y="8820"/>
                  </a:cubicBezTo>
                  <a:cubicBezTo>
                    <a:pt x="4075" y="8383"/>
                    <a:pt x="3388" y="7354"/>
                    <a:pt x="3388" y="6212"/>
                  </a:cubicBezTo>
                  <a:cubicBezTo>
                    <a:pt x="3391" y="4652"/>
                    <a:pt x="4653" y="3391"/>
                    <a:pt x="6213" y="3388"/>
                  </a:cubicBezTo>
                  <a:close/>
                  <a:moveTo>
                    <a:pt x="6213" y="0"/>
                  </a:moveTo>
                  <a:cubicBezTo>
                    <a:pt x="2825" y="0"/>
                    <a:pt x="1" y="2728"/>
                    <a:pt x="1" y="6212"/>
                  </a:cubicBezTo>
                  <a:cubicBezTo>
                    <a:pt x="1" y="7537"/>
                    <a:pt x="398" y="8718"/>
                    <a:pt x="1163" y="9826"/>
                  </a:cubicBezTo>
                  <a:lnTo>
                    <a:pt x="5737" y="16959"/>
                  </a:lnTo>
                  <a:cubicBezTo>
                    <a:pt x="5847" y="17134"/>
                    <a:pt x="6029" y="17221"/>
                    <a:pt x="6211" y="17221"/>
                  </a:cubicBezTo>
                  <a:cubicBezTo>
                    <a:pt x="6394" y="17221"/>
                    <a:pt x="6576" y="17134"/>
                    <a:pt x="6686" y="16959"/>
                  </a:cubicBezTo>
                  <a:lnTo>
                    <a:pt x="11278" y="9802"/>
                  </a:lnTo>
                  <a:cubicBezTo>
                    <a:pt x="12025" y="8751"/>
                    <a:pt x="12425" y="7498"/>
                    <a:pt x="12422" y="6212"/>
                  </a:cubicBezTo>
                  <a:cubicBezTo>
                    <a:pt x="12422" y="2786"/>
                    <a:pt x="9637" y="0"/>
                    <a:pt x="62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4" name="Google Shape;5934;p70"/>
            <p:cNvSpPr/>
            <p:nvPr/>
          </p:nvSpPr>
          <p:spPr>
            <a:xfrm>
              <a:off x="1529350" y="583200"/>
              <a:ext cx="423475" cy="157450"/>
            </a:xfrm>
            <a:custGeom>
              <a:avLst/>
              <a:gdLst/>
              <a:ahLst/>
              <a:cxnLst/>
              <a:rect l="l" t="t" r="r" b="b"/>
              <a:pathLst>
                <a:path w="16939" h="6298" extrusionOk="0">
                  <a:moveTo>
                    <a:pt x="4050" y="1"/>
                  </a:moveTo>
                  <a:cubicBezTo>
                    <a:pt x="1545" y="582"/>
                    <a:pt x="0" y="1642"/>
                    <a:pt x="0" y="2909"/>
                  </a:cubicBezTo>
                  <a:cubicBezTo>
                    <a:pt x="0" y="5111"/>
                    <a:pt x="4364" y="6297"/>
                    <a:pt x="8471" y="6297"/>
                  </a:cubicBezTo>
                  <a:cubicBezTo>
                    <a:pt x="12575" y="6297"/>
                    <a:pt x="16938" y="5111"/>
                    <a:pt x="16938" y="2909"/>
                  </a:cubicBezTo>
                  <a:cubicBezTo>
                    <a:pt x="16938" y="1642"/>
                    <a:pt x="15391" y="579"/>
                    <a:pt x="12882" y="1"/>
                  </a:cubicBezTo>
                  <a:lnTo>
                    <a:pt x="10040" y="4445"/>
                  </a:lnTo>
                  <a:cubicBezTo>
                    <a:pt x="9673" y="5018"/>
                    <a:pt x="9071" y="5305"/>
                    <a:pt x="8469" y="5305"/>
                  </a:cubicBezTo>
                  <a:cubicBezTo>
                    <a:pt x="7867" y="5305"/>
                    <a:pt x="7265" y="5018"/>
                    <a:pt x="6899" y="4445"/>
                  </a:cubicBezTo>
                  <a:lnTo>
                    <a:pt x="40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5" name="Google Shape;5935;p70"/>
          <p:cNvGrpSpPr/>
          <p:nvPr/>
        </p:nvGrpSpPr>
        <p:grpSpPr>
          <a:xfrm>
            <a:off x="1660716" y="2367273"/>
            <a:ext cx="340890" cy="178912"/>
            <a:chOff x="2084325" y="363300"/>
            <a:chExt cx="484150" cy="254100"/>
          </a:xfrm>
        </p:grpSpPr>
        <p:sp>
          <p:nvSpPr>
            <p:cNvPr id="5936" name="Google Shape;5936;p70"/>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7" name="Google Shape;5937;p70"/>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8" name="Google Shape;5938;p70"/>
          <p:cNvGrpSpPr/>
          <p:nvPr/>
        </p:nvGrpSpPr>
        <p:grpSpPr>
          <a:xfrm>
            <a:off x="2110011" y="2287102"/>
            <a:ext cx="298169" cy="339253"/>
            <a:chOff x="2707500" y="249400"/>
            <a:chExt cx="423475" cy="481825"/>
          </a:xfrm>
        </p:grpSpPr>
        <p:sp>
          <p:nvSpPr>
            <p:cNvPr id="5939" name="Google Shape;5939;p70"/>
            <p:cNvSpPr/>
            <p:nvPr/>
          </p:nvSpPr>
          <p:spPr>
            <a:xfrm>
              <a:off x="2739175" y="420675"/>
              <a:ext cx="360100" cy="310550"/>
            </a:xfrm>
            <a:custGeom>
              <a:avLst/>
              <a:gdLst/>
              <a:ahLst/>
              <a:cxnLst/>
              <a:rect l="l" t="t" r="r" b="b"/>
              <a:pathLst>
                <a:path w="14404" h="12422" extrusionOk="0">
                  <a:moveTo>
                    <a:pt x="3816" y="1130"/>
                  </a:moveTo>
                  <a:cubicBezTo>
                    <a:pt x="4126" y="1130"/>
                    <a:pt x="4379" y="1382"/>
                    <a:pt x="4379" y="1696"/>
                  </a:cubicBezTo>
                  <a:lnTo>
                    <a:pt x="4379" y="8471"/>
                  </a:lnTo>
                  <a:cubicBezTo>
                    <a:pt x="4379" y="8781"/>
                    <a:pt x="4126" y="9034"/>
                    <a:pt x="3816" y="9034"/>
                  </a:cubicBezTo>
                  <a:cubicBezTo>
                    <a:pt x="3503" y="9034"/>
                    <a:pt x="3250" y="8781"/>
                    <a:pt x="3250" y="8471"/>
                  </a:cubicBezTo>
                  <a:lnTo>
                    <a:pt x="3250" y="1696"/>
                  </a:lnTo>
                  <a:cubicBezTo>
                    <a:pt x="3250" y="1382"/>
                    <a:pt x="3503" y="1130"/>
                    <a:pt x="3816" y="1130"/>
                  </a:cubicBezTo>
                  <a:close/>
                  <a:moveTo>
                    <a:pt x="7204" y="1130"/>
                  </a:moveTo>
                  <a:cubicBezTo>
                    <a:pt x="7514" y="1130"/>
                    <a:pt x="7767" y="1382"/>
                    <a:pt x="7767" y="1696"/>
                  </a:cubicBezTo>
                  <a:lnTo>
                    <a:pt x="7767" y="8471"/>
                  </a:lnTo>
                  <a:cubicBezTo>
                    <a:pt x="7767" y="8781"/>
                    <a:pt x="7514" y="9034"/>
                    <a:pt x="7204" y="9034"/>
                  </a:cubicBezTo>
                  <a:cubicBezTo>
                    <a:pt x="6891" y="9034"/>
                    <a:pt x="6638" y="8781"/>
                    <a:pt x="6638" y="8471"/>
                  </a:cubicBezTo>
                  <a:lnTo>
                    <a:pt x="6638" y="1696"/>
                  </a:lnTo>
                  <a:cubicBezTo>
                    <a:pt x="6638" y="1382"/>
                    <a:pt x="6891" y="1130"/>
                    <a:pt x="7204" y="1130"/>
                  </a:cubicBezTo>
                  <a:close/>
                  <a:moveTo>
                    <a:pt x="10592" y="1130"/>
                  </a:moveTo>
                  <a:cubicBezTo>
                    <a:pt x="10902" y="1130"/>
                    <a:pt x="11155" y="1382"/>
                    <a:pt x="11155" y="1696"/>
                  </a:cubicBezTo>
                  <a:lnTo>
                    <a:pt x="11155" y="8471"/>
                  </a:lnTo>
                  <a:cubicBezTo>
                    <a:pt x="11155" y="8781"/>
                    <a:pt x="10902" y="9034"/>
                    <a:pt x="10592" y="9034"/>
                  </a:cubicBezTo>
                  <a:cubicBezTo>
                    <a:pt x="10278" y="9034"/>
                    <a:pt x="10025" y="8781"/>
                    <a:pt x="10025" y="8471"/>
                  </a:cubicBezTo>
                  <a:lnTo>
                    <a:pt x="10025" y="1696"/>
                  </a:lnTo>
                  <a:cubicBezTo>
                    <a:pt x="10025" y="1382"/>
                    <a:pt x="10278" y="1130"/>
                    <a:pt x="10592" y="1130"/>
                  </a:cubicBezTo>
                  <a:close/>
                  <a:moveTo>
                    <a:pt x="1" y="0"/>
                  </a:moveTo>
                  <a:lnTo>
                    <a:pt x="901" y="10880"/>
                  </a:lnTo>
                  <a:cubicBezTo>
                    <a:pt x="976" y="11754"/>
                    <a:pt x="1705" y="12422"/>
                    <a:pt x="2582" y="12422"/>
                  </a:cubicBezTo>
                  <a:cubicBezTo>
                    <a:pt x="2584" y="12422"/>
                    <a:pt x="2586" y="12422"/>
                    <a:pt x="2588" y="12422"/>
                  </a:cubicBezTo>
                  <a:lnTo>
                    <a:pt x="11817" y="12422"/>
                  </a:lnTo>
                  <a:cubicBezTo>
                    <a:pt x="11819" y="12422"/>
                    <a:pt x="11821" y="12422"/>
                    <a:pt x="11823" y="12422"/>
                  </a:cubicBezTo>
                  <a:cubicBezTo>
                    <a:pt x="12700" y="12422"/>
                    <a:pt x="13431" y="11751"/>
                    <a:pt x="13503" y="10877"/>
                  </a:cubicBezTo>
                  <a:lnTo>
                    <a:pt x="144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0" name="Google Shape;5940;p70"/>
            <p:cNvSpPr/>
            <p:nvPr/>
          </p:nvSpPr>
          <p:spPr>
            <a:xfrm>
              <a:off x="2707500" y="249400"/>
              <a:ext cx="423475" cy="141175"/>
            </a:xfrm>
            <a:custGeom>
              <a:avLst/>
              <a:gdLst/>
              <a:ahLst/>
              <a:cxnLst/>
              <a:rect l="l" t="t" r="r" b="b"/>
              <a:pathLst>
                <a:path w="16939" h="5647" extrusionOk="0">
                  <a:moveTo>
                    <a:pt x="9600" y="1130"/>
                  </a:moveTo>
                  <a:cubicBezTo>
                    <a:pt x="9910" y="1130"/>
                    <a:pt x="10163" y="1383"/>
                    <a:pt x="10163" y="1696"/>
                  </a:cubicBezTo>
                  <a:lnTo>
                    <a:pt x="10163" y="2259"/>
                  </a:lnTo>
                  <a:lnTo>
                    <a:pt x="6776" y="2259"/>
                  </a:lnTo>
                  <a:lnTo>
                    <a:pt x="6776" y="1696"/>
                  </a:lnTo>
                  <a:cubicBezTo>
                    <a:pt x="6776" y="1383"/>
                    <a:pt x="7029" y="1130"/>
                    <a:pt x="7342" y="1130"/>
                  </a:cubicBezTo>
                  <a:close/>
                  <a:moveTo>
                    <a:pt x="7342" y="1"/>
                  </a:moveTo>
                  <a:cubicBezTo>
                    <a:pt x="6405" y="1"/>
                    <a:pt x="5646" y="760"/>
                    <a:pt x="5646" y="1696"/>
                  </a:cubicBezTo>
                  <a:lnTo>
                    <a:pt x="5646" y="2259"/>
                  </a:lnTo>
                  <a:lnTo>
                    <a:pt x="1696" y="2259"/>
                  </a:lnTo>
                  <a:cubicBezTo>
                    <a:pt x="759" y="2259"/>
                    <a:pt x="0" y="3018"/>
                    <a:pt x="0" y="3954"/>
                  </a:cubicBezTo>
                  <a:lnTo>
                    <a:pt x="0" y="5084"/>
                  </a:lnTo>
                  <a:cubicBezTo>
                    <a:pt x="0" y="5394"/>
                    <a:pt x="253" y="5647"/>
                    <a:pt x="566" y="5647"/>
                  </a:cubicBezTo>
                  <a:lnTo>
                    <a:pt x="16375" y="5647"/>
                  </a:lnTo>
                  <a:cubicBezTo>
                    <a:pt x="16686" y="5647"/>
                    <a:pt x="16939" y="5394"/>
                    <a:pt x="16939" y="5084"/>
                  </a:cubicBezTo>
                  <a:lnTo>
                    <a:pt x="16939" y="3954"/>
                  </a:lnTo>
                  <a:cubicBezTo>
                    <a:pt x="16939" y="3018"/>
                    <a:pt x="16180" y="2259"/>
                    <a:pt x="15246" y="2259"/>
                  </a:cubicBezTo>
                  <a:lnTo>
                    <a:pt x="11292" y="2259"/>
                  </a:lnTo>
                  <a:lnTo>
                    <a:pt x="11292" y="1696"/>
                  </a:lnTo>
                  <a:cubicBezTo>
                    <a:pt x="11292" y="760"/>
                    <a:pt x="10534" y="1"/>
                    <a:pt x="9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1" name="Google Shape;5941;p70"/>
          <p:cNvGrpSpPr/>
          <p:nvPr/>
        </p:nvGrpSpPr>
        <p:grpSpPr>
          <a:xfrm>
            <a:off x="2523626" y="2287428"/>
            <a:ext cx="305386" cy="338602"/>
            <a:chOff x="3300325" y="249875"/>
            <a:chExt cx="433725" cy="480900"/>
          </a:xfrm>
        </p:grpSpPr>
        <p:sp>
          <p:nvSpPr>
            <p:cNvPr id="5942" name="Google Shape;5942;p70"/>
            <p:cNvSpPr/>
            <p:nvPr/>
          </p:nvSpPr>
          <p:spPr>
            <a:xfrm>
              <a:off x="3610875" y="334550"/>
              <a:ext cx="56475" cy="28250"/>
            </a:xfrm>
            <a:custGeom>
              <a:avLst/>
              <a:gdLst/>
              <a:ahLst/>
              <a:cxnLst/>
              <a:rect l="l" t="t" r="r" b="b"/>
              <a:pathLst>
                <a:path w="2259" h="1130" extrusionOk="0">
                  <a:moveTo>
                    <a:pt x="566" y="0"/>
                  </a:moveTo>
                  <a:cubicBezTo>
                    <a:pt x="253" y="0"/>
                    <a:pt x="0" y="253"/>
                    <a:pt x="0" y="567"/>
                  </a:cubicBezTo>
                  <a:cubicBezTo>
                    <a:pt x="0" y="877"/>
                    <a:pt x="253" y="1130"/>
                    <a:pt x="566"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3" name="Google Shape;5943;p70"/>
            <p:cNvSpPr/>
            <p:nvPr/>
          </p:nvSpPr>
          <p:spPr>
            <a:xfrm>
              <a:off x="3467675" y="249875"/>
              <a:ext cx="46400" cy="56475"/>
            </a:xfrm>
            <a:custGeom>
              <a:avLst/>
              <a:gdLst/>
              <a:ahLst/>
              <a:cxnLst/>
              <a:rect l="l" t="t" r="r" b="b"/>
              <a:pathLst>
                <a:path w="1856" h="2259" extrusionOk="0">
                  <a:moveTo>
                    <a:pt x="647" y="1"/>
                  </a:moveTo>
                  <a:cubicBezTo>
                    <a:pt x="562" y="1"/>
                    <a:pt x="476" y="20"/>
                    <a:pt x="395" y="60"/>
                  </a:cubicBezTo>
                  <a:cubicBezTo>
                    <a:pt x="115" y="198"/>
                    <a:pt x="1" y="539"/>
                    <a:pt x="142" y="819"/>
                  </a:cubicBezTo>
                  <a:lnTo>
                    <a:pt x="705" y="1948"/>
                  </a:lnTo>
                  <a:cubicBezTo>
                    <a:pt x="806" y="2144"/>
                    <a:pt x="1004" y="2259"/>
                    <a:pt x="1211" y="2259"/>
                  </a:cubicBezTo>
                  <a:cubicBezTo>
                    <a:pt x="1296" y="2259"/>
                    <a:pt x="1383" y="2239"/>
                    <a:pt x="1464" y="2198"/>
                  </a:cubicBezTo>
                  <a:cubicBezTo>
                    <a:pt x="1744" y="2059"/>
                    <a:pt x="1856" y="1722"/>
                    <a:pt x="1717" y="1442"/>
                  </a:cubicBezTo>
                  <a:lnTo>
                    <a:pt x="1151" y="313"/>
                  </a:lnTo>
                  <a:cubicBezTo>
                    <a:pt x="1053" y="114"/>
                    <a:pt x="853" y="1"/>
                    <a:pt x="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4" name="Google Shape;5944;p70"/>
            <p:cNvSpPr/>
            <p:nvPr/>
          </p:nvSpPr>
          <p:spPr>
            <a:xfrm>
              <a:off x="3566525" y="249875"/>
              <a:ext cx="46400" cy="56475"/>
            </a:xfrm>
            <a:custGeom>
              <a:avLst/>
              <a:gdLst/>
              <a:ahLst/>
              <a:cxnLst/>
              <a:rect l="l" t="t" r="r" b="b"/>
              <a:pathLst>
                <a:path w="1856" h="2259" extrusionOk="0">
                  <a:moveTo>
                    <a:pt x="1210" y="1"/>
                  </a:moveTo>
                  <a:cubicBezTo>
                    <a:pt x="1003" y="1"/>
                    <a:pt x="803" y="114"/>
                    <a:pt x="705" y="313"/>
                  </a:cubicBezTo>
                  <a:lnTo>
                    <a:pt x="139" y="1442"/>
                  </a:lnTo>
                  <a:cubicBezTo>
                    <a:pt x="1" y="1719"/>
                    <a:pt x="115" y="2059"/>
                    <a:pt x="392" y="2198"/>
                  </a:cubicBezTo>
                  <a:cubicBezTo>
                    <a:pt x="474" y="2239"/>
                    <a:pt x="561" y="2259"/>
                    <a:pt x="646" y="2259"/>
                  </a:cubicBezTo>
                  <a:cubicBezTo>
                    <a:pt x="852" y="2259"/>
                    <a:pt x="1051" y="2144"/>
                    <a:pt x="1151" y="1948"/>
                  </a:cubicBezTo>
                  <a:lnTo>
                    <a:pt x="1714" y="819"/>
                  </a:lnTo>
                  <a:cubicBezTo>
                    <a:pt x="1856" y="539"/>
                    <a:pt x="1741" y="198"/>
                    <a:pt x="1461" y="60"/>
                  </a:cubicBezTo>
                  <a:cubicBezTo>
                    <a:pt x="1381" y="20"/>
                    <a:pt x="1295" y="1"/>
                    <a:pt x="12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5" name="Google Shape;5945;p70"/>
            <p:cNvSpPr/>
            <p:nvPr/>
          </p:nvSpPr>
          <p:spPr>
            <a:xfrm>
              <a:off x="3413250" y="334550"/>
              <a:ext cx="56500" cy="28250"/>
            </a:xfrm>
            <a:custGeom>
              <a:avLst/>
              <a:gdLst/>
              <a:ahLst/>
              <a:cxnLst/>
              <a:rect l="l" t="t" r="r" b="b"/>
              <a:pathLst>
                <a:path w="2260" h="1130" extrusionOk="0">
                  <a:moveTo>
                    <a:pt x="567" y="0"/>
                  </a:moveTo>
                  <a:cubicBezTo>
                    <a:pt x="254" y="0"/>
                    <a:pt x="1" y="253"/>
                    <a:pt x="1" y="567"/>
                  </a:cubicBezTo>
                  <a:cubicBezTo>
                    <a:pt x="1" y="877"/>
                    <a:pt x="254" y="1130"/>
                    <a:pt x="567"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6" name="Google Shape;5946;p70"/>
            <p:cNvSpPr/>
            <p:nvPr/>
          </p:nvSpPr>
          <p:spPr>
            <a:xfrm>
              <a:off x="3300325" y="476675"/>
              <a:ext cx="84725" cy="254100"/>
            </a:xfrm>
            <a:custGeom>
              <a:avLst/>
              <a:gdLst/>
              <a:ahLst/>
              <a:cxnLst/>
              <a:rect l="l" t="t" r="r" b="b"/>
              <a:pathLst>
                <a:path w="3389" h="10164" extrusionOk="0">
                  <a:moveTo>
                    <a:pt x="567" y="1"/>
                  </a:moveTo>
                  <a:cubicBezTo>
                    <a:pt x="254" y="1"/>
                    <a:pt x="1" y="251"/>
                    <a:pt x="1" y="564"/>
                  </a:cubicBezTo>
                  <a:lnTo>
                    <a:pt x="1" y="9598"/>
                  </a:lnTo>
                  <a:cubicBezTo>
                    <a:pt x="1" y="9911"/>
                    <a:pt x="254" y="10164"/>
                    <a:pt x="567" y="10164"/>
                  </a:cubicBezTo>
                  <a:lnTo>
                    <a:pt x="2825" y="10164"/>
                  </a:lnTo>
                  <a:cubicBezTo>
                    <a:pt x="3136" y="10164"/>
                    <a:pt x="3389" y="9911"/>
                    <a:pt x="3389" y="9598"/>
                  </a:cubicBezTo>
                  <a:lnTo>
                    <a:pt x="3389" y="564"/>
                  </a:lnTo>
                  <a:cubicBezTo>
                    <a:pt x="3389" y="251"/>
                    <a:pt x="3136"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7" name="Google Shape;5947;p70"/>
            <p:cNvSpPr/>
            <p:nvPr/>
          </p:nvSpPr>
          <p:spPr>
            <a:xfrm>
              <a:off x="3413250" y="335525"/>
              <a:ext cx="320800" cy="395250"/>
            </a:xfrm>
            <a:custGeom>
              <a:avLst/>
              <a:gdLst/>
              <a:ahLst/>
              <a:cxnLst/>
              <a:rect l="l" t="t" r="r" b="b"/>
              <a:pathLst>
                <a:path w="12832" h="15810" extrusionOk="0">
                  <a:moveTo>
                    <a:pt x="3954" y="1"/>
                  </a:moveTo>
                  <a:cubicBezTo>
                    <a:pt x="3641" y="1"/>
                    <a:pt x="3388" y="254"/>
                    <a:pt x="3388" y="564"/>
                  </a:cubicBezTo>
                  <a:cubicBezTo>
                    <a:pt x="3388" y="1871"/>
                    <a:pt x="2879" y="4225"/>
                    <a:pt x="1922" y="5186"/>
                  </a:cubicBezTo>
                  <a:cubicBezTo>
                    <a:pt x="1274" y="5830"/>
                    <a:pt x="723" y="6065"/>
                    <a:pt x="1" y="6427"/>
                  </a:cubicBezTo>
                  <a:lnTo>
                    <a:pt x="1" y="14897"/>
                  </a:lnTo>
                  <a:cubicBezTo>
                    <a:pt x="1109" y="15268"/>
                    <a:pt x="2515" y="15810"/>
                    <a:pt x="4659" y="15810"/>
                  </a:cubicBezTo>
                  <a:lnTo>
                    <a:pt x="8351" y="15810"/>
                  </a:lnTo>
                  <a:cubicBezTo>
                    <a:pt x="9567" y="15810"/>
                    <a:pt x="10516" y="14680"/>
                    <a:pt x="10046" y="13491"/>
                  </a:cubicBezTo>
                  <a:cubicBezTo>
                    <a:pt x="11019" y="13226"/>
                    <a:pt x="11546" y="12172"/>
                    <a:pt x="11175" y="11233"/>
                  </a:cubicBezTo>
                  <a:cubicBezTo>
                    <a:pt x="12386" y="10901"/>
                    <a:pt x="12832" y="9408"/>
                    <a:pt x="11992" y="8468"/>
                  </a:cubicBezTo>
                  <a:cubicBezTo>
                    <a:pt x="12314" y="8107"/>
                    <a:pt x="12467" y="7625"/>
                    <a:pt x="12410" y="7143"/>
                  </a:cubicBezTo>
                  <a:cubicBezTo>
                    <a:pt x="12311" y="6267"/>
                    <a:pt x="11495" y="5647"/>
                    <a:pt x="10612" y="5647"/>
                  </a:cubicBezTo>
                  <a:lnTo>
                    <a:pt x="6213" y="5647"/>
                  </a:lnTo>
                  <a:cubicBezTo>
                    <a:pt x="6586" y="4975"/>
                    <a:pt x="6785" y="3081"/>
                    <a:pt x="6776" y="2307"/>
                  </a:cubicBezTo>
                  <a:cubicBezTo>
                    <a:pt x="6761" y="1027"/>
                    <a:pt x="5701" y="1"/>
                    <a:pt x="4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8" name="Google Shape;5948;p70"/>
          <p:cNvGrpSpPr/>
          <p:nvPr/>
        </p:nvGrpSpPr>
        <p:grpSpPr>
          <a:xfrm>
            <a:off x="2912712" y="2287349"/>
            <a:ext cx="352349" cy="338760"/>
            <a:chOff x="3854700" y="249750"/>
            <a:chExt cx="500425" cy="481125"/>
          </a:xfrm>
        </p:grpSpPr>
        <p:sp>
          <p:nvSpPr>
            <p:cNvPr id="5949" name="Google Shape;5949;p70"/>
            <p:cNvSpPr/>
            <p:nvPr/>
          </p:nvSpPr>
          <p:spPr>
            <a:xfrm>
              <a:off x="4206725" y="598350"/>
              <a:ext cx="70775" cy="68025"/>
            </a:xfrm>
            <a:custGeom>
              <a:avLst/>
              <a:gdLst/>
              <a:ahLst/>
              <a:cxnLst/>
              <a:rect l="l" t="t" r="r" b="b"/>
              <a:pathLst>
                <a:path w="2831" h="2721" extrusionOk="0">
                  <a:moveTo>
                    <a:pt x="622" y="1"/>
                  </a:moveTo>
                  <a:cubicBezTo>
                    <a:pt x="478" y="1"/>
                    <a:pt x="333" y="56"/>
                    <a:pt x="223" y="165"/>
                  </a:cubicBezTo>
                  <a:cubicBezTo>
                    <a:pt x="0" y="388"/>
                    <a:pt x="0" y="744"/>
                    <a:pt x="223" y="966"/>
                  </a:cubicBezTo>
                  <a:lnTo>
                    <a:pt x="1819" y="2562"/>
                  </a:lnTo>
                  <a:cubicBezTo>
                    <a:pt x="1929" y="2668"/>
                    <a:pt x="2070" y="2721"/>
                    <a:pt x="2211" y="2721"/>
                  </a:cubicBezTo>
                  <a:cubicBezTo>
                    <a:pt x="2356" y="2721"/>
                    <a:pt x="2501" y="2665"/>
                    <a:pt x="2611" y="2553"/>
                  </a:cubicBezTo>
                  <a:cubicBezTo>
                    <a:pt x="2828" y="2337"/>
                    <a:pt x="2831" y="1984"/>
                    <a:pt x="2617" y="1764"/>
                  </a:cubicBezTo>
                  <a:lnTo>
                    <a:pt x="1021" y="165"/>
                  </a:lnTo>
                  <a:cubicBezTo>
                    <a:pt x="911" y="56"/>
                    <a:pt x="767" y="1"/>
                    <a:pt x="6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0" name="Google Shape;5950;p70"/>
            <p:cNvSpPr/>
            <p:nvPr/>
          </p:nvSpPr>
          <p:spPr>
            <a:xfrm>
              <a:off x="4226750" y="538600"/>
              <a:ext cx="91250" cy="48150"/>
            </a:xfrm>
            <a:custGeom>
              <a:avLst/>
              <a:gdLst/>
              <a:ahLst/>
              <a:cxnLst/>
              <a:rect l="l" t="t" r="r" b="b"/>
              <a:pathLst>
                <a:path w="3650" h="1926" extrusionOk="0">
                  <a:moveTo>
                    <a:pt x="631" y="1"/>
                  </a:moveTo>
                  <a:cubicBezTo>
                    <a:pt x="393" y="1"/>
                    <a:pt x="175" y="151"/>
                    <a:pt x="97" y="387"/>
                  </a:cubicBezTo>
                  <a:cubicBezTo>
                    <a:pt x="0" y="676"/>
                    <a:pt x="151" y="993"/>
                    <a:pt x="440" y="1098"/>
                  </a:cubicBezTo>
                  <a:lnTo>
                    <a:pt x="2837" y="1896"/>
                  </a:lnTo>
                  <a:cubicBezTo>
                    <a:pt x="2896" y="1916"/>
                    <a:pt x="2956" y="1925"/>
                    <a:pt x="3014" y="1925"/>
                  </a:cubicBezTo>
                  <a:cubicBezTo>
                    <a:pt x="3251" y="1925"/>
                    <a:pt x="3471" y="1774"/>
                    <a:pt x="3551" y="1538"/>
                  </a:cubicBezTo>
                  <a:cubicBezTo>
                    <a:pt x="3650" y="1243"/>
                    <a:pt x="3490" y="920"/>
                    <a:pt x="3192" y="824"/>
                  </a:cubicBezTo>
                  <a:lnTo>
                    <a:pt x="798" y="26"/>
                  </a:lnTo>
                  <a:cubicBezTo>
                    <a:pt x="742" y="9"/>
                    <a:pt x="686"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1" name="Google Shape;5951;p70"/>
            <p:cNvSpPr/>
            <p:nvPr/>
          </p:nvSpPr>
          <p:spPr>
            <a:xfrm>
              <a:off x="4146500" y="618325"/>
              <a:ext cx="52050" cy="88650"/>
            </a:xfrm>
            <a:custGeom>
              <a:avLst/>
              <a:gdLst/>
              <a:ahLst/>
              <a:cxnLst/>
              <a:rect l="l" t="t" r="r" b="b"/>
              <a:pathLst>
                <a:path w="2082" h="3546" extrusionOk="0">
                  <a:moveTo>
                    <a:pt x="632" y="1"/>
                  </a:moveTo>
                  <a:cubicBezTo>
                    <a:pt x="574" y="1"/>
                    <a:pt x="514" y="10"/>
                    <a:pt x="455" y="29"/>
                  </a:cubicBezTo>
                  <a:cubicBezTo>
                    <a:pt x="160" y="128"/>
                    <a:pt x="0" y="447"/>
                    <a:pt x="100" y="746"/>
                  </a:cubicBezTo>
                  <a:lnTo>
                    <a:pt x="898" y="3140"/>
                  </a:lnTo>
                  <a:cubicBezTo>
                    <a:pt x="970" y="3386"/>
                    <a:pt x="1196" y="3546"/>
                    <a:pt x="1439" y="3546"/>
                  </a:cubicBezTo>
                  <a:cubicBezTo>
                    <a:pt x="1498" y="3546"/>
                    <a:pt x="1558" y="3536"/>
                    <a:pt x="1617" y="3516"/>
                  </a:cubicBezTo>
                  <a:cubicBezTo>
                    <a:pt x="1921" y="3417"/>
                    <a:pt x="2081" y="3082"/>
                    <a:pt x="1970" y="2784"/>
                  </a:cubicBezTo>
                  <a:lnTo>
                    <a:pt x="1172" y="387"/>
                  </a:lnTo>
                  <a:cubicBezTo>
                    <a:pt x="1092" y="150"/>
                    <a:pt x="871" y="1"/>
                    <a:pt x="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2" name="Google Shape;5952;p70"/>
            <p:cNvSpPr/>
            <p:nvPr/>
          </p:nvSpPr>
          <p:spPr>
            <a:xfrm>
              <a:off x="3927425" y="319075"/>
              <a:ext cx="70650" cy="67850"/>
            </a:xfrm>
            <a:custGeom>
              <a:avLst/>
              <a:gdLst/>
              <a:ahLst/>
              <a:cxnLst/>
              <a:rect l="l" t="t" r="r" b="b"/>
              <a:pathLst>
                <a:path w="2826" h="2714" extrusionOk="0">
                  <a:moveTo>
                    <a:pt x="621" y="0"/>
                  </a:moveTo>
                  <a:cubicBezTo>
                    <a:pt x="477" y="0"/>
                    <a:pt x="333" y="55"/>
                    <a:pt x="223" y="165"/>
                  </a:cubicBezTo>
                  <a:cubicBezTo>
                    <a:pt x="4" y="385"/>
                    <a:pt x="1" y="737"/>
                    <a:pt x="214" y="957"/>
                  </a:cubicBezTo>
                  <a:lnTo>
                    <a:pt x="1813" y="2556"/>
                  </a:lnTo>
                  <a:cubicBezTo>
                    <a:pt x="1922" y="2661"/>
                    <a:pt x="2062" y="2714"/>
                    <a:pt x="2203" y="2714"/>
                  </a:cubicBezTo>
                  <a:cubicBezTo>
                    <a:pt x="2348" y="2714"/>
                    <a:pt x="2494" y="2658"/>
                    <a:pt x="2605" y="2547"/>
                  </a:cubicBezTo>
                  <a:cubicBezTo>
                    <a:pt x="2822" y="2330"/>
                    <a:pt x="2825" y="1977"/>
                    <a:pt x="2611" y="1755"/>
                  </a:cubicBezTo>
                  <a:lnTo>
                    <a:pt x="1012" y="159"/>
                  </a:lnTo>
                  <a:cubicBezTo>
                    <a:pt x="904" y="53"/>
                    <a:pt x="762"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3" name="Google Shape;5953;p70"/>
            <p:cNvSpPr/>
            <p:nvPr/>
          </p:nvSpPr>
          <p:spPr>
            <a:xfrm>
              <a:off x="4007000" y="279300"/>
              <a:ext cx="51675" cy="88150"/>
            </a:xfrm>
            <a:custGeom>
              <a:avLst/>
              <a:gdLst/>
              <a:ahLst/>
              <a:cxnLst/>
              <a:rect l="l" t="t" r="r" b="b"/>
              <a:pathLst>
                <a:path w="2067" h="3526" extrusionOk="0">
                  <a:moveTo>
                    <a:pt x="632" y="0"/>
                  </a:moveTo>
                  <a:cubicBezTo>
                    <a:pt x="573" y="0"/>
                    <a:pt x="512" y="10"/>
                    <a:pt x="452" y="30"/>
                  </a:cubicBezTo>
                  <a:cubicBezTo>
                    <a:pt x="160" y="127"/>
                    <a:pt x="0" y="437"/>
                    <a:pt x="91" y="732"/>
                  </a:cubicBezTo>
                  <a:lnTo>
                    <a:pt x="889" y="3126"/>
                  </a:lnTo>
                  <a:cubicBezTo>
                    <a:pt x="964" y="3370"/>
                    <a:pt x="1188" y="3525"/>
                    <a:pt x="1428" y="3525"/>
                  </a:cubicBezTo>
                  <a:cubicBezTo>
                    <a:pt x="1487" y="3525"/>
                    <a:pt x="1547" y="3516"/>
                    <a:pt x="1605" y="3496"/>
                  </a:cubicBezTo>
                  <a:cubicBezTo>
                    <a:pt x="1907" y="3397"/>
                    <a:pt x="2066" y="3069"/>
                    <a:pt x="1961" y="2771"/>
                  </a:cubicBezTo>
                  <a:lnTo>
                    <a:pt x="1160" y="374"/>
                  </a:lnTo>
                  <a:cubicBezTo>
                    <a:pt x="1079" y="144"/>
                    <a:pt x="863" y="0"/>
                    <a:pt x="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4" name="Google Shape;5954;p70"/>
            <p:cNvSpPr/>
            <p:nvPr/>
          </p:nvSpPr>
          <p:spPr>
            <a:xfrm>
              <a:off x="3887300" y="398850"/>
              <a:ext cx="91800" cy="48250"/>
            </a:xfrm>
            <a:custGeom>
              <a:avLst/>
              <a:gdLst/>
              <a:ahLst/>
              <a:cxnLst/>
              <a:rect l="l" t="t" r="r" b="b"/>
              <a:pathLst>
                <a:path w="3672" h="1930" extrusionOk="0">
                  <a:moveTo>
                    <a:pt x="638" y="0"/>
                  </a:moveTo>
                  <a:cubicBezTo>
                    <a:pt x="399" y="0"/>
                    <a:pt x="178" y="150"/>
                    <a:pt x="100" y="385"/>
                  </a:cubicBezTo>
                  <a:cubicBezTo>
                    <a:pt x="1" y="678"/>
                    <a:pt x="154" y="991"/>
                    <a:pt x="443" y="1096"/>
                  </a:cubicBezTo>
                  <a:lnTo>
                    <a:pt x="2840" y="1894"/>
                  </a:lnTo>
                  <a:cubicBezTo>
                    <a:pt x="2905" y="1918"/>
                    <a:pt x="2971" y="1930"/>
                    <a:pt x="3036" y="1930"/>
                  </a:cubicBezTo>
                  <a:cubicBezTo>
                    <a:pt x="3271" y="1930"/>
                    <a:pt x="3492" y="1781"/>
                    <a:pt x="3572" y="1545"/>
                  </a:cubicBezTo>
                  <a:cubicBezTo>
                    <a:pt x="3671" y="1241"/>
                    <a:pt x="3503" y="915"/>
                    <a:pt x="3195" y="825"/>
                  </a:cubicBezTo>
                  <a:lnTo>
                    <a:pt x="802" y="24"/>
                  </a:lnTo>
                  <a:cubicBezTo>
                    <a:pt x="747" y="8"/>
                    <a:pt x="692" y="0"/>
                    <a:pt x="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5" name="Google Shape;5955;p70"/>
            <p:cNvSpPr/>
            <p:nvPr/>
          </p:nvSpPr>
          <p:spPr>
            <a:xfrm>
              <a:off x="3854700" y="413675"/>
              <a:ext cx="353475" cy="317200"/>
            </a:xfrm>
            <a:custGeom>
              <a:avLst/>
              <a:gdLst/>
              <a:ahLst/>
              <a:cxnLst/>
              <a:rect l="l" t="t" r="r" b="b"/>
              <a:pathLst>
                <a:path w="14139" h="12688" extrusionOk="0">
                  <a:moveTo>
                    <a:pt x="12278" y="0"/>
                  </a:moveTo>
                  <a:lnTo>
                    <a:pt x="10639" y="1635"/>
                  </a:lnTo>
                  <a:cubicBezTo>
                    <a:pt x="10811" y="1720"/>
                    <a:pt x="10971" y="1831"/>
                    <a:pt x="11109" y="1964"/>
                  </a:cubicBezTo>
                  <a:cubicBezTo>
                    <a:pt x="11772" y="2623"/>
                    <a:pt x="11772" y="3698"/>
                    <a:pt x="11109" y="4358"/>
                  </a:cubicBezTo>
                  <a:lnTo>
                    <a:pt x="5520" y="9949"/>
                  </a:lnTo>
                  <a:cubicBezTo>
                    <a:pt x="5189" y="10281"/>
                    <a:pt x="4755" y="10446"/>
                    <a:pt x="4322" y="10446"/>
                  </a:cubicBezTo>
                  <a:cubicBezTo>
                    <a:pt x="3889" y="10446"/>
                    <a:pt x="3456" y="10281"/>
                    <a:pt x="3126" y="9949"/>
                  </a:cubicBezTo>
                  <a:cubicBezTo>
                    <a:pt x="2464" y="9287"/>
                    <a:pt x="2464" y="8215"/>
                    <a:pt x="3126" y="7552"/>
                  </a:cubicBezTo>
                  <a:lnTo>
                    <a:pt x="5331" y="5351"/>
                  </a:lnTo>
                  <a:cubicBezTo>
                    <a:pt x="4924" y="4499"/>
                    <a:pt x="4764" y="3554"/>
                    <a:pt x="4867" y="2620"/>
                  </a:cubicBezTo>
                  <a:lnTo>
                    <a:pt x="4867" y="2620"/>
                  </a:lnTo>
                  <a:lnTo>
                    <a:pt x="1527" y="5956"/>
                  </a:lnTo>
                  <a:cubicBezTo>
                    <a:pt x="1" y="7501"/>
                    <a:pt x="7" y="9992"/>
                    <a:pt x="1545" y="11530"/>
                  </a:cubicBezTo>
                  <a:cubicBezTo>
                    <a:pt x="2316" y="12301"/>
                    <a:pt x="3328" y="12687"/>
                    <a:pt x="4340" y="12687"/>
                  </a:cubicBezTo>
                  <a:cubicBezTo>
                    <a:pt x="5344" y="12687"/>
                    <a:pt x="6348" y="12307"/>
                    <a:pt x="7119" y="11545"/>
                  </a:cubicBezTo>
                  <a:lnTo>
                    <a:pt x="12708" y="5956"/>
                  </a:lnTo>
                  <a:cubicBezTo>
                    <a:pt x="13783" y="4878"/>
                    <a:pt x="14139" y="3276"/>
                    <a:pt x="13627" y="1843"/>
                  </a:cubicBezTo>
                  <a:cubicBezTo>
                    <a:pt x="13500" y="1467"/>
                    <a:pt x="13316" y="1114"/>
                    <a:pt x="13076" y="798"/>
                  </a:cubicBezTo>
                  <a:lnTo>
                    <a:pt x="13066" y="807"/>
                  </a:lnTo>
                  <a:cubicBezTo>
                    <a:pt x="12955" y="663"/>
                    <a:pt x="12844" y="503"/>
                    <a:pt x="12708" y="368"/>
                  </a:cubicBezTo>
                  <a:cubicBezTo>
                    <a:pt x="12570" y="235"/>
                    <a:pt x="12428" y="115"/>
                    <a:pt x="122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6" name="Google Shape;5956;p70"/>
            <p:cNvSpPr/>
            <p:nvPr/>
          </p:nvSpPr>
          <p:spPr>
            <a:xfrm>
              <a:off x="3996825" y="249750"/>
              <a:ext cx="358300" cy="322025"/>
            </a:xfrm>
            <a:custGeom>
              <a:avLst/>
              <a:gdLst/>
              <a:ahLst/>
              <a:cxnLst/>
              <a:rect l="l" t="t" r="r" b="b"/>
              <a:pathLst>
                <a:path w="14332" h="12881" extrusionOk="0">
                  <a:moveTo>
                    <a:pt x="9993" y="1"/>
                  </a:moveTo>
                  <a:cubicBezTo>
                    <a:pt x="8989" y="1"/>
                    <a:pt x="7985" y="381"/>
                    <a:pt x="7216" y="1143"/>
                  </a:cubicBezTo>
                  <a:lnTo>
                    <a:pt x="1434" y="6925"/>
                  </a:lnTo>
                  <a:cubicBezTo>
                    <a:pt x="359" y="8003"/>
                    <a:pt x="1" y="9605"/>
                    <a:pt x="516" y="11038"/>
                  </a:cubicBezTo>
                  <a:cubicBezTo>
                    <a:pt x="639" y="11414"/>
                    <a:pt x="826" y="11767"/>
                    <a:pt x="1067" y="12083"/>
                  </a:cubicBezTo>
                  <a:lnTo>
                    <a:pt x="1073" y="12074"/>
                  </a:lnTo>
                  <a:cubicBezTo>
                    <a:pt x="1187" y="12218"/>
                    <a:pt x="1296" y="12378"/>
                    <a:pt x="1434" y="12513"/>
                  </a:cubicBezTo>
                  <a:cubicBezTo>
                    <a:pt x="1570" y="12646"/>
                    <a:pt x="1711" y="12766"/>
                    <a:pt x="1865" y="12881"/>
                  </a:cubicBezTo>
                  <a:lnTo>
                    <a:pt x="3500" y="11243"/>
                  </a:lnTo>
                  <a:cubicBezTo>
                    <a:pt x="3328" y="11158"/>
                    <a:pt x="3169" y="11050"/>
                    <a:pt x="3030" y="10918"/>
                  </a:cubicBezTo>
                  <a:cubicBezTo>
                    <a:pt x="2368" y="10255"/>
                    <a:pt x="2368" y="9183"/>
                    <a:pt x="3030" y="8521"/>
                  </a:cubicBezTo>
                  <a:lnTo>
                    <a:pt x="8812" y="2739"/>
                  </a:lnTo>
                  <a:cubicBezTo>
                    <a:pt x="9143" y="2408"/>
                    <a:pt x="9577" y="2242"/>
                    <a:pt x="10010" y="2242"/>
                  </a:cubicBezTo>
                  <a:cubicBezTo>
                    <a:pt x="10443" y="2242"/>
                    <a:pt x="10876" y="2408"/>
                    <a:pt x="11206" y="2739"/>
                  </a:cubicBezTo>
                  <a:cubicBezTo>
                    <a:pt x="11868" y="3401"/>
                    <a:pt x="11868" y="4473"/>
                    <a:pt x="11206" y="5136"/>
                  </a:cubicBezTo>
                  <a:lnTo>
                    <a:pt x="8812" y="7530"/>
                  </a:lnTo>
                  <a:cubicBezTo>
                    <a:pt x="9215" y="8382"/>
                    <a:pt x="9375" y="9328"/>
                    <a:pt x="9273" y="10261"/>
                  </a:cubicBezTo>
                  <a:lnTo>
                    <a:pt x="12805" y="6732"/>
                  </a:lnTo>
                  <a:cubicBezTo>
                    <a:pt x="14331" y="5187"/>
                    <a:pt x="14325" y="2697"/>
                    <a:pt x="12787" y="1158"/>
                  </a:cubicBezTo>
                  <a:cubicBezTo>
                    <a:pt x="12016" y="387"/>
                    <a:pt x="11004" y="1"/>
                    <a:pt x="9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57" name="Google Shape;5957;p70"/>
          <p:cNvGrpSpPr/>
          <p:nvPr/>
        </p:nvGrpSpPr>
        <p:grpSpPr>
          <a:xfrm>
            <a:off x="3330701" y="2287349"/>
            <a:ext cx="352349" cy="338760"/>
            <a:chOff x="4447550" y="249750"/>
            <a:chExt cx="500425" cy="481125"/>
          </a:xfrm>
        </p:grpSpPr>
        <p:sp>
          <p:nvSpPr>
            <p:cNvPr id="5958" name="Google Shape;5958;p70"/>
            <p:cNvSpPr/>
            <p:nvPr/>
          </p:nvSpPr>
          <p:spPr>
            <a:xfrm>
              <a:off x="4447550" y="413675"/>
              <a:ext cx="353475" cy="317200"/>
            </a:xfrm>
            <a:custGeom>
              <a:avLst/>
              <a:gdLst/>
              <a:ahLst/>
              <a:cxnLst/>
              <a:rect l="l" t="t" r="r" b="b"/>
              <a:pathLst>
                <a:path w="14139" h="12688" extrusionOk="0">
                  <a:moveTo>
                    <a:pt x="12274" y="0"/>
                  </a:moveTo>
                  <a:lnTo>
                    <a:pt x="10639" y="1635"/>
                  </a:lnTo>
                  <a:cubicBezTo>
                    <a:pt x="10811" y="1720"/>
                    <a:pt x="10970" y="1831"/>
                    <a:pt x="11109" y="1964"/>
                  </a:cubicBezTo>
                  <a:cubicBezTo>
                    <a:pt x="11771" y="2623"/>
                    <a:pt x="11771" y="3698"/>
                    <a:pt x="11109" y="4358"/>
                  </a:cubicBezTo>
                  <a:lnTo>
                    <a:pt x="5520" y="9949"/>
                  </a:lnTo>
                  <a:cubicBezTo>
                    <a:pt x="5189" y="10281"/>
                    <a:pt x="4755" y="10446"/>
                    <a:pt x="4322" y="10446"/>
                  </a:cubicBezTo>
                  <a:cubicBezTo>
                    <a:pt x="3889" y="10446"/>
                    <a:pt x="3456" y="10281"/>
                    <a:pt x="3126" y="9949"/>
                  </a:cubicBezTo>
                  <a:cubicBezTo>
                    <a:pt x="2463" y="9287"/>
                    <a:pt x="2463" y="8215"/>
                    <a:pt x="3126" y="7552"/>
                  </a:cubicBezTo>
                  <a:lnTo>
                    <a:pt x="5330" y="5351"/>
                  </a:lnTo>
                  <a:cubicBezTo>
                    <a:pt x="4924" y="4499"/>
                    <a:pt x="4764" y="3554"/>
                    <a:pt x="4866" y="2620"/>
                  </a:cubicBezTo>
                  <a:lnTo>
                    <a:pt x="4866" y="2620"/>
                  </a:lnTo>
                  <a:lnTo>
                    <a:pt x="1527" y="5956"/>
                  </a:lnTo>
                  <a:cubicBezTo>
                    <a:pt x="0" y="7501"/>
                    <a:pt x="6" y="9992"/>
                    <a:pt x="1545" y="11530"/>
                  </a:cubicBezTo>
                  <a:cubicBezTo>
                    <a:pt x="2316" y="12301"/>
                    <a:pt x="3327" y="12687"/>
                    <a:pt x="4339" y="12687"/>
                  </a:cubicBezTo>
                  <a:cubicBezTo>
                    <a:pt x="5343" y="12687"/>
                    <a:pt x="6348" y="12307"/>
                    <a:pt x="7119" y="11545"/>
                  </a:cubicBezTo>
                  <a:lnTo>
                    <a:pt x="12708" y="5956"/>
                  </a:lnTo>
                  <a:cubicBezTo>
                    <a:pt x="13783" y="4878"/>
                    <a:pt x="14138" y="3276"/>
                    <a:pt x="13626" y="1843"/>
                  </a:cubicBezTo>
                  <a:cubicBezTo>
                    <a:pt x="13500" y="1467"/>
                    <a:pt x="13316" y="1114"/>
                    <a:pt x="13075" y="798"/>
                  </a:cubicBezTo>
                  <a:lnTo>
                    <a:pt x="13066" y="807"/>
                  </a:lnTo>
                  <a:cubicBezTo>
                    <a:pt x="12952" y="663"/>
                    <a:pt x="12843" y="503"/>
                    <a:pt x="12708" y="368"/>
                  </a:cubicBezTo>
                  <a:cubicBezTo>
                    <a:pt x="12569" y="235"/>
                    <a:pt x="12428" y="115"/>
                    <a:pt x="12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9" name="Google Shape;5959;p70"/>
            <p:cNvSpPr/>
            <p:nvPr/>
          </p:nvSpPr>
          <p:spPr>
            <a:xfrm>
              <a:off x="4589675" y="249750"/>
              <a:ext cx="358300" cy="322025"/>
            </a:xfrm>
            <a:custGeom>
              <a:avLst/>
              <a:gdLst/>
              <a:ahLst/>
              <a:cxnLst/>
              <a:rect l="l" t="t" r="r" b="b"/>
              <a:pathLst>
                <a:path w="14332" h="12881" extrusionOk="0">
                  <a:moveTo>
                    <a:pt x="9992" y="1"/>
                  </a:moveTo>
                  <a:cubicBezTo>
                    <a:pt x="8989" y="1"/>
                    <a:pt x="7985" y="381"/>
                    <a:pt x="7215" y="1143"/>
                  </a:cubicBezTo>
                  <a:lnTo>
                    <a:pt x="1434" y="6925"/>
                  </a:lnTo>
                  <a:cubicBezTo>
                    <a:pt x="359" y="8003"/>
                    <a:pt x="1" y="9605"/>
                    <a:pt x="515" y="11038"/>
                  </a:cubicBezTo>
                  <a:cubicBezTo>
                    <a:pt x="639" y="11414"/>
                    <a:pt x="826" y="11767"/>
                    <a:pt x="1066" y="12083"/>
                  </a:cubicBezTo>
                  <a:lnTo>
                    <a:pt x="1073" y="12074"/>
                  </a:lnTo>
                  <a:cubicBezTo>
                    <a:pt x="1187" y="12218"/>
                    <a:pt x="1295" y="12378"/>
                    <a:pt x="1434" y="12513"/>
                  </a:cubicBezTo>
                  <a:cubicBezTo>
                    <a:pt x="1569" y="12646"/>
                    <a:pt x="1711" y="12766"/>
                    <a:pt x="1864" y="12881"/>
                  </a:cubicBezTo>
                  <a:lnTo>
                    <a:pt x="3500" y="11243"/>
                  </a:lnTo>
                  <a:cubicBezTo>
                    <a:pt x="3328" y="11158"/>
                    <a:pt x="3168" y="11050"/>
                    <a:pt x="3030" y="10918"/>
                  </a:cubicBezTo>
                  <a:cubicBezTo>
                    <a:pt x="2367" y="10255"/>
                    <a:pt x="2367" y="9183"/>
                    <a:pt x="3030" y="8521"/>
                  </a:cubicBezTo>
                  <a:lnTo>
                    <a:pt x="8811" y="2739"/>
                  </a:lnTo>
                  <a:cubicBezTo>
                    <a:pt x="9143" y="2408"/>
                    <a:pt x="9576" y="2242"/>
                    <a:pt x="10010" y="2242"/>
                  </a:cubicBezTo>
                  <a:cubicBezTo>
                    <a:pt x="10443" y="2242"/>
                    <a:pt x="10876" y="2408"/>
                    <a:pt x="11205" y="2739"/>
                  </a:cubicBezTo>
                  <a:cubicBezTo>
                    <a:pt x="11868" y="3401"/>
                    <a:pt x="11868" y="4473"/>
                    <a:pt x="11205" y="5136"/>
                  </a:cubicBezTo>
                  <a:lnTo>
                    <a:pt x="8811" y="7530"/>
                  </a:lnTo>
                  <a:cubicBezTo>
                    <a:pt x="9215" y="8382"/>
                    <a:pt x="9375" y="9328"/>
                    <a:pt x="9272" y="10261"/>
                  </a:cubicBezTo>
                  <a:lnTo>
                    <a:pt x="12804" y="6732"/>
                  </a:lnTo>
                  <a:cubicBezTo>
                    <a:pt x="14331" y="5187"/>
                    <a:pt x="14325" y="2697"/>
                    <a:pt x="12786" y="1158"/>
                  </a:cubicBezTo>
                  <a:cubicBezTo>
                    <a:pt x="12015" y="387"/>
                    <a:pt x="11004" y="1"/>
                    <a:pt x="9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0" name="Google Shape;5960;p70"/>
          <p:cNvGrpSpPr/>
          <p:nvPr/>
        </p:nvGrpSpPr>
        <p:grpSpPr>
          <a:xfrm>
            <a:off x="3759902" y="2287102"/>
            <a:ext cx="339253" cy="339253"/>
            <a:chOff x="5049725" y="249400"/>
            <a:chExt cx="481825" cy="481825"/>
          </a:xfrm>
        </p:grpSpPr>
        <p:sp>
          <p:nvSpPr>
            <p:cNvPr id="5961" name="Google Shape;5961;p70"/>
            <p:cNvSpPr/>
            <p:nvPr/>
          </p:nvSpPr>
          <p:spPr>
            <a:xfrm>
              <a:off x="5191775" y="560925"/>
              <a:ext cx="197625" cy="170300"/>
            </a:xfrm>
            <a:custGeom>
              <a:avLst/>
              <a:gdLst/>
              <a:ahLst/>
              <a:cxnLst/>
              <a:rect l="l" t="t" r="r" b="b"/>
              <a:pathLst>
                <a:path w="7905"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2" name="Google Shape;5962;p70"/>
            <p:cNvSpPr/>
            <p:nvPr/>
          </p:nvSpPr>
          <p:spPr>
            <a:xfrm>
              <a:off x="5049725" y="249400"/>
              <a:ext cx="481825" cy="396225"/>
            </a:xfrm>
            <a:custGeom>
              <a:avLst/>
              <a:gdLst/>
              <a:ahLst/>
              <a:cxnLst/>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3" name="Google Shape;5963;p70"/>
          <p:cNvGrpSpPr/>
          <p:nvPr/>
        </p:nvGrpSpPr>
        <p:grpSpPr>
          <a:xfrm>
            <a:off x="4173843" y="2287102"/>
            <a:ext cx="339253" cy="339253"/>
            <a:chOff x="5660400" y="238125"/>
            <a:chExt cx="481825" cy="481825"/>
          </a:xfrm>
        </p:grpSpPr>
        <p:sp>
          <p:nvSpPr>
            <p:cNvPr id="5964" name="Google Shape;5964;p70"/>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5" name="Google Shape;5965;p70"/>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6" name="Google Shape;5966;p70"/>
          <p:cNvGrpSpPr/>
          <p:nvPr/>
        </p:nvGrpSpPr>
        <p:grpSpPr>
          <a:xfrm>
            <a:off x="4590529" y="2287102"/>
            <a:ext cx="339253" cy="339253"/>
            <a:chOff x="6235400" y="249400"/>
            <a:chExt cx="481825" cy="481825"/>
          </a:xfrm>
        </p:grpSpPr>
        <p:sp>
          <p:nvSpPr>
            <p:cNvPr id="5967" name="Google Shape;5967;p70"/>
            <p:cNvSpPr/>
            <p:nvPr/>
          </p:nvSpPr>
          <p:spPr>
            <a:xfrm>
              <a:off x="6425625" y="482025"/>
              <a:ext cx="177700" cy="135375"/>
            </a:xfrm>
            <a:custGeom>
              <a:avLst/>
              <a:gdLst/>
              <a:ahLst/>
              <a:cxnLst/>
              <a:rect l="l" t="t" r="r" b="b"/>
              <a:pathLst>
                <a:path w="7108" h="5415" extrusionOk="0">
                  <a:moveTo>
                    <a:pt x="5415" y="0"/>
                  </a:moveTo>
                  <a:lnTo>
                    <a:pt x="1" y="5415"/>
                  </a:lnTo>
                  <a:lnTo>
                    <a:pt x="7107" y="5415"/>
                  </a:lnTo>
                  <a:lnTo>
                    <a:pt x="7107" y="1696"/>
                  </a:lnTo>
                  <a:lnTo>
                    <a:pt x="54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8" name="Google Shape;5968;p70"/>
            <p:cNvSpPr/>
            <p:nvPr/>
          </p:nvSpPr>
          <p:spPr>
            <a:xfrm>
              <a:off x="6462150" y="419775"/>
              <a:ext cx="28250" cy="28250"/>
            </a:xfrm>
            <a:custGeom>
              <a:avLst/>
              <a:gdLst/>
              <a:ahLst/>
              <a:cxnLst/>
              <a:rect l="l" t="t" r="r" b="b"/>
              <a:pathLst>
                <a:path w="1130" h="1130" extrusionOk="0">
                  <a:moveTo>
                    <a:pt x="566" y="0"/>
                  </a:moveTo>
                  <a:cubicBezTo>
                    <a:pt x="253" y="0"/>
                    <a:pt x="0" y="250"/>
                    <a:pt x="0" y="563"/>
                  </a:cubicBezTo>
                  <a:cubicBezTo>
                    <a:pt x="0" y="876"/>
                    <a:pt x="253" y="1129"/>
                    <a:pt x="566" y="1129"/>
                  </a:cubicBezTo>
                  <a:cubicBezTo>
                    <a:pt x="877" y="1129"/>
                    <a:pt x="1130" y="876"/>
                    <a:pt x="1130" y="563"/>
                  </a:cubicBezTo>
                  <a:cubicBezTo>
                    <a:pt x="1130" y="250"/>
                    <a:pt x="877"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9" name="Google Shape;5969;p70"/>
            <p:cNvSpPr/>
            <p:nvPr/>
          </p:nvSpPr>
          <p:spPr>
            <a:xfrm>
              <a:off x="6349225" y="508600"/>
              <a:ext cx="113625" cy="108800"/>
            </a:xfrm>
            <a:custGeom>
              <a:avLst/>
              <a:gdLst/>
              <a:ahLst/>
              <a:cxnLst/>
              <a:rect l="l" t="t" r="r" b="b"/>
              <a:pathLst>
                <a:path w="4545" h="4352" extrusionOk="0">
                  <a:moveTo>
                    <a:pt x="2858" y="0"/>
                  </a:moveTo>
                  <a:lnTo>
                    <a:pt x="0" y="2623"/>
                  </a:lnTo>
                  <a:lnTo>
                    <a:pt x="0" y="4352"/>
                  </a:lnTo>
                  <a:lnTo>
                    <a:pt x="1461" y="4352"/>
                  </a:lnTo>
                  <a:lnTo>
                    <a:pt x="4544" y="1265"/>
                  </a:lnTo>
                  <a:lnTo>
                    <a:pt x="28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0" name="Google Shape;5970;p70"/>
            <p:cNvSpPr/>
            <p:nvPr/>
          </p:nvSpPr>
          <p:spPr>
            <a:xfrm>
              <a:off x="6349225" y="363300"/>
              <a:ext cx="254100" cy="172575"/>
            </a:xfrm>
            <a:custGeom>
              <a:avLst/>
              <a:gdLst/>
              <a:ahLst/>
              <a:cxnLst/>
              <a:rect l="l" t="t" r="r" b="b"/>
              <a:pathLst>
                <a:path w="10164" h="6903" extrusionOk="0">
                  <a:moveTo>
                    <a:pt x="5083" y="1130"/>
                  </a:moveTo>
                  <a:cubicBezTo>
                    <a:pt x="5767" y="1130"/>
                    <a:pt x="6384" y="1542"/>
                    <a:pt x="6646" y="2175"/>
                  </a:cubicBezTo>
                  <a:cubicBezTo>
                    <a:pt x="6908" y="2807"/>
                    <a:pt x="6764" y="3536"/>
                    <a:pt x="6279" y="4021"/>
                  </a:cubicBezTo>
                  <a:cubicBezTo>
                    <a:pt x="5955" y="4345"/>
                    <a:pt x="5521" y="4517"/>
                    <a:pt x="5081" y="4517"/>
                  </a:cubicBezTo>
                  <a:cubicBezTo>
                    <a:pt x="4862" y="4517"/>
                    <a:pt x="4642" y="4475"/>
                    <a:pt x="4433" y="4388"/>
                  </a:cubicBezTo>
                  <a:cubicBezTo>
                    <a:pt x="3801" y="4126"/>
                    <a:pt x="3388" y="3509"/>
                    <a:pt x="3388" y="2822"/>
                  </a:cubicBezTo>
                  <a:cubicBezTo>
                    <a:pt x="3388" y="1886"/>
                    <a:pt x="4147" y="1130"/>
                    <a:pt x="5083" y="1130"/>
                  </a:cubicBezTo>
                  <a:close/>
                  <a:moveTo>
                    <a:pt x="0" y="1"/>
                  </a:moveTo>
                  <a:lnTo>
                    <a:pt x="0" y="6903"/>
                  </a:lnTo>
                  <a:lnTo>
                    <a:pt x="2443" y="4665"/>
                  </a:lnTo>
                  <a:cubicBezTo>
                    <a:pt x="2549" y="4567"/>
                    <a:pt x="2686" y="4517"/>
                    <a:pt x="2824" y="4517"/>
                  </a:cubicBezTo>
                  <a:cubicBezTo>
                    <a:pt x="2943" y="4517"/>
                    <a:pt x="3062" y="4554"/>
                    <a:pt x="3162" y="4629"/>
                  </a:cubicBezTo>
                  <a:lnTo>
                    <a:pt x="5351" y="6270"/>
                  </a:lnTo>
                  <a:lnTo>
                    <a:pt x="8071" y="3551"/>
                  </a:lnTo>
                  <a:cubicBezTo>
                    <a:pt x="8181" y="3441"/>
                    <a:pt x="8325" y="3386"/>
                    <a:pt x="8470" y="3386"/>
                  </a:cubicBezTo>
                  <a:cubicBezTo>
                    <a:pt x="8614" y="3386"/>
                    <a:pt x="8759" y="3441"/>
                    <a:pt x="8869" y="3551"/>
                  </a:cubicBezTo>
                  <a:lnTo>
                    <a:pt x="10163" y="4846"/>
                  </a:lnTo>
                  <a:lnTo>
                    <a:pt x="101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1" name="Google Shape;5971;p70"/>
            <p:cNvSpPr/>
            <p:nvPr/>
          </p:nvSpPr>
          <p:spPr>
            <a:xfrm>
              <a:off x="6235400" y="249400"/>
              <a:ext cx="481825" cy="481825"/>
            </a:xfrm>
            <a:custGeom>
              <a:avLst/>
              <a:gdLst/>
              <a:ahLst/>
              <a:cxnLst/>
              <a:rect l="l" t="t" r="r" b="b"/>
              <a:pathLst>
                <a:path w="19273" h="19273" extrusionOk="0">
                  <a:moveTo>
                    <a:pt x="15283" y="3427"/>
                  </a:moveTo>
                  <a:cubicBezTo>
                    <a:pt x="15593" y="3427"/>
                    <a:pt x="15846" y="3677"/>
                    <a:pt x="15846" y="3991"/>
                  </a:cubicBezTo>
                  <a:lnTo>
                    <a:pt x="15846" y="15283"/>
                  </a:lnTo>
                  <a:cubicBezTo>
                    <a:pt x="15846" y="15596"/>
                    <a:pt x="15593" y="15849"/>
                    <a:pt x="15283" y="15849"/>
                  </a:cubicBezTo>
                  <a:lnTo>
                    <a:pt x="3990" y="15849"/>
                  </a:lnTo>
                  <a:cubicBezTo>
                    <a:pt x="3677" y="15849"/>
                    <a:pt x="3424" y="15596"/>
                    <a:pt x="3424" y="15283"/>
                  </a:cubicBezTo>
                  <a:lnTo>
                    <a:pt x="3424" y="3991"/>
                  </a:lnTo>
                  <a:cubicBezTo>
                    <a:pt x="3424" y="3677"/>
                    <a:pt x="3677" y="3427"/>
                    <a:pt x="3990" y="3427"/>
                  </a:cubicBezTo>
                  <a:close/>
                  <a:moveTo>
                    <a:pt x="564" y="1"/>
                  </a:moveTo>
                  <a:cubicBezTo>
                    <a:pt x="250" y="1"/>
                    <a:pt x="0" y="254"/>
                    <a:pt x="0" y="567"/>
                  </a:cubicBezTo>
                  <a:lnTo>
                    <a:pt x="0" y="2861"/>
                  </a:lnTo>
                  <a:cubicBezTo>
                    <a:pt x="0" y="3175"/>
                    <a:pt x="250" y="3427"/>
                    <a:pt x="564" y="3427"/>
                  </a:cubicBezTo>
                  <a:cubicBezTo>
                    <a:pt x="877" y="3427"/>
                    <a:pt x="1127" y="3677"/>
                    <a:pt x="1127" y="3991"/>
                  </a:cubicBezTo>
                  <a:cubicBezTo>
                    <a:pt x="1127" y="4304"/>
                    <a:pt x="877" y="4557"/>
                    <a:pt x="564" y="4557"/>
                  </a:cubicBezTo>
                  <a:cubicBezTo>
                    <a:pt x="250" y="4557"/>
                    <a:pt x="0" y="4807"/>
                    <a:pt x="0" y="5120"/>
                  </a:cubicBezTo>
                  <a:lnTo>
                    <a:pt x="0" y="8507"/>
                  </a:lnTo>
                  <a:cubicBezTo>
                    <a:pt x="0" y="8821"/>
                    <a:pt x="250" y="9074"/>
                    <a:pt x="564" y="9074"/>
                  </a:cubicBezTo>
                  <a:cubicBezTo>
                    <a:pt x="877" y="9074"/>
                    <a:pt x="1127" y="9324"/>
                    <a:pt x="1127" y="9637"/>
                  </a:cubicBezTo>
                  <a:cubicBezTo>
                    <a:pt x="1127" y="9950"/>
                    <a:pt x="877" y="10203"/>
                    <a:pt x="564" y="10203"/>
                  </a:cubicBezTo>
                  <a:cubicBezTo>
                    <a:pt x="250" y="10203"/>
                    <a:pt x="0" y="10453"/>
                    <a:pt x="0" y="10766"/>
                  </a:cubicBezTo>
                  <a:lnTo>
                    <a:pt x="0" y="14154"/>
                  </a:lnTo>
                  <a:cubicBezTo>
                    <a:pt x="0" y="14467"/>
                    <a:pt x="250" y="14720"/>
                    <a:pt x="564" y="14720"/>
                  </a:cubicBezTo>
                  <a:cubicBezTo>
                    <a:pt x="877" y="14720"/>
                    <a:pt x="1127" y="14970"/>
                    <a:pt x="1127" y="15283"/>
                  </a:cubicBezTo>
                  <a:cubicBezTo>
                    <a:pt x="1127" y="15596"/>
                    <a:pt x="877" y="15849"/>
                    <a:pt x="564" y="15849"/>
                  </a:cubicBezTo>
                  <a:cubicBezTo>
                    <a:pt x="250" y="15849"/>
                    <a:pt x="0" y="16099"/>
                    <a:pt x="0" y="16412"/>
                  </a:cubicBezTo>
                  <a:lnTo>
                    <a:pt x="0" y="18710"/>
                  </a:lnTo>
                  <a:cubicBezTo>
                    <a:pt x="0" y="19020"/>
                    <a:pt x="250" y="19273"/>
                    <a:pt x="564" y="19273"/>
                  </a:cubicBezTo>
                  <a:lnTo>
                    <a:pt x="2861" y="19273"/>
                  </a:lnTo>
                  <a:cubicBezTo>
                    <a:pt x="3171" y="19273"/>
                    <a:pt x="3424" y="19020"/>
                    <a:pt x="3424" y="18710"/>
                  </a:cubicBezTo>
                  <a:cubicBezTo>
                    <a:pt x="3424" y="18396"/>
                    <a:pt x="3677" y="18143"/>
                    <a:pt x="3990" y="18143"/>
                  </a:cubicBezTo>
                  <a:cubicBezTo>
                    <a:pt x="4300" y="18143"/>
                    <a:pt x="4553" y="18396"/>
                    <a:pt x="4553" y="18710"/>
                  </a:cubicBezTo>
                  <a:cubicBezTo>
                    <a:pt x="4553" y="19020"/>
                    <a:pt x="4806" y="19273"/>
                    <a:pt x="5120" y="19273"/>
                  </a:cubicBezTo>
                  <a:lnTo>
                    <a:pt x="8507" y="19273"/>
                  </a:lnTo>
                  <a:cubicBezTo>
                    <a:pt x="8817" y="19273"/>
                    <a:pt x="9070" y="19020"/>
                    <a:pt x="9070" y="18710"/>
                  </a:cubicBezTo>
                  <a:cubicBezTo>
                    <a:pt x="9070" y="18396"/>
                    <a:pt x="9323" y="18143"/>
                    <a:pt x="9636" y="18143"/>
                  </a:cubicBezTo>
                  <a:cubicBezTo>
                    <a:pt x="9947" y="18143"/>
                    <a:pt x="10200" y="18396"/>
                    <a:pt x="10200" y="18710"/>
                  </a:cubicBezTo>
                  <a:cubicBezTo>
                    <a:pt x="10200" y="19020"/>
                    <a:pt x="10452" y="19273"/>
                    <a:pt x="10766" y="19273"/>
                  </a:cubicBezTo>
                  <a:lnTo>
                    <a:pt x="14153" y="19273"/>
                  </a:lnTo>
                  <a:cubicBezTo>
                    <a:pt x="14463" y="19273"/>
                    <a:pt x="14716" y="19020"/>
                    <a:pt x="14716" y="18710"/>
                  </a:cubicBezTo>
                  <a:cubicBezTo>
                    <a:pt x="14716" y="18396"/>
                    <a:pt x="14969" y="18143"/>
                    <a:pt x="15283" y="18143"/>
                  </a:cubicBezTo>
                  <a:cubicBezTo>
                    <a:pt x="15593" y="18143"/>
                    <a:pt x="15846" y="18396"/>
                    <a:pt x="15846" y="18710"/>
                  </a:cubicBezTo>
                  <a:cubicBezTo>
                    <a:pt x="15846" y="19020"/>
                    <a:pt x="16099" y="19273"/>
                    <a:pt x="16412" y="19273"/>
                  </a:cubicBezTo>
                  <a:lnTo>
                    <a:pt x="18706" y="19273"/>
                  </a:lnTo>
                  <a:cubicBezTo>
                    <a:pt x="19019" y="19273"/>
                    <a:pt x="19272" y="19020"/>
                    <a:pt x="19272" y="18710"/>
                  </a:cubicBezTo>
                  <a:lnTo>
                    <a:pt x="19272" y="16412"/>
                  </a:lnTo>
                  <a:cubicBezTo>
                    <a:pt x="19272" y="16099"/>
                    <a:pt x="19019" y="15849"/>
                    <a:pt x="18706" y="15849"/>
                  </a:cubicBezTo>
                  <a:cubicBezTo>
                    <a:pt x="18393" y="15849"/>
                    <a:pt x="18143" y="15596"/>
                    <a:pt x="18143" y="15283"/>
                  </a:cubicBezTo>
                  <a:cubicBezTo>
                    <a:pt x="18143" y="14970"/>
                    <a:pt x="18393" y="14720"/>
                    <a:pt x="18706" y="14720"/>
                  </a:cubicBezTo>
                  <a:cubicBezTo>
                    <a:pt x="19019" y="14720"/>
                    <a:pt x="19272" y="14467"/>
                    <a:pt x="19272" y="14154"/>
                  </a:cubicBezTo>
                  <a:lnTo>
                    <a:pt x="19272" y="10766"/>
                  </a:lnTo>
                  <a:cubicBezTo>
                    <a:pt x="19272" y="10453"/>
                    <a:pt x="19019" y="10203"/>
                    <a:pt x="18706" y="10203"/>
                  </a:cubicBezTo>
                  <a:cubicBezTo>
                    <a:pt x="18393" y="10203"/>
                    <a:pt x="18143" y="9950"/>
                    <a:pt x="18143" y="9637"/>
                  </a:cubicBezTo>
                  <a:cubicBezTo>
                    <a:pt x="18143" y="9324"/>
                    <a:pt x="18393" y="9074"/>
                    <a:pt x="18706" y="9074"/>
                  </a:cubicBezTo>
                  <a:cubicBezTo>
                    <a:pt x="19019" y="9074"/>
                    <a:pt x="19272" y="8821"/>
                    <a:pt x="19272" y="8507"/>
                  </a:cubicBezTo>
                  <a:lnTo>
                    <a:pt x="19272" y="5120"/>
                  </a:lnTo>
                  <a:cubicBezTo>
                    <a:pt x="19272" y="4807"/>
                    <a:pt x="19019" y="4557"/>
                    <a:pt x="18706" y="4557"/>
                  </a:cubicBezTo>
                  <a:cubicBezTo>
                    <a:pt x="18393" y="4557"/>
                    <a:pt x="18143" y="4304"/>
                    <a:pt x="18143" y="3991"/>
                  </a:cubicBezTo>
                  <a:cubicBezTo>
                    <a:pt x="18143" y="3677"/>
                    <a:pt x="18393" y="3427"/>
                    <a:pt x="18706" y="3427"/>
                  </a:cubicBezTo>
                  <a:cubicBezTo>
                    <a:pt x="19019" y="3427"/>
                    <a:pt x="19272" y="3175"/>
                    <a:pt x="19272" y="2861"/>
                  </a:cubicBezTo>
                  <a:lnTo>
                    <a:pt x="19272" y="567"/>
                  </a:lnTo>
                  <a:cubicBezTo>
                    <a:pt x="19272" y="254"/>
                    <a:pt x="19019" y="1"/>
                    <a:pt x="18706" y="1"/>
                  </a:cubicBezTo>
                  <a:lnTo>
                    <a:pt x="16412" y="1"/>
                  </a:lnTo>
                  <a:cubicBezTo>
                    <a:pt x="16099" y="1"/>
                    <a:pt x="15846" y="254"/>
                    <a:pt x="15846" y="567"/>
                  </a:cubicBezTo>
                  <a:cubicBezTo>
                    <a:pt x="15846" y="877"/>
                    <a:pt x="15593" y="1130"/>
                    <a:pt x="15283" y="1130"/>
                  </a:cubicBezTo>
                  <a:cubicBezTo>
                    <a:pt x="14969" y="1130"/>
                    <a:pt x="14716" y="877"/>
                    <a:pt x="14716" y="567"/>
                  </a:cubicBezTo>
                  <a:cubicBezTo>
                    <a:pt x="14716" y="254"/>
                    <a:pt x="14463" y="1"/>
                    <a:pt x="14153" y="1"/>
                  </a:cubicBezTo>
                  <a:lnTo>
                    <a:pt x="10766" y="1"/>
                  </a:lnTo>
                  <a:cubicBezTo>
                    <a:pt x="10452" y="1"/>
                    <a:pt x="10200" y="254"/>
                    <a:pt x="10200" y="567"/>
                  </a:cubicBezTo>
                  <a:cubicBezTo>
                    <a:pt x="10200" y="877"/>
                    <a:pt x="9947" y="1130"/>
                    <a:pt x="9636" y="1130"/>
                  </a:cubicBezTo>
                  <a:cubicBezTo>
                    <a:pt x="9323" y="1130"/>
                    <a:pt x="9070" y="877"/>
                    <a:pt x="9070" y="567"/>
                  </a:cubicBezTo>
                  <a:cubicBezTo>
                    <a:pt x="9070" y="254"/>
                    <a:pt x="8817" y="1"/>
                    <a:pt x="8507" y="1"/>
                  </a:cubicBezTo>
                  <a:lnTo>
                    <a:pt x="5120" y="1"/>
                  </a:lnTo>
                  <a:cubicBezTo>
                    <a:pt x="4806" y="1"/>
                    <a:pt x="4553" y="254"/>
                    <a:pt x="4553" y="567"/>
                  </a:cubicBezTo>
                  <a:cubicBezTo>
                    <a:pt x="4553" y="877"/>
                    <a:pt x="4300" y="1130"/>
                    <a:pt x="3990" y="1130"/>
                  </a:cubicBezTo>
                  <a:cubicBezTo>
                    <a:pt x="3677" y="1130"/>
                    <a:pt x="3424" y="877"/>
                    <a:pt x="3424" y="567"/>
                  </a:cubicBezTo>
                  <a:cubicBezTo>
                    <a:pt x="3424" y="254"/>
                    <a:pt x="3171"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72" name="Google Shape;5972;p70"/>
          <p:cNvGrpSpPr/>
          <p:nvPr/>
        </p:nvGrpSpPr>
        <p:grpSpPr>
          <a:xfrm>
            <a:off x="828875" y="2731810"/>
            <a:ext cx="340204" cy="298116"/>
            <a:chOff x="899850" y="871450"/>
            <a:chExt cx="483175" cy="423400"/>
          </a:xfrm>
        </p:grpSpPr>
        <p:sp>
          <p:nvSpPr>
            <p:cNvPr id="5973" name="Google Shape;5973;p70"/>
            <p:cNvSpPr/>
            <p:nvPr/>
          </p:nvSpPr>
          <p:spPr>
            <a:xfrm>
              <a:off x="1325175" y="1040825"/>
              <a:ext cx="56425" cy="28275"/>
            </a:xfrm>
            <a:custGeom>
              <a:avLst/>
              <a:gdLst/>
              <a:ahLst/>
              <a:cxnLst/>
              <a:rect l="l" t="t" r="r" b="b"/>
              <a:pathLst>
                <a:path w="2257" h="1131" extrusionOk="0">
                  <a:moveTo>
                    <a:pt x="564" y="1"/>
                  </a:moveTo>
                  <a:cubicBezTo>
                    <a:pt x="251" y="1"/>
                    <a:pt x="1" y="251"/>
                    <a:pt x="1" y="564"/>
                  </a:cubicBezTo>
                  <a:cubicBezTo>
                    <a:pt x="1" y="877"/>
                    <a:pt x="251" y="1130"/>
                    <a:pt x="564" y="1130"/>
                  </a:cubicBezTo>
                  <a:lnTo>
                    <a:pt x="1693" y="1130"/>
                  </a:lnTo>
                  <a:cubicBezTo>
                    <a:pt x="2006" y="1130"/>
                    <a:pt x="2256" y="877"/>
                    <a:pt x="2256" y="564"/>
                  </a:cubicBezTo>
                  <a:cubicBezTo>
                    <a:pt x="2256" y="251"/>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4" name="Google Shape;5974;p70"/>
            <p:cNvSpPr/>
            <p:nvPr/>
          </p:nvSpPr>
          <p:spPr>
            <a:xfrm>
              <a:off x="1323750" y="956100"/>
              <a:ext cx="59275" cy="56525"/>
            </a:xfrm>
            <a:custGeom>
              <a:avLst/>
              <a:gdLst/>
              <a:ahLst/>
              <a:cxnLst/>
              <a:rect l="l" t="t" r="r" b="b"/>
              <a:pathLst>
                <a:path w="2371" h="2261" extrusionOk="0">
                  <a:moveTo>
                    <a:pt x="1750" y="0"/>
                  </a:moveTo>
                  <a:cubicBezTo>
                    <a:pt x="1605" y="0"/>
                    <a:pt x="1461" y="55"/>
                    <a:pt x="1350" y="165"/>
                  </a:cubicBezTo>
                  <a:lnTo>
                    <a:pt x="220" y="1294"/>
                  </a:lnTo>
                  <a:cubicBezTo>
                    <a:pt x="0" y="1517"/>
                    <a:pt x="0" y="1872"/>
                    <a:pt x="220" y="2095"/>
                  </a:cubicBezTo>
                  <a:cubicBezTo>
                    <a:pt x="332" y="2205"/>
                    <a:pt x="476" y="2260"/>
                    <a:pt x="621" y="2260"/>
                  </a:cubicBezTo>
                  <a:cubicBezTo>
                    <a:pt x="765" y="2260"/>
                    <a:pt x="910" y="2205"/>
                    <a:pt x="1021" y="2095"/>
                  </a:cubicBezTo>
                  <a:lnTo>
                    <a:pt x="2151" y="966"/>
                  </a:lnTo>
                  <a:cubicBezTo>
                    <a:pt x="2370" y="743"/>
                    <a:pt x="2370" y="388"/>
                    <a:pt x="2151" y="165"/>
                  </a:cubicBezTo>
                  <a:cubicBezTo>
                    <a:pt x="2039" y="55"/>
                    <a:pt x="1895" y="0"/>
                    <a:pt x="1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5" name="Google Shape;5975;p70"/>
            <p:cNvSpPr/>
            <p:nvPr/>
          </p:nvSpPr>
          <p:spPr>
            <a:xfrm>
              <a:off x="1323750" y="1097250"/>
              <a:ext cx="59275" cy="56525"/>
            </a:xfrm>
            <a:custGeom>
              <a:avLst/>
              <a:gdLst/>
              <a:ahLst/>
              <a:cxnLst/>
              <a:rect l="l" t="t" r="r" b="b"/>
              <a:pathLst>
                <a:path w="2371" h="2261" extrusionOk="0">
                  <a:moveTo>
                    <a:pt x="621" y="0"/>
                  </a:moveTo>
                  <a:cubicBezTo>
                    <a:pt x="476" y="0"/>
                    <a:pt x="332" y="55"/>
                    <a:pt x="220" y="165"/>
                  </a:cubicBezTo>
                  <a:cubicBezTo>
                    <a:pt x="0" y="388"/>
                    <a:pt x="0" y="743"/>
                    <a:pt x="220" y="966"/>
                  </a:cubicBezTo>
                  <a:lnTo>
                    <a:pt x="1350" y="2095"/>
                  </a:lnTo>
                  <a:cubicBezTo>
                    <a:pt x="1461" y="2205"/>
                    <a:pt x="1605" y="2260"/>
                    <a:pt x="1750" y="2260"/>
                  </a:cubicBezTo>
                  <a:cubicBezTo>
                    <a:pt x="1895" y="2260"/>
                    <a:pt x="2039" y="2205"/>
                    <a:pt x="2151" y="2095"/>
                  </a:cubicBezTo>
                  <a:cubicBezTo>
                    <a:pt x="2370" y="1872"/>
                    <a:pt x="2370" y="1517"/>
                    <a:pt x="2151" y="1294"/>
                  </a:cubicBezTo>
                  <a:lnTo>
                    <a:pt x="1021" y="165"/>
                  </a:lnTo>
                  <a:cubicBezTo>
                    <a:pt x="910" y="55"/>
                    <a:pt x="765"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6" name="Google Shape;5976;p70"/>
            <p:cNvSpPr/>
            <p:nvPr/>
          </p:nvSpPr>
          <p:spPr>
            <a:xfrm>
              <a:off x="899850" y="871450"/>
              <a:ext cx="396150" cy="423400"/>
            </a:xfrm>
            <a:custGeom>
              <a:avLst/>
              <a:gdLst/>
              <a:ahLst/>
              <a:cxnLst/>
              <a:rect l="l" t="t" r="r" b="b"/>
              <a:pathLst>
                <a:path w="15846" h="16936" extrusionOk="0">
                  <a:moveTo>
                    <a:pt x="6812" y="4518"/>
                  </a:moveTo>
                  <a:lnTo>
                    <a:pt x="6812" y="10164"/>
                  </a:lnTo>
                  <a:lnTo>
                    <a:pt x="5682" y="10164"/>
                  </a:lnTo>
                  <a:lnTo>
                    <a:pt x="5682" y="4518"/>
                  </a:lnTo>
                  <a:close/>
                  <a:moveTo>
                    <a:pt x="14153" y="1130"/>
                  </a:moveTo>
                  <a:cubicBezTo>
                    <a:pt x="14463" y="1130"/>
                    <a:pt x="14716" y="1380"/>
                    <a:pt x="14716" y="1693"/>
                  </a:cubicBezTo>
                  <a:lnTo>
                    <a:pt x="14716" y="12985"/>
                  </a:lnTo>
                  <a:cubicBezTo>
                    <a:pt x="14716" y="13298"/>
                    <a:pt x="14463" y="13551"/>
                    <a:pt x="14153" y="13551"/>
                  </a:cubicBezTo>
                  <a:lnTo>
                    <a:pt x="13587" y="13551"/>
                  </a:lnTo>
                  <a:lnTo>
                    <a:pt x="13587" y="1130"/>
                  </a:lnTo>
                  <a:close/>
                  <a:moveTo>
                    <a:pt x="13018" y="1"/>
                  </a:moveTo>
                  <a:cubicBezTo>
                    <a:pt x="13012" y="1"/>
                    <a:pt x="13006" y="4"/>
                    <a:pt x="13000" y="4"/>
                  </a:cubicBezTo>
                  <a:cubicBezTo>
                    <a:pt x="12992" y="4"/>
                    <a:pt x="12985" y="4"/>
                    <a:pt x="12978" y="4"/>
                  </a:cubicBezTo>
                  <a:cubicBezTo>
                    <a:pt x="12972" y="4"/>
                    <a:pt x="12967" y="4"/>
                    <a:pt x="12961" y="4"/>
                  </a:cubicBezTo>
                  <a:cubicBezTo>
                    <a:pt x="12797" y="4"/>
                    <a:pt x="12768" y="58"/>
                    <a:pt x="7221" y="3385"/>
                  </a:cubicBezTo>
                  <a:lnTo>
                    <a:pt x="3990" y="3385"/>
                  </a:lnTo>
                  <a:cubicBezTo>
                    <a:pt x="1810" y="3388"/>
                    <a:pt x="0" y="5159"/>
                    <a:pt x="0" y="7339"/>
                  </a:cubicBezTo>
                  <a:cubicBezTo>
                    <a:pt x="0" y="9323"/>
                    <a:pt x="1515" y="10959"/>
                    <a:pt x="3424" y="11236"/>
                  </a:cubicBezTo>
                  <a:lnTo>
                    <a:pt x="3424" y="15244"/>
                  </a:lnTo>
                  <a:cubicBezTo>
                    <a:pt x="3424" y="16180"/>
                    <a:pt x="4183" y="16936"/>
                    <a:pt x="5119" y="16936"/>
                  </a:cubicBezTo>
                  <a:cubicBezTo>
                    <a:pt x="6053" y="16936"/>
                    <a:pt x="6812" y="16180"/>
                    <a:pt x="6812" y="15244"/>
                  </a:cubicBezTo>
                  <a:lnTo>
                    <a:pt x="6812" y="11293"/>
                  </a:lnTo>
                  <a:lnTo>
                    <a:pt x="7221" y="11293"/>
                  </a:lnTo>
                  <a:cubicBezTo>
                    <a:pt x="12690" y="14573"/>
                    <a:pt x="12811" y="14681"/>
                    <a:pt x="12984" y="14681"/>
                  </a:cubicBezTo>
                  <a:cubicBezTo>
                    <a:pt x="12997" y="14681"/>
                    <a:pt x="13009" y="14681"/>
                    <a:pt x="13024" y="14681"/>
                  </a:cubicBezTo>
                  <a:lnTo>
                    <a:pt x="14153" y="14681"/>
                  </a:lnTo>
                  <a:cubicBezTo>
                    <a:pt x="15087" y="14678"/>
                    <a:pt x="15845" y="13922"/>
                    <a:pt x="15845" y="12985"/>
                  </a:cubicBezTo>
                  <a:lnTo>
                    <a:pt x="15845" y="1693"/>
                  </a:lnTo>
                  <a:cubicBezTo>
                    <a:pt x="15845" y="756"/>
                    <a:pt x="15087" y="1"/>
                    <a:pt x="141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77" name="Google Shape;5977;p70"/>
          <p:cNvSpPr/>
          <p:nvPr/>
        </p:nvSpPr>
        <p:spPr>
          <a:xfrm>
            <a:off x="1265674" y="2711214"/>
            <a:ext cx="302200" cy="339253"/>
          </a:xfrm>
          <a:custGeom>
            <a:avLst/>
            <a:gdLst/>
            <a:ahLst/>
            <a:cxnLst/>
            <a:rect l="l" t="t" r="r" b="b"/>
            <a:pathLst>
              <a:path w="17168" h="19273" extrusionOk="0">
                <a:moveTo>
                  <a:pt x="15361" y="1130"/>
                </a:moveTo>
                <a:cubicBezTo>
                  <a:pt x="15671" y="1130"/>
                  <a:pt x="15924" y="1382"/>
                  <a:pt x="15924" y="1696"/>
                </a:cubicBezTo>
                <a:cubicBezTo>
                  <a:pt x="15924" y="2006"/>
                  <a:pt x="15671" y="2259"/>
                  <a:pt x="15361" y="2259"/>
                </a:cubicBezTo>
                <a:lnTo>
                  <a:pt x="1810" y="2259"/>
                </a:lnTo>
                <a:cubicBezTo>
                  <a:pt x="1497" y="2259"/>
                  <a:pt x="1244" y="2006"/>
                  <a:pt x="1244" y="1696"/>
                </a:cubicBezTo>
                <a:cubicBezTo>
                  <a:pt x="1244" y="1382"/>
                  <a:pt x="1497" y="1130"/>
                  <a:pt x="1810" y="1130"/>
                </a:cubicBezTo>
                <a:close/>
                <a:moveTo>
                  <a:pt x="15361" y="11332"/>
                </a:moveTo>
                <a:cubicBezTo>
                  <a:pt x="15671" y="11332"/>
                  <a:pt x="15924" y="11582"/>
                  <a:pt x="15924" y="11895"/>
                </a:cubicBezTo>
                <a:cubicBezTo>
                  <a:pt x="15924" y="12208"/>
                  <a:pt x="15671" y="12461"/>
                  <a:pt x="15361" y="12461"/>
                </a:cubicBezTo>
                <a:lnTo>
                  <a:pt x="1810" y="12461"/>
                </a:lnTo>
                <a:cubicBezTo>
                  <a:pt x="1497" y="12461"/>
                  <a:pt x="1244" y="12208"/>
                  <a:pt x="1244" y="11895"/>
                </a:cubicBezTo>
                <a:cubicBezTo>
                  <a:pt x="1244" y="11582"/>
                  <a:pt x="1497" y="11332"/>
                  <a:pt x="1810" y="11332"/>
                </a:cubicBezTo>
                <a:close/>
                <a:moveTo>
                  <a:pt x="1804" y="0"/>
                </a:moveTo>
                <a:cubicBezTo>
                  <a:pt x="982" y="0"/>
                  <a:pt x="277" y="593"/>
                  <a:pt x="139" y="1404"/>
                </a:cubicBezTo>
                <a:cubicBezTo>
                  <a:pt x="1" y="2217"/>
                  <a:pt x="467" y="3012"/>
                  <a:pt x="1244" y="3286"/>
                </a:cubicBezTo>
                <a:lnTo>
                  <a:pt x="1244" y="10305"/>
                </a:lnTo>
                <a:cubicBezTo>
                  <a:pt x="570" y="10543"/>
                  <a:pt x="118" y="11178"/>
                  <a:pt x="115" y="11895"/>
                </a:cubicBezTo>
                <a:cubicBezTo>
                  <a:pt x="115" y="12831"/>
                  <a:pt x="874" y="13587"/>
                  <a:pt x="1810" y="13590"/>
                </a:cubicBezTo>
                <a:lnTo>
                  <a:pt x="6752" y="13590"/>
                </a:lnTo>
                <a:lnTo>
                  <a:pt x="2518" y="18333"/>
                </a:lnTo>
                <a:cubicBezTo>
                  <a:pt x="2316" y="18565"/>
                  <a:pt x="2337" y="18914"/>
                  <a:pt x="2566" y="19122"/>
                </a:cubicBezTo>
                <a:cubicBezTo>
                  <a:pt x="2674" y="19218"/>
                  <a:pt x="2809" y="19266"/>
                  <a:pt x="2943" y="19266"/>
                </a:cubicBezTo>
                <a:cubicBezTo>
                  <a:pt x="3095" y="19266"/>
                  <a:pt x="3247" y="19205"/>
                  <a:pt x="3358" y="19086"/>
                </a:cubicBezTo>
                <a:lnTo>
                  <a:pt x="8020" y="13867"/>
                </a:lnTo>
                <a:lnTo>
                  <a:pt x="8020" y="18709"/>
                </a:lnTo>
                <a:cubicBezTo>
                  <a:pt x="8020" y="19019"/>
                  <a:pt x="8273" y="19272"/>
                  <a:pt x="8586" y="19272"/>
                </a:cubicBezTo>
                <a:cubicBezTo>
                  <a:pt x="8896" y="19272"/>
                  <a:pt x="9149" y="19019"/>
                  <a:pt x="9149" y="18709"/>
                </a:cubicBezTo>
                <a:lnTo>
                  <a:pt x="9149" y="13867"/>
                </a:lnTo>
                <a:lnTo>
                  <a:pt x="13810" y="19086"/>
                </a:lnTo>
                <a:cubicBezTo>
                  <a:pt x="13922" y="19203"/>
                  <a:pt x="14072" y="19263"/>
                  <a:pt x="14224" y="19263"/>
                </a:cubicBezTo>
                <a:cubicBezTo>
                  <a:pt x="14359" y="19263"/>
                  <a:pt x="14494" y="19215"/>
                  <a:pt x="14602" y="19119"/>
                </a:cubicBezTo>
                <a:cubicBezTo>
                  <a:pt x="14831" y="18914"/>
                  <a:pt x="14852" y="18562"/>
                  <a:pt x="14650" y="18330"/>
                </a:cubicBezTo>
                <a:lnTo>
                  <a:pt x="10417" y="13590"/>
                </a:lnTo>
                <a:lnTo>
                  <a:pt x="15361" y="13590"/>
                </a:lnTo>
                <a:cubicBezTo>
                  <a:pt x="16183" y="13590"/>
                  <a:pt x="16891" y="12997"/>
                  <a:pt x="17029" y="12184"/>
                </a:cubicBezTo>
                <a:cubicBezTo>
                  <a:pt x="17168" y="11374"/>
                  <a:pt x="16701" y="10579"/>
                  <a:pt x="15924" y="10305"/>
                </a:cubicBezTo>
                <a:lnTo>
                  <a:pt x="15924" y="3286"/>
                </a:lnTo>
                <a:cubicBezTo>
                  <a:pt x="16701" y="3012"/>
                  <a:pt x="17168" y="2217"/>
                  <a:pt x="17029" y="1404"/>
                </a:cubicBezTo>
                <a:cubicBezTo>
                  <a:pt x="16891" y="593"/>
                  <a:pt x="16187" y="0"/>
                  <a:pt x="15367" y="0"/>
                </a:cubicBezTo>
                <a:cubicBezTo>
                  <a:pt x="15365" y="0"/>
                  <a:pt x="15363" y="0"/>
                  <a:pt x="15361" y="0"/>
                </a:cubicBezTo>
                <a:lnTo>
                  <a:pt x="1810" y="0"/>
                </a:lnTo>
                <a:cubicBezTo>
                  <a:pt x="1808" y="0"/>
                  <a:pt x="1806" y="0"/>
                  <a:pt x="1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78" name="Google Shape;5978;p70"/>
          <p:cNvGrpSpPr/>
          <p:nvPr/>
        </p:nvGrpSpPr>
        <p:grpSpPr>
          <a:xfrm>
            <a:off x="1660875" y="2711232"/>
            <a:ext cx="340573" cy="339271"/>
            <a:chOff x="2085450" y="842250"/>
            <a:chExt cx="483700" cy="481850"/>
          </a:xfrm>
        </p:grpSpPr>
        <p:sp>
          <p:nvSpPr>
            <p:cNvPr id="5979" name="Google Shape;5979;p70"/>
            <p:cNvSpPr/>
            <p:nvPr/>
          </p:nvSpPr>
          <p:spPr>
            <a:xfrm>
              <a:off x="2085525" y="926925"/>
              <a:ext cx="483625" cy="397175"/>
            </a:xfrm>
            <a:custGeom>
              <a:avLst/>
              <a:gdLst/>
              <a:ahLst/>
              <a:cxnLst/>
              <a:rect l="l" t="t" r="r" b="b"/>
              <a:pathLst>
                <a:path w="19345" h="15887" extrusionOk="0">
                  <a:moveTo>
                    <a:pt x="1693" y="1"/>
                  </a:moveTo>
                  <a:cubicBezTo>
                    <a:pt x="756" y="1"/>
                    <a:pt x="0" y="760"/>
                    <a:pt x="0" y="1696"/>
                  </a:cubicBezTo>
                  <a:cubicBezTo>
                    <a:pt x="0" y="2630"/>
                    <a:pt x="756" y="3389"/>
                    <a:pt x="1693" y="3389"/>
                  </a:cubicBezTo>
                  <a:lnTo>
                    <a:pt x="3990" y="3389"/>
                  </a:lnTo>
                  <a:cubicBezTo>
                    <a:pt x="4924" y="3389"/>
                    <a:pt x="5683" y="4147"/>
                    <a:pt x="5683" y="5084"/>
                  </a:cubicBezTo>
                  <a:lnTo>
                    <a:pt x="5683" y="8547"/>
                  </a:lnTo>
                  <a:cubicBezTo>
                    <a:pt x="5683" y="11347"/>
                    <a:pt x="7962" y="13627"/>
                    <a:pt x="10766" y="13627"/>
                  </a:cubicBezTo>
                  <a:lnTo>
                    <a:pt x="13626" y="13627"/>
                  </a:lnTo>
                  <a:lnTo>
                    <a:pt x="13626" y="15322"/>
                  </a:lnTo>
                  <a:cubicBezTo>
                    <a:pt x="13626" y="15656"/>
                    <a:pt x="13901" y="15887"/>
                    <a:pt x="14194" y="15887"/>
                  </a:cubicBezTo>
                  <a:cubicBezTo>
                    <a:pt x="14308" y="15887"/>
                    <a:pt x="14425" y="15852"/>
                    <a:pt x="14530" y="15774"/>
                  </a:cubicBezTo>
                  <a:lnTo>
                    <a:pt x="19046" y="12386"/>
                  </a:lnTo>
                  <a:cubicBezTo>
                    <a:pt x="19345" y="12160"/>
                    <a:pt x="19345" y="11706"/>
                    <a:pt x="19046" y="11483"/>
                  </a:cubicBezTo>
                  <a:lnTo>
                    <a:pt x="14530" y="8095"/>
                  </a:lnTo>
                  <a:cubicBezTo>
                    <a:pt x="14424" y="8016"/>
                    <a:pt x="14307" y="7981"/>
                    <a:pt x="14192" y="7981"/>
                  </a:cubicBezTo>
                  <a:cubicBezTo>
                    <a:pt x="13899" y="7981"/>
                    <a:pt x="13626" y="8212"/>
                    <a:pt x="13626" y="8547"/>
                  </a:cubicBezTo>
                  <a:lnTo>
                    <a:pt x="13626" y="10239"/>
                  </a:lnTo>
                  <a:lnTo>
                    <a:pt x="10766" y="10239"/>
                  </a:lnTo>
                  <a:cubicBezTo>
                    <a:pt x="9829" y="10239"/>
                    <a:pt x="9070" y="9480"/>
                    <a:pt x="9070" y="8547"/>
                  </a:cubicBezTo>
                  <a:lnTo>
                    <a:pt x="9070" y="5084"/>
                  </a:lnTo>
                  <a:cubicBezTo>
                    <a:pt x="9070" y="2280"/>
                    <a:pt x="6791" y="1"/>
                    <a:pt x="39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0" name="Google Shape;5980;p70"/>
            <p:cNvSpPr/>
            <p:nvPr/>
          </p:nvSpPr>
          <p:spPr>
            <a:xfrm>
              <a:off x="2085450" y="1151875"/>
              <a:ext cx="143650" cy="87575"/>
            </a:xfrm>
            <a:custGeom>
              <a:avLst/>
              <a:gdLst/>
              <a:ahLst/>
              <a:cxnLst/>
              <a:rect l="l" t="t" r="r" b="b"/>
              <a:pathLst>
                <a:path w="5746" h="3503" extrusionOk="0">
                  <a:moveTo>
                    <a:pt x="4577" y="1"/>
                  </a:moveTo>
                  <a:cubicBezTo>
                    <a:pt x="4391" y="73"/>
                    <a:pt x="4192" y="112"/>
                    <a:pt x="3990" y="115"/>
                  </a:cubicBezTo>
                  <a:lnTo>
                    <a:pt x="1693" y="115"/>
                  </a:lnTo>
                  <a:cubicBezTo>
                    <a:pt x="759" y="115"/>
                    <a:pt x="0" y="871"/>
                    <a:pt x="0" y="1807"/>
                  </a:cubicBezTo>
                  <a:cubicBezTo>
                    <a:pt x="0" y="2744"/>
                    <a:pt x="759" y="3503"/>
                    <a:pt x="1693" y="3503"/>
                  </a:cubicBezTo>
                  <a:lnTo>
                    <a:pt x="1696" y="3500"/>
                  </a:lnTo>
                  <a:lnTo>
                    <a:pt x="3993" y="3500"/>
                  </a:lnTo>
                  <a:cubicBezTo>
                    <a:pt x="4589" y="3500"/>
                    <a:pt x="5183" y="3391"/>
                    <a:pt x="5746" y="3186"/>
                  </a:cubicBezTo>
                  <a:cubicBezTo>
                    <a:pt x="5065" y="2253"/>
                    <a:pt x="4662" y="1151"/>
                    <a:pt x="4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1" name="Google Shape;5981;p70"/>
            <p:cNvSpPr/>
            <p:nvPr/>
          </p:nvSpPr>
          <p:spPr>
            <a:xfrm>
              <a:off x="2274775" y="842250"/>
              <a:ext cx="294375" cy="197650"/>
            </a:xfrm>
            <a:custGeom>
              <a:avLst/>
              <a:gdLst/>
              <a:ahLst/>
              <a:cxnLst/>
              <a:rect l="l" t="t" r="r" b="b"/>
              <a:pathLst>
                <a:path w="11775" h="7906" extrusionOk="0">
                  <a:moveTo>
                    <a:pt x="6622" y="0"/>
                  </a:moveTo>
                  <a:cubicBezTo>
                    <a:pt x="6329" y="0"/>
                    <a:pt x="6056" y="231"/>
                    <a:pt x="6056" y="566"/>
                  </a:cubicBezTo>
                  <a:lnTo>
                    <a:pt x="6056" y="2259"/>
                  </a:lnTo>
                  <a:lnTo>
                    <a:pt x="3196" y="2259"/>
                  </a:lnTo>
                  <a:cubicBezTo>
                    <a:pt x="2030" y="2265"/>
                    <a:pt x="904" y="2668"/>
                    <a:pt x="1" y="3406"/>
                  </a:cubicBezTo>
                  <a:cubicBezTo>
                    <a:pt x="940" y="4068"/>
                    <a:pt x="1675" y="4978"/>
                    <a:pt x="2130" y="6032"/>
                  </a:cubicBezTo>
                  <a:cubicBezTo>
                    <a:pt x="2431" y="5785"/>
                    <a:pt x="2804" y="5649"/>
                    <a:pt x="3196" y="5646"/>
                  </a:cubicBezTo>
                  <a:lnTo>
                    <a:pt x="6056" y="5646"/>
                  </a:lnTo>
                  <a:lnTo>
                    <a:pt x="6056" y="7342"/>
                  </a:lnTo>
                  <a:cubicBezTo>
                    <a:pt x="6056" y="7679"/>
                    <a:pt x="6334" y="7906"/>
                    <a:pt x="6625" y="7906"/>
                  </a:cubicBezTo>
                  <a:cubicBezTo>
                    <a:pt x="6740" y="7906"/>
                    <a:pt x="6857" y="7871"/>
                    <a:pt x="6960" y="7793"/>
                  </a:cubicBezTo>
                  <a:lnTo>
                    <a:pt x="11476" y="4406"/>
                  </a:lnTo>
                  <a:cubicBezTo>
                    <a:pt x="11775" y="4180"/>
                    <a:pt x="11775" y="3725"/>
                    <a:pt x="11476" y="3502"/>
                  </a:cubicBezTo>
                  <a:lnTo>
                    <a:pt x="6960" y="115"/>
                  </a:lnTo>
                  <a:cubicBezTo>
                    <a:pt x="6854" y="36"/>
                    <a:pt x="6737" y="0"/>
                    <a:pt x="6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2" name="Google Shape;5982;p70"/>
          <p:cNvGrpSpPr/>
          <p:nvPr/>
        </p:nvGrpSpPr>
        <p:grpSpPr>
          <a:xfrm>
            <a:off x="2089443" y="2711241"/>
            <a:ext cx="339306" cy="339253"/>
            <a:chOff x="2685825" y="840375"/>
            <a:chExt cx="481900" cy="481825"/>
          </a:xfrm>
        </p:grpSpPr>
        <p:sp>
          <p:nvSpPr>
            <p:cNvPr id="5983" name="Google Shape;5983;p70"/>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4" name="Google Shape;5984;p70"/>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5" name="Google Shape;5985;p70"/>
          <p:cNvGrpSpPr/>
          <p:nvPr/>
        </p:nvGrpSpPr>
        <p:grpSpPr>
          <a:xfrm>
            <a:off x="2501104" y="2710924"/>
            <a:ext cx="350431" cy="339887"/>
            <a:chOff x="3270675" y="841800"/>
            <a:chExt cx="497700" cy="482725"/>
          </a:xfrm>
        </p:grpSpPr>
        <p:sp>
          <p:nvSpPr>
            <p:cNvPr id="5986" name="Google Shape;5986;p70"/>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7" name="Google Shape;5987;p70"/>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8" name="Google Shape;5988;p70"/>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89" name="Google Shape;5989;p70"/>
          <p:cNvSpPr/>
          <p:nvPr/>
        </p:nvSpPr>
        <p:spPr>
          <a:xfrm>
            <a:off x="2919129" y="2721811"/>
            <a:ext cx="339253" cy="318060"/>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90" name="Google Shape;5990;p70"/>
          <p:cNvGrpSpPr/>
          <p:nvPr/>
        </p:nvGrpSpPr>
        <p:grpSpPr>
          <a:xfrm>
            <a:off x="3337249" y="2731783"/>
            <a:ext cx="339253" cy="298169"/>
            <a:chOff x="4467200" y="877100"/>
            <a:chExt cx="481825" cy="423475"/>
          </a:xfrm>
        </p:grpSpPr>
        <p:sp>
          <p:nvSpPr>
            <p:cNvPr id="5991" name="Google Shape;5991;p70"/>
            <p:cNvSpPr/>
            <p:nvPr/>
          </p:nvSpPr>
          <p:spPr>
            <a:xfrm>
              <a:off x="4467200" y="1018225"/>
              <a:ext cx="481825" cy="282350"/>
            </a:xfrm>
            <a:custGeom>
              <a:avLst/>
              <a:gdLst/>
              <a:ahLst/>
              <a:cxnLst/>
              <a:rect l="l" t="t" r="r" b="b"/>
              <a:pathLst>
                <a:path w="19273" h="11294" extrusionOk="0">
                  <a:moveTo>
                    <a:pt x="10723" y="2257"/>
                  </a:moveTo>
                  <a:cubicBezTo>
                    <a:pt x="11013" y="2257"/>
                    <a:pt x="11292" y="2483"/>
                    <a:pt x="11292" y="2823"/>
                  </a:cubicBezTo>
                  <a:cubicBezTo>
                    <a:pt x="11292" y="3136"/>
                    <a:pt x="11039" y="3389"/>
                    <a:pt x="10729" y="3389"/>
                  </a:cubicBezTo>
                  <a:cubicBezTo>
                    <a:pt x="10223" y="3389"/>
                    <a:pt x="9973" y="2781"/>
                    <a:pt x="10329" y="2423"/>
                  </a:cubicBezTo>
                  <a:cubicBezTo>
                    <a:pt x="10443" y="2308"/>
                    <a:pt x="10585" y="2257"/>
                    <a:pt x="10723" y="2257"/>
                  </a:cubicBezTo>
                  <a:close/>
                  <a:moveTo>
                    <a:pt x="14755" y="3389"/>
                  </a:moveTo>
                  <a:lnTo>
                    <a:pt x="14755" y="7906"/>
                  </a:lnTo>
                  <a:lnTo>
                    <a:pt x="13551" y="7906"/>
                  </a:lnTo>
                  <a:lnTo>
                    <a:pt x="13551" y="3389"/>
                  </a:lnTo>
                  <a:close/>
                  <a:moveTo>
                    <a:pt x="5083" y="2822"/>
                  </a:moveTo>
                  <a:cubicBezTo>
                    <a:pt x="5189" y="2822"/>
                    <a:pt x="5297" y="2853"/>
                    <a:pt x="5396" y="2920"/>
                  </a:cubicBezTo>
                  <a:lnTo>
                    <a:pt x="8784" y="5178"/>
                  </a:lnTo>
                  <a:cubicBezTo>
                    <a:pt x="9118" y="5401"/>
                    <a:pt x="9118" y="5892"/>
                    <a:pt x="8784" y="6117"/>
                  </a:cubicBezTo>
                  <a:lnTo>
                    <a:pt x="5396" y="8376"/>
                  </a:lnTo>
                  <a:cubicBezTo>
                    <a:pt x="5297" y="8442"/>
                    <a:pt x="5189" y="8472"/>
                    <a:pt x="5084" y="8472"/>
                  </a:cubicBezTo>
                  <a:cubicBezTo>
                    <a:pt x="4790" y="8472"/>
                    <a:pt x="4517" y="8239"/>
                    <a:pt x="4517" y="7906"/>
                  </a:cubicBezTo>
                  <a:lnTo>
                    <a:pt x="4517" y="3389"/>
                  </a:lnTo>
                  <a:cubicBezTo>
                    <a:pt x="4517" y="3057"/>
                    <a:pt x="4789" y="2822"/>
                    <a:pt x="5083" y="2822"/>
                  </a:cubicBezTo>
                  <a:close/>
                  <a:moveTo>
                    <a:pt x="18711" y="1"/>
                  </a:moveTo>
                  <a:cubicBezTo>
                    <a:pt x="18601" y="1"/>
                    <a:pt x="18491" y="33"/>
                    <a:pt x="18396" y="95"/>
                  </a:cubicBezTo>
                  <a:lnTo>
                    <a:pt x="15150" y="2260"/>
                  </a:lnTo>
                  <a:lnTo>
                    <a:pt x="13551" y="2260"/>
                  </a:lnTo>
                  <a:lnTo>
                    <a:pt x="13551" y="1694"/>
                  </a:lnTo>
                  <a:cubicBezTo>
                    <a:pt x="13548" y="926"/>
                    <a:pt x="13027" y="255"/>
                    <a:pt x="12283" y="62"/>
                  </a:cubicBezTo>
                  <a:cubicBezTo>
                    <a:pt x="11527" y="774"/>
                    <a:pt x="10560" y="1128"/>
                    <a:pt x="9594" y="1128"/>
                  </a:cubicBezTo>
                  <a:cubicBezTo>
                    <a:pt x="8599" y="1128"/>
                    <a:pt x="7604" y="752"/>
                    <a:pt x="6842" y="2"/>
                  </a:cubicBezTo>
                  <a:lnTo>
                    <a:pt x="6712" y="2"/>
                  </a:lnTo>
                  <a:cubicBezTo>
                    <a:pt x="5950" y="753"/>
                    <a:pt x="4955" y="1131"/>
                    <a:pt x="3959" y="1131"/>
                  </a:cubicBezTo>
                  <a:cubicBezTo>
                    <a:pt x="2993" y="1131"/>
                    <a:pt x="2026" y="775"/>
                    <a:pt x="1271" y="62"/>
                  </a:cubicBezTo>
                  <a:cubicBezTo>
                    <a:pt x="524" y="255"/>
                    <a:pt x="3" y="923"/>
                    <a:pt x="0" y="1694"/>
                  </a:cubicBezTo>
                  <a:lnTo>
                    <a:pt x="0" y="9598"/>
                  </a:lnTo>
                  <a:cubicBezTo>
                    <a:pt x="0" y="10535"/>
                    <a:pt x="759" y="11291"/>
                    <a:pt x="1696" y="11294"/>
                  </a:cubicBezTo>
                  <a:lnTo>
                    <a:pt x="11859" y="11294"/>
                  </a:lnTo>
                  <a:cubicBezTo>
                    <a:pt x="12792" y="11294"/>
                    <a:pt x="13551" y="10535"/>
                    <a:pt x="13551" y="9598"/>
                  </a:cubicBezTo>
                  <a:lnTo>
                    <a:pt x="13551" y="9035"/>
                  </a:lnTo>
                  <a:lnTo>
                    <a:pt x="15150" y="9035"/>
                  </a:lnTo>
                  <a:lnTo>
                    <a:pt x="18396" y="11197"/>
                  </a:lnTo>
                  <a:cubicBezTo>
                    <a:pt x="18494" y="11263"/>
                    <a:pt x="18602" y="11293"/>
                    <a:pt x="18707" y="11293"/>
                  </a:cubicBezTo>
                  <a:cubicBezTo>
                    <a:pt x="19000" y="11293"/>
                    <a:pt x="19272" y="11060"/>
                    <a:pt x="19272" y="10728"/>
                  </a:cubicBezTo>
                  <a:lnTo>
                    <a:pt x="19272" y="565"/>
                  </a:lnTo>
                  <a:cubicBezTo>
                    <a:pt x="19272" y="357"/>
                    <a:pt x="19158" y="164"/>
                    <a:pt x="18977" y="68"/>
                  </a:cubicBezTo>
                  <a:cubicBezTo>
                    <a:pt x="18894" y="23"/>
                    <a:pt x="18802" y="1"/>
                    <a:pt x="18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2" name="Google Shape;5992;p70"/>
            <p:cNvSpPr/>
            <p:nvPr/>
          </p:nvSpPr>
          <p:spPr>
            <a:xfrm>
              <a:off x="4608425" y="1129300"/>
              <a:ext cx="45125" cy="60175"/>
            </a:xfrm>
            <a:custGeom>
              <a:avLst/>
              <a:gdLst/>
              <a:ahLst/>
              <a:cxnLst/>
              <a:rect l="l" t="t" r="r" b="b"/>
              <a:pathLst>
                <a:path w="1805" h="2407" extrusionOk="0">
                  <a:moveTo>
                    <a:pt x="0" y="0"/>
                  </a:moveTo>
                  <a:lnTo>
                    <a:pt x="0" y="2406"/>
                  </a:lnTo>
                  <a:lnTo>
                    <a:pt x="1804" y="12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3" name="Google Shape;5993;p70"/>
            <p:cNvSpPr/>
            <p:nvPr/>
          </p:nvSpPr>
          <p:spPr>
            <a:xfrm>
              <a:off x="4495500" y="877100"/>
              <a:ext cx="141175" cy="141175"/>
            </a:xfrm>
            <a:custGeom>
              <a:avLst/>
              <a:gdLst/>
              <a:ahLst/>
              <a:cxnLst/>
              <a:rect l="l" t="t" r="r" b="b"/>
              <a:pathLst>
                <a:path w="5647" h="5647" extrusionOk="0">
                  <a:moveTo>
                    <a:pt x="2822" y="1"/>
                  </a:moveTo>
                  <a:cubicBezTo>
                    <a:pt x="1262" y="1"/>
                    <a:pt x="0" y="1262"/>
                    <a:pt x="0" y="2822"/>
                  </a:cubicBezTo>
                  <a:cubicBezTo>
                    <a:pt x="0"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4" name="Google Shape;5994;p70"/>
            <p:cNvSpPr/>
            <p:nvPr/>
          </p:nvSpPr>
          <p:spPr>
            <a:xfrm>
              <a:off x="4636650" y="877100"/>
              <a:ext cx="141175" cy="141175"/>
            </a:xfrm>
            <a:custGeom>
              <a:avLst/>
              <a:gdLst/>
              <a:ahLst/>
              <a:cxnLst/>
              <a:rect l="l" t="t" r="r" b="b"/>
              <a:pathLst>
                <a:path w="5647" h="5647" extrusionOk="0">
                  <a:moveTo>
                    <a:pt x="2822" y="1"/>
                  </a:moveTo>
                  <a:cubicBezTo>
                    <a:pt x="1262" y="1"/>
                    <a:pt x="1" y="1262"/>
                    <a:pt x="1" y="2822"/>
                  </a:cubicBezTo>
                  <a:cubicBezTo>
                    <a:pt x="1"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5" name="Google Shape;5995;p70"/>
          <p:cNvGrpSpPr/>
          <p:nvPr/>
        </p:nvGrpSpPr>
        <p:grpSpPr>
          <a:xfrm>
            <a:off x="3752140" y="2711232"/>
            <a:ext cx="354778" cy="339271"/>
            <a:chOff x="5045500" y="842250"/>
            <a:chExt cx="503875" cy="481850"/>
          </a:xfrm>
        </p:grpSpPr>
        <p:sp>
          <p:nvSpPr>
            <p:cNvPr id="5996" name="Google Shape;5996;p70"/>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7" name="Google Shape;5997;p70"/>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8" name="Google Shape;5998;p70"/>
          <p:cNvGrpSpPr/>
          <p:nvPr/>
        </p:nvGrpSpPr>
        <p:grpSpPr>
          <a:xfrm>
            <a:off x="4174987" y="2737451"/>
            <a:ext cx="336965" cy="286833"/>
            <a:chOff x="5645200" y="879425"/>
            <a:chExt cx="478575" cy="407375"/>
          </a:xfrm>
        </p:grpSpPr>
        <p:sp>
          <p:nvSpPr>
            <p:cNvPr id="5999" name="Google Shape;5999;p70"/>
            <p:cNvSpPr/>
            <p:nvPr/>
          </p:nvSpPr>
          <p:spPr>
            <a:xfrm>
              <a:off x="6004200" y="1075025"/>
              <a:ext cx="86075" cy="93450"/>
            </a:xfrm>
            <a:custGeom>
              <a:avLst/>
              <a:gdLst/>
              <a:ahLst/>
              <a:cxnLst/>
              <a:rect l="l" t="t" r="r" b="b"/>
              <a:pathLst>
                <a:path w="3443" h="3738" extrusionOk="0">
                  <a:moveTo>
                    <a:pt x="1" y="0"/>
                  </a:moveTo>
                  <a:lnTo>
                    <a:pt x="1" y="3737"/>
                  </a:lnTo>
                  <a:lnTo>
                    <a:pt x="1907" y="3737"/>
                  </a:lnTo>
                  <a:cubicBezTo>
                    <a:pt x="2157" y="3737"/>
                    <a:pt x="2377" y="3574"/>
                    <a:pt x="2449" y="3334"/>
                  </a:cubicBezTo>
                  <a:lnTo>
                    <a:pt x="34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0" name="Google Shape;6000;p70"/>
            <p:cNvSpPr/>
            <p:nvPr/>
          </p:nvSpPr>
          <p:spPr>
            <a:xfrm>
              <a:off x="5880900" y="953275"/>
              <a:ext cx="95100" cy="93525"/>
            </a:xfrm>
            <a:custGeom>
              <a:avLst/>
              <a:gdLst/>
              <a:ahLst/>
              <a:cxnLst/>
              <a:rect l="l" t="t" r="r" b="b"/>
              <a:pathLst>
                <a:path w="3804" h="3741" extrusionOk="0">
                  <a:moveTo>
                    <a:pt x="0" y="1"/>
                  </a:moveTo>
                  <a:lnTo>
                    <a:pt x="0" y="3741"/>
                  </a:lnTo>
                  <a:lnTo>
                    <a:pt x="3804" y="3741"/>
                  </a:lnTo>
                  <a:lnTo>
                    <a:pt x="3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1" name="Google Shape;6001;p70"/>
            <p:cNvSpPr/>
            <p:nvPr/>
          </p:nvSpPr>
          <p:spPr>
            <a:xfrm>
              <a:off x="6004200" y="953275"/>
              <a:ext cx="119575" cy="93525"/>
            </a:xfrm>
            <a:custGeom>
              <a:avLst/>
              <a:gdLst/>
              <a:ahLst/>
              <a:cxnLst/>
              <a:rect l="l" t="t" r="r" b="b"/>
              <a:pathLst>
                <a:path w="4783" h="3741" extrusionOk="0">
                  <a:moveTo>
                    <a:pt x="1" y="1"/>
                  </a:moveTo>
                  <a:lnTo>
                    <a:pt x="1" y="3741"/>
                  </a:lnTo>
                  <a:lnTo>
                    <a:pt x="3777" y="3741"/>
                  </a:lnTo>
                  <a:lnTo>
                    <a:pt x="4674" y="727"/>
                  </a:lnTo>
                  <a:cubicBezTo>
                    <a:pt x="4783" y="365"/>
                    <a:pt x="4512" y="1"/>
                    <a:pt x="4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2" name="Google Shape;6002;p70"/>
            <p:cNvSpPr/>
            <p:nvPr/>
          </p:nvSpPr>
          <p:spPr>
            <a:xfrm>
              <a:off x="5880900" y="1075025"/>
              <a:ext cx="95100" cy="93450"/>
            </a:xfrm>
            <a:custGeom>
              <a:avLst/>
              <a:gdLst/>
              <a:ahLst/>
              <a:cxnLst/>
              <a:rect l="l" t="t" r="r" b="b"/>
              <a:pathLst>
                <a:path w="3804" h="3738" extrusionOk="0">
                  <a:moveTo>
                    <a:pt x="0" y="0"/>
                  </a:moveTo>
                  <a:lnTo>
                    <a:pt x="0" y="3737"/>
                  </a:lnTo>
                  <a:lnTo>
                    <a:pt x="3804" y="3737"/>
                  </a:lnTo>
                  <a:lnTo>
                    <a:pt x="3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3" name="Google Shape;6003;p70"/>
            <p:cNvSpPr/>
            <p:nvPr/>
          </p:nvSpPr>
          <p:spPr>
            <a:xfrm>
              <a:off x="5645200" y="879425"/>
              <a:ext cx="207500" cy="167375"/>
            </a:xfrm>
            <a:custGeom>
              <a:avLst/>
              <a:gdLst/>
              <a:ahLst/>
              <a:cxnLst/>
              <a:rect l="l" t="t" r="r" b="b"/>
              <a:pathLst>
                <a:path w="8300" h="6695" extrusionOk="0">
                  <a:moveTo>
                    <a:pt x="563" y="1"/>
                  </a:moveTo>
                  <a:cubicBezTo>
                    <a:pt x="253" y="1"/>
                    <a:pt x="0" y="254"/>
                    <a:pt x="0" y="564"/>
                  </a:cubicBezTo>
                  <a:cubicBezTo>
                    <a:pt x="0" y="877"/>
                    <a:pt x="253" y="1130"/>
                    <a:pt x="563" y="1130"/>
                  </a:cubicBezTo>
                  <a:lnTo>
                    <a:pt x="2403" y="1130"/>
                  </a:lnTo>
                  <a:lnTo>
                    <a:pt x="3159" y="3672"/>
                  </a:lnTo>
                  <a:cubicBezTo>
                    <a:pt x="3162" y="3678"/>
                    <a:pt x="3162" y="3687"/>
                    <a:pt x="3165" y="3696"/>
                  </a:cubicBezTo>
                  <a:lnTo>
                    <a:pt x="4059" y="6695"/>
                  </a:lnTo>
                  <a:lnTo>
                    <a:pt x="8299" y="6695"/>
                  </a:lnTo>
                  <a:lnTo>
                    <a:pt x="8299" y="2955"/>
                  </a:lnTo>
                  <a:lnTo>
                    <a:pt x="4123" y="2955"/>
                  </a:lnTo>
                  <a:lnTo>
                    <a:pt x="3364" y="404"/>
                  </a:lnTo>
                  <a:cubicBezTo>
                    <a:pt x="3295" y="163"/>
                    <a:pt x="307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4" name="Google Shape;6004;p70"/>
            <p:cNvSpPr/>
            <p:nvPr/>
          </p:nvSpPr>
          <p:spPr>
            <a:xfrm>
              <a:off x="5722500" y="1075025"/>
              <a:ext cx="370875" cy="211775"/>
            </a:xfrm>
            <a:custGeom>
              <a:avLst/>
              <a:gdLst/>
              <a:ahLst/>
              <a:cxnLst/>
              <a:rect l="l" t="t" r="r" b="b"/>
              <a:pathLst>
                <a:path w="14835" h="8471" extrusionOk="0">
                  <a:moveTo>
                    <a:pt x="1305" y="0"/>
                  </a:moveTo>
                  <a:lnTo>
                    <a:pt x="2082" y="2614"/>
                  </a:lnTo>
                  <a:cubicBezTo>
                    <a:pt x="901" y="2701"/>
                    <a:pt x="1" y="3704"/>
                    <a:pt x="40" y="4887"/>
                  </a:cubicBezTo>
                  <a:cubicBezTo>
                    <a:pt x="82" y="6071"/>
                    <a:pt x="1049" y="7010"/>
                    <a:pt x="2232" y="7019"/>
                  </a:cubicBezTo>
                  <a:lnTo>
                    <a:pt x="2795" y="7019"/>
                  </a:lnTo>
                  <a:cubicBezTo>
                    <a:pt x="3045" y="7878"/>
                    <a:pt x="3834" y="8471"/>
                    <a:pt x="4731" y="8471"/>
                  </a:cubicBezTo>
                  <a:cubicBezTo>
                    <a:pt x="5629" y="8471"/>
                    <a:pt x="6418" y="7878"/>
                    <a:pt x="6671" y="7019"/>
                  </a:cubicBezTo>
                  <a:lnTo>
                    <a:pt x="9667" y="7019"/>
                  </a:lnTo>
                  <a:cubicBezTo>
                    <a:pt x="9917" y="7878"/>
                    <a:pt x="10709" y="8471"/>
                    <a:pt x="11606" y="8471"/>
                  </a:cubicBezTo>
                  <a:cubicBezTo>
                    <a:pt x="12500" y="8471"/>
                    <a:pt x="13292" y="7878"/>
                    <a:pt x="13542" y="7019"/>
                  </a:cubicBezTo>
                  <a:lnTo>
                    <a:pt x="14271" y="7019"/>
                  </a:lnTo>
                  <a:cubicBezTo>
                    <a:pt x="14581" y="7019"/>
                    <a:pt x="14834" y="6766"/>
                    <a:pt x="14834" y="6453"/>
                  </a:cubicBezTo>
                  <a:cubicBezTo>
                    <a:pt x="14834" y="6140"/>
                    <a:pt x="14581" y="5890"/>
                    <a:pt x="14271" y="5890"/>
                  </a:cubicBezTo>
                  <a:lnTo>
                    <a:pt x="13542" y="5890"/>
                  </a:lnTo>
                  <a:cubicBezTo>
                    <a:pt x="13292" y="5029"/>
                    <a:pt x="12500" y="4436"/>
                    <a:pt x="11606" y="4436"/>
                  </a:cubicBezTo>
                  <a:cubicBezTo>
                    <a:pt x="10709" y="4436"/>
                    <a:pt x="9917" y="5029"/>
                    <a:pt x="9667" y="5890"/>
                  </a:cubicBezTo>
                  <a:lnTo>
                    <a:pt x="6671" y="5890"/>
                  </a:lnTo>
                  <a:cubicBezTo>
                    <a:pt x="6418" y="5029"/>
                    <a:pt x="5629" y="4436"/>
                    <a:pt x="4731" y="4436"/>
                  </a:cubicBezTo>
                  <a:cubicBezTo>
                    <a:pt x="3834" y="4436"/>
                    <a:pt x="3045" y="5029"/>
                    <a:pt x="2792" y="5890"/>
                  </a:cubicBezTo>
                  <a:lnTo>
                    <a:pt x="2232" y="5890"/>
                  </a:lnTo>
                  <a:cubicBezTo>
                    <a:pt x="1639" y="5890"/>
                    <a:pt x="1157" y="5408"/>
                    <a:pt x="1157" y="4815"/>
                  </a:cubicBezTo>
                  <a:cubicBezTo>
                    <a:pt x="1157" y="4219"/>
                    <a:pt x="1639" y="3737"/>
                    <a:pt x="2232" y="3737"/>
                  </a:cubicBezTo>
                  <a:lnTo>
                    <a:pt x="5207" y="3737"/>
                  </a:lnTo>
                  <a:lnTo>
                    <a:pt x="5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05" name="Google Shape;6005;p70"/>
          <p:cNvGrpSpPr/>
          <p:nvPr/>
        </p:nvGrpSpPr>
        <p:grpSpPr>
          <a:xfrm>
            <a:off x="4611062" y="2711241"/>
            <a:ext cx="298186" cy="339253"/>
            <a:chOff x="6264525" y="842250"/>
            <a:chExt cx="423500" cy="481825"/>
          </a:xfrm>
        </p:grpSpPr>
        <p:sp>
          <p:nvSpPr>
            <p:cNvPr id="6006" name="Google Shape;6006;p70"/>
            <p:cNvSpPr/>
            <p:nvPr/>
          </p:nvSpPr>
          <p:spPr>
            <a:xfrm>
              <a:off x="6264525" y="1033450"/>
              <a:ext cx="135300" cy="266450"/>
            </a:xfrm>
            <a:custGeom>
              <a:avLst/>
              <a:gdLst/>
              <a:ahLst/>
              <a:cxnLst/>
              <a:rect l="l" t="t" r="r" b="b"/>
              <a:pathLst>
                <a:path w="5412" h="10658" extrusionOk="0">
                  <a:moveTo>
                    <a:pt x="1" y="1"/>
                  </a:moveTo>
                  <a:lnTo>
                    <a:pt x="1" y="9932"/>
                  </a:lnTo>
                  <a:cubicBezTo>
                    <a:pt x="1" y="10182"/>
                    <a:pt x="61" y="10429"/>
                    <a:pt x="169" y="10658"/>
                  </a:cubicBezTo>
                  <a:lnTo>
                    <a:pt x="5412" y="541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7" name="Google Shape;6007;p70"/>
            <p:cNvSpPr/>
            <p:nvPr/>
          </p:nvSpPr>
          <p:spPr>
            <a:xfrm>
              <a:off x="6552700" y="1033450"/>
              <a:ext cx="135325" cy="266450"/>
            </a:xfrm>
            <a:custGeom>
              <a:avLst/>
              <a:gdLst/>
              <a:ahLst/>
              <a:cxnLst/>
              <a:rect l="l" t="t" r="r" b="b"/>
              <a:pathLst>
                <a:path w="5413" h="10658" extrusionOk="0">
                  <a:moveTo>
                    <a:pt x="5412" y="1"/>
                  </a:moveTo>
                  <a:lnTo>
                    <a:pt x="1" y="5415"/>
                  </a:lnTo>
                  <a:lnTo>
                    <a:pt x="5243" y="10658"/>
                  </a:lnTo>
                  <a:cubicBezTo>
                    <a:pt x="5352" y="10429"/>
                    <a:pt x="5412" y="10182"/>
                    <a:pt x="5412" y="9932"/>
                  </a:cubicBezTo>
                  <a:lnTo>
                    <a:pt x="5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8" name="Google Shape;6008;p70"/>
            <p:cNvSpPr/>
            <p:nvPr/>
          </p:nvSpPr>
          <p:spPr>
            <a:xfrm>
              <a:off x="6462150" y="985275"/>
              <a:ext cx="28025" cy="28250"/>
            </a:xfrm>
            <a:custGeom>
              <a:avLst/>
              <a:gdLst/>
              <a:ahLst/>
              <a:cxnLst/>
              <a:rect l="l" t="t" r="r" b="b"/>
              <a:pathLst>
                <a:path w="1121" h="1130" extrusionOk="0">
                  <a:moveTo>
                    <a:pt x="566" y="1"/>
                  </a:moveTo>
                  <a:cubicBezTo>
                    <a:pt x="253" y="1"/>
                    <a:pt x="0" y="254"/>
                    <a:pt x="0" y="567"/>
                  </a:cubicBezTo>
                  <a:cubicBezTo>
                    <a:pt x="0" y="877"/>
                    <a:pt x="253" y="1130"/>
                    <a:pt x="566" y="1130"/>
                  </a:cubicBezTo>
                  <a:cubicBezTo>
                    <a:pt x="955" y="1130"/>
                    <a:pt x="1060" y="862"/>
                    <a:pt x="1120" y="528"/>
                  </a:cubicBezTo>
                  <a:cubicBezTo>
                    <a:pt x="1102" y="233"/>
                    <a:pt x="862" y="4"/>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9" name="Google Shape;6009;p70"/>
            <p:cNvSpPr/>
            <p:nvPr/>
          </p:nvSpPr>
          <p:spPr>
            <a:xfrm>
              <a:off x="6288775" y="1182900"/>
              <a:ext cx="375075" cy="141175"/>
            </a:xfrm>
            <a:custGeom>
              <a:avLst/>
              <a:gdLst/>
              <a:ahLst/>
              <a:cxnLst/>
              <a:rect l="l" t="t" r="r" b="b"/>
              <a:pathLst>
                <a:path w="15003" h="5647" extrusionOk="0">
                  <a:moveTo>
                    <a:pt x="5475" y="0"/>
                  </a:moveTo>
                  <a:lnTo>
                    <a:pt x="0" y="5478"/>
                  </a:lnTo>
                  <a:cubicBezTo>
                    <a:pt x="226" y="5586"/>
                    <a:pt x="473" y="5646"/>
                    <a:pt x="726" y="5646"/>
                  </a:cubicBezTo>
                  <a:lnTo>
                    <a:pt x="14277" y="5646"/>
                  </a:lnTo>
                  <a:cubicBezTo>
                    <a:pt x="14527" y="5646"/>
                    <a:pt x="14774" y="5586"/>
                    <a:pt x="15002" y="5478"/>
                  </a:cubicBezTo>
                  <a:lnTo>
                    <a:pt x="95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0" name="Google Shape;6010;p70"/>
            <p:cNvSpPr/>
            <p:nvPr/>
          </p:nvSpPr>
          <p:spPr>
            <a:xfrm>
              <a:off x="6278675" y="965325"/>
              <a:ext cx="42350" cy="84725"/>
            </a:xfrm>
            <a:custGeom>
              <a:avLst/>
              <a:gdLst/>
              <a:ahLst/>
              <a:cxnLst/>
              <a:rect l="l" t="t" r="r" b="b"/>
              <a:pathLst>
                <a:path w="1694" h="3389" extrusionOk="0">
                  <a:moveTo>
                    <a:pt x="1693" y="1"/>
                  </a:moveTo>
                  <a:lnTo>
                    <a:pt x="1" y="1693"/>
                  </a:lnTo>
                  <a:lnTo>
                    <a:pt x="1693" y="3388"/>
                  </a:lnTo>
                  <a:lnTo>
                    <a:pt x="1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1" name="Google Shape;6011;p70"/>
            <p:cNvSpPr/>
            <p:nvPr/>
          </p:nvSpPr>
          <p:spPr>
            <a:xfrm>
              <a:off x="6631525" y="965325"/>
              <a:ext cx="42400" cy="84725"/>
            </a:xfrm>
            <a:custGeom>
              <a:avLst/>
              <a:gdLst/>
              <a:ahLst/>
              <a:cxnLst/>
              <a:rect l="l" t="t" r="r" b="b"/>
              <a:pathLst>
                <a:path w="1696" h="3389" extrusionOk="0">
                  <a:moveTo>
                    <a:pt x="1" y="1"/>
                  </a:moveTo>
                  <a:lnTo>
                    <a:pt x="1" y="3388"/>
                  </a:lnTo>
                  <a:lnTo>
                    <a:pt x="1696" y="169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2" name="Google Shape;6012;p70"/>
            <p:cNvSpPr/>
            <p:nvPr/>
          </p:nvSpPr>
          <p:spPr>
            <a:xfrm>
              <a:off x="6349225" y="842250"/>
              <a:ext cx="254100" cy="312425"/>
            </a:xfrm>
            <a:custGeom>
              <a:avLst/>
              <a:gdLst/>
              <a:ahLst/>
              <a:cxnLst/>
              <a:rect l="l" t="t" r="r" b="b"/>
              <a:pathLst>
                <a:path w="10164" h="12497" extrusionOk="0">
                  <a:moveTo>
                    <a:pt x="5081" y="2333"/>
                  </a:moveTo>
                  <a:cubicBezTo>
                    <a:pt x="5779" y="2333"/>
                    <a:pt x="6477" y="2518"/>
                    <a:pt x="7098" y="2885"/>
                  </a:cubicBezTo>
                  <a:cubicBezTo>
                    <a:pt x="8299" y="3596"/>
                    <a:pt x="9034" y="4891"/>
                    <a:pt x="9034" y="6288"/>
                  </a:cubicBezTo>
                  <a:cubicBezTo>
                    <a:pt x="9034" y="7293"/>
                    <a:pt x="8207" y="7981"/>
                    <a:pt x="7335" y="7981"/>
                  </a:cubicBezTo>
                  <a:cubicBezTo>
                    <a:pt x="6947" y="7981"/>
                    <a:pt x="6550" y="7845"/>
                    <a:pt x="6213" y="7540"/>
                  </a:cubicBezTo>
                  <a:cubicBezTo>
                    <a:pt x="5894" y="7824"/>
                    <a:pt x="5492" y="7968"/>
                    <a:pt x="5089" y="7968"/>
                  </a:cubicBezTo>
                  <a:cubicBezTo>
                    <a:pt x="4739" y="7968"/>
                    <a:pt x="4388" y="7860"/>
                    <a:pt x="4090" y="7640"/>
                  </a:cubicBezTo>
                  <a:cubicBezTo>
                    <a:pt x="3448" y="7170"/>
                    <a:pt x="3222" y="6315"/>
                    <a:pt x="3551" y="5589"/>
                  </a:cubicBezTo>
                  <a:cubicBezTo>
                    <a:pt x="3826" y="4973"/>
                    <a:pt x="4435" y="4593"/>
                    <a:pt x="5087" y="4593"/>
                  </a:cubicBezTo>
                  <a:cubicBezTo>
                    <a:pt x="5205" y="4593"/>
                    <a:pt x="5325" y="4606"/>
                    <a:pt x="5445" y="4632"/>
                  </a:cubicBezTo>
                  <a:cubicBezTo>
                    <a:pt x="6225" y="4800"/>
                    <a:pt x="6779" y="5490"/>
                    <a:pt x="6776" y="6288"/>
                  </a:cubicBezTo>
                  <a:cubicBezTo>
                    <a:pt x="6776" y="6660"/>
                    <a:pt x="7058" y="6846"/>
                    <a:pt x="7340" y="6846"/>
                  </a:cubicBezTo>
                  <a:cubicBezTo>
                    <a:pt x="7623" y="6846"/>
                    <a:pt x="7905" y="6660"/>
                    <a:pt x="7905" y="6288"/>
                  </a:cubicBezTo>
                  <a:cubicBezTo>
                    <a:pt x="7905" y="5288"/>
                    <a:pt x="7378" y="4367"/>
                    <a:pt x="6520" y="3858"/>
                  </a:cubicBezTo>
                  <a:cubicBezTo>
                    <a:pt x="6076" y="3595"/>
                    <a:pt x="5578" y="3463"/>
                    <a:pt x="5080" y="3463"/>
                  </a:cubicBezTo>
                  <a:cubicBezTo>
                    <a:pt x="4614" y="3463"/>
                    <a:pt x="4147" y="3578"/>
                    <a:pt x="3725" y="3810"/>
                  </a:cubicBezTo>
                  <a:cubicBezTo>
                    <a:pt x="2849" y="4288"/>
                    <a:pt x="2295" y="5195"/>
                    <a:pt x="2262" y="6191"/>
                  </a:cubicBezTo>
                  <a:cubicBezTo>
                    <a:pt x="2226" y="7188"/>
                    <a:pt x="2723" y="8128"/>
                    <a:pt x="3563" y="8667"/>
                  </a:cubicBezTo>
                  <a:cubicBezTo>
                    <a:pt x="4023" y="8960"/>
                    <a:pt x="4541" y="9107"/>
                    <a:pt x="5077" y="9107"/>
                  </a:cubicBezTo>
                  <a:cubicBezTo>
                    <a:pt x="5519" y="9107"/>
                    <a:pt x="5973" y="9007"/>
                    <a:pt x="6414" y="8805"/>
                  </a:cubicBezTo>
                  <a:cubicBezTo>
                    <a:pt x="6502" y="8765"/>
                    <a:pt x="6585" y="8746"/>
                    <a:pt x="6664" y="8746"/>
                  </a:cubicBezTo>
                  <a:cubicBezTo>
                    <a:pt x="7191" y="8746"/>
                    <a:pt x="7476" y="9559"/>
                    <a:pt x="6884" y="9832"/>
                  </a:cubicBezTo>
                  <a:cubicBezTo>
                    <a:pt x="6300" y="10100"/>
                    <a:pt x="5685" y="10239"/>
                    <a:pt x="5077" y="10239"/>
                  </a:cubicBezTo>
                  <a:cubicBezTo>
                    <a:pt x="4340" y="10239"/>
                    <a:pt x="3611" y="10036"/>
                    <a:pt x="2954" y="9615"/>
                  </a:cubicBezTo>
                  <a:cubicBezTo>
                    <a:pt x="1777" y="8865"/>
                    <a:pt x="1084" y="7546"/>
                    <a:pt x="1133" y="6152"/>
                  </a:cubicBezTo>
                  <a:cubicBezTo>
                    <a:pt x="1178" y="4755"/>
                    <a:pt x="1958" y="3490"/>
                    <a:pt x="3183" y="2819"/>
                  </a:cubicBezTo>
                  <a:cubicBezTo>
                    <a:pt x="3775" y="2494"/>
                    <a:pt x="4429" y="2333"/>
                    <a:pt x="5081" y="2333"/>
                  </a:cubicBezTo>
                  <a:close/>
                  <a:moveTo>
                    <a:pt x="618" y="0"/>
                  </a:moveTo>
                  <a:cubicBezTo>
                    <a:pt x="277" y="0"/>
                    <a:pt x="0" y="277"/>
                    <a:pt x="0" y="618"/>
                  </a:cubicBezTo>
                  <a:lnTo>
                    <a:pt x="0" y="9441"/>
                  </a:lnTo>
                  <a:lnTo>
                    <a:pt x="3057" y="12497"/>
                  </a:lnTo>
                  <a:lnTo>
                    <a:pt x="7107" y="12497"/>
                  </a:lnTo>
                  <a:lnTo>
                    <a:pt x="10163" y="9441"/>
                  </a:lnTo>
                  <a:lnTo>
                    <a:pt x="10163" y="723"/>
                  </a:lnTo>
                  <a:cubicBezTo>
                    <a:pt x="10163" y="326"/>
                    <a:pt x="9838" y="0"/>
                    <a:pt x="9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3" name="Google Shape;6013;p70"/>
          <p:cNvGrpSpPr/>
          <p:nvPr/>
        </p:nvGrpSpPr>
        <p:grpSpPr>
          <a:xfrm>
            <a:off x="829350" y="3125895"/>
            <a:ext cx="339253" cy="339253"/>
            <a:chOff x="900750" y="1436075"/>
            <a:chExt cx="481825" cy="481825"/>
          </a:xfrm>
        </p:grpSpPr>
        <p:sp>
          <p:nvSpPr>
            <p:cNvPr id="6014" name="Google Shape;6014;p70"/>
            <p:cNvSpPr/>
            <p:nvPr/>
          </p:nvSpPr>
          <p:spPr>
            <a:xfrm>
              <a:off x="900750" y="1627500"/>
              <a:ext cx="481825" cy="290400"/>
            </a:xfrm>
            <a:custGeom>
              <a:avLst/>
              <a:gdLst/>
              <a:ahLst/>
              <a:cxnLst/>
              <a:rect l="l" t="t" r="r" b="b"/>
              <a:pathLst>
                <a:path w="19273" h="11616" extrusionOk="0">
                  <a:moveTo>
                    <a:pt x="0" y="1"/>
                  </a:moveTo>
                  <a:lnTo>
                    <a:pt x="0" y="9920"/>
                  </a:lnTo>
                  <a:cubicBezTo>
                    <a:pt x="0" y="10856"/>
                    <a:pt x="759" y="11612"/>
                    <a:pt x="1696" y="11615"/>
                  </a:cubicBezTo>
                  <a:lnTo>
                    <a:pt x="17580" y="11615"/>
                  </a:lnTo>
                  <a:cubicBezTo>
                    <a:pt x="18513" y="11612"/>
                    <a:pt x="19272" y="10856"/>
                    <a:pt x="19272" y="9920"/>
                  </a:cubicBezTo>
                  <a:lnTo>
                    <a:pt x="19272" y="1"/>
                  </a:lnTo>
                  <a:lnTo>
                    <a:pt x="9977" y="6948"/>
                  </a:lnTo>
                  <a:cubicBezTo>
                    <a:pt x="9877" y="7020"/>
                    <a:pt x="9760" y="7059"/>
                    <a:pt x="9636" y="7059"/>
                  </a:cubicBezTo>
                  <a:cubicBezTo>
                    <a:pt x="9513" y="7059"/>
                    <a:pt x="9395" y="7020"/>
                    <a:pt x="9299" y="6948"/>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5" name="Google Shape;6015;p70"/>
            <p:cNvSpPr/>
            <p:nvPr/>
          </p:nvSpPr>
          <p:spPr>
            <a:xfrm>
              <a:off x="1296950" y="1549900"/>
              <a:ext cx="71550" cy="105850"/>
            </a:xfrm>
            <a:custGeom>
              <a:avLst/>
              <a:gdLst/>
              <a:ahLst/>
              <a:cxnLst/>
              <a:rect l="l" t="t" r="r" b="b"/>
              <a:pathLst>
                <a:path w="2862" h="4234" extrusionOk="0">
                  <a:moveTo>
                    <a:pt x="0" y="0"/>
                  </a:moveTo>
                  <a:lnTo>
                    <a:pt x="0" y="4234"/>
                  </a:lnTo>
                  <a:lnTo>
                    <a:pt x="2861" y="2117"/>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6" name="Google Shape;6016;p70"/>
            <p:cNvSpPr/>
            <p:nvPr/>
          </p:nvSpPr>
          <p:spPr>
            <a:xfrm>
              <a:off x="914900" y="1549900"/>
              <a:ext cx="71550" cy="105850"/>
            </a:xfrm>
            <a:custGeom>
              <a:avLst/>
              <a:gdLst/>
              <a:ahLst/>
              <a:cxnLst/>
              <a:rect l="l" t="t" r="r" b="b"/>
              <a:pathLst>
                <a:path w="2862" h="4234" extrusionOk="0">
                  <a:moveTo>
                    <a:pt x="2861" y="0"/>
                  </a:moveTo>
                  <a:lnTo>
                    <a:pt x="0" y="2117"/>
                  </a:lnTo>
                  <a:lnTo>
                    <a:pt x="2861" y="4234"/>
                  </a:lnTo>
                  <a:lnTo>
                    <a:pt x="28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7" name="Google Shape;6017;p70"/>
            <p:cNvSpPr/>
            <p:nvPr/>
          </p:nvSpPr>
          <p:spPr>
            <a:xfrm>
              <a:off x="1014650" y="1436075"/>
              <a:ext cx="254100" cy="336150"/>
            </a:xfrm>
            <a:custGeom>
              <a:avLst/>
              <a:gdLst/>
              <a:ahLst/>
              <a:cxnLst/>
              <a:rect l="l" t="t" r="r" b="b"/>
              <a:pathLst>
                <a:path w="10164" h="13446" extrusionOk="0">
                  <a:moveTo>
                    <a:pt x="8468" y="3424"/>
                  </a:moveTo>
                  <a:cubicBezTo>
                    <a:pt x="8781" y="3424"/>
                    <a:pt x="9031" y="3677"/>
                    <a:pt x="9031" y="3990"/>
                  </a:cubicBezTo>
                  <a:cubicBezTo>
                    <a:pt x="9031" y="4300"/>
                    <a:pt x="8781" y="4553"/>
                    <a:pt x="8468" y="4553"/>
                  </a:cubicBezTo>
                  <a:lnTo>
                    <a:pt x="1693" y="4553"/>
                  </a:lnTo>
                  <a:cubicBezTo>
                    <a:pt x="1379" y="4553"/>
                    <a:pt x="1130" y="4300"/>
                    <a:pt x="1130" y="3990"/>
                  </a:cubicBezTo>
                  <a:cubicBezTo>
                    <a:pt x="1130" y="3677"/>
                    <a:pt x="1379" y="3424"/>
                    <a:pt x="1693" y="3424"/>
                  </a:cubicBezTo>
                  <a:close/>
                  <a:moveTo>
                    <a:pt x="8468" y="5682"/>
                  </a:moveTo>
                  <a:cubicBezTo>
                    <a:pt x="8781" y="5682"/>
                    <a:pt x="9031" y="5935"/>
                    <a:pt x="9031" y="6248"/>
                  </a:cubicBezTo>
                  <a:cubicBezTo>
                    <a:pt x="9031" y="6559"/>
                    <a:pt x="8781" y="6812"/>
                    <a:pt x="8468" y="6812"/>
                  </a:cubicBezTo>
                  <a:lnTo>
                    <a:pt x="1693" y="6812"/>
                  </a:lnTo>
                  <a:cubicBezTo>
                    <a:pt x="1379" y="6812"/>
                    <a:pt x="1130" y="6559"/>
                    <a:pt x="1130" y="6248"/>
                  </a:cubicBezTo>
                  <a:cubicBezTo>
                    <a:pt x="1130" y="5935"/>
                    <a:pt x="1379" y="5682"/>
                    <a:pt x="1693" y="5682"/>
                  </a:cubicBezTo>
                  <a:close/>
                  <a:moveTo>
                    <a:pt x="5080" y="7941"/>
                  </a:moveTo>
                  <a:cubicBezTo>
                    <a:pt x="5393" y="7941"/>
                    <a:pt x="5643" y="8194"/>
                    <a:pt x="5643" y="8507"/>
                  </a:cubicBezTo>
                  <a:cubicBezTo>
                    <a:pt x="5643" y="8817"/>
                    <a:pt x="5393" y="9070"/>
                    <a:pt x="5080" y="9070"/>
                  </a:cubicBezTo>
                  <a:lnTo>
                    <a:pt x="1693" y="9070"/>
                  </a:lnTo>
                  <a:cubicBezTo>
                    <a:pt x="1379" y="9070"/>
                    <a:pt x="1130" y="8817"/>
                    <a:pt x="1130" y="8507"/>
                  </a:cubicBezTo>
                  <a:cubicBezTo>
                    <a:pt x="1130" y="8194"/>
                    <a:pt x="1379" y="7941"/>
                    <a:pt x="1693" y="7941"/>
                  </a:cubicBezTo>
                  <a:close/>
                  <a:moveTo>
                    <a:pt x="563" y="0"/>
                  </a:moveTo>
                  <a:cubicBezTo>
                    <a:pt x="250" y="0"/>
                    <a:pt x="0" y="250"/>
                    <a:pt x="0" y="563"/>
                  </a:cubicBezTo>
                  <a:lnTo>
                    <a:pt x="0" y="9636"/>
                  </a:lnTo>
                  <a:lnTo>
                    <a:pt x="5080" y="13445"/>
                  </a:lnTo>
                  <a:lnTo>
                    <a:pt x="10163" y="9636"/>
                  </a:lnTo>
                  <a:lnTo>
                    <a:pt x="10163" y="563"/>
                  </a:lnTo>
                  <a:cubicBezTo>
                    <a:pt x="10163" y="250"/>
                    <a:pt x="9910"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8" name="Google Shape;6018;p70"/>
          <p:cNvGrpSpPr/>
          <p:nvPr/>
        </p:nvGrpSpPr>
        <p:grpSpPr>
          <a:xfrm>
            <a:off x="1247198" y="3186183"/>
            <a:ext cx="339253" cy="218676"/>
            <a:chOff x="1492675" y="1520750"/>
            <a:chExt cx="481825" cy="310575"/>
          </a:xfrm>
        </p:grpSpPr>
        <p:sp>
          <p:nvSpPr>
            <p:cNvPr id="6019" name="Google Shape;6019;p70"/>
            <p:cNvSpPr/>
            <p:nvPr/>
          </p:nvSpPr>
          <p:spPr>
            <a:xfrm>
              <a:off x="1492675" y="1540400"/>
              <a:ext cx="481825" cy="290925"/>
            </a:xfrm>
            <a:custGeom>
              <a:avLst/>
              <a:gdLst/>
              <a:ahLst/>
              <a:cxnLst/>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0" name="Google Shape;6020;p70"/>
            <p:cNvSpPr/>
            <p:nvPr/>
          </p:nvSpPr>
          <p:spPr>
            <a:xfrm>
              <a:off x="1522575" y="1520750"/>
              <a:ext cx="421975" cy="165800"/>
            </a:xfrm>
            <a:custGeom>
              <a:avLst/>
              <a:gdLst/>
              <a:ahLst/>
              <a:cxnLst/>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1" name="Google Shape;6021;p70"/>
          <p:cNvGrpSpPr/>
          <p:nvPr/>
        </p:nvGrpSpPr>
        <p:grpSpPr>
          <a:xfrm>
            <a:off x="1654995" y="3125877"/>
            <a:ext cx="352332" cy="339288"/>
            <a:chOff x="2071000" y="1435025"/>
            <a:chExt cx="500400" cy="481875"/>
          </a:xfrm>
        </p:grpSpPr>
        <p:sp>
          <p:nvSpPr>
            <p:cNvPr id="6022" name="Google Shape;6022;p70"/>
            <p:cNvSpPr/>
            <p:nvPr/>
          </p:nvSpPr>
          <p:spPr>
            <a:xfrm>
              <a:off x="2425125" y="1718700"/>
              <a:ext cx="146275" cy="141750"/>
            </a:xfrm>
            <a:custGeom>
              <a:avLst/>
              <a:gdLst/>
              <a:ahLst/>
              <a:cxnLst/>
              <a:rect l="l" t="t" r="r" b="b"/>
              <a:pathLst>
                <a:path w="5851" h="5670" extrusionOk="0">
                  <a:moveTo>
                    <a:pt x="1598" y="0"/>
                  </a:moveTo>
                  <a:cubicBezTo>
                    <a:pt x="1159" y="0"/>
                    <a:pt x="720" y="160"/>
                    <a:pt x="401" y="481"/>
                  </a:cubicBezTo>
                  <a:lnTo>
                    <a:pt x="0" y="879"/>
                  </a:lnTo>
                  <a:lnTo>
                    <a:pt x="4791" y="5669"/>
                  </a:lnTo>
                  <a:lnTo>
                    <a:pt x="5191" y="5272"/>
                  </a:lnTo>
                  <a:cubicBezTo>
                    <a:pt x="5851" y="4610"/>
                    <a:pt x="5851" y="3538"/>
                    <a:pt x="5191" y="2875"/>
                  </a:cubicBezTo>
                  <a:lnTo>
                    <a:pt x="2795" y="481"/>
                  </a:lnTo>
                  <a:cubicBezTo>
                    <a:pt x="2475" y="160"/>
                    <a:pt x="2036" y="0"/>
                    <a:pt x="15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3" name="Google Shape;6023;p70"/>
            <p:cNvSpPr/>
            <p:nvPr/>
          </p:nvSpPr>
          <p:spPr>
            <a:xfrm>
              <a:off x="2071000" y="1477850"/>
              <a:ext cx="453125" cy="439050"/>
            </a:xfrm>
            <a:custGeom>
              <a:avLst/>
              <a:gdLst/>
              <a:ahLst/>
              <a:cxnLst/>
              <a:rect l="l" t="t" r="r" b="b"/>
              <a:pathLst>
                <a:path w="18125" h="17562" extrusionOk="0">
                  <a:moveTo>
                    <a:pt x="2057" y="0"/>
                  </a:moveTo>
                  <a:cubicBezTo>
                    <a:pt x="0" y="2397"/>
                    <a:pt x="81" y="6008"/>
                    <a:pt x="2352" y="8278"/>
                  </a:cubicBezTo>
                  <a:lnTo>
                    <a:pt x="9847" y="15776"/>
                  </a:lnTo>
                  <a:cubicBezTo>
                    <a:pt x="11008" y="16937"/>
                    <a:pt x="12564" y="17561"/>
                    <a:pt x="14149" y="17561"/>
                  </a:cubicBezTo>
                  <a:cubicBezTo>
                    <a:pt x="15535" y="17561"/>
                    <a:pt x="16943" y="17083"/>
                    <a:pt x="18125" y="16068"/>
                  </a:cubicBezTo>
                  <a:lnTo>
                    <a:pt x="13346" y="11289"/>
                  </a:lnTo>
                  <a:cubicBezTo>
                    <a:pt x="13108" y="11473"/>
                    <a:pt x="12823" y="11568"/>
                    <a:pt x="12540" y="11568"/>
                  </a:cubicBezTo>
                  <a:cubicBezTo>
                    <a:pt x="12221" y="11568"/>
                    <a:pt x="11904" y="11448"/>
                    <a:pt x="11660" y="11202"/>
                  </a:cubicBezTo>
                  <a:lnTo>
                    <a:pt x="6926" y="6465"/>
                  </a:lnTo>
                  <a:cubicBezTo>
                    <a:pt x="6462" y="6002"/>
                    <a:pt x="6447" y="5282"/>
                    <a:pt x="6839" y="4779"/>
                  </a:cubicBezTo>
                  <a:lnTo>
                    <a:pt x="20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4" name="Google Shape;6024;p70"/>
            <p:cNvSpPr/>
            <p:nvPr/>
          </p:nvSpPr>
          <p:spPr>
            <a:xfrm>
              <a:off x="2141600" y="1435025"/>
              <a:ext cx="146300" cy="141850"/>
            </a:xfrm>
            <a:custGeom>
              <a:avLst/>
              <a:gdLst/>
              <a:ahLst/>
              <a:cxnLst/>
              <a:rect l="l" t="t" r="r" b="b"/>
              <a:pathLst>
                <a:path w="5852" h="5674" extrusionOk="0">
                  <a:moveTo>
                    <a:pt x="1597" y="1"/>
                  </a:moveTo>
                  <a:cubicBezTo>
                    <a:pt x="1158" y="1"/>
                    <a:pt x="719" y="161"/>
                    <a:pt x="398" y="482"/>
                  </a:cubicBezTo>
                  <a:lnTo>
                    <a:pt x="1" y="882"/>
                  </a:lnTo>
                  <a:lnTo>
                    <a:pt x="4792" y="5673"/>
                  </a:lnTo>
                  <a:lnTo>
                    <a:pt x="5189" y="5273"/>
                  </a:lnTo>
                  <a:cubicBezTo>
                    <a:pt x="5852" y="4610"/>
                    <a:pt x="5852" y="3538"/>
                    <a:pt x="5189" y="2879"/>
                  </a:cubicBezTo>
                  <a:lnTo>
                    <a:pt x="2795" y="482"/>
                  </a:lnTo>
                  <a:cubicBezTo>
                    <a:pt x="2474" y="161"/>
                    <a:pt x="2036" y="1"/>
                    <a:pt x="1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5" name="Google Shape;6025;p70"/>
          <p:cNvGrpSpPr/>
          <p:nvPr/>
        </p:nvGrpSpPr>
        <p:grpSpPr>
          <a:xfrm>
            <a:off x="2083159" y="3146709"/>
            <a:ext cx="351874" cy="297623"/>
            <a:chOff x="2678350" y="1464650"/>
            <a:chExt cx="499750" cy="422700"/>
          </a:xfrm>
        </p:grpSpPr>
        <p:sp>
          <p:nvSpPr>
            <p:cNvPr id="6026" name="Google Shape;6026;p70"/>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7" name="Google Shape;6027;p70"/>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8" name="Google Shape;6028;p70"/>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9" name="Google Shape;6029;p70"/>
          <p:cNvGrpSpPr/>
          <p:nvPr/>
        </p:nvGrpSpPr>
        <p:grpSpPr>
          <a:xfrm>
            <a:off x="2506692" y="3125895"/>
            <a:ext cx="339253" cy="339253"/>
            <a:chOff x="3271200" y="1435075"/>
            <a:chExt cx="481825" cy="481825"/>
          </a:xfrm>
        </p:grpSpPr>
        <p:sp>
          <p:nvSpPr>
            <p:cNvPr id="6030" name="Google Shape;6030;p70"/>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1" name="Google Shape;6031;p70"/>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2" name="Google Shape;6032;p70"/>
          <p:cNvGrpSpPr/>
          <p:nvPr/>
        </p:nvGrpSpPr>
        <p:grpSpPr>
          <a:xfrm>
            <a:off x="2917165" y="3125877"/>
            <a:ext cx="343442" cy="339288"/>
            <a:chOff x="3858100" y="1435075"/>
            <a:chExt cx="487775" cy="481875"/>
          </a:xfrm>
        </p:grpSpPr>
        <p:sp>
          <p:nvSpPr>
            <p:cNvPr id="6033" name="Google Shape;6033;p70"/>
            <p:cNvSpPr/>
            <p:nvPr/>
          </p:nvSpPr>
          <p:spPr>
            <a:xfrm>
              <a:off x="3858100" y="1868750"/>
              <a:ext cx="55575" cy="48200"/>
            </a:xfrm>
            <a:custGeom>
              <a:avLst/>
              <a:gdLst/>
              <a:ahLst/>
              <a:cxnLst/>
              <a:rect l="l" t="t" r="r" b="b"/>
              <a:pathLst>
                <a:path w="2223" h="1928" extrusionOk="0">
                  <a:moveTo>
                    <a:pt x="1600" y="0"/>
                  </a:moveTo>
                  <a:cubicBezTo>
                    <a:pt x="1460" y="0"/>
                    <a:pt x="1319" y="53"/>
                    <a:pt x="1211" y="158"/>
                  </a:cubicBezTo>
                  <a:lnTo>
                    <a:pt x="413" y="959"/>
                  </a:lnTo>
                  <a:cubicBezTo>
                    <a:pt x="0" y="1369"/>
                    <a:pt x="388" y="1927"/>
                    <a:pt x="825" y="1927"/>
                  </a:cubicBezTo>
                  <a:cubicBezTo>
                    <a:pt x="956" y="1927"/>
                    <a:pt x="1091" y="1877"/>
                    <a:pt x="1211" y="1757"/>
                  </a:cubicBezTo>
                  <a:lnTo>
                    <a:pt x="2009" y="959"/>
                  </a:lnTo>
                  <a:cubicBezTo>
                    <a:pt x="2222" y="736"/>
                    <a:pt x="2219" y="384"/>
                    <a:pt x="2000" y="167"/>
                  </a:cubicBezTo>
                  <a:cubicBezTo>
                    <a:pt x="1890" y="56"/>
                    <a:pt x="1745" y="0"/>
                    <a:pt x="16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4" name="Google Shape;6034;p70"/>
            <p:cNvSpPr/>
            <p:nvPr/>
          </p:nvSpPr>
          <p:spPr>
            <a:xfrm>
              <a:off x="3917950" y="1808500"/>
              <a:ext cx="60350" cy="48525"/>
            </a:xfrm>
            <a:custGeom>
              <a:avLst/>
              <a:gdLst/>
              <a:ahLst/>
              <a:cxnLst/>
              <a:rect l="l" t="t" r="r" b="b"/>
              <a:pathLst>
                <a:path w="2414" h="1941" extrusionOk="0">
                  <a:moveTo>
                    <a:pt x="1601" y="1"/>
                  </a:moveTo>
                  <a:cubicBezTo>
                    <a:pt x="1470" y="1"/>
                    <a:pt x="1333" y="52"/>
                    <a:pt x="1211" y="174"/>
                  </a:cubicBezTo>
                  <a:lnTo>
                    <a:pt x="413" y="972"/>
                  </a:lnTo>
                  <a:cubicBezTo>
                    <a:pt x="1" y="1384"/>
                    <a:pt x="388" y="1941"/>
                    <a:pt x="824" y="1941"/>
                  </a:cubicBezTo>
                  <a:cubicBezTo>
                    <a:pt x="955" y="1941"/>
                    <a:pt x="1091" y="1890"/>
                    <a:pt x="1211" y="1770"/>
                  </a:cubicBezTo>
                  <a:lnTo>
                    <a:pt x="2009" y="972"/>
                  </a:lnTo>
                  <a:cubicBezTo>
                    <a:pt x="2414" y="569"/>
                    <a:pt x="2037" y="1"/>
                    <a:pt x="1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5" name="Google Shape;6035;p70"/>
            <p:cNvSpPr/>
            <p:nvPr/>
          </p:nvSpPr>
          <p:spPr>
            <a:xfrm>
              <a:off x="3876450" y="1435075"/>
              <a:ext cx="450375" cy="251250"/>
            </a:xfrm>
            <a:custGeom>
              <a:avLst/>
              <a:gdLst/>
              <a:ahLst/>
              <a:cxnLst/>
              <a:rect l="l" t="t" r="r" b="b"/>
              <a:pathLst>
                <a:path w="18015" h="10050" extrusionOk="0">
                  <a:moveTo>
                    <a:pt x="18014" y="1"/>
                  </a:moveTo>
                  <a:lnTo>
                    <a:pt x="561" y="4762"/>
                  </a:lnTo>
                  <a:cubicBezTo>
                    <a:pt x="121" y="4882"/>
                    <a:pt x="1" y="5448"/>
                    <a:pt x="350" y="5740"/>
                  </a:cubicBezTo>
                  <a:lnTo>
                    <a:pt x="5584" y="10049"/>
                  </a:lnTo>
                  <a:lnTo>
                    <a:pt x="180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6" name="Google Shape;6036;p70"/>
            <p:cNvSpPr/>
            <p:nvPr/>
          </p:nvSpPr>
          <p:spPr>
            <a:xfrm>
              <a:off x="4094925" y="1456025"/>
              <a:ext cx="250950" cy="445250"/>
            </a:xfrm>
            <a:custGeom>
              <a:avLst/>
              <a:gdLst/>
              <a:ahLst/>
              <a:cxnLst/>
              <a:rect l="l" t="t" r="r" b="b"/>
              <a:pathLst>
                <a:path w="10038" h="17810" extrusionOk="0">
                  <a:moveTo>
                    <a:pt x="10037" y="0"/>
                  </a:moveTo>
                  <a:cubicBezTo>
                    <a:pt x="9890" y="120"/>
                    <a:pt x="118" y="12226"/>
                    <a:pt x="1" y="12370"/>
                  </a:cubicBezTo>
                  <a:lnTo>
                    <a:pt x="4313" y="17604"/>
                  </a:lnTo>
                  <a:cubicBezTo>
                    <a:pt x="4428" y="17744"/>
                    <a:pt x="4587" y="17809"/>
                    <a:pt x="4745" y="17809"/>
                  </a:cubicBezTo>
                  <a:cubicBezTo>
                    <a:pt x="4985" y="17809"/>
                    <a:pt x="5222" y="17659"/>
                    <a:pt x="5294" y="17390"/>
                  </a:cubicBezTo>
                  <a:lnTo>
                    <a:pt x="100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7" name="Google Shape;6037;p70"/>
            <p:cNvSpPr/>
            <p:nvPr/>
          </p:nvSpPr>
          <p:spPr>
            <a:xfrm>
              <a:off x="3993575" y="1542825"/>
              <a:ext cx="245025" cy="242525"/>
            </a:xfrm>
            <a:custGeom>
              <a:avLst/>
              <a:gdLst/>
              <a:ahLst/>
              <a:cxnLst/>
              <a:rect l="l" t="t" r="r" b="b"/>
              <a:pathLst>
                <a:path w="9801" h="9701" extrusionOk="0">
                  <a:moveTo>
                    <a:pt x="9800" y="0"/>
                  </a:moveTo>
                  <a:lnTo>
                    <a:pt x="646" y="7399"/>
                  </a:lnTo>
                  <a:lnTo>
                    <a:pt x="125" y="8955"/>
                  </a:lnTo>
                  <a:cubicBezTo>
                    <a:pt x="1" y="9338"/>
                    <a:pt x="298" y="9700"/>
                    <a:pt x="659" y="9700"/>
                  </a:cubicBezTo>
                  <a:cubicBezTo>
                    <a:pt x="719" y="9700"/>
                    <a:pt x="780" y="9690"/>
                    <a:pt x="842" y="9669"/>
                  </a:cubicBezTo>
                  <a:lnTo>
                    <a:pt x="2398" y="9151"/>
                  </a:lnTo>
                  <a:lnTo>
                    <a:pt x="98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8" name="Google Shape;6038;p70"/>
          <p:cNvGrpSpPr/>
          <p:nvPr/>
        </p:nvGrpSpPr>
        <p:grpSpPr>
          <a:xfrm>
            <a:off x="3337249" y="3125895"/>
            <a:ext cx="339253" cy="339253"/>
            <a:chOff x="4456875" y="1435075"/>
            <a:chExt cx="481825" cy="481825"/>
          </a:xfrm>
        </p:grpSpPr>
        <p:sp>
          <p:nvSpPr>
            <p:cNvPr id="6039" name="Google Shape;6039;p70"/>
            <p:cNvSpPr/>
            <p:nvPr/>
          </p:nvSpPr>
          <p:spPr>
            <a:xfrm>
              <a:off x="4624975" y="1465275"/>
              <a:ext cx="56650" cy="86000"/>
            </a:xfrm>
            <a:custGeom>
              <a:avLst/>
              <a:gdLst/>
              <a:ahLst/>
              <a:cxnLst/>
              <a:rect l="l" t="t" r="r" b="b"/>
              <a:pathLst>
                <a:path w="2266" h="3440" extrusionOk="0">
                  <a:moveTo>
                    <a:pt x="2265" y="0"/>
                  </a:moveTo>
                  <a:cubicBezTo>
                    <a:pt x="1413" y="283"/>
                    <a:pt x="618" y="1196"/>
                    <a:pt x="1" y="2575"/>
                  </a:cubicBezTo>
                  <a:cubicBezTo>
                    <a:pt x="263" y="2801"/>
                    <a:pt x="449" y="3105"/>
                    <a:pt x="534" y="3439"/>
                  </a:cubicBezTo>
                  <a:cubicBezTo>
                    <a:pt x="1106" y="3364"/>
                    <a:pt x="1672" y="3322"/>
                    <a:pt x="2265" y="3304"/>
                  </a:cubicBezTo>
                  <a:lnTo>
                    <a:pt x="22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0" name="Google Shape;6040;p70"/>
            <p:cNvSpPr/>
            <p:nvPr/>
          </p:nvSpPr>
          <p:spPr>
            <a:xfrm>
              <a:off x="4615275" y="1797425"/>
              <a:ext cx="66350" cy="89375"/>
            </a:xfrm>
            <a:custGeom>
              <a:avLst/>
              <a:gdLst/>
              <a:ahLst/>
              <a:cxnLst/>
              <a:rect l="l" t="t" r="r" b="b"/>
              <a:pathLst>
                <a:path w="2654" h="3575" extrusionOk="0">
                  <a:moveTo>
                    <a:pt x="0" y="0"/>
                  </a:moveTo>
                  <a:lnTo>
                    <a:pt x="0" y="0"/>
                  </a:lnTo>
                  <a:cubicBezTo>
                    <a:pt x="618" y="1882"/>
                    <a:pt x="1563" y="3225"/>
                    <a:pt x="2653" y="3574"/>
                  </a:cubicBezTo>
                  <a:lnTo>
                    <a:pt x="2653" y="1316"/>
                  </a:lnTo>
                  <a:cubicBezTo>
                    <a:pt x="2153" y="1135"/>
                    <a:pt x="1768" y="726"/>
                    <a:pt x="1620" y="217"/>
                  </a:cubicBezTo>
                  <a:cubicBezTo>
                    <a:pt x="1057" y="169"/>
                    <a:pt x="518" y="9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1" name="Google Shape;6041;p70"/>
            <p:cNvSpPr/>
            <p:nvPr/>
          </p:nvSpPr>
          <p:spPr>
            <a:xfrm>
              <a:off x="4583125" y="1547250"/>
              <a:ext cx="28250" cy="28250"/>
            </a:xfrm>
            <a:custGeom>
              <a:avLst/>
              <a:gdLst/>
              <a:ahLst/>
              <a:cxnLst/>
              <a:rect l="l" t="t" r="r" b="b"/>
              <a:pathLst>
                <a:path w="1130" h="1130" extrusionOk="0">
                  <a:moveTo>
                    <a:pt x="567" y="1"/>
                  </a:moveTo>
                  <a:cubicBezTo>
                    <a:pt x="253" y="1"/>
                    <a:pt x="1" y="254"/>
                    <a:pt x="1" y="567"/>
                  </a:cubicBezTo>
                  <a:cubicBezTo>
                    <a:pt x="1" y="880"/>
                    <a:pt x="253" y="1130"/>
                    <a:pt x="567" y="1130"/>
                  </a:cubicBezTo>
                  <a:cubicBezTo>
                    <a:pt x="880" y="1130"/>
                    <a:pt x="1130" y="880"/>
                    <a:pt x="1130" y="567"/>
                  </a:cubicBezTo>
                  <a:cubicBezTo>
                    <a:pt x="1130" y="254"/>
                    <a:pt x="880"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2" name="Google Shape;6042;p70"/>
            <p:cNvSpPr/>
            <p:nvPr/>
          </p:nvSpPr>
          <p:spPr>
            <a:xfrm>
              <a:off x="4597950" y="1576075"/>
              <a:ext cx="83675" cy="87525"/>
            </a:xfrm>
            <a:custGeom>
              <a:avLst/>
              <a:gdLst/>
              <a:ahLst/>
              <a:cxnLst/>
              <a:rect l="l" t="t" r="r" b="b"/>
              <a:pathLst>
                <a:path w="3347" h="3501" extrusionOk="0">
                  <a:moveTo>
                    <a:pt x="3346" y="1"/>
                  </a:moveTo>
                  <a:cubicBezTo>
                    <a:pt x="2723" y="19"/>
                    <a:pt x="2103" y="73"/>
                    <a:pt x="1485" y="161"/>
                  </a:cubicBezTo>
                  <a:cubicBezTo>
                    <a:pt x="1241" y="654"/>
                    <a:pt x="772" y="998"/>
                    <a:pt x="230" y="1082"/>
                  </a:cubicBezTo>
                  <a:cubicBezTo>
                    <a:pt x="100" y="1817"/>
                    <a:pt x="25" y="2714"/>
                    <a:pt x="1" y="3500"/>
                  </a:cubicBezTo>
                  <a:lnTo>
                    <a:pt x="3346" y="3500"/>
                  </a:lnTo>
                  <a:lnTo>
                    <a:pt x="33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3" name="Google Shape;6043;p70"/>
            <p:cNvSpPr/>
            <p:nvPr/>
          </p:nvSpPr>
          <p:spPr>
            <a:xfrm>
              <a:off x="4597650" y="1692175"/>
              <a:ext cx="83975" cy="82450"/>
            </a:xfrm>
            <a:custGeom>
              <a:avLst/>
              <a:gdLst/>
              <a:ahLst/>
              <a:cxnLst/>
              <a:rect l="l" t="t" r="r" b="b"/>
              <a:pathLst>
                <a:path w="3359" h="3298" extrusionOk="0">
                  <a:moveTo>
                    <a:pt x="1" y="0"/>
                  </a:moveTo>
                  <a:cubicBezTo>
                    <a:pt x="31" y="1003"/>
                    <a:pt x="154" y="2006"/>
                    <a:pt x="371" y="2987"/>
                  </a:cubicBezTo>
                  <a:cubicBezTo>
                    <a:pt x="1031" y="3135"/>
                    <a:pt x="1699" y="3237"/>
                    <a:pt x="2371" y="3298"/>
                  </a:cubicBezTo>
                  <a:cubicBezTo>
                    <a:pt x="2548" y="2855"/>
                    <a:pt x="2910" y="2509"/>
                    <a:pt x="3358" y="2346"/>
                  </a:cubicBezTo>
                  <a:lnTo>
                    <a:pt x="33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4" name="Google Shape;6044;p70"/>
            <p:cNvSpPr/>
            <p:nvPr/>
          </p:nvSpPr>
          <p:spPr>
            <a:xfrm>
              <a:off x="4798050" y="1663575"/>
              <a:ext cx="28475" cy="28250"/>
            </a:xfrm>
            <a:custGeom>
              <a:avLst/>
              <a:gdLst/>
              <a:ahLst/>
              <a:cxnLst/>
              <a:rect l="l" t="t" r="r" b="b"/>
              <a:pathLst>
                <a:path w="1139" h="1130" extrusionOk="0">
                  <a:moveTo>
                    <a:pt x="564" y="0"/>
                  </a:moveTo>
                  <a:cubicBezTo>
                    <a:pt x="254" y="0"/>
                    <a:pt x="1" y="253"/>
                    <a:pt x="1" y="566"/>
                  </a:cubicBezTo>
                  <a:cubicBezTo>
                    <a:pt x="4" y="876"/>
                    <a:pt x="257" y="1129"/>
                    <a:pt x="567" y="1129"/>
                  </a:cubicBezTo>
                  <a:lnTo>
                    <a:pt x="573" y="1129"/>
                  </a:lnTo>
                  <a:cubicBezTo>
                    <a:pt x="886" y="1129"/>
                    <a:pt x="1139" y="876"/>
                    <a:pt x="1139" y="563"/>
                  </a:cubicBezTo>
                  <a:cubicBezTo>
                    <a:pt x="1139" y="253"/>
                    <a:pt x="886" y="0"/>
                    <a:pt x="5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5" name="Google Shape;6045;p70"/>
            <p:cNvSpPr/>
            <p:nvPr/>
          </p:nvSpPr>
          <p:spPr>
            <a:xfrm>
              <a:off x="4710200" y="1435075"/>
              <a:ext cx="228500" cy="228525"/>
            </a:xfrm>
            <a:custGeom>
              <a:avLst/>
              <a:gdLst/>
              <a:ahLst/>
              <a:cxnLst/>
              <a:rect l="l" t="t" r="r" b="b"/>
              <a:pathLst>
                <a:path w="9140" h="9141" extrusionOk="0">
                  <a:moveTo>
                    <a:pt x="1" y="1"/>
                  </a:moveTo>
                  <a:lnTo>
                    <a:pt x="1" y="34"/>
                  </a:lnTo>
                  <a:cubicBezTo>
                    <a:pt x="1729" y="377"/>
                    <a:pt x="3313" y="2283"/>
                    <a:pt x="4075" y="5069"/>
                  </a:cubicBezTo>
                  <a:cubicBezTo>
                    <a:pt x="6833" y="5828"/>
                    <a:pt x="8763" y="7406"/>
                    <a:pt x="9107" y="9140"/>
                  </a:cubicBezTo>
                  <a:lnTo>
                    <a:pt x="9140" y="9140"/>
                  </a:lnTo>
                  <a:cubicBezTo>
                    <a:pt x="8854" y="4298"/>
                    <a:pt x="484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6" name="Google Shape;6046;p70"/>
            <p:cNvSpPr/>
            <p:nvPr/>
          </p:nvSpPr>
          <p:spPr>
            <a:xfrm>
              <a:off x="4819200" y="1593475"/>
              <a:ext cx="89400" cy="70125"/>
            </a:xfrm>
            <a:custGeom>
              <a:avLst/>
              <a:gdLst/>
              <a:ahLst/>
              <a:cxnLst/>
              <a:rect l="l" t="t" r="r" b="b"/>
              <a:pathLst>
                <a:path w="3576" h="2805" extrusionOk="0">
                  <a:moveTo>
                    <a:pt x="1" y="1"/>
                  </a:moveTo>
                  <a:cubicBezTo>
                    <a:pt x="94" y="519"/>
                    <a:pt x="166" y="1061"/>
                    <a:pt x="215" y="1621"/>
                  </a:cubicBezTo>
                  <a:cubicBezTo>
                    <a:pt x="727" y="1777"/>
                    <a:pt x="1136" y="2301"/>
                    <a:pt x="1317" y="2804"/>
                  </a:cubicBezTo>
                  <a:lnTo>
                    <a:pt x="3575" y="2804"/>
                  </a:lnTo>
                  <a:cubicBezTo>
                    <a:pt x="3223" y="1711"/>
                    <a:pt x="1883" y="6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7" name="Google Shape;6047;p70"/>
            <p:cNvSpPr/>
            <p:nvPr/>
          </p:nvSpPr>
          <p:spPr>
            <a:xfrm>
              <a:off x="4819200" y="1692175"/>
              <a:ext cx="89475" cy="66275"/>
            </a:xfrm>
            <a:custGeom>
              <a:avLst/>
              <a:gdLst/>
              <a:ahLst/>
              <a:cxnLst/>
              <a:rect l="l" t="t" r="r" b="b"/>
              <a:pathLst>
                <a:path w="3579" h="2651" extrusionOk="0">
                  <a:moveTo>
                    <a:pt x="1317" y="0"/>
                  </a:moveTo>
                  <a:cubicBezTo>
                    <a:pt x="1133" y="500"/>
                    <a:pt x="727" y="883"/>
                    <a:pt x="215" y="1033"/>
                  </a:cubicBezTo>
                  <a:cubicBezTo>
                    <a:pt x="166" y="1593"/>
                    <a:pt x="94" y="2132"/>
                    <a:pt x="1" y="2650"/>
                  </a:cubicBezTo>
                  <a:cubicBezTo>
                    <a:pt x="1889" y="2030"/>
                    <a:pt x="3223" y="1078"/>
                    <a:pt x="35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8" name="Google Shape;6048;p70"/>
            <p:cNvSpPr/>
            <p:nvPr/>
          </p:nvSpPr>
          <p:spPr>
            <a:xfrm>
              <a:off x="4456875" y="1691800"/>
              <a:ext cx="225125" cy="225100"/>
            </a:xfrm>
            <a:custGeom>
              <a:avLst/>
              <a:gdLst/>
              <a:ahLst/>
              <a:cxnLst/>
              <a:rect l="l" t="t" r="r" b="b"/>
              <a:pathLst>
                <a:path w="9005" h="9004" extrusionOk="0">
                  <a:moveTo>
                    <a:pt x="1" y="0"/>
                  </a:moveTo>
                  <a:cubicBezTo>
                    <a:pt x="284" y="4839"/>
                    <a:pt x="4162" y="8721"/>
                    <a:pt x="9004" y="9004"/>
                  </a:cubicBezTo>
                  <a:lnTo>
                    <a:pt x="9004" y="8974"/>
                  </a:lnTo>
                  <a:cubicBezTo>
                    <a:pt x="7273" y="8628"/>
                    <a:pt x="5827" y="6697"/>
                    <a:pt x="5066" y="3942"/>
                  </a:cubicBezTo>
                  <a:cubicBezTo>
                    <a:pt x="2283" y="3180"/>
                    <a:pt x="377" y="1726"/>
                    <a:pt x="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9" name="Google Shape;6049;p70"/>
            <p:cNvSpPr/>
            <p:nvPr/>
          </p:nvSpPr>
          <p:spPr>
            <a:xfrm>
              <a:off x="4487000" y="1595125"/>
              <a:ext cx="88925" cy="68475"/>
            </a:xfrm>
            <a:custGeom>
              <a:avLst/>
              <a:gdLst/>
              <a:ahLst/>
              <a:cxnLst/>
              <a:rect l="l" t="t" r="r" b="b"/>
              <a:pathLst>
                <a:path w="3557" h="2739" extrusionOk="0">
                  <a:moveTo>
                    <a:pt x="3397" y="1"/>
                  </a:moveTo>
                  <a:cubicBezTo>
                    <a:pt x="1569" y="636"/>
                    <a:pt x="337" y="1720"/>
                    <a:pt x="0" y="2738"/>
                  </a:cubicBezTo>
                  <a:lnTo>
                    <a:pt x="3313" y="2738"/>
                  </a:lnTo>
                  <a:cubicBezTo>
                    <a:pt x="3337" y="1880"/>
                    <a:pt x="3418" y="913"/>
                    <a:pt x="3556" y="106"/>
                  </a:cubicBezTo>
                  <a:cubicBezTo>
                    <a:pt x="3502" y="73"/>
                    <a:pt x="3448" y="37"/>
                    <a:pt x="3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0" name="Google Shape;6050;p70"/>
            <p:cNvSpPr/>
            <p:nvPr/>
          </p:nvSpPr>
          <p:spPr>
            <a:xfrm>
              <a:off x="4486925" y="1692175"/>
              <a:ext cx="89450" cy="66350"/>
            </a:xfrm>
            <a:custGeom>
              <a:avLst/>
              <a:gdLst/>
              <a:ahLst/>
              <a:cxnLst/>
              <a:rect l="l" t="t" r="r" b="b"/>
              <a:pathLst>
                <a:path w="3578" h="2654" extrusionOk="0">
                  <a:moveTo>
                    <a:pt x="0" y="0"/>
                  </a:moveTo>
                  <a:cubicBezTo>
                    <a:pt x="352" y="1078"/>
                    <a:pt x="1689" y="2030"/>
                    <a:pt x="3578" y="2653"/>
                  </a:cubicBezTo>
                  <a:cubicBezTo>
                    <a:pt x="3418" y="1777"/>
                    <a:pt x="3325" y="889"/>
                    <a:pt x="3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1" name="Google Shape;6051;p70"/>
            <p:cNvSpPr/>
            <p:nvPr/>
          </p:nvSpPr>
          <p:spPr>
            <a:xfrm>
              <a:off x="4456875" y="1435075"/>
              <a:ext cx="225125" cy="228525"/>
            </a:xfrm>
            <a:custGeom>
              <a:avLst/>
              <a:gdLst/>
              <a:ahLst/>
              <a:cxnLst/>
              <a:rect l="l" t="t" r="r" b="b"/>
              <a:pathLst>
                <a:path w="9005" h="9141" extrusionOk="0">
                  <a:moveTo>
                    <a:pt x="9004" y="1"/>
                  </a:moveTo>
                  <a:cubicBezTo>
                    <a:pt x="4162" y="284"/>
                    <a:pt x="284" y="4298"/>
                    <a:pt x="1" y="9140"/>
                  </a:cubicBezTo>
                  <a:lnTo>
                    <a:pt x="37" y="9140"/>
                  </a:lnTo>
                  <a:cubicBezTo>
                    <a:pt x="329" y="7686"/>
                    <a:pt x="1747" y="6267"/>
                    <a:pt x="3969" y="5433"/>
                  </a:cubicBezTo>
                  <a:cubicBezTo>
                    <a:pt x="3715" y="4375"/>
                    <a:pt x="4516" y="3361"/>
                    <a:pt x="5602" y="3361"/>
                  </a:cubicBezTo>
                  <a:cubicBezTo>
                    <a:pt x="5607" y="3361"/>
                    <a:pt x="5612" y="3361"/>
                    <a:pt x="5617" y="3361"/>
                  </a:cubicBezTo>
                  <a:cubicBezTo>
                    <a:pt x="5638" y="3361"/>
                    <a:pt x="5656" y="3364"/>
                    <a:pt x="5677" y="3367"/>
                  </a:cubicBezTo>
                  <a:cubicBezTo>
                    <a:pt x="6511" y="1476"/>
                    <a:pt x="7688" y="293"/>
                    <a:pt x="9004" y="31"/>
                  </a:cubicBezTo>
                  <a:lnTo>
                    <a:pt x="9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2" name="Google Shape;6052;p70"/>
            <p:cNvSpPr/>
            <p:nvPr/>
          </p:nvSpPr>
          <p:spPr>
            <a:xfrm>
              <a:off x="4710200" y="1691800"/>
              <a:ext cx="228500" cy="225100"/>
            </a:xfrm>
            <a:custGeom>
              <a:avLst/>
              <a:gdLst/>
              <a:ahLst/>
              <a:cxnLst/>
              <a:rect l="l" t="t" r="r" b="b"/>
              <a:pathLst>
                <a:path w="9140" h="9004" extrusionOk="0">
                  <a:moveTo>
                    <a:pt x="9107" y="0"/>
                  </a:moveTo>
                  <a:cubicBezTo>
                    <a:pt x="8760" y="1726"/>
                    <a:pt x="6857" y="3177"/>
                    <a:pt x="4075" y="3942"/>
                  </a:cubicBezTo>
                  <a:cubicBezTo>
                    <a:pt x="3313" y="6721"/>
                    <a:pt x="1729" y="8628"/>
                    <a:pt x="1" y="8971"/>
                  </a:cubicBezTo>
                  <a:lnTo>
                    <a:pt x="1" y="9004"/>
                  </a:lnTo>
                  <a:cubicBezTo>
                    <a:pt x="4843" y="8721"/>
                    <a:pt x="8854" y="4839"/>
                    <a:pt x="91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3" name="Google Shape;6053;p70"/>
            <p:cNvSpPr/>
            <p:nvPr/>
          </p:nvSpPr>
          <p:spPr>
            <a:xfrm>
              <a:off x="4710200" y="1465200"/>
              <a:ext cx="70025" cy="89375"/>
            </a:xfrm>
            <a:custGeom>
              <a:avLst/>
              <a:gdLst/>
              <a:ahLst/>
              <a:cxnLst/>
              <a:rect l="l" t="t" r="r" b="b"/>
              <a:pathLst>
                <a:path w="2801" h="3575" extrusionOk="0">
                  <a:moveTo>
                    <a:pt x="1" y="0"/>
                  </a:moveTo>
                  <a:lnTo>
                    <a:pt x="1" y="3298"/>
                  </a:lnTo>
                  <a:cubicBezTo>
                    <a:pt x="937" y="3328"/>
                    <a:pt x="1961" y="3421"/>
                    <a:pt x="2801" y="3575"/>
                  </a:cubicBezTo>
                  <a:cubicBezTo>
                    <a:pt x="2181" y="1687"/>
                    <a:pt x="1082" y="35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4" name="Google Shape;6054;p70"/>
            <p:cNvSpPr/>
            <p:nvPr/>
          </p:nvSpPr>
          <p:spPr>
            <a:xfrm>
              <a:off x="4710200" y="1575850"/>
              <a:ext cx="86150" cy="87750"/>
            </a:xfrm>
            <a:custGeom>
              <a:avLst/>
              <a:gdLst/>
              <a:ahLst/>
              <a:cxnLst/>
              <a:rect l="l" t="t" r="r" b="b"/>
              <a:pathLst>
                <a:path w="3446" h="3510" extrusionOk="0">
                  <a:moveTo>
                    <a:pt x="1" y="1"/>
                  </a:moveTo>
                  <a:lnTo>
                    <a:pt x="1" y="3509"/>
                  </a:lnTo>
                  <a:lnTo>
                    <a:pt x="2494" y="3509"/>
                  </a:lnTo>
                  <a:cubicBezTo>
                    <a:pt x="2656" y="3054"/>
                    <a:pt x="3003" y="2554"/>
                    <a:pt x="3445" y="2374"/>
                  </a:cubicBezTo>
                  <a:cubicBezTo>
                    <a:pt x="3385" y="1702"/>
                    <a:pt x="3283" y="1034"/>
                    <a:pt x="3135" y="374"/>
                  </a:cubicBezTo>
                  <a:cubicBezTo>
                    <a:pt x="2208" y="167"/>
                    <a:pt x="1063" y="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5" name="Google Shape;6055;p70"/>
            <p:cNvSpPr/>
            <p:nvPr/>
          </p:nvSpPr>
          <p:spPr>
            <a:xfrm>
              <a:off x="4710200" y="1797500"/>
              <a:ext cx="70025" cy="89375"/>
            </a:xfrm>
            <a:custGeom>
              <a:avLst/>
              <a:gdLst/>
              <a:ahLst/>
              <a:cxnLst/>
              <a:rect l="l" t="t" r="r" b="b"/>
              <a:pathLst>
                <a:path w="2801" h="3575" extrusionOk="0">
                  <a:moveTo>
                    <a:pt x="2801" y="0"/>
                  </a:moveTo>
                  <a:lnTo>
                    <a:pt x="2801" y="0"/>
                  </a:lnTo>
                  <a:cubicBezTo>
                    <a:pt x="2283" y="93"/>
                    <a:pt x="1609" y="166"/>
                    <a:pt x="1048" y="214"/>
                  </a:cubicBezTo>
                  <a:cubicBezTo>
                    <a:pt x="892" y="726"/>
                    <a:pt x="503" y="1135"/>
                    <a:pt x="1" y="1316"/>
                  </a:cubicBezTo>
                  <a:lnTo>
                    <a:pt x="1" y="3574"/>
                  </a:lnTo>
                  <a:cubicBezTo>
                    <a:pt x="1082" y="3222"/>
                    <a:pt x="2181" y="1885"/>
                    <a:pt x="2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6" name="Google Shape;6056;p70"/>
            <p:cNvSpPr/>
            <p:nvPr/>
          </p:nvSpPr>
          <p:spPr>
            <a:xfrm>
              <a:off x="4681975" y="1776400"/>
              <a:ext cx="28250" cy="28350"/>
            </a:xfrm>
            <a:custGeom>
              <a:avLst/>
              <a:gdLst/>
              <a:ahLst/>
              <a:cxnLst/>
              <a:rect l="l" t="t" r="r" b="b"/>
              <a:pathLst>
                <a:path w="1130" h="1134" extrusionOk="0">
                  <a:moveTo>
                    <a:pt x="566" y="1"/>
                  </a:moveTo>
                  <a:cubicBezTo>
                    <a:pt x="253" y="1"/>
                    <a:pt x="0" y="251"/>
                    <a:pt x="0" y="564"/>
                  </a:cubicBezTo>
                  <a:lnTo>
                    <a:pt x="0" y="567"/>
                  </a:lnTo>
                  <a:cubicBezTo>
                    <a:pt x="0" y="567"/>
                    <a:pt x="0" y="570"/>
                    <a:pt x="0" y="570"/>
                  </a:cubicBezTo>
                  <a:cubicBezTo>
                    <a:pt x="0" y="880"/>
                    <a:pt x="253" y="1133"/>
                    <a:pt x="566" y="1133"/>
                  </a:cubicBezTo>
                  <a:cubicBezTo>
                    <a:pt x="877" y="1133"/>
                    <a:pt x="1130" y="880"/>
                    <a:pt x="1130" y="570"/>
                  </a:cubicBezTo>
                  <a:cubicBezTo>
                    <a:pt x="1130" y="570"/>
                    <a:pt x="1130" y="567"/>
                    <a:pt x="1130" y="567"/>
                  </a:cubicBezTo>
                  <a:lnTo>
                    <a:pt x="1130" y="564"/>
                  </a:ln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7" name="Google Shape;6057;p70"/>
            <p:cNvSpPr/>
            <p:nvPr/>
          </p:nvSpPr>
          <p:spPr>
            <a:xfrm>
              <a:off x="4710200" y="1692175"/>
              <a:ext cx="86150" cy="82450"/>
            </a:xfrm>
            <a:custGeom>
              <a:avLst/>
              <a:gdLst/>
              <a:ahLst/>
              <a:cxnLst/>
              <a:rect l="l" t="t" r="r" b="b"/>
              <a:pathLst>
                <a:path w="3446" h="3298" extrusionOk="0">
                  <a:moveTo>
                    <a:pt x="1" y="0"/>
                  </a:moveTo>
                  <a:lnTo>
                    <a:pt x="1" y="2346"/>
                  </a:lnTo>
                  <a:cubicBezTo>
                    <a:pt x="455" y="2506"/>
                    <a:pt x="820" y="2852"/>
                    <a:pt x="1003" y="3298"/>
                  </a:cubicBezTo>
                  <a:cubicBezTo>
                    <a:pt x="1702" y="3234"/>
                    <a:pt x="2506" y="3129"/>
                    <a:pt x="3135" y="2987"/>
                  </a:cubicBezTo>
                  <a:cubicBezTo>
                    <a:pt x="3283" y="2328"/>
                    <a:pt x="3385" y="1660"/>
                    <a:pt x="3445" y="985"/>
                  </a:cubicBezTo>
                  <a:cubicBezTo>
                    <a:pt x="3003" y="807"/>
                    <a:pt x="2656" y="449"/>
                    <a:pt x="24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58" name="Google Shape;6058;p70"/>
          <p:cNvGrpSpPr/>
          <p:nvPr/>
        </p:nvGrpSpPr>
        <p:grpSpPr>
          <a:xfrm>
            <a:off x="3758239" y="3125886"/>
            <a:ext cx="342580" cy="339271"/>
            <a:chOff x="5049725" y="1435050"/>
            <a:chExt cx="486550" cy="481850"/>
          </a:xfrm>
        </p:grpSpPr>
        <p:sp>
          <p:nvSpPr>
            <p:cNvPr id="6059" name="Google Shape;6059;p70"/>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0" name="Google Shape;6060;p70"/>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1" name="Google Shape;6061;p70"/>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2" name="Google Shape;6062;p70"/>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3" name="Google Shape;6063;p70"/>
          <p:cNvGrpSpPr/>
          <p:nvPr/>
        </p:nvGrpSpPr>
        <p:grpSpPr>
          <a:xfrm>
            <a:off x="4173790" y="3125895"/>
            <a:ext cx="339359" cy="339253"/>
            <a:chOff x="5642475" y="1435075"/>
            <a:chExt cx="481975" cy="481825"/>
          </a:xfrm>
        </p:grpSpPr>
        <p:sp>
          <p:nvSpPr>
            <p:cNvPr id="6064" name="Google Shape;6064;p70"/>
            <p:cNvSpPr/>
            <p:nvPr/>
          </p:nvSpPr>
          <p:spPr>
            <a:xfrm>
              <a:off x="5642475" y="1435075"/>
              <a:ext cx="481975" cy="340675"/>
            </a:xfrm>
            <a:custGeom>
              <a:avLst/>
              <a:gdLst/>
              <a:ahLst/>
              <a:cxnLst/>
              <a:rect l="l" t="t" r="r" b="b"/>
              <a:pathLst>
                <a:path w="19279" h="13627" extrusionOk="0">
                  <a:moveTo>
                    <a:pt x="2262" y="2259"/>
                  </a:moveTo>
                  <a:cubicBezTo>
                    <a:pt x="2883" y="2259"/>
                    <a:pt x="3428" y="2765"/>
                    <a:pt x="3428" y="3389"/>
                  </a:cubicBezTo>
                  <a:lnTo>
                    <a:pt x="3428" y="7342"/>
                  </a:lnTo>
                  <a:cubicBezTo>
                    <a:pt x="3428" y="7366"/>
                    <a:pt x="3434" y="7394"/>
                    <a:pt x="3434" y="7418"/>
                  </a:cubicBezTo>
                  <a:lnTo>
                    <a:pt x="1636" y="6246"/>
                  </a:lnTo>
                  <a:cubicBezTo>
                    <a:pt x="1320" y="6035"/>
                    <a:pt x="1130" y="5683"/>
                    <a:pt x="1133" y="5304"/>
                  </a:cubicBezTo>
                  <a:lnTo>
                    <a:pt x="1133" y="3389"/>
                  </a:lnTo>
                  <a:cubicBezTo>
                    <a:pt x="1133" y="2765"/>
                    <a:pt x="1636" y="2259"/>
                    <a:pt x="2262" y="2259"/>
                  </a:cubicBezTo>
                  <a:close/>
                  <a:moveTo>
                    <a:pt x="17017" y="2259"/>
                  </a:moveTo>
                  <a:cubicBezTo>
                    <a:pt x="17641" y="2259"/>
                    <a:pt x="18147" y="2765"/>
                    <a:pt x="18147" y="3389"/>
                  </a:cubicBezTo>
                  <a:lnTo>
                    <a:pt x="18147" y="5307"/>
                  </a:lnTo>
                  <a:cubicBezTo>
                    <a:pt x="18147" y="5683"/>
                    <a:pt x="17957" y="6035"/>
                    <a:pt x="17644" y="6246"/>
                  </a:cubicBezTo>
                  <a:lnTo>
                    <a:pt x="15843" y="7421"/>
                  </a:lnTo>
                  <a:cubicBezTo>
                    <a:pt x="15843" y="7394"/>
                    <a:pt x="15849" y="7369"/>
                    <a:pt x="15849" y="7342"/>
                  </a:cubicBezTo>
                  <a:lnTo>
                    <a:pt x="15849" y="3389"/>
                  </a:lnTo>
                  <a:cubicBezTo>
                    <a:pt x="15849" y="2765"/>
                    <a:pt x="16394" y="2259"/>
                    <a:pt x="17017" y="2259"/>
                  </a:cubicBezTo>
                  <a:close/>
                  <a:moveTo>
                    <a:pt x="9638" y="2284"/>
                  </a:moveTo>
                  <a:cubicBezTo>
                    <a:pt x="9845" y="2284"/>
                    <a:pt x="10051" y="2381"/>
                    <a:pt x="10146" y="2576"/>
                  </a:cubicBezTo>
                  <a:lnTo>
                    <a:pt x="10883" y="4069"/>
                  </a:lnTo>
                  <a:lnTo>
                    <a:pt x="12534" y="4310"/>
                  </a:lnTo>
                  <a:cubicBezTo>
                    <a:pt x="12994" y="4376"/>
                    <a:pt x="13181" y="4945"/>
                    <a:pt x="12847" y="5274"/>
                  </a:cubicBezTo>
                  <a:lnTo>
                    <a:pt x="11651" y="6439"/>
                  </a:lnTo>
                  <a:lnTo>
                    <a:pt x="11934" y="8080"/>
                  </a:lnTo>
                  <a:cubicBezTo>
                    <a:pt x="11996" y="8445"/>
                    <a:pt x="11705" y="8742"/>
                    <a:pt x="11376" y="8742"/>
                  </a:cubicBezTo>
                  <a:cubicBezTo>
                    <a:pt x="11290" y="8742"/>
                    <a:pt x="11201" y="8721"/>
                    <a:pt x="11115" y="8676"/>
                  </a:cubicBezTo>
                  <a:lnTo>
                    <a:pt x="9637" y="7899"/>
                  </a:lnTo>
                  <a:lnTo>
                    <a:pt x="8161" y="8676"/>
                  </a:lnTo>
                  <a:cubicBezTo>
                    <a:pt x="8076" y="8721"/>
                    <a:pt x="7987" y="8742"/>
                    <a:pt x="7900" y="8742"/>
                  </a:cubicBezTo>
                  <a:cubicBezTo>
                    <a:pt x="7571" y="8742"/>
                    <a:pt x="7280" y="8445"/>
                    <a:pt x="7342" y="8080"/>
                  </a:cubicBezTo>
                  <a:lnTo>
                    <a:pt x="7625" y="6439"/>
                  </a:lnTo>
                  <a:lnTo>
                    <a:pt x="6430" y="5271"/>
                  </a:lnTo>
                  <a:cubicBezTo>
                    <a:pt x="6279" y="5120"/>
                    <a:pt x="6222" y="4897"/>
                    <a:pt x="6288" y="4692"/>
                  </a:cubicBezTo>
                  <a:cubicBezTo>
                    <a:pt x="6355" y="4488"/>
                    <a:pt x="6532" y="4340"/>
                    <a:pt x="6743" y="4310"/>
                  </a:cubicBezTo>
                  <a:lnTo>
                    <a:pt x="8393" y="4069"/>
                  </a:lnTo>
                  <a:lnTo>
                    <a:pt x="9131" y="2576"/>
                  </a:lnTo>
                  <a:cubicBezTo>
                    <a:pt x="9226" y="2381"/>
                    <a:pt x="9432" y="2284"/>
                    <a:pt x="9638" y="2284"/>
                  </a:cubicBezTo>
                  <a:close/>
                  <a:moveTo>
                    <a:pt x="3994" y="1"/>
                  </a:moveTo>
                  <a:cubicBezTo>
                    <a:pt x="3681" y="1"/>
                    <a:pt x="3428" y="254"/>
                    <a:pt x="3428" y="567"/>
                  </a:cubicBezTo>
                  <a:lnTo>
                    <a:pt x="3428" y="1443"/>
                  </a:lnTo>
                  <a:cubicBezTo>
                    <a:pt x="3072" y="1242"/>
                    <a:pt x="2669" y="1133"/>
                    <a:pt x="2262" y="1130"/>
                  </a:cubicBezTo>
                  <a:cubicBezTo>
                    <a:pt x="1013" y="1130"/>
                    <a:pt x="4" y="2142"/>
                    <a:pt x="4" y="3389"/>
                  </a:cubicBezTo>
                  <a:lnTo>
                    <a:pt x="4" y="5307"/>
                  </a:lnTo>
                  <a:cubicBezTo>
                    <a:pt x="1" y="6060"/>
                    <a:pt x="380" y="6767"/>
                    <a:pt x="1010" y="7186"/>
                  </a:cubicBezTo>
                  <a:lnTo>
                    <a:pt x="3681" y="8941"/>
                  </a:lnTo>
                  <a:cubicBezTo>
                    <a:pt x="3690" y="8947"/>
                    <a:pt x="3702" y="8944"/>
                    <a:pt x="3714" y="8950"/>
                  </a:cubicBezTo>
                  <a:cubicBezTo>
                    <a:pt x="4129" y="10107"/>
                    <a:pt x="5006" y="11037"/>
                    <a:pt x="6297" y="11642"/>
                  </a:cubicBezTo>
                  <a:cubicBezTo>
                    <a:pt x="7137" y="12034"/>
                    <a:pt x="7692" y="12817"/>
                    <a:pt x="7866" y="13627"/>
                  </a:cubicBezTo>
                  <a:lnTo>
                    <a:pt x="11386" y="13627"/>
                  </a:lnTo>
                  <a:cubicBezTo>
                    <a:pt x="11504" y="12844"/>
                    <a:pt x="11949" y="12067"/>
                    <a:pt x="12648" y="11676"/>
                  </a:cubicBezTo>
                  <a:cubicBezTo>
                    <a:pt x="14003" y="10908"/>
                    <a:pt x="15027" y="10101"/>
                    <a:pt x="15521" y="8965"/>
                  </a:cubicBezTo>
                  <a:cubicBezTo>
                    <a:pt x="15545" y="8953"/>
                    <a:pt x="15575" y="8956"/>
                    <a:pt x="15599" y="8941"/>
                  </a:cubicBezTo>
                  <a:lnTo>
                    <a:pt x="18273" y="7186"/>
                  </a:lnTo>
                  <a:cubicBezTo>
                    <a:pt x="18899" y="6767"/>
                    <a:pt x="19279" y="6063"/>
                    <a:pt x="19279" y="5307"/>
                  </a:cubicBezTo>
                  <a:lnTo>
                    <a:pt x="19279" y="3389"/>
                  </a:lnTo>
                  <a:cubicBezTo>
                    <a:pt x="19276" y="2142"/>
                    <a:pt x="18267" y="1130"/>
                    <a:pt x="17020" y="1130"/>
                  </a:cubicBezTo>
                  <a:cubicBezTo>
                    <a:pt x="16611" y="1133"/>
                    <a:pt x="16207" y="1242"/>
                    <a:pt x="15852" y="1443"/>
                  </a:cubicBezTo>
                  <a:lnTo>
                    <a:pt x="15852" y="567"/>
                  </a:lnTo>
                  <a:cubicBezTo>
                    <a:pt x="15852" y="254"/>
                    <a:pt x="15599" y="1"/>
                    <a:pt x="152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5" name="Google Shape;6065;p70"/>
            <p:cNvSpPr/>
            <p:nvPr/>
          </p:nvSpPr>
          <p:spPr>
            <a:xfrm>
              <a:off x="5756375" y="1803975"/>
              <a:ext cx="254100" cy="112925"/>
            </a:xfrm>
            <a:custGeom>
              <a:avLst/>
              <a:gdLst/>
              <a:ahLst/>
              <a:cxnLst/>
              <a:rect l="l" t="t" r="r" b="b"/>
              <a:pathLst>
                <a:path w="10164" h="4517" extrusionOk="0">
                  <a:moveTo>
                    <a:pt x="2259" y="0"/>
                  </a:moveTo>
                  <a:cubicBezTo>
                    <a:pt x="1636" y="0"/>
                    <a:pt x="1130" y="506"/>
                    <a:pt x="1130" y="1129"/>
                  </a:cubicBezTo>
                  <a:lnTo>
                    <a:pt x="1130" y="1695"/>
                  </a:lnTo>
                  <a:lnTo>
                    <a:pt x="2825" y="1695"/>
                  </a:lnTo>
                  <a:cubicBezTo>
                    <a:pt x="3136" y="1695"/>
                    <a:pt x="3389" y="1945"/>
                    <a:pt x="3389" y="2258"/>
                  </a:cubicBezTo>
                  <a:cubicBezTo>
                    <a:pt x="3389" y="2572"/>
                    <a:pt x="3136" y="2825"/>
                    <a:pt x="2825" y="2825"/>
                  </a:cubicBezTo>
                  <a:lnTo>
                    <a:pt x="567" y="2825"/>
                  </a:lnTo>
                  <a:cubicBezTo>
                    <a:pt x="254" y="2825"/>
                    <a:pt x="1" y="3075"/>
                    <a:pt x="1" y="3388"/>
                  </a:cubicBezTo>
                  <a:lnTo>
                    <a:pt x="1" y="3954"/>
                  </a:lnTo>
                  <a:cubicBezTo>
                    <a:pt x="1" y="4264"/>
                    <a:pt x="254" y="4517"/>
                    <a:pt x="567" y="4517"/>
                  </a:cubicBezTo>
                  <a:lnTo>
                    <a:pt x="9601" y="4517"/>
                  </a:lnTo>
                  <a:cubicBezTo>
                    <a:pt x="9911" y="4517"/>
                    <a:pt x="10164" y="4264"/>
                    <a:pt x="10164" y="3954"/>
                  </a:cubicBezTo>
                  <a:lnTo>
                    <a:pt x="10164" y="3388"/>
                  </a:lnTo>
                  <a:cubicBezTo>
                    <a:pt x="10164" y="3075"/>
                    <a:pt x="9911" y="2825"/>
                    <a:pt x="9601" y="2825"/>
                  </a:cubicBezTo>
                  <a:lnTo>
                    <a:pt x="7342" y="2825"/>
                  </a:lnTo>
                  <a:cubicBezTo>
                    <a:pt x="7029" y="2825"/>
                    <a:pt x="6776" y="2572"/>
                    <a:pt x="6776" y="2258"/>
                  </a:cubicBezTo>
                  <a:cubicBezTo>
                    <a:pt x="6776" y="1945"/>
                    <a:pt x="7029" y="1695"/>
                    <a:pt x="7342" y="1695"/>
                  </a:cubicBezTo>
                  <a:lnTo>
                    <a:pt x="9035" y="1695"/>
                  </a:lnTo>
                  <a:lnTo>
                    <a:pt x="9035" y="1129"/>
                  </a:lnTo>
                  <a:cubicBezTo>
                    <a:pt x="9035" y="506"/>
                    <a:pt x="8529" y="0"/>
                    <a:pt x="79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6" name="Google Shape;6066;p70"/>
            <p:cNvSpPr/>
            <p:nvPr/>
          </p:nvSpPr>
          <p:spPr>
            <a:xfrm>
              <a:off x="5843400" y="1537550"/>
              <a:ext cx="79975" cy="76125"/>
            </a:xfrm>
            <a:custGeom>
              <a:avLst/>
              <a:gdLst/>
              <a:ahLst/>
              <a:cxnLst/>
              <a:rect l="l" t="t" r="r" b="b"/>
              <a:pathLst>
                <a:path w="3199" h="3045" extrusionOk="0">
                  <a:moveTo>
                    <a:pt x="1603" y="0"/>
                  </a:moveTo>
                  <a:lnTo>
                    <a:pt x="1238" y="738"/>
                  </a:lnTo>
                  <a:cubicBezTo>
                    <a:pt x="1157" y="904"/>
                    <a:pt x="998" y="1018"/>
                    <a:pt x="814" y="1045"/>
                  </a:cubicBezTo>
                  <a:lnTo>
                    <a:pt x="1" y="1163"/>
                  </a:lnTo>
                  <a:lnTo>
                    <a:pt x="588" y="1735"/>
                  </a:lnTo>
                  <a:cubicBezTo>
                    <a:pt x="721" y="1864"/>
                    <a:pt x="784" y="2051"/>
                    <a:pt x="751" y="2235"/>
                  </a:cubicBezTo>
                  <a:lnTo>
                    <a:pt x="612" y="3045"/>
                  </a:lnTo>
                  <a:lnTo>
                    <a:pt x="1338" y="2662"/>
                  </a:lnTo>
                  <a:cubicBezTo>
                    <a:pt x="1421" y="2619"/>
                    <a:pt x="1511" y="2597"/>
                    <a:pt x="1601" y="2597"/>
                  </a:cubicBezTo>
                  <a:cubicBezTo>
                    <a:pt x="1691" y="2597"/>
                    <a:pt x="1781" y="2619"/>
                    <a:pt x="1862" y="2662"/>
                  </a:cubicBezTo>
                  <a:lnTo>
                    <a:pt x="2588" y="3045"/>
                  </a:lnTo>
                  <a:lnTo>
                    <a:pt x="2452" y="2235"/>
                  </a:lnTo>
                  <a:cubicBezTo>
                    <a:pt x="2419" y="2051"/>
                    <a:pt x="2479" y="1864"/>
                    <a:pt x="2612" y="1735"/>
                  </a:cubicBezTo>
                  <a:lnTo>
                    <a:pt x="3199" y="1163"/>
                  </a:lnTo>
                  <a:lnTo>
                    <a:pt x="2389" y="1045"/>
                  </a:lnTo>
                  <a:cubicBezTo>
                    <a:pt x="2205" y="1018"/>
                    <a:pt x="2045" y="904"/>
                    <a:pt x="1964" y="735"/>
                  </a:cubicBezTo>
                  <a:lnTo>
                    <a:pt x="16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7" name="Google Shape;6067;p70"/>
          <p:cNvGrpSpPr/>
          <p:nvPr/>
        </p:nvGrpSpPr>
        <p:grpSpPr>
          <a:xfrm>
            <a:off x="4588276" y="3125886"/>
            <a:ext cx="343759" cy="339271"/>
            <a:chOff x="6232000" y="1435050"/>
            <a:chExt cx="488225" cy="481850"/>
          </a:xfrm>
        </p:grpSpPr>
        <p:sp>
          <p:nvSpPr>
            <p:cNvPr id="6068" name="Google Shape;6068;p70"/>
            <p:cNvSpPr/>
            <p:nvPr/>
          </p:nvSpPr>
          <p:spPr>
            <a:xfrm>
              <a:off x="6578000" y="1463375"/>
              <a:ext cx="83150" cy="78250"/>
            </a:xfrm>
            <a:custGeom>
              <a:avLst/>
              <a:gdLst/>
              <a:ahLst/>
              <a:cxnLst/>
              <a:rect l="l" t="t" r="r" b="b"/>
              <a:pathLst>
                <a:path w="3326" h="3130" extrusionOk="0">
                  <a:moveTo>
                    <a:pt x="482" y="1"/>
                  </a:moveTo>
                  <a:cubicBezTo>
                    <a:pt x="280" y="1"/>
                    <a:pt x="95" y="114"/>
                    <a:pt x="1" y="293"/>
                  </a:cubicBezTo>
                  <a:lnTo>
                    <a:pt x="3322" y="3130"/>
                  </a:lnTo>
                  <a:lnTo>
                    <a:pt x="3322" y="564"/>
                  </a:lnTo>
                  <a:cubicBezTo>
                    <a:pt x="3325" y="253"/>
                    <a:pt x="3072" y="1"/>
                    <a:pt x="2761" y="1"/>
                  </a:cubicBezTo>
                  <a:cubicBezTo>
                    <a:pt x="2760" y="1"/>
                    <a:pt x="2758" y="1"/>
                    <a:pt x="2756" y="1"/>
                  </a:cubicBezTo>
                  <a:lnTo>
                    <a:pt x="497" y="1"/>
                  </a:lnTo>
                  <a:cubicBezTo>
                    <a:pt x="492" y="1"/>
                    <a:pt x="487" y="1"/>
                    <a:pt x="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9" name="Google Shape;6069;p70"/>
            <p:cNvSpPr/>
            <p:nvPr/>
          </p:nvSpPr>
          <p:spPr>
            <a:xfrm>
              <a:off x="6421725" y="1773850"/>
              <a:ext cx="112950" cy="143050"/>
            </a:xfrm>
            <a:custGeom>
              <a:avLst/>
              <a:gdLst/>
              <a:ahLst/>
              <a:cxnLst/>
              <a:rect l="l" t="t" r="r" b="b"/>
              <a:pathLst>
                <a:path w="4518" h="5722" extrusionOk="0">
                  <a:moveTo>
                    <a:pt x="2822" y="1130"/>
                  </a:moveTo>
                  <a:cubicBezTo>
                    <a:pt x="3325" y="1130"/>
                    <a:pt x="3578" y="1738"/>
                    <a:pt x="3222" y="2093"/>
                  </a:cubicBezTo>
                  <a:cubicBezTo>
                    <a:pt x="3106" y="2209"/>
                    <a:pt x="2964" y="2260"/>
                    <a:pt x="2825" y="2260"/>
                  </a:cubicBezTo>
                  <a:cubicBezTo>
                    <a:pt x="2535" y="2260"/>
                    <a:pt x="2259" y="2036"/>
                    <a:pt x="2259" y="1696"/>
                  </a:cubicBezTo>
                  <a:cubicBezTo>
                    <a:pt x="2259" y="1383"/>
                    <a:pt x="2509" y="1130"/>
                    <a:pt x="2822" y="1130"/>
                  </a:cubicBezTo>
                  <a:close/>
                  <a:moveTo>
                    <a:pt x="0" y="1"/>
                  </a:moveTo>
                  <a:lnTo>
                    <a:pt x="0" y="5722"/>
                  </a:lnTo>
                  <a:lnTo>
                    <a:pt x="4517" y="5722"/>
                  </a:lnTo>
                  <a:lnTo>
                    <a:pt x="4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0" name="Google Shape;6070;p70"/>
            <p:cNvSpPr/>
            <p:nvPr/>
          </p:nvSpPr>
          <p:spPr>
            <a:xfrm>
              <a:off x="6448975" y="1632700"/>
              <a:ext cx="56475" cy="56475"/>
            </a:xfrm>
            <a:custGeom>
              <a:avLst/>
              <a:gdLst/>
              <a:ahLst/>
              <a:cxnLst/>
              <a:rect l="l" t="t" r="r" b="b"/>
              <a:pathLst>
                <a:path w="2259" h="2259" extrusionOk="0">
                  <a:moveTo>
                    <a:pt x="0" y="0"/>
                  </a:moveTo>
                  <a:lnTo>
                    <a:pt x="0" y="2259"/>
                  </a:lnTo>
                  <a:lnTo>
                    <a:pt x="2259" y="2259"/>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1" name="Google Shape;6071;p70"/>
            <p:cNvSpPr/>
            <p:nvPr/>
          </p:nvSpPr>
          <p:spPr>
            <a:xfrm>
              <a:off x="6232000" y="1435050"/>
              <a:ext cx="488225" cy="237825"/>
            </a:xfrm>
            <a:custGeom>
              <a:avLst/>
              <a:gdLst/>
              <a:ahLst/>
              <a:cxnLst/>
              <a:rect l="l" t="t" r="r" b="b"/>
              <a:pathLst>
                <a:path w="19529" h="9513" extrusionOk="0">
                  <a:moveTo>
                    <a:pt x="9821" y="0"/>
                  </a:moveTo>
                  <a:cubicBezTo>
                    <a:pt x="9559" y="0"/>
                    <a:pt x="9297" y="92"/>
                    <a:pt x="9086" y="276"/>
                  </a:cubicBezTo>
                  <a:lnTo>
                    <a:pt x="531" y="7521"/>
                  </a:lnTo>
                  <a:cubicBezTo>
                    <a:pt x="61" y="7921"/>
                    <a:pt x="1" y="8626"/>
                    <a:pt x="395" y="9099"/>
                  </a:cubicBezTo>
                  <a:cubicBezTo>
                    <a:pt x="620" y="9369"/>
                    <a:pt x="942" y="9508"/>
                    <a:pt x="1266" y="9508"/>
                  </a:cubicBezTo>
                  <a:cubicBezTo>
                    <a:pt x="1525" y="9508"/>
                    <a:pt x="1785" y="9419"/>
                    <a:pt x="1997" y="9237"/>
                  </a:cubicBezTo>
                  <a:lnTo>
                    <a:pt x="9821" y="2622"/>
                  </a:lnTo>
                  <a:lnTo>
                    <a:pt x="17544" y="9240"/>
                  </a:lnTo>
                  <a:cubicBezTo>
                    <a:pt x="17759" y="9425"/>
                    <a:pt x="18019" y="9513"/>
                    <a:pt x="18278" y="9513"/>
                  </a:cubicBezTo>
                  <a:cubicBezTo>
                    <a:pt x="18661" y="9513"/>
                    <a:pt x="19039" y="9318"/>
                    <a:pt x="19252" y="8954"/>
                  </a:cubicBezTo>
                  <a:cubicBezTo>
                    <a:pt x="19529" y="8482"/>
                    <a:pt x="19430" y="7879"/>
                    <a:pt x="19014" y="7524"/>
                  </a:cubicBezTo>
                  <a:lnTo>
                    <a:pt x="10555" y="276"/>
                  </a:lnTo>
                  <a:cubicBezTo>
                    <a:pt x="10345" y="92"/>
                    <a:pt x="10083" y="0"/>
                    <a:pt x="9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2" name="Google Shape;6072;p70"/>
            <p:cNvSpPr/>
            <p:nvPr/>
          </p:nvSpPr>
          <p:spPr>
            <a:xfrm>
              <a:off x="6291025" y="1537700"/>
              <a:ext cx="369800" cy="379200"/>
            </a:xfrm>
            <a:custGeom>
              <a:avLst/>
              <a:gdLst/>
              <a:ahLst/>
              <a:cxnLst/>
              <a:rect l="l" t="t" r="r" b="b"/>
              <a:pathLst>
                <a:path w="14792" h="15168" extrusionOk="0">
                  <a:moveTo>
                    <a:pt x="9143" y="2671"/>
                  </a:moveTo>
                  <a:cubicBezTo>
                    <a:pt x="9453" y="2671"/>
                    <a:pt x="9706" y="2924"/>
                    <a:pt x="9706" y="3237"/>
                  </a:cubicBezTo>
                  <a:lnTo>
                    <a:pt x="9706" y="6625"/>
                  </a:lnTo>
                  <a:cubicBezTo>
                    <a:pt x="9706" y="6935"/>
                    <a:pt x="9453" y="7188"/>
                    <a:pt x="9143" y="7188"/>
                  </a:cubicBezTo>
                  <a:lnTo>
                    <a:pt x="5755" y="7188"/>
                  </a:lnTo>
                  <a:cubicBezTo>
                    <a:pt x="5442" y="7188"/>
                    <a:pt x="5189" y="6935"/>
                    <a:pt x="5189" y="6625"/>
                  </a:cubicBezTo>
                  <a:lnTo>
                    <a:pt x="5189" y="3237"/>
                  </a:lnTo>
                  <a:cubicBezTo>
                    <a:pt x="5189" y="2924"/>
                    <a:pt x="5442" y="2671"/>
                    <a:pt x="5755" y="2671"/>
                  </a:cubicBezTo>
                  <a:close/>
                  <a:moveTo>
                    <a:pt x="7448" y="0"/>
                  </a:moveTo>
                  <a:lnTo>
                    <a:pt x="4" y="6291"/>
                  </a:lnTo>
                  <a:lnTo>
                    <a:pt x="4" y="14605"/>
                  </a:lnTo>
                  <a:cubicBezTo>
                    <a:pt x="1" y="14913"/>
                    <a:pt x="254" y="15168"/>
                    <a:pt x="564" y="15168"/>
                  </a:cubicBezTo>
                  <a:cubicBezTo>
                    <a:pt x="566" y="15168"/>
                    <a:pt x="568" y="15168"/>
                    <a:pt x="570" y="15168"/>
                  </a:cubicBezTo>
                  <a:lnTo>
                    <a:pt x="4060" y="15168"/>
                  </a:lnTo>
                  <a:lnTo>
                    <a:pt x="4060" y="8883"/>
                  </a:lnTo>
                  <a:cubicBezTo>
                    <a:pt x="4060" y="8570"/>
                    <a:pt x="4313" y="8317"/>
                    <a:pt x="4626" y="8317"/>
                  </a:cubicBezTo>
                  <a:lnTo>
                    <a:pt x="10272" y="8317"/>
                  </a:lnTo>
                  <a:cubicBezTo>
                    <a:pt x="10582" y="8317"/>
                    <a:pt x="10835" y="8570"/>
                    <a:pt x="10835" y="8883"/>
                  </a:cubicBezTo>
                  <a:lnTo>
                    <a:pt x="10835" y="15168"/>
                  </a:lnTo>
                  <a:lnTo>
                    <a:pt x="14223" y="15168"/>
                  </a:lnTo>
                  <a:cubicBezTo>
                    <a:pt x="14225" y="15168"/>
                    <a:pt x="14227" y="15168"/>
                    <a:pt x="14228" y="15168"/>
                  </a:cubicBezTo>
                  <a:cubicBezTo>
                    <a:pt x="14539" y="15168"/>
                    <a:pt x="14792" y="14913"/>
                    <a:pt x="14789" y="14605"/>
                  </a:cubicBezTo>
                  <a:lnTo>
                    <a:pt x="14789" y="6291"/>
                  </a:lnTo>
                  <a:lnTo>
                    <a:pt x="74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3" name="Google Shape;6073;p70"/>
          <p:cNvGrpSpPr/>
          <p:nvPr/>
        </p:nvGrpSpPr>
        <p:grpSpPr>
          <a:xfrm>
            <a:off x="849012" y="3539545"/>
            <a:ext cx="299929" cy="337792"/>
            <a:chOff x="924450" y="2028975"/>
            <a:chExt cx="425975" cy="479750"/>
          </a:xfrm>
        </p:grpSpPr>
        <p:sp>
          <p:nvSpPr>
            <p:cNvPr id="6074" name="Google Shape;6074;p70"/>
            <p:cNvSpPr/>
            <p:nvPr/>
          </p:nvSpPr>
          <p:spPr>
            <a:xfrm>
              <a:off x="1035500" y="2028975"/>
              <a:ext cx="314925" cy="153075"/>
            </a:xfrm>
            <a:custGeom>
              <a:avLst/>
              <a:gdLst/>
              <a:ahLst/>
              <a:cxnLst/>
              <a:rect l="l" t="t" r="r" b="b"/>
              <a:pathLst>
                <a:path w="12597" h="6123" extrusionOk="0">
                  <a:moveTo>
                    <a:pt x="12036" y="0"/>
                  </a:moveTo>
                  <a:cubicBezTo>
                    <a:pt x="11993" y="0"/>
                    <a:pt x="11948" y="5"/>
                    <a:pt x="11904" y="16"/>
                  </a:cubicBezTo>
                  <a:lnTo>
                    <a:pt x="437" y="2696"/>
                  </a:lnTo>
                  <a:cubicBezTo>
                    <a:pt x="181" y="2753"/>
                    <a:pt x="0" y="2982"/>
                    <a:pt x="0" y="3244"/>
                  </a:cubicBezTo>
                  <a:lnTo>
                    <a:pt x="0" y="6123"/>
                  </a:lnTo>
                  <a:lnTo>
                    <a:pt x="12596" y="3181"/>
                  </a:lnTo>
                  <a:lnTo>
                    <a:pt x="12596" y="564"/>
                  </a:lnTo>
                  <a:cubicBezTo>
                    <a:pt x="12596" y="245"/>
                    <a:pt x="12338" y="0"/>
                    <a:pt x="120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5" name="Google Shape;6075;p70"/>
            <p:cNvSpPr/>
            <p:nvPr/>
          </p:nvSpPr>
          <p:spPr>
            <a:xfrm>
              <a:off x="1212475" y="2137450"/>
              <a:ext cx="137950" cy="304275"/>
            </a:xfrm>
            <a:custGeom>
              <a:avLst/>
              <a:gdLst/>
              <a:ahLst/>
              <a:cxnLst/>
              <a:rect l="l" t="t" r="r" b="b"/>
              <a:pathLst>
                <a:path w="5518" h="12171" extrusionOk="0">
                  <a:moveTo>
                    <a:pt x="5517" y="1"/>
                  </a:moveTo>
                  <a:lnTo>
                    <a:pt x="4388" y="266"/>
                  </a:lnTo>
                  <a:lnTo>
                    <a:pt x="4388" y="7345"/>
                  </a:lnTo>
                  <a:cubicBezTo>
                    <a:pt x="3943" y="7029"/>
                    <a:pt x="3410" y="6861"/>
                    <a:pt x="2865" y="6861"/>
                  </a:cubicBezTo>
                  <a:cubicBezTo>
                    <a:pt x="1790" y="6861"/>
                    <a:pt x="823" y="7508"/>
                    <a:pt x="410" y="8499"/>
                  </a:cubicBezTo>
                  <a:cubicBezTo>
                    <a:pt x="1" y="9492"/>
                    <a:pt x="227" y="10634"/>
                    <a:pt x="986" y="11392"/>
                  </a:cubicBezTo>
                  <a:cubicBezTo>
                    <a:pt x="1495" y="11900"/>
                    <a:pt x="2174" y="12170"/>
                    <a:pt x="2865" y="12170"/>
                  </a:cubicBezTo>
                  <a:cubicBezTo>
                    <a:pt x="3207" y="12170"/>
                    <a:pt x="3551" y="12104"/>
                    <a:pt x="3879" y="11968"/>
                  </a:cubicBezTo>
                  <a:cubicBezTo>
                    <a:pt x="4873" y="11558"/>
                    <a:pt x="5517" y="10588"/>
                    <a:pt x="5517" y="9516"/>
                  </a:cubicBezTo>
                  <a:lnTo>
                    <a:pt x="5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6" name="Google Shape;6076;p70"/>
            <p:cNvSpPr/>
            <p:nvPr/>
          </p:nvSpPr>
          <p:spPr>
            <a:xfrm>
              <a:off x="924450" y="2204450"/>
              <a:ext cx="139300" cy="304275"/>
            </a:xfrm>
            <a:custGeom>
              <a:avLst/>
              <a:gdLst/>
              <a:ahLst/>
              <a:cxnLst/>
              <a:rect l="l" t="t" r="r" b="b"/>
              <a:pathLst>
                <a:path w="5572" h="12171" extrusionOk="0">
                  <a:moveTo>
                    <a:pt x="5572" y="1"/>
                  </a:moveTo>
                  <a:lnTo>
                    <a:pt x="4442" y="263"/>
                  </a:lnTo>
                  <a:lnTo>
                    <a:pt x="4442" y="7345"/>
                  </a:lnTo>
                  <a:cubicBezTo>
                    <a:pt x="3982" y="7023"/>
                    <a:pt x="3449" y="6864"/>
                    <a:pt x="2917" y="6864"/>
                  </a:cubicBezTo>
                  <a:cubicBezTo>
                    <a:pt x="2291" y="6864"/>
                    <a:pt x="1668" y="7085"/>
                    <a:pt x="1169" y="7520"/>
                  </a:cubicBezTo>
                  <a:cubicBezTo>
                    <a:pt x="251" y="8327"/>
                    <a:pt x="1" y="9655"/>
                    <a:pt x="564" y="10742"/>
                  </a:cubicBezTo>
                  <a:cubicBezTo>
                    <a:pt x="1030" y="11634"/>
                    <a:pt x="1946" y="12171"/>
                    <a:pt x="2916" y="12171"/>
                  </a:cubicBezTo>
                  <a:cubicBezTo>
                    <a:pt x="3126" y="12171"/>
                    <a:pt x="3338" y="12146"/>
                    <a:pt x="3548" y="12094"/>
                  </a:cubicBezTo>
                  <a:cubicBezTo>
                    <a:pt x="4738" y="11802"/>
                    <a:pt x="5572" y="10739"/>
                    <a:pt x="5572" y="9516"/>
                  </a:cubicBezTo>
                  <a:lnTo>
                    <a:pt x="55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7" name="Google Shape;6077;p70"/>
          <p:cNvGrpSpPr/>
          <p:nvPr/>
        </p:nvGrpSpPr>
        <p:grpSpPr>
          <a:xfrm>
            <a:off x="1661509" y="3559347"/>
            <a:ext cx="339306" cy="298186"/>
            <a:chOff x="2085450" y="2057100"/>
            <a:chExt cx="481900" cy="423500"/>
          </a:xfrm>
        </p:grpSpPr>
        <p:sp>
          <p:nvSpPr>
            <p:cNvPr id="6078" name="Google Shape;6078;p70"/>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9" name="Google Shape;6079;p70"/>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0" name="Google Shape;6080;p70"/>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1" name="Google Shape;6081;p70"/>
          <p:cNvGrpSpPr/>
          <p:nvPr/>
        </p:nvGrpSpPr>
        <p:grpSpPr>
          <a:xfrm>
            <a:off x="2089442" y="3582592"/>
            <a:ext cx="339306" cy="251698"/>
            <a:chOff x="2678275" y="2090100"/>
            <a:chExt cx="481900" cy="357475"/>
          </a:xfrm>
        </p:grpSpPr>
        <p:sp>
          <p:nvSpPr>
            <p:cNvPr id="6082" name="Google Shape;6082;p70"/>
            <p:cNvSpPr/>
            <p:nvPr/>
          </p:nvSpPr>
          <p:spPr>
            <a:xfrm>
              <a:off x="2899450" y="2249100"/>
              <a:ext cx="39550" cy="39550"/>
            </a:xfrm>
            <a:custGeom>
              <a:avLst/>
              <a:gdLst/>
              <a:ahLst/>
              <a:cxnLst/>
              <a:rect l="l" t="t" r="r" b="b"/>
              <a:pathLst>
                <a:path w="1582" h="1582" extrusionOk="0">
                  <a:moveTo>
                    <a:pt x="793" y="1"/>
                  </a:moveTo>
                  <a:cubicBezTo>
                    <a:pt x="356" y="1"/>
                    <a:pt x="1" y="353"/>
                    <a:pt x="1" y="790"/>
                  </a:cubicBezTo>
                  <a:cubicBezTo>
                    <a:pt x="1" y="1226"/>
                    <a:pt x="356" y="1581"/>
                    <a:pt x="793" y="1581"/>
                  </a:cubicBezTo>
                  <a:cubicBezTo>
                    <a:pt x="1227" y="1581"/>
                    <a:pt x="1582" y="1226"/>
                    <a:pt x="1582" y="790"/>
                  </a:cubicBezTo>
                  <a:cubicBezTo>
                    <a:pt x="1582" y="353"/>
                    <a:pt x="1227" y="1"/>
                    <a:pt x="7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3" name="Google Shape;6083;p70"/>
            <p:cNvSpPr/>
            <p:nvPr/>
          </p:nvSpPr>
          <p:spPr>
            <a:xfrm>
              <a:off x="3092400" y="2249100"/>
              <a:ext cx="39550" cy="39550"/>
            </a:xfrm>
            <a:custGeom>
              <a:avLst/>
              <a:gdLst/>
              <a:ahLst/>
              <a:cxnLst/>
              <a:rect l="l" t="t" r="r" b="b"/>
              <a:pathLst>
                <a:path w="1582" h="1582" extrusionOk="0">
                  <a:moveTo>
                    <a:pt x="790" y="1"/>
                  </a:moveTo>
                  <a:cubicBezTo>
                    <a:pt x="353" y="1"/>
                    <a:pt x="1" y="353"/>
                    <a:pt x="1" y="790"/>
                  </a:cubicBezTo>
                  <a:cubicBezTo>
                    <a:pt x="1" y="1226"/>
                    <a:pt x="353" y="1581"/>
                    <a:pt x="790" y="1581"/>
                  </a:cubicBezTo>
                  <a:cubicBezTo>
                    <a:pt x="1226" y="1581"/>
                    <a:pt x="1582" y="1226"/>
                    <a:pt x="1582" y="790"/>
                  </a:cubicBezTo>
                  <a:cubicBezTo>
                    <a:pt x="1582" y="353"/>
                    <a:pt x="1226" y="1"/>
                    <a:pt x="7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4" name="Google Shape;6084;p70"/>
            <p:cNvSpPr/>
            <p:nvPr/>
          </p:nvSpPr>
          <p:spPr>
            <a:xfrm>
              <a:off x="2678350" y="2389425"/>
              <a:ext cx="481825" cy="58150"/>
            </a:xfrm>
            <a:custGeom>
              <a:avLst/>
              <a:gdLst/>
              <a:ahLst/>
              <a:cxnLst/>
              <a:rect l="l" t="t" r="r" b="b"/>
              <a:pathLst>
                <a:path w="19273" h="2326" extrusionOk="0">
                  <a:moveTo>
                    <a:pt x="1" y="1"/>
                  </a:moveTo>
                  <a:lnTo>
                    <a:pt x="1" y="1759"/>
                  </a:lnTo>
                  <a:cubicBezTo>
                    <a:pt x="1" y="2072"/>
                    <a:pt x="251" y="2325"/>
                    <a:pt x="564" y="2325"/>
                  </a:cubicBezTo>
                  <a:lnTo>
                    <a:pt x="18707" y="2325"/>
                  </a:lnTo>
                  <a:cubicBezTo>
                    <a:pt x="19020" y="2325"/>
                    <a:pt x="19273" y="2072"/>
                    <a:pt x="19273" y="1759"/>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5" name="Google Shape;6085;p70"/>
            <p:cNvSpPr/>
            <p:nvPr/>
          </p:nvSpPr>
          <p:spPr>
            <a:xfrm>
              <a:off x="2706600" y="2249100"/>
              <a:ext cx="39550" cy="39550"/>
            </a:xfrm>
            <a:custGeom>
              <a:avLst/>
              <a:gdLst/>
              <a:ahLst/>
              <a:cxnLst/>
              <a:rect l="l" t="t" r="r" b="b"/>
              <a:pathLst>
                <a:path w="1582" h="1582" extrusionOk="0">
                  <a:moveTo>
                    <a:pt x="789" y="1"/>
                  </a:moveTo>
                  <a:cubicBezTo>
                    <a:pt x="352" y="1"/>
                    <a:pt x="0" y="353"/>
                    <a:pt x="0" y="790"/>
                  </a:cubicBezTo>
                  <a:cubicBezTo>
                    <a:pt x="0" y="1226"/>
                    <a:pt x="352" y="1581"/>
                    <a:pt x="789" y="1581"/>
                  </a:cubicBezTo>
                  <a:cubicBezTo>
                    <a:pt x="1226" y="1581"/>
                    <a:pt x="1581" y="1226"/>
                    <a:pt x="1581" y="790"/>
                  </a:cubicBezTo>
                  <a:cubicBezTo>
                    <a:pt x="1581" y="353"/>
                    <a:pt x="1226" y="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6" name="Google Shape;6086;p70"/>
            <p:cNvSpPr/>
            <p:nvPr/>
          </p:nvSpPr>
          <p:spPr>
            <a:xfrm>
              <a:off x="2678275" y="2090100"/>
              <a:ext cx="481900" cy="271125"/>
            </a:xfrm>
            <a:custGeom>
              <a:avLst/>
              <a:gdLst/>
              <a:ahLst/>
              <a:cxnLst/>
              <a:rect l="l" t="t" r="r" b="b"/>
              <a:pathLst>
                <a:path w="19276" h="10845" extrusionOk="0">
                  <a:moveTo>
                    <a:pt x="9638" y="5229"/>
                  </a:moveTo>
                  <a:cubicBezTo>
                    <a:pt x="9885" y="5229"/>
                    <a:pt x="10134" y="5277"/>
                    <a:pt x="10372" y="5376"/>
                  </a:cubicBezTo>
                  <a:cubicBezTo>
                    <a:pt x="11091" y="5674"/>
                    <a:pt x="11558" y="6373"/>
                    <a:pt x="11558" y="7150"/>
                  </a:cubicBezTo>
                  <a:cubicBezTo>
                    <a:pt x="11558" y="8209"/>
                    <a:pt x="10697" y="9068"/>
                    <a:pt x="9640" y="9071"/>
                  </a:cubicBezTo>
                  <a:cubicBezTo>
                    <a:pt x="8863" y="9071"/>
                    <a:pt x="8161" y="8601"/>
                    <a:pt x="7866" y="7884"/>
                  </a:cubicBezTo>
                  <a:cubicBezTo>
                    <a:pt x="7568" y="7168"/>
                    <a:pt x="7731" y="6343"/>
                    <a:pt x="8282" y="5791"/>
                  </a:cubicBezTo>
                  <a:cubicBezTo>
                    <a:pt x="8648" y="5425"/>
                    <a:pt x="9139" y="5229"/>
                    <a:pt x="9638" y="5229"/>
                  </a:cubicBezTo>
                  <a:close/>
                  <a:moveTo>
                    <a:pt x="571" y="1"/>
                  </a:moveTo>
                  <a:cubicBezTo>
                    <a:pt x="281" y="1"/>
                    <a:pt x="3" y="226"/>
                    <a:pt x="1" y="567"/>
                  </a:cubicBezTo>
                  <a:lnTo>
                    <a:pt x="1" y="7150"/>
                  </a:lnTo>
                  <a:cubicBezTo>
                    <a:pt x="1" y="6373"/>
                    <a:pt x="471" y="5674"/>
                    <a:pt x="1187" y="5376"/>
                  </a:cubicBezTo>
                  <a:cubicBezTo>
                    <a:pt x="1425" y="5277"/>
                    <a:pt x="1674" y="5229"/>
                    <a:pt x="1921" y="5229"/>
                  </a:cubicBezTo>
                  <a:cubicBezTo>
                    <a:pt x="2420" y="5229"/>
                    <a:pt x="2912" y="5425"/>
                    <a:pt x="3280" y="5791"/>
                  </a:cubicBezTo>
                  <a:cubicBezTo>
                    <a:pt x="3828" y="6343"/>
                    <a:pt x="3994" y="7168"/>
                    <a:pt x="3696" y="7884"/>
                  </a:cubicBezTo>
                  <a:cubicBezTo>
                    <a:pt x="3398" y="8601"/>
                    <a:pt x="2699" y="9071"/>
                    <a:pt x="1922" y="9071"/>
                  </a:cubicBezTo>
                  <a:cubicBezTo>
                    <a:pt x="862" y="9068"/>
                    <a:pt x="4" y="8209"/>
                    <a:pt x="1" y="7150"/>
                  </a:cubicBezTo>
                  <a:lnTo>
                    <a:pt x="1" y="10844"/>
                  </a:lnTo>
                  <a:lnTo>
                    <a:pt x="19276" y="10844"/>
                  </a:lnTo>
                  <a:lnTo>
                    <a:pt x="19276" y="7150"/>
                  </a:lnTo>
                  <a:cubicBezTo>
                    <a:pt x="19276" y="7926"/>
                    <a:pt x="18806" y="8625"/>
                    <a:pt x="18089" y="8923"/>
                  </a:cubicBezTo>
                  <a:cubicBezTo>
                    <a:pt x="17852" y="9022"/>
                    <a:pt x="17603" y="9070"/>
                    <a:pt x="17356" y="9070"/>
                  </a:cubicBezTo>
                  <a:cubicBezTo>
                    <a:pt x="16857" y="9070"/>
                    <a:pt x="16365" y="8874"/>
                    <a:pt x="15997" y="8508"/>
                  </a:cubicBezTo>
                  <a:cubicBezTo>
                    <a:pt x="15449" y="7957"/>
                    <a:pt x="15283" y="7131"/>
                    <a:pt x="15581" y="6415"/>
                  </a:cubicBezTo>
                  <a:cubicBezTo>
                    <a:pt x="15879" y="5698"/>
                    <a:pt x="16578" y="5231"/>
                    <a:pt x="17355" y="5231"/>
                  </a:cubicBezTo>
                  <a:cubicBezTo>
                    <a:pt x="18415" y="5231"/>
                    <a:pt x="19273" y="6090"/>
                    <a:pt x="19276" y="7150"/>
                  </a:cubicBezTo>
                  <a:lnTo>
                    <a:pt x="19276" y="567"/>
                  </a:lnTo>
                  <a:cubicBezTo>
                    <a:pt x="19276" y="341"/>
                    <a:pt x="19137" y="133"/>
                    <a:pt x="18927" y="46"/>
                  </a:cubicBezTo>
                  <a:cubicBezTo>
                    <a:pt x="18857" y="17"/>
                    <a:pt x="18783" y="2"/>
                    <a:pt x="18709" y="2"/>
                  </a:cubicBezTo>
                  <a:cubicBezTo>
                    <a:pt x="18564" y="2"/>
                    <a:pt x="18420" y="58"/>
                    <a:pt x="18312" y="166"/>
                  </a:cubicBezTo>
                  <a:lnTo>
                    <a:pt x="14783" y="3641"/>
                  </a:lnTo>
                  <a:lnTo>
                    <a:pt x="9971" y="112"/>
                  </a:lnTo>
                  <a:cubicBezTo>
                    <a:pt x="9871" y="38"/>
                    <a:pt x="9754" y="1"/>
                    <a:pt x="9636" y="1"/>
                  </a:cubicBezTo>
                  <a:cubicBezTo>
                    <a:pt x="9517" y="1"/>
                    <a:pt x="9397" y="39"/>
                    <a:pt x="9297" y="115"/>
                  </a:cubicBezTo>
                  <a:lnTo>
                    <a:pt x="4656" y="3641"/>
                  </a:lnTo>
                  <a:lnTo>
                    <a:pt x="952" y="154"/>
                  </a:lnTo>
                  <a:cubicBezTo>
                    <a:pt x="840" y="48"/>
                    <a:pt x="704" y="1"/>
                    <a:pt x="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7" name="Google Shape;6087;p70"/>
          <p:cNvGrpSpPr/>
          <p:nvPr/>
        </p:nvGrpSpPr>
        <p:grpSpPr>
          <a:xfrm>
            <a:off x="2566646" y="3594790"/>
            <a:ext cx="219345" cy="227301"/>
            <a:chOff x="3357325" y="2093500"/>
            <a:chExt cx="311525" cy="322825"/>
          </a:xfrm>
        </p:grpSpPr>
        <p:sp>
          <p:nvSpPr>
            <p:cNvPr id="6088" name="Google Shape;6088;p70"/>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9" name="Google Shape;6089;p70"/>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0" name="Google Shape;6090;p70"/>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091" name="Google Shape;6091;p70"/>
          <p:cNvSpPr/>
          <p:nvPr/>
        </p:nvSpPr>
        <p:spPr>
          <a:xfrm>
            <a:off x="2921919" y="3550464"/>
            <a:ext cx="333673" cy="315824"/>
          </a:xfrm>
          <a:custGeom>
            <a:avLst/>
            <a:gdLst/>
            <a:ahLst/>
            <a:cxnLst/>
            <a:rect l="l" t="t" r="r" b="b"/>
            <a:pathLst>
              <a:path w="18956" h="17942" extrusionOk="0">
                <a:moveTo>
                  <a:pt x="6270" y="9375"/>
                </a:moveTo>
                <a:lnTo>
                  <a:pt x="6267" y="16812"/>
                </a:lnTo>
                <a:lnTo>
                  <a:pt x="1130" y="16812"/>
                </a:lnTo>
                <a:lnTo>
                  <a:pt x="1130" y="13545"/>
                </a:lnTo>
                <a:lnTo>
                  <a:pt x="6270" y="9375"/>
                </a:lnTo>
                <a:close/>
                <a:moveTo>
                  <a:pt x="7399" y="9116"/>
                </a:moveTo>
                <a:lnTo>
                  <a:pt x="12103" y="11534"/>
                </a:lnTo>
                <a:lnTo>
                  <a:pt x="12100" y="16812"/>
                </a:lnTo>
                <a:lnTo>
                  <a:pt x="7399" y="16812"/>
                </a:lnTo>
                <a:lnTo>
                  <a:pt x="7399" y="9116"/>
                </a:lnTo>
                <a:close/>
                <a:moveTo>
                  <a:pt x="564" y="1"/>
                </a:moveTo>
                <a:cubicBezTo>
                  <a:pt x="251" y="1"/>
                  <a:pt x="1" y="254"/>
                  <a:pt x="1" y="564"/>
                </a:cubicBezTo>
                <a:lnTo>
                  <a:pt x="1" y="13274"/>
                </a:lnTo>
                <a:lnTo>
                  <a:pt x="1" y="17376"/>
                </a:lnTo>
                <a:cubicBezTo>
                  <a:pt x="1" y="17689"/>
                  <a:pt x="251" y="17942"/>
                  <a:pt x="564" y="17942"/>
                </a:cubicBezTo>
                <a:lnTo>
                  <a:pt x="18324" y="17942"/>
                </a:lnTo>
                <a:cubicBezTo>
                  <a:pt x="18637" y="17942"/>
                  <a:pt x="18890" y="17689"/>
                  <a:pt x="18890" y="17376"/>
                </a:cubicBezTo>
                <a:cubicBezTo>
                  <a:pt x="18890" y="17062"/>
                  <a:pt x="18637" y="16812"/>
                  <a:pt x="18324" y="16812"/>
                </a:cubicBezTo>
                <a:lnTo>
                  <a:pt x="13232" y="16812"/>
                </a:lnTo>
                <a:lnTo>
                  <a:pt x="13232" y="11425"/>
                </a:lnTo>
                <a:lnTo>
                  <a:pt x="16210" y="8444"/>
                </a:lnTo>
                <a:lnTo>
                  <a:pt x="17400" y="9634"/>
                </a:lnTo>
                <a:cubicBezTo>
                  <a:pt x="17514" y="9748"/>
                  <a:pt x="17656" y="9799"/>
                  <a:pt x="17796" y="9799"/>
                </a:cubicBezTo>
                <a:cubicBezTo>
                  <a:pt x="18059" y="9799"/>
                  <a:pt x="18314" y="9616"/>
                  <a:pt x="18357" y="9317"/>
                </a:cubicBezTo>
                <a:lnTo>
                  <a:pt x="18905" y="5592"/>
                </a:lnTo>
                <a:cubicBezTo>
                  <a:pt x="18955" y="5247"/>
                  <a:pt x="18683" y="4948"/>
                  <a:pt x="18347" y="4948"/>
                </a:cubicBezTo>
                <a:cubicBezTo>
                  <a:pt x="18320" y="4948"/>
                  <a:pt x="18292" y="4950"/>
                  <a:pt x="18264" y="4954"/>
                </a:cubicBezTo>
                <a:lnTo>
                  <a:pt x="14539" y="5502"/>
                </a:lnTo>
                <a:cubicBezTo>
                  <a:pt x="14078" y="5568"/>
                  <a:pt x="13895" y="6132"/>
                  <a:pt x="14223" y="6460"/>
                </a:cubicBezTo>
                <a:lnTo>
                  <a:pt x="15412" y="7649"/>
                </a:lnTo>
                <a:lnTo>
                  <a:pt x="12558" y="10501"/>
                </a:lnTo>
                <a:lnTo>
                  <a:pt x="7092" y="7688"/>
                </a:lnTo>
                <a:lnTo>
                  <a:pt x="7059" y="7673"/>
                </a:lnTo>
                <a:lnTo>
                  <a:pt x="7044" y="7667"/>
                </a:lnTo>
                <a:cubicBezTo>
                  <a:pt x="7032" y="7661"/>
                  <a:pt x="7020" y="7658"/>
                  <a:pt x="7008" y="7655"/>
                </a:cubicBezTo>
                <a:cubicBezTo>
                  <a:pt x="7002" y="7652"/>
                  <a:pt x="6996" y="7649"/>
                  <a:pt x="6990" y="7649"/>
                </a:cubicBezTo>
                <a:lnTo>
                  <a:pt x="6957" y="7640"/>
                </a:lnTo>
                <a:lnTo>
                  <a:pt x="6942" y="7637"/>
                </a:lnTo>
                <a:cubicBezTo>
                  <a:pt x="6926" y="7634"/>
                  <a:pt x="6908" y="7631"/>
                  <a:pt x="6893" y="7628"/>
                </a:cubicBezTo>
                <a:lnTo>
                  <a:pt x="6770" y="7628"/>
                </a:lnTo>
                <a:cubicBezTo>
                  <a:pt x="6758" y="7631"/>
                  <a:pt x="6743" y="7634"/>
                  <a:pt x="6728" y="7637"/>
                </a:cubicBezTo>
                <a:lnTo>
                  <a:pt x="6710" y="7640"/>
                </a:lnTo>
                <a:lnTo>
                  <a:pt x="6680" y="7649"/>
                </a:lnTo>
                <a:lnTo>
                  <a:pt x="6658" y="7652"/>
                </a:lnTo>
                <a:cubicBezTo>
                  <a:pt x="6646" y="7658"/>
                  <a:pt x="6631" y="7664"/>
                  <a:pt x="6616" y="7670"/>
                </a:cubicBezTo>
                <a:cubicBezTo>
                  <a:pt x="6610" y="7670"/>
                  <a:pt x="6607" y="7673"/>
                  <a:pt x="6601" y="7676"/>
                </a:cubicBezTo>
                <a:cubicBezTo>
                  <a:pt x="6595" y="7679"/>
                  <a:pt x="6583" y="7685"/>
                  <a:pt x="6574" y="7688"/>
                </a:cubicBezTo>
                <a:lnTo>
                  <a:pt x="6556" y="7700"/>
                </a:lnTo>
                <a:cubicBezTo>
                  <a:pt x="6547" y="7703"/>
                  <a:pt x="6538" y="7709"/>
                  <a:pt x="6529" y="7715"/>
                </a:cubicBezTo>
                <a:lnTo>
                  <a:pt x="6514" y="7724"/>
                </a:lnTo>
                <a:cubicBezTo>
                  <a:pt x="6502" y="7733"/>
                  <a:pt x="6490" y="7743"/>
                  <a:pt x="6475" y="7752"/>
                </a:cubicBezTo>
                <a:lnTo>
                  <a:pt x="6475" y="7755"/>
                </a:lnTo>
                <a:lnTo>
                  <a:pt x="1130" y="12091"/>
                </a:lnTo>
                <a:lnTo>
                  <a:pt x="1130" y="564"/>
                </a:lnTo>
                <a:cubicBezTo>
                  <a:pt x="1130" y="254"/>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092" name="Google Shape;6092;p70"/>
          <p:cNvGrpSpPr/>
          <p:nvPr/>
        </p:nvGrpSpPr>
        <p:grpSpPr>
          <a:xfrm>
            <a:off x="3360836" y="3538814"/>
            <a:ext cx="292078" cy="339253"/>
            <a:chOff x="4492800" y="2027925"/>
            <a:chExt cx="414825" cy="481825"/>
          </a:xfrm>
        </p:grpSpPr>
        <p:sp>
          <p:nvSpPr>
            <p:cNvPr id="6093" name="Google Shape;6093;p70"/>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4" name="Google Shape;6094;p70"/>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95" name="Google Shape;6095;p70"/>
          <p:cNvGrpSpPr/>
          <p:nvPr/>
        </p:nvGrpSpPr>
        <p:grpSpPr>
          <a:xfrm>
            <a:off x="3759928" y="3538805"/>
            <a:ext cx="339200" cy="339271"/>
            <a:chOff x="5049725" y="2027900"/>
            <a:chExt cx="481750" cy="481850"/>
          </a:xfrm>
        </p:grpSpPr>
        <p:sp>
          <p:nvSpPr>
            <p:cNvPr id="6096" name="Google Shape;6096;p70"/>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7" name="Google Shape;6097;p70"/>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8" name="Google Shape;6098;p70"/>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9" name="Google Shape;6099;p70"/>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0" name="Google Shape;6100;p70"/>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1" name="Google Shape;6101;p70"/>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2" name="Google Shape;6102;p70"/>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3" name="Google Shape;6103;p70"/>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4" name="Google Shape;6104;p70"/>
          <p:cNvGrpSpPr/>
          <p:nvPr/>
        </p:nvGrpSpPr>
        <p:grpSpPr>
          <a:xfrm>
            <a:off x="4233524" y="3538893"/>
            <a:ext cx="219890" cy="339095"/>
            <a:chOff x="5726350" y="2028150"/>
            <a:chExt cx="312300" cy="481600"/>
          </a:xfrm>
        </p:grpSpPr>
        <p:sp>
          <p:nvSpPr>
            <p:cNvPr id="6105" name="Google Shape;6105;p70"/>
            <p:cNvSpPr/>
            <p:nvPr/>
          </p:nvSpPr>
          <p:spPr>
            <a:xfrm>
              <a:off x="5756075" y="2028150"/>
              <a:ext cx="252825" cy="83275"/>
            </a:xfrm>
            <a:custGeom>
              <a:avLst/>
              <a:gdLst/>
              <a:ahLst/>
              <a:cxnLst/>
              <a:rect l="l" t="t" r="r" b="b"/>
              <a:pathLst>
                <a:path w="10113" h="3331" extrusionOk="0">
                  <a:moveTo>
                    <a:pt x="1639" y="1"/>
                  </a:moveTo>
                  <a:cubicBezTo>
                    <a:pt x="730" y="13"/>
                    <a:pt x="1" y="753"/>
                    <a:pt x="1" y="1666"/>
                  </a:cubicBezTo>
                  <a:cubicBezTo>
                    <a:pt x="1" y="2575"/>
                    <a:pt x="730" y="3316"/>
                    <a:pt x="1639" y="3331"/>
                  </a:cubicBezTo>
                  <a:lnTo>
                    <a:pt x="8474" y="3331"/>
                  </a:lnTo>
                  <a:cubicBezTo>
                    <a:pt x="9384" y="3316"/>
                    <a:pt x="10113" y="2575"/>
                    <a:pt x="10113" y="1666"/>
                  </a:cubicBezTo>
                  <a:cubicBezTo>
                    <a:pt x="10113" y="753"/>
                    <a:pt x="9384" y="13"/>
                    <a:pt x="8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6" name="Google Shape;6106;p70"/>
            <p:cNvSpPr/>
            <p:nvPr/>
          </p:nvSpPr>
          <p:spPr>
            <a:xfrm>
              <a:off x="5726350" y="2139650"/>
              <a:ext cx="312300" cy="224425"/>
            </a:xfrm>
            <a:custGeom>
              <a:avLst/>
              <a:gdLst/>
              <a:ahLst/>
              <a:cxnLst/>
              <a:rect l="l" t="t" r="r" b="b"/>
              <a:pathLst>
                <a:path w="12492" h="8977" extrusionOk="0">
                  <a:moveTo>
                    <a:pt x="2822" y="0"/>
                  </a:moveTo>
                  <a:lnTo>
                    <a:pt x="2822" y="4800"/>
                  </a:lnTo>
                  <a:cubicBezTo>
                    <a:pt x="1527" y="5589"/>
                    <a:pt x="542" y="6797"/>
                    <a:pt x="36" y="8224"/>
                  </a:cubicBezTo>
                  <a:lnTo>
                    <a:pt x="30" y="8233"/>
                  </a:lnTo>
                  <a:cubicBezTo>
                    <a:pt x="27" y="8242"/>
                    <a:pt x="24" y="8254"/>
                    <a:pt x="21" y="8266"/>
                  </a:cubicBezTo>
                  <a:cubicBezTo>
                    <a:pt x="18" y="8278"/>
                    <a:pt x="15" y="8281"/>
                    <a:pt x="15" y="8287"/>
                  </a:cubicBezTo>
                  <a:cubicBezTo>
                    <a:pt x="12" y="8296"/>
                    <a:pt x="9" y="8308"/>
                    <a:pt x="9" y="8317"/>
                  </a:cubicBezTo>
                  <a:cubicBezTo>
                    <a:pt x="6" y="8326"/>
                    <a:pt x="6" y="8335"/>
                    <a:pt x="3" y="8347"/>
                  </a:cubicBezTo>
                  <a:cubicBezTo>
                    <a:pt x="3" y="8356"/>
                    <a:pt x="3" y="8362"/>
                    <a:pt x="3" y="8368"/>
                  </a:cubicBezTo>
                  <a:cubicBezTo>
                    <a:pt x="0" y="8378"/>
                    <a:pt x="3" y="8393"/>
                    <a:pt x="3" y="8405"/>
                  </a:cubicBezTo>
                  <a:cubicBezTo>
                    <a:pt x="3" y="8408"/>
                    <a:pt x="3" y="8411"/>
                    <a:pt x="3" y="8414"/>
                  </a:cubicBezTo>
                  <a:lnTo>
                    <a:pt x="3" y="8426"/>
                  </a:lnTo>
                  <a:cubicBezTo>
                    <a:pt x="3" y="8438"/>
                    <a:pt x="3" y="8450"/>
                    <a:pt x="3" y="8462"/>
                  </a:cubicBezTo>
                  <a:lnTo>
                    <a:pt x="6" y="8483"/>
                  </a:lnTo>
                  <a:cubicBezTo>
                    <a:pt x="6" y="8495"/>
                    <a:pt x="9" y="8504"/>
                    <a:pt x="12" y="8513"/>
                  </a:cubicBezTo>
                  <a:cubicBezTo>
                    <a:pt x="12" y="8525"/>
                    <a:pt x="15" y="8531"/>
                    <a:pt x="15" y="8540"/>
                  </a:cubicBezTo>
                  <a:cubicBezTo>
                    <a:pt x="18" y="8549"/>
                    <a:pt x="21" y="8558"/>
                    <a:pt x="21" y="8564"/>
                  </a:cubicBezTo>
                  <a:cubicBezTo>
                    <a:pt x="24" y="8573"/>
                    <a:pt x="27" y="8585"/>
                    <a:pt x="33" y="8594"/>
                  </a:cubicBezTo>
                  <a:cubicBezTo>
                    <a:pt x="36" y="8606"/>
                    <a:pt x="36" y="8609"/>
                    <a:pt x="40" y="8615"/>
                  </a:cubicBezTo>
                  <a:cubicBezTo>
                    <a:pt x="43" y="8624"/>
                    <a:pt x="49" y="8636"/>
                    <a:pt x="52" y="8646"/>
                  </a:cubicBezTo>
                  <a:cubicBezTo>
                    <a:pt x="58" y="8658"/>
                    <a:pt x="58" y="8661"/>
                    <a:pt x="61" y="8667"/>
                  </a:cubicBezTo>
                  <a:cubicBezTo>
                    <a:pt x="67" y="8673"/>
                    <a:pt x="73" y="8685"/>
                    <a:pt x="76" y="8694"/>
                  </a:cubicBezTo>
                  <a:cubicBezTo>
                    <a:pt x="82" y="8703"/>
                    <a:pt x="85" y="8709"/>
                    <a:pt x="88" y="8715"/>
                  </a:cubicBezTo>
                  <a:cubicBezTo>
                    <a:pt x="94" y="8721"/>
                    <a:pt x="100" y="8730"/>
                    <a:pt x="106" y="8739"/>
                  </a:cubicBezTo>
                  <a:cubicBezTo>
                    <a:pt x="112" y="8748"/>
                    <a:pt x="115" y="8754"/>
                    <a:pt x="121" y="8760"/>
                  </a:cubicBezTo>
                  <a:cubicBezTo>
                    <a:pt x="127" y="8769"/>
                    <a:pt x="133" y="8775"/>
                    <a:pt x="139" y="8781"/>
                  </a:cubicBezTo>
                  <a:cubicBezTo>
                    <a:pt x="145" y="8787"/>
                    <a:pt x="151" y="8796"/>
                    <a:pt x="157" y="8802"/>
                  </a:cubicBezTo>
                  <a:lnTo>
                    <a:pt x="175" y="8820"/>
                  </a:lnTo>
                  <a:cubicBezTo>
                    <a:pt x="181" y="8826"/>
                    <a:pt x="190" y="8832"/>
                    <a:pt x="196" y="8841"/>
                  </a:cubicBezTo>
                  <a:lnTo>
                    <a:pt x="217" y="8856"/>
                  </a:lnTo>
                  <a:lnTo>
                    <a:pt x="238" y="8874"/>
                  </a:lnTo>
                  <a:lnTo>
                    <a:pt x="262" y="8889"/>
                  </a:lnTo>
                  <a:lnTo>
                    <a:pt x="283" y="8901"/>
                  </a:lnTo>
                  <a:lnTo>
                    <a:pt x="314" y="8917"/>
                  </a:lnTo>
                  <a:cubicBezTo>
                    <a:pt x="320" y="8920"/>
                    <a:pt x="326" y="8923"/>
                    <a:pt x="332" y="8926"/>
                  </a:cubicBezTo>
                  <a:cubicBezTo>
                    <a:pt x="341" y="8929"/>
                    <a:pt x="356" y="8938"/>
                    <a:pt x="368" y="8941"/>
                  </a:cubicBezTo>
                  <a:lnTo>
                    <a:pt x="377" y="8947"/>
                  </a:lnTo>
                  <a:lnTo>
                    <a:pt x="386" y="8947"/>
                  </a:lnTo>
                  <a:lnTo>
                    <a:pt x="413" y="8956"/>
                  </a:lnTo>
                  <a:lnTo>
                    <a:pt x="437" y="8962"/>
                  </a:lnTo>
                  <a:lnTo>
                    <a:pt x="461" y="8968"/>
                  </a:lnTo>
                  <a:cubicBezTo>
                    <a:pt x="473" y="8971"/>
                    <a:pt x="485" y="8971"/>
                    <a:pt x="497" y="8974"/>
                  </a:cubicBezTo>
                  <a:lnTo>
                    <a:pt x="512" y="8977"/>
                  </a:lnTo>
                  <a:lnTo>
                    <a:pt x="11928" y="8977"/>
                  </a:lnTo>
                  <a:cubicBezTo>
                    <a:pt x="11946" y="8977"/>
                    <a:pt x="11967" y="8977"/>
                    <a:pt x="11985" y="8974"/>
                  </a:cubicBezTo>
                  <a:lnTo>
                    <a:pt x="11991" y="8974"/>
                  </a:lnTo>
                  <a:cubicBezTo>
                    <a:pt x="12006" y="8974"/>
                    <a:pt x="12021" y="8971"/>
                    <a:pt x="12033" y="8968"/>
                  </a:cubicBezTo>
                  <a:lnTo>
                    <a:pt x="12051" y="8965"/>
                  </a:lnTo>
                  <a:cubicBezTo>
                    <a:pt x="12063" y="8962"/>
                    <a:pt x="12072" y="8959"/>
                    <a:pt x="12085" y="8956"/>
                  </a:cubicBezTo>
                  <a:lnTo>
                    <a:pt x="12106" y="8950"/>
                  </a:lnTo>
                  <a:lnTo>
                    <a:pt x="12118" y="8947"/>
                  </a:lnTo>
                  <a:lnTo>
                    <a:pt x="12130" y="8941"/>
                  </a:lnTo>
                  <a:lnTo>
                    <a:pt x="12160" y="8929"/>
                  </a:lnTo>
                  <a:lnTo>
                    <a:pt x="12184" y="8917"/>
                  </a:lnTo>
                  <a:cubicBezTo>
                    <a:pt x="12193" y="8914"/>
                    <a:pt x="12199" y="8907"/>
                    <a:pt x="12208" y="8904"/>
                  </a:cubicBezTo>
                  <a:cubicBezTo>
                    <a:pt x="12214" y="8898"/>
                    <a:pt x="12226" y="8892"/>
                    <a:pt x="12235" y="8889"/>
                  </a:cubicBezTo>
                  <a:lnTo>
                    <a:pt x="12253" y="8877"/>
                  </a:lnTo>
                  <a:cubicBezTo>
                    <a:pt x="12262" y="8868"/>
                    <a:pt x="12271" y="8862"/>
                    <a:pt x="12280" y="8856"/>
                  </a:cubicBezTo>
                  <a:lnTo>
                    <a:pt x="12295" y="8844"/>
                  </a:lnTo>
                  <a:cubicBezTo>
                    <a:pt x="12304" y="8835"/>
                    <a:pt x="12313" y="8826"/>
                    <a:pt x="12319" y="8820"/>
                  </a:cubicBezTo>
                  <a:lnTo>
                    <a:pt x="12334" y="8805"/>
                  </a:lnTo>
                  <a:cubicBezTo>
                    <a:pt x="12343" y="8796"/>
                    <a:pt x="12349" y="8790"/>
                    <a:pt x="12359" y="8781"/>
                  </a:cubicBezTo>
                  <a:lnTo>
                    <a:pt x="12371" y="8763"/>
                  </a:lnTo>
                  <a:lnTo>
                    <a:pt x="12389" y="8739"/>
                  </a:lnTo>
                  <a:lnTo>
                    <a:pt x="12404" y="8718"/>
                  </a:lnTo>
                  <a:cubicBezTo>
                    <a:pt x="12410" y="8709"/>
                    <a:pt x="12413" y="8703"/>
                    <a:pt x="12419" y="8694"/>
                  </a:cubicBezTo>
                  <a:cubicBezTo>
                    <a:pt x="12422" y="8688"/>
                    <a:pt x="12428" y="8679"/>
                    <a:pt x="12431" y="8670"/>
                  </a:cubicBezTo>
                  <a:cubicBezTo>
                    <a:pt x="12437" y="8661"/>
                    <a:pt x="12440" y="8655"/>
                    <a:pt x="12443" y="8646"/>
                  </a:cubicBezTo>
                  <a:cubicBezTo>
                    <a:pt x="12446" y="8639"/>
                    <a:pt x="12449" y="8627"/>
                    <a:pt x="12455" y="8618"/>
                  </a:cubicBezTo>
                  <a:cubicBezTo>
                    <a:pt x="12458" y="8609"/>
                    <a:pt x="12461" y="8603"/>
                    <a:pt x="12461" y="8594"/>
                  </a:cubicBezTo>
                  <a:cubicBezTo>
                    <a:pt x="12464" y="8588"/>
                    <a:pt x="12467" y="8576"/>
                    <a:pt x="12470" y="8567"/>
                  </a:cubicBezTo>
                  <a:cubicBezTo>
                    <a:pt x="12473" y="8558"/>
                    <a:pt x="12476" y="8549"/>
                    <a:pt x="12479" y="8540"/>
                  </a:cubicBezTo>
                  <a:cubicBezTo>
                    <a:pt x="12479" y="8534"/>
                    <a:pt x="12482" y="8525"/>
                    <a:pt x="12482" y="8516"/>
                  </a:cubicBezTo>
                  <a:cubicBezTo>
                    <a:pt x="12485" y="8507"/>
                    <a:pt x="12485" y="8495"/>
                    <a:pt x="12488" y="8486"/>
                  </a:cubicBezTo>
                  <a:lnTo>
                    <a:pt x="12491" y="8462"/>
                  </a:lnTo>
                  <a:cubicBezTo>
                    <a:pt x="12491" y="8450"/>
                    <a:pt x="12491" y="8438"/>
                    <a:pt x="12491" y="8426"/>
                  </a:cubicBezTo>
                  <a:lnTo>
                    <a:pt x="12491" y="8414"/>
                  </a:lnTo>
                  <a:cubicBezTo>
                    <a:pt x="12491" y="8411"/>
                    <a:pt x="12491" y="8408"/>
                    <a:pt x="12491" y="8405"/>
                  </a:cubicBezTo>
                  <a:lnTo>
                    <a:pt x="12491" y="8371"/>
                  </a:lnTo>
                  <a:cubicBezTo>
                    <a:pt x="12491" y="8359"/>
                    <a:pt x="12491" y="8356"/>
                    <a:pt x="12491" y="8347"/>
                  </a:cubicBezTo>
                  <a:cubicBezTo>
                    <a:pt x="12488" y="8338"/>
                    <a:pt x="12488" y="8329"/>
                    <a:pt x="12485" y="8317"/>
                  </a:cubicBezTo>
                  <a:cubicBezTo>
                    <a:pt x="12482" y="8308"/>
                    <a:pt x="12482" y="8299"/>
                    <a:pt x="12479" y="8290"/>
                  </a:cubicBezTo>
                  <a:cubicBezTo>
                    <a:pt x="12476" y="8278"/>
                    <a:pt x="12476" y="8275"/>
                    <a:pt x="12473" y="8266"/>
                  </a:cubicBezTo>
                  <a:cubicBezTo>
                    <a:pt x="12473" y="8260"/>
                    <a:pt x="12467" y="8245"/>
                    <a:pt x="12464" y="8233"/>
                  </a:cubicBezTo>
                  <a:lnTo>
                    <a:pt x="12461" y="8224"/>
                  </a:lnTo>
                  <a:cubicBezTo>
                    <a:pt x="11955" y="6797"/>
                    <a:pt x="10970" y="5589"/>
                    <a:pt x="9676" y="4803"/>
                  </a:cubicBezTo>
                  <a:lnTo>
                    <a:pt x="96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7" name="Google Shape;6107;p70"/>
            <p:cNvSpPr/>
            <p:nvPr/>
          </p:nvSpPr>
          <p:spPr>
            <a:xfrm>
              <a:off x="5842500" y="2392350"/>
              <a:ext cx="79975" cy="117400"/>
            </a:xfrm>
            <a:custGeom>
              <a:avLst/>
              <a:gdLst/>
              <a:ahLst/>
              <a:cxnLst/>
              <a:rect l="l" t="t" r="r" b="b"/>
              <a:pathLst>
                <a:path w="3199" h="4696" extrusionOk="0">
                  <a:moveTo>
                    <a:pt x="4" y="1"/>
                  </a:moveTo>
                  <a:lnTo>
                    <a:pt x="4" y="1651"/>
                  </a:lnTo>
                  <a:cubicBezTo>
                    <a:pt x="1" y="2591"/>
                    <a:pt x="287" y="3509"/>
                    <a:pt x="820" y="4283"/>
                  </a:cubicBezTo>
                  <a:cubicBezTo>
                    <a:pt x="994" y="4542"/>
                    <a:pt x="1287" y="4696"/>
                    <a:pt x="1600" y="4696"/>
                  </a:cubicBezTo>
                  <a:cubicBezTo>
                    <a:pt x="1913" y="4696"/>
                    <a:pt x="2205" y="4542"/>
                    <a:pt x="2380" y="4283"/>
                  </a:cubicBezTo>
                  <a:cubicBezTo>
                    <a:pt x="2913" y="3509"/>
                    <a:pt x="3199" y="2591"/>
                    <a:pt x="3196" y="1651"/>
                  </a:cubicBezTo>
                  <a:lnTo>
                    <a:pt x="31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8" name="Google Shape;6108;p70"/>
          <p:cNvGrpSpPr/>
          <p:nvPr/>
        </p:nvGrpSpPr>
        <p:grpSpPr>
          <a:xfrm>
            <a:off x="4593715" y="3542000"/>
            <a:ext cx="332881" cy="332881"/>
            <a:chOff x="6239925" y="2032450"/>
            <a:chExt cx="472775" cy="472775"/>
          </a:xfrm>
        </p:grpSpPr>
        <p:sp>
          <p:nvSpPr>
            <p:cNvPr id="6109" name="Google Shape;6109;p70"/>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0" name="Google Shape;6110;p70"/>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1" name="Google Shape;6111;p70"/>
          <p:cNvGrpSpPr/>
          <p:nvPr/>
        </p:nvGrpSpPr>
        <p:grpSpPr>
          <a:xfrm>
            <a:off x="5042807" y="2364092"/>
            <a:ext cx="334641" cy="185425"/>
            <a:chOff x="903075" y="2730000"/>
            <a:chExt cx="475275" cy="263350"/>
          </a:xfrm>
        </p:grpSpPr>
        <p:sp>
          <p:nvSpPr>
            <p:cNvPr id="6112" name="Google Shape;6112;p70"/>
            <p:cNvSpPr/>
            <p:nvPr/>
          </p:nvSpPr>
          <p:spPr>
            <a:xfrm>
              <a:off x="986725" y="2807325"/>
              <a:ext cx="308000" cy="108800"/>
            </a:xfrm>
            <a:custGeom>
              <a:avLst/>
              <a:gdLst/>
              <a:ahLst/>
              <a:cxnLst/>
              <a:rect l="l" t="t" r="r" b="b"/>
              <a:pathLst>
                <a:path w="12320" h="4352" extrusionOk="0">
                  <a:moveTo>
                    <a:pt x="6161" y="482"/>
                  </a:moveTo>
                  <a:cubicBezTo>
                    <a:pt x="6845" y="482"/>
                    <a:pt x="7462" y="894"/>
                    <a:pt x="7724" y="1527"/>
                  </a:cubicBezTo>
                  <a:cubicBezTo>
                    <a:pt x="7986" y="2159"/>
                    <a:pt x="7838" y="2888"/>
                    <a:pt x="7357" y="3370"/>
                  </a:cubicBezTo>
                  <a:cubicBezTo>
                    <a:pt x="7032" y="3694"/>
                    <a:pt x="6599" y="3866"/>
                    <a:pt x="6158" y="3866"/>
                  </a:cubicBezTo>
                  <a:cubicBezTo>
                    <a:pt x="5940" y="3866"/>
                    <a:pt x="5720" y="3824"/>
                    <a:pt x="5511" y="3737"/>
                  </a:cubicBezTo>
                  <a:cubicBezTo>
                    <a:pt x="4881" y="3475"/>
                    <a:pt x="4469" y="2858"/>
                    <a:pt x="4469" y="2174"/>
                  </a:cubicBezTo>
                  <a:cubicBezTo>
                    <a:pt x="4469" y="1241"/>
                    <a:pt x="5225" y="482"/>
                    <a:pt x="6161" y="482"/>
                  </a:cubicBezTo>
                  <a:close/>
                  <a:moveTo>
                    <a:pt x="1418" y="0"/>
                  </a:moveTo>
                  <a:cubicBezTo>
                    <a:pt x="1220" y="684"/>
                    <a:pt x="684" y="1220"/>
                    <a:pt x="0" y="1415"/>
                  </a:cubicBezTo>
                  <a:lnTo>
                    <a:pt x="0" y="2933"/>
                  </a:lnTo>
                  <a:cubicBezTo>
                    <a:pt x="684" y="3129"/>
                    <a:pt x="1220" y="3665"/>
                    <a:pt x="1418" y="4351"/>
                  </a:cubicBezTo>
                  <a:lnTo>
                    <a:pt x="10904" y="4351"/>
                  </a:lnTo>
                  <a:cubicBezTo>
                    <a:pt x="11100" y="3665"/>
                    <a:pt x="11636" y="3129"/>
                    <a:pt x="12319" y="2933"/>
                  </a:cubicBezTo>
                  <a:lnTo>
                    <a:pt x="12319" y="1415"/>
                  </a:lnTo>
                  <a:cubicBezTo>
                    <a:pt x="11636" y="1220"/>
                    <a:pt x="11100" y="684"/>
                    <a:pt x="109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3" name="Google Shape;6113;p70"/>
            <p:cNvSpPr/>
            <p:nvPr/>
          </p:nvSpPr>
          <p:spPr>
            <a:xfrm>
              <a:off x="1126675" y="2847600"/>
              <a:ext cx="28100" cy="28175"/>
            </a:xfrm>
            <a:custGeom>
              <a:avLst/>
              <a:gdLst/>
              <a:ahLst/>
              <a:cxnLst/>
              <a:rect l="l" t="t" r="r" b="b"/>
              <a:pathLst>
                <a:path w="1124" h="1127" extrusionOk="0">
                  <a:moveTo>
                    <a:pt x="563" y="0"/>
                  </a:moveTo>
                  <a:cubicBezTo>
                    <a:pt x="250" y="0"/>
                    <a:pt x="0" y="253"/>
                    <a:pt x="0" y="563"/>
                  </a:cubicBezTo>
                  <a:cubicBezTo>
                    <a:pt x="0" y="873"/>
                    <a:pt x="250" y="1126"/>
                    <a:pt x="563" y="1126"/>
                  </a:cubicBezTo>
                  <a:cubicBezTo>
                    <a:pt x="873" y="1126"/>
                    <a:pt x="1123" y="873"/>
                    <a:pt x="1123" y="563"/>
                  </a:cubicBezTo>
                  <a:cubicBezTo>
                    <a:pt x="1123" y="253"/>
                    <a:pt x="873" y="0"/>
                    <a:pt x="5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4" name="Google Shape;6114;p70"/>
            <p:cNvSpPr/>
            <p:nvPr/>
          </p:nvSpPr>
          <p:spPr>
            <a:xfrm>
              <a:off x="903075" y="2730000"/>
              <a:ext cx="475275" cy="263350"/>
            </a:xfrm>
            <a:custGeom>
              <a:avLst/>
              <a:gdLst/>
              <a:ahLst/>
              <a:cxnLst/>
              <a:rect l="l" t="t" r="r" b="b"/>
              <a:pathLst>
                <a:path w="19011" h="10534" extrusionOk="0">
                  <a:moveTo>
                    <a:pt x="14735" y="1964"/>
                  </a:moveTo>
                  <a:cubicBezTo>
                    <a:pt x="15045" y="1964"/>
                    <a:pt x="15298" y="2217"/>
                    <a:pt x="15298" y="2530"/>
                  </a:cubicBezTo>
                  <a:cubicBezTo>
                    <a:pt x="15298" y="3042"/>
                    <a:pt x="15716" y="3460"/>
                    <a:pt x="16231" y="3460"/>
                  </a:cubicBezTo>
                  <a:cubicBezTo>
                    <a:pt x="16541" y="3460"/>
                    <a:pt x="16794" y="3713"/>
                    <a:pt x="16794" y="4026"/>
                  </a:cubicBezTo>
                  <a:lnTo>
                    <a:pt x="16794" y="6511"/>
                  </a:lnTo>
                  <a:cubicBezTo>
                    <a:pt x="16794" y="6821"/>
                    <a:pt x="16541" y="7074"/>
                    <a:pt x="16231" y="7074"/>
                  </a:cubicBezTo>
                  <a:cubicBezTo>
                    <a:pt x="15716" y="7074"/>
                    <a:pt x="15298" y="7492"/>
                    <a:pt x="15298" y="8007"/>
                  </a:cubicBezTo>
                  <a:cubicBezTo>
                    <a:pt x="15298" y="8318"/>
                    <a:pt x="15045" y="8570"/>
                    <a:pt x="14735" y="8570"/>
                  </a:cubicBezTo>
                  <a:lnTo>
                    <a:pt x="4277" y="8570"/>
                  </a:lnTo>
                  <a:cubicBezTo>
                    <a:pt x="3966" y="8570"/>
                    <a:pt x="3714" y="8318"/>
                    <a:pt x="3714" y="8007"/>
                  </a:cubicBezTo>
                  <a:cubicBezTo>
                    <a:pt x="3714" y="7492"/>
                    <a:pt x="3295" y="7074"/>
                    <a:pt x="2783" y="7074"/>
                  </a:cubicBezTo>
                  <a:cubicBezTo>
                    <a:pt x="2470" y="7074"/>
                    <a:pt x="2217" y="6821"/>
                    <a:pt x="2217" y="6511"/>
                  </a:cubicBezTo>
                  <a:lnTo>
                    <a:pt x="2217" y="4026"/>
                  </a:lnTo>
                  <a:cubicBezTo>
                    <a:pt x="2217" y="3713"/>
                    <a:pt x="2470" y="3460"/>
                    <a:pt x="2783" y="3460"/>
                  </a:cubicBezTo>
                  <a:cubicBezTo>
                    <a:pt x="3295" y="3460"/>
                    <a:pt x="3714" y="3042"/>
                    <a:pt x="3714" y="2530"/>
                  </a:cubicBezTo>
                  <a:cubicBezTo>
                    <a:pt x="3714" y="2217"/>
                    <a:pt x="3966" y="1964"/>
                    <a:pt x="4277" y="1964"/>
                  </a:cubicBezTo>
                  <a:close/>
                  <a:moveTo>
                    <a:pt x="567" y="0"/>
                  </a:moveTo>
                  <a:cubicBezTo>
                    <a:pt x="254" y="0"/>
                    <a:pt x="1" y="253"/>
                    <a:pt x="1" y="567"/>
                  </a:cubicBezTo>
                  <a:lnTo>
                    <a:pt x="1" y="9968"/>
                  </a:lnTo>
                  <a:cubicBezTo>
                    <a:pt x="1" y="10281"/>
                    <a:pt x="254" y="10534"/>
                    <a:pt x="567" y="10534"/>
                  </a:cubicBezTo>
                  <a:lnTo>
                    <a:pt x="18445" y="10534"/>
                  </a:lnTo>
                  <a:cubicBezTo>
                    <a:pt x="18758" y="10534"/>
                    <a:pt x="19011" y="10281"/>
                    <a:pt x="19011" y="9968"/>
                  </a:cubicBezTo>
                  <a:lnTo>
                    <a:pt x="19011" y="567"/>
                  </a:lnTo>
                  <a:cubicBezTo>
                    <a:pt x="19011" y="253"/>
                    <a:pt x="18758" y="0"/>
                    <a:pt x="184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5" name="Google Shape;6115;p70"/>
          <p:cNvGrpSpPr/>
          <p:nvPr/>
        </p:nvGrpSpPr>
        <p:grpSpPr>
          <a:xfrm>
            <a:off x="1247198" y="3538814"/>
            <a:ext cx="339253" cy="339253"/>
            <a:chOff x="1492675" y="2027925"/>
            <a:chExt cx="481825" cy="481825"/>
          </a:xfrm>
        </p:grpSpPr>
        <p:sp>
          <p:nvSpPr>
            <p:cNvPr id="6116" name="Google Shape;6116;p70"/>
            <p:cNvSpPr/>
            <p:nvPr/>
          </p:nvSpPr>
          <p:spPr>
            <a:xfrm>
              <a:off x="1719425" y="2170050"/>
              <a:ext cx="28250" cy="28250"/>
            </a:xfrm>
            <a:custGeom>
              <a:avLst/>
              <a:gdLst/>
              <a:ahLst/>
              <a:cxnLst/>
              <a:rect l="l" t="t" r="r" b="b"/>
              <a:pathLst>
                <a:path w="1130" h="1130"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7" name="Google Shape;6117;p70"/>
            <p:cNvSpPr/>
            <p:nvPr/>
          </p:nvSpPr>
          <p:spPr>
            <a:xfrm>
              <a:off x="1832350" y="2254750"/>
              <a:ext cx="28250" cy="28250"/>
            </a:xfrm>
            <a:custGeom>
              <a:avLst/>
              <a:gdLst/>
              <a:ahLst/>
              <a:cxnLst/>
              <a:rect l="l" t="t" r="r" b="b"/>
              <a:pathLst>
                <a:path w="1130" h="1130" extrusionOk="0">
                  <a:moveTo>
                    <a:pt x="567" y="0"/>
                  </a:moveTo>
                  <a:cubicBezTo>
                    <a:pt x="253" y="0"/>
                    <a:pt x="0" y="250"/>
                    <a:pt x="0" y="564"/>
                  </a:cubicBezTo>
                  <a:cubicBezTo>
                    <a:pt x="0" y="877"/>
                    <a:pt x="253"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8" name="Google Shape;6118;p70"/>
            <p:cNvSpPr/>
            <p:nvPr/>
          </p:nvSpPr>
          <p:spPr>
            <a:xfrm>
              <a:off x="1606500" y="2254750"/>
              <a:ext cx="28250" cy="28250"/>
            </a:xfrm>
            <a:custGeom>
              <a:avLst/>
              <a:gdLst/>
              <a:ahLst/>
              <a:cxnLst/>
              <a:rect l="l" t="t" r="r" b="b"/>
              <a:pathLst>
                <a:path w="1130" h="1130" extrusionOk="0">
                  <a:moveTo>
                    <a:pt x="567" y="0"/>
                  </a:moveTo>
                  <a:cubicBezTo>
                    <a:pt x="254" y="0"/>
                    <a:pt x="1" y="250"/>
                    <a:pt x="1" y="564"/>
                  </a:cubicBezTo>
                  <a:cubicBezTo>
                    <a:pt x="1" y="877"/>
                    <a:pt x="254"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9" name="Google Shape;6119;p70"/>
            <p:cNvSpPr/>
            <p:nvPr/>
          </p:nvSpPr>
          <p:spPr>
            <a:xfrm>
              <a:off x="1492675" y="2425025"/>
              <a:ext cx="481825" cy="84725"/>
            </a:xfrm>
            <a:custGeom>
              <a:avLst/>
              <a:gdLst/>
              <a:ahLst/>
              <a:cxnLst/>
              <a:rect l="l" t="t" r="r" b="b"/>
              <a:pathLst>
                <a:path w="19273" h="3389" extrusionOk="0">
                  <a:moveTo>
                    <a:pt x="1" y="1"/>
                  </a:moveTo>
                  <a:lnTo>
                    <a:pt x="1" y="1696"/>
                  </a:lnTo>
                  <a:cubicBezTo>
                    <a:pt x="1" y="2630"/>
                    <a:pt x="757" y="3389"/>
                    <a:pt x="1693" y="3389"/>
                  </a:cubicBezTo>
                  <a:lnTo>
                    <a:pt x="17577" y="3389"/>
                  </a:lnTo>
                  <a:cubicBezTo>
                    <a:pt x="18514" y="3389"/>
                    <a:pt x="19270" y="2630"/>
                    <a:pt x="19273" y="1696"/>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0" name="Google Shape;6120;p70"/>
            <p:cNvSpPr/>
            <p:nvPr/>
          </p:nvSpPr>
          <p:spPr>
            <a:xfrm>
              <a:off x="1492675" y="2027925"/>
              <a:ext cx="481825" cy="368000"/>
            </a:xfrm>
            <a:custGeom>
              <a:avLst/>
              <a:gdLst/>
              <a:ahLst/>
              <a:cxnLst/>
              <a:rect l="l" t="t" r="r" b="b"/>
              <a:pathLst>
                <a:path w="19273" h="14720" extrusionOk="0">
                  <a:moveTo>
                    <a:pt x="5120" y="2259"/>
                  </a:moveTo>
                  <a:cubicBezTo>
                    <a:pt x="5430" y="2259"/>
                    <a:pt x="5683" y="2512"/>
                    <a:pt x="5683" y="2825"/>
                  </a:cubicBezTo>
                  <a:lnTo>
                    <a:pt x="5683" y="8047"/>
                  </a:lnTo>
                  <a:cubicBezTo>
                    <a:pt x="6360" y="8281"/>
                    <a:pt x="6812" y="8920"/>
                    <a:pt x="6812" y="9637"/>
                  </a:cubicBezTo>
                  <a:cubicBezTo>
                    <a:pt x="6812" y="10353"/>
                    <a:pt x="6360" y="10992"/>
                    <a:pt x="5683" y="11226"/>
                  </a:cubicBezTo>
                  <a:lnTo>
                    <a:pt x="5683" y="13024"/>
                  </a:lnTo>
                  <a:cubicBezTo>
                    <a:pt x="5683" y="13337"/>
                    <a:pt x="5430" y="13587"/>
                    <a:pt x="5120" y="13587"/>
                  </a:cubicBezTo>
                  <a:cubicBezTo>
                    <a:pt x="4807" y="13587"/>
                    <a:pt x="4554" y="13337"/>
                    <a:pt x="4554" y="13024"/>
                  </a:cubicBezTo>
                  <a:lnTo>
                    <a:pt x="4554" y="11226"/>
                  </a:lnTo>
                  <a:cubicBezTo>
                    <a:pt x="3876" y="10992"/>
                    <a:pt x="3425" y="10353"/>
                    <a:pt x="3425" y="9637"/>
                  </a:cubicBezTo>
                  <a:cubicBezTo>
                    <a:pt x="3425" y="8920"/>
                    <a:pt x="3876" y="8281"/>
                    <a:pt x="4554" y="8047"/>
                  </a:cubicBezTo>
                  <a:lnTo>
                    <a:pt x="4554" y="2825"/>
                  </a:lnTo>
                  <a:cubicBezTo>
                    <a:pt x="4554" y="2512"/>
                    <a:pt x="4807" y="2259"/>
                    <a:pt x="5120" y="2259"/>
                  </a:cubicBezTo>
                  <a:close/>
                  <a:moveTo>
                    <a:pt x="9637" y="2259"/>
                  </a:moveTo>
                  <a:cubicBezTo>
                    <a:pt x="9947" y="2259"/>
                    <a:pt x="10200" y="2512"/>
                    <a:pt x="10200" y="2825"/>
                  </a:cubicBezTo>
                  <a:lnTo>
                    <a:pt x="10200" y="4659"/>
                  </a:lnTo>
                  <a:cubicBezTo>
                    <a:pt x="10877" y="4894"/>
                    <a:pt x="11329" y="5532"/>
                    <a:pt x="11329" y="6249"/>
                  </a:cubicBezTo>
                  <a:cubicBezTo>
                    <a:pt x="11329" y="6966"/>
                    <a:pt x="10877" y="7604"/>
                    <a:pt x="10200" y="7839"/>
                  </a:cubicBezTo>
                  <a:lnTo>
                    <a:pt x="10200" y="13024"/>
                  </a:lnTo>
                  <a:cubicBezTo>
                    <a:pt x="10200" y="13337"/>
                    <a:pt x="9947" y="13587"/>
                    <a:pt x="9637" y="13587"/>
                  </a:cubicBezTo>
                  <a:cubicBezTo>
                    <a:pt x="9324" y="13587"/>
                    <a:pt x="9071" y="13337"/>
                    <a:pt x="9071" y="13024"/>
                  </a:cubicBezTo>
                  <a:lnTo>
                    <a:pt x="9071" y="7839"/>
                  </a:lnTo>
                  <a:cubicBezTo>
                    <a:pt x="8393" y="7604"/>
                    <a:pt x="7941" y="6966"/>
                    <a:pt x="7941" y="6249"/>
                  </a:cubicBezTo>
                  <a:cubicBezTo>
                    <a:pt x="7941" y="5532"/>
                    <a:pt x="8393" y="4894"/>
                    <a:pt x="9071" y="4659"/>
                  </a:cubicBezTo>
                  <a:lnTo>
                    <a:pt x="9071" y="2825"/>
                  </a:lnTo>
                  <a:cubicBezTo>
                    <a:pt x="9071" y="2512"/>
                    <a:pt x="9324" y="2259"/>
                    <a:pt x="9637" y="2259"/>
                  </a:cubicBezTo>
                  <a:close/>
                  <a:moveTo>
                    <a:pt x="14154" y="2259"/>
                  </a:moveTo>
                  <a:cubicBezTo>
                    <a:pt x="14464" y="2259"/>
                    <a:pt x="14717" y="2512"/>
                    <a:pt x="14717" y="2825"/>
                  </a:cubicBezTo>
                  <a:lnTo>
                    <a:pt x="14717" y="8047"/>
                  </a:lnTo>
                  <a:cubicBezTo>
                    <a:pt x="15394" y="8281"/>
                    <a:pt x="15846" y="8920"/>
                    <a:pt x="15846" y="9637"/>
                  </a:cubicBezTo>
                  <a:cubicBezTo>
                    <a:pt x="15846" y="10353"/>
                    <a:pt x="15394" y="10992"/>
                    <a:pt x="14717" y="11226"/>
                  </a:cubicBezTo>
                  <a:lnTo>
                    <a:pt x="14717" y="13024"/>
                  </a:lnTo>
                  <a:cubicBezTo>
                    <a:pt x="14717" y="13337"/>
                    <a:pt x="14464" y="13587"/>
                    <a:pt x="14154" y="13587"/>
                  </a:cubicBezTo>
                  <a:cubicBezTo>
                    <a:pt x="13840" y="13587"/>
                    <a:pt x="13587" y="13337"/>
                    <a:pt x="13587" y="13024"/>
                  </a:cubicBezTo>
                  <a:lnTo>
                    <a:pt x="13587" y="11226"/>
                  </a:lnTo>
                  <a:cubicBezTo>
                    <a:pt x="12910" y="10992"/>
                    <a:pt x="12458" y="10353"/>
                    <a:pt x="12458" y="9637"/>
                  </a:cubicBezTo>
                  <a:cubicBezTo>
                    <a:pt x="12458" y="8920"/>
                    <a:pt x="12910" y="8281"/>
                    <a:pt x="13587" y="8047"/>
                  </a:cubicBezTo>
                  <a:lnTo>
                    <a:pt x="13587" y="2825"/>
                  </a:lnTo>
                  <a:cubicBezTo>
                    <a:pt x="13587" y="2512"/>
                    <a:pt x="13840" y="2259"/>
                    <a:pt x="14154" y="2259"/>
                  </a:cubicBezTo>
                  <a:close/>
                  <a:moveTo>
                    <a:pt x="1693" y="1"/>
                  </a:moveTo>
                  <a:cubicBezTo>
                    <a:pt x="757" y="1"/>
                    <a:pt x="1" y="759"/>
                    <a:pt x="1" y="1696"/>
                  </a:cubicBezTo>
                  <a:lnTo>
                    <a:pt x="1" y="14720"/>
                  </a:lnTo>
                  <a:lnTo>
                    <a:pt x="19273" y="14720"/>
                  </a:lnTo>
                  <a:lnTo>
                    <a:pt x="19273" y="1696"/>
                  </a:lnTo>
                  <a:cubicBezTo>
                    <a:pt x="19270"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21" name="Google Shape;6121;p70"/>
          <p:cNvGrpSpPr/>
          <p:nvPr/>
        </p:nvGrpSpPr>
        <p:grpSpPr>
          <a:xfrm>
            <a:off x="5473575" y="2287178"/>
            <a:ext cx="339253" cy="339253"/>
            <a:chOff x="1492675" y="2620775"/>
            <a:chExt cx="481825" cy="481825"/>
          </a:xfrm>
        </p:grpSpPr>
        <p:sp>
          <p:nvSpPr>
            <p:cNvPr id="6122" name="Google Shape;6122;p70"/>
            <p:cNvSpPr/>
            <p:nvPr/>
          </p:nvSpPr>
          <p:spPr>
            <a:xfrm>
              <a:off x="1677125" y="2620775"/>
              <a:ext cx="112950" cy="113850"/>
            </a:xfrm>
            <a:custGeom>
              <a:avLst/>
              <a:gdLst/>
              <a:ahLst/>
              <a:cxnLst/>
              <a:rect l="l" t="t" r="r" b="b"/>
              <a:pathLst>
                <a:path w="4518" h="4554" extrusionOk="0">
                  <a:moveTo>
                    <a:pt x="2259" y="0"/>
                  </a:moveTo>
                  <a:cubicBezTo>
                    <a:pt x="1009" y="0"/>
                    <a:pt x="0" y="1048"/>
                    <a:pt x="0" y="2298"/>
                  </a:cubicBezTo>
                  <a:cubicBezTo>
                    <a:pt x="0" y="3544"/>
                    <a:pt x="1009" y="4553"/>
                    <a:pt x="2259" y="4553"/>
                  </a:cubicBezTo>
                  <a:cubicBezTo>
                    <a:pt x="3505" y="4553"/>
                    <a:pt x="4517" y="3544"/>
                    <a:pt x="4517" y="2298"/>
                  </a:cubicBezTo>
                  <a:cubicBezTo>
                    <a:pt x="4517" y="1048"/>
                    <a:pt x="3505"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3" name="Google Shape;6123;p70"/>
            <p:cNvSpPr/>
            <p:nvPr/>
          </p:nvSpPr>
          <p:spPr>
            <a:xfrm>
              <a:off x="1492675" y="2734675"/>
              <a:ext cx="481825" cy="367925"/>
            </a:xfrm>
            <a:custGeom>
              <a:avLst/>
              <a:gdLst/>
              <a:ahLst/>
              <a:cxnLst/>
              <a:rect l="l" t="t" r="r" b="b"/>
              <a:pathLst>
                <a:path w="19273" h="14717" extrusionOk="0">
                  <a:moveTo>
                    <a:pt x="5120" y="4517"/>
                  </a:moveTo>
                  <a:cubicBezTo>
                    <a:pt x="5623" y="4517"/>
                    <a:pt x="5873" y="5122"/>
                    <a:pt x="5517" y="5481"/>
                  </a:cubicBezTo>
                  <a:cubicBezTo>
                    <a:pt x="5403" y="5595"/>
                    <a:pt x="5262" y="5647"/>
                    <a:pt x="5123" y="5647"/>
                  </a:cubicBezTo>
                  <a:cubicBezTo>
                    <a:pt x="4833" y="5647"/>
                    <a:pt x="4554" y="5421"/>
                    <a:pt x="4554" y="5080"/>
                  </a:cubicBezTo>
                  <a:cubicBezTo>
                    <a:pt x="4554" y="4767"/>
                    <a:pt x="4807" y="4517"/>
                    <a:pt x="5120" y="4517"/>
                  </a:cubicBezTo>
                  <a:close/>
                  <a:moveTo>
                    <a:pt x="3991" y="0"/>
                  </a:moveTo>
                  <a:cubicBezTo>
                    <a:pt x="3677" y="0"/>
                    <a:pt x="3425" y="250"/>
                    <a:pt x="3425" y="563"/>
                  </a:cubicBezTo>
                  <a:lnTo>
                    <a:pt x="3425" y="2572"/>
                  </a:lnTo>
                  <a:cubicBezTo>
                    <a:pt x="2455" y="3367"/>
                    <a:pt x="1750" y="4439"/>
                    <a:pt x="1401" y="5646"/>
                  </a:cubicBezTo>
                  <a:lnTo>
                    <a:pt x="564" y="5646"/>
                  </a:lnTo>
                  <a:cubicBezTo>
                    <a:pt x="251" y="5646"/>
                    <a:pt x="1" y="5896"/>
                    <a:pt x="1" y="6209"/>
                  </a:cubicBezTo>
                  <a:lnTo>
                    <a:pt x="1" y="9597"/>
                  </a:lnTo>
                  <a:cubicBezTo>
                    <a:pt x="1" y="9910"/>
                    <a:pt x="251" y="10163"/>
                    <a:pt x="564" y="10163"/>
                  </a:cubicBezTo>
                  <a:lnTo>
                    <a:pt x="1850" y="10163"/>
                  </a:lnTo>
                  <a:cubicBezTo>
                    <a:pt x="2446" y="11322"/>
                    <a:pt x="3391" y="12265"/>
                    <a:pt x="4554" y="12858"/>
                  </a:cubicBezTo>
                  <a:lnTo>
                    <a:pt x="4554" y="14153"/>
                  </a:lnTo>
                  <a:cubicBezTo>
                    <a:pt x="4554" y="14463"/>
                    <a:pt x="4807" y="14716"/>
                    <a:pt x="5120" y="14716"/>
                  </a:cubicBezTo>
                  <a:lnTo>
                    <a:pt x="7378" y="14716"/>
                  </a:lnTo>
                  <a:cubicBezTo>
                    <a:pt x="7688" y="14716"/>
                    <a:pt x="7941" y="14463"/>
                    <a:pt x="7941" y="14153"/>
                  </a:cubicBezTo>
                  <a:lnTo>
                    <a:pt x="7941" y="13551"/>
                  </a:lnTo>
                  <a:lnTo>
                    <a:pt x="11329" y="13551"/>
                  </a:lnTo>
                  <a:lnTo>
                    <a:pt x="11329" y="14153"/>
                  </a:lnTo>
                  <a:cubicBezTo>
                    <a:pt x="11329" y="14463"/>
                    <a:pt x="11582" y="14716"/>
                    <a:pt x="11895" y="14716"/>
                  </a:cubicBezTo>
                  <a:lnTo>
                    <a:pt x="14154" y="14716"/>
                  </a:lnTo>
                  <a:cubicBezTo>
                    <a:pt x="14464" y="14716"/>
                    <a:pt x="14717" y="14463"/>
                    <a:pt x="14717" y="14153"/>
                  </a:cubicBezTo>
                  <a:lnTo>
                    <a:pt x="14717" y="12864"/>
                  </a:lnTo>
                  <a:cubicBezTo>
                    <a:pt x="16647" y="11880"/>
                    <a:pt x="17945" y="9958"/>
                    <a:pt x="18107" y="7808"/>
                  </a:cubicBezTo>
                  <a:cubicBezTo>
                    <a:pt x="18800" y="7582"/>
                    <a:pt x="19270" y="6938"/>
                    <a:pt x="19273" y="6209"/>
                  </a:cubicBezTo>
                  <a:lnTo>
                    <a:pt x="19273" y="5080"/>
                  </a:lnTo>
                  <a:cubicBezTo>
                    <a:pt x="19273" y="4767"/>
                    <a:pt x="19020" y="4517"/>
                    <a:pt x="18707" y="4517"/>
                  </a:cubicBezTo>
                  <a:cubicBezTo>
                    <a:pt x="18393" y="4517"/>
                    <a:pt x="18144" y="4767"/>
                    <a:pt x="18144" y="5080"/>
                  </a:cubicBezTo>
                  <a:lnTo>
                    <a:pt x="18144" y="6209"/>
                  </a:lnTo>
                  <a:cubicBezTo>
                    <a:pt x="18141" y="6300"/>
                    <a:pt x="18116" y="6387"/>
                    <a:pt x="18074" y="6465"/>
                  </a:cubicBezTo>
                  <a:cubicBezTo>
                    <a:pt x="17647" y="3454"/>
                    <a:pt x="15021" y="1129"/>
                    <a:pt x="11895" y="1129"/>
                  </a:cubicBezTo>
                  <a:lnTo>
                    <a:pt x="7378" y="1129"/>
                  </a:lnTo>
                  <a:cubicBezTo>
                    <a:pt x="7020" y="1129"/>
                    <a:pt x="6665" y="1166"/>
                    <a:pt x="6315" y="1232"/>
                  </a:cubicBezTo>
                  <a:cubicBezTo>
                    <a:pt x="5788" y="464"/>
                    <a:pt x="4921" y="3"/>
                    <a:pt x="39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24" name="Google Shape;6124;p70"/>
          <p:cNvSpPr/>
          <p:nvPr/>
        </p:nvSpPr>
        <p:spPr>
          <a:xfrm>
            <a:off x="5873522" y="2287094"/>
            <a:ext cx="352508" cy="339253"/>
          </a:xfrm>
          <a:custGeom>
            <a:avLst/>
            <a:gdLst/>
            <a:ahLst/>
            <a:cxnLst/>
            <a:rect l="l" t="t" r="r" b="b"/>
            <a:pathLst>
              <a:path w="20026" h="19273" extrusionOk="0">
                <a:moveTo>
                  <a:pt x="14841" y="2901"/>
                </a:moveTo>
                <a:cubicBezTo>
                  <a:pt x="15282" y="2901"/>
                  <a:pt x="15717" y="3074"/>
                  <a:pt x="16042" y="3397"/>
                </a:cubicBezTo>
                <a:cubicBezTo>
                  <a:pt x="16704" y="4059"/>
                  <a:pt x="16704" y="5131"/>
                  <a:pt x="16042" y="5794"/>
                </a:cubicBezTo>
                <a:cubicBezTo>
                  <a:pt x="15717" y="6118"/>
                  <a:pt x="15284" y="6290"/>
                  <a:pt x="14843" y="6290"/>
                </a:cubicBezTo>
                <a:cubicBezTo>
                  <a:pt x="14625" y="6290"/>
                  <a:pt x="14405" y="6248"/>
                  <a:pt x="14196" y="6161"/>
                </a:cubicBezTo>
                <a:cubicBezTo>
                  <a:pt x="13563" y="5899"/>
                  <a:pt x="13151" y="5282"/>
                  <a:pt x="13151" y="4595"/>
                </a:cubicBezTo>
                <a:cubicBezTo>
                  <a:pt x="13151" y="3912"/>
                  <a:pt x="13563" y="3294"/>
                  <a:pt x="14196" y="3029"/>
                </a:cubicBezTo>
                <a:cubicBezTo>
                  <a:pt x="14404" y="2943"/>
                  <a:pt x="14623" y="2901"/>
                  <a:pt x="14841" y="2901"/>
                </a:cubicBezTo>
                <a:close/>
                <a:moveTo>
                  <a:pt x="10859" y="4837"/>
                </a:moveTo>
                <a:cubicBezTo>
                  <a:pt x="11001" y="4837"/>
                  <a:pt x="11142" y="4890"/>
                  <a:pt x="11251" y="4996"/>
                </a:cubicBezTo>
                <a:lnTo>
                  <a:pt x="12049" y="5794"/>
                </a:lnTo>
                <a:cubicBezTo>
                  <a:pt x="12269" y="6014"/>
                  <a:pt x="12269" y="6372"/>
                  <a:pt x="12049" y="6592"/>
                </a:cubicBezTo>
                <a:cubicBezTo>
                  <a:pt x="11939" y="6702"/>
                  <a:pt x="11794" y="6757"/>
                  <a:pt x="11650" y="6757"/>
                </a:cubicBezTo>
                <a:cubicBezTo>
                  <a:pt x="11505" y="6757"/>
                  <a:pt x="11361" y="6702"/>
                  <a:pt x="11251" y="6592"/>
                </a:cubicBezTo>
                <a:lnTo>
                  <a:pt x="10453" y="5794"/>
                </a:lnTo>
                <a:cubicBezTo>
                  <a:pt x="10239" y="5571"/>
                  <a:pt x="10242" y="5219"/>
                  <a:pt x="10459" y="5002"/>
                </a:cubicBezTo>
                <a:cubicBezTo>
                  <a:pt x="10570" y="4892"/>
                  <a:pt x="10715" y="4837"/>
                  <a:pt x="10859" y="4837"/>
                </a:cubicBezTo>
                <a:close/>
                <a:moveTo>
                  <a:pt x="13255" y="7232"/>
                </a:moveTo>
                <a:cubicBezTo>
                  <a:pt x="13396" y="7232"/>
                  <a:pt x="13538" y="7284"/>
                  <a:pt x="13648" y="7390"/>
                </a:cubicBezTo>
                <a:lnTo>
                  <a:pt x="14446" y="8188"/>
                </a:lnTo>
                <a:cubicBezTo>
                  <a:pt x="14665" y="8411"/>
                  <a:pt x="14665" y="8766"/>
                  <a:pt x="14446" y="8989"/>
                </a:cubicBezTo>
                <a:cubicBezTo>
                  <a:pt x="14336" y="9099"/>
                  <a:pt x="14191" y="9154"/>
                  <a:pt x="14047" y="9154"/>
                </a:cubicBezTo>
                <a:cubicBezTo>
                  <a:pt x="13902" y="9154"/>
                  <a:pt x="13758" y="9099"/>
                  <a:pt x="13648" y="8989"/>
                </a:cubicBezTo>
                <a:lnTo>
                  <a:pt x="12850" y="8188"/>
                </a:lnTo>
                <a:cubicBezTo>
                  <a:pt x="12633" y="7968"/>
                  <a:pt x="12636" y="7616"/>
                  <a:pt x="12856" y="7399"/>
                </a:cubicBezTo>
                <a:cubicBezTo>
                  <a:pt x="12966" y="7287"/>
                  <a:pt x="13110" y="7232"/>
                  <a:pt x="13255" y="7232"/>
                </a:cubicBezTo>
                <a:close/>
                <a:moveTo>
                  <a:pt x="10846" y="8029"/>
                </a:moveTo>
                <a:cubicBezTo>
                  <a:pt x="10991" y="8029"/>
                  <a:pt x="11135" y="8084"/>
                  <a:pt x="11245" y="8194"/>
                </a:cubicBezTo>
                <a:cubicBezTo>
                  <a:pt x="11462" y="8411"/>
                  <a:pt x="11465" y="8763"/>
                  <a:pt x="11251" y="8986"/>
                </a:cubicBezTo>
                <a:lnTo>
                  <a:pt x="11251" y="8989"/>
                </a:lnTo>
                <a:lnTo>
                  <a:pt x="10778" y="9461"/>
                </a:lnTo>
                <a:cubicBezTo>
                  <a:pt x="11088" y="10106"/>
                  <a:pt x="10959" y="10874"/>
                  <a:pt x="10453" y="11383"/>
                </a:cubicBezTo>
                <a:cubicBezTo>
                  <a:pt x="10343" y="11493"/>
                  <a:pt x="10198" y="11548"/>
                  <a:pt x="10054" y="11548"/>
                </a:cubicBezTo>
                <a:cubicBezTo>
                  <a:pt x="9909" y="11548"/>
                  <a:pt x="9765" y="11493"/>
                  <a:pt x="9655" y="11383"/>
                </a:cubicBezTo>
                <a:cubicBezTo>
                  <a:pt x="9435" y="11163"/>
                  <a:pt x="9435" y="10804"/>
                  <a:pt x="9655" y="10585"/>
                </a:cubicBezTo>
                <a:cubicBezTo>
                  <a:pt x="10010" y="10229"/>
                  <a:pt x="9757" y="9621"/>
                  <a:pt x="9254" y="9621"/>
                </a:cubicBezTo>
                <a:cubicBezTo>
                  <a:pt x="8751" y="9621"/>
                  <a:pt x="8498" y="10229"/>
                  <a:pt x="8857" y="10585"/>
                </a:cubicBezTo>
                <a:cubicBezTo>
                  <a:pt x="9441" y="11166"/>
                  <a:pt x="9519" y="12084"/>
                  <a:pt x="9043" y="12756"/>
                </a:cubicBezTo>
                <a:cubicBezTo>
                  <a:pt x="8717" y="13218"/>
                  <a:pt x="8196" y="13472"/>
                  <a:pt x="7661" y="13472"/>
                </a:cubicBezTo>
                <a:cubicBezTo>
                  <a:pt x="7415" y="13472"/>
                  <a:pt x="7167" y="13419"/>
                  <a:pt x="6933" y="13307"/>
                </a:cubicBezTo>
                <a:lnTo>
                  <a:pt x="6460" y="13777"/>
                </a:lnTo>
                <a:cubicBezTo>
                  <a:pt x="6351" y="13882"/>
                  <a:pt x="6210" y="13935"/>
                  <a:pt x="6068" y="13935"/>
                </a:cubicBezTo>
                <a:cubicBezTo>
                  <a:pt x="5924" y="13935"/>
                  <a:pt x="5779" y="13880"/>
                  <a:pt x="5668" y="13771"/>
                </a:cubicBezTo>
                <a:cubicBezTo>
                  <a:pt x="5451" y="13551"/>
                  <a:pt x="5448" y="13198"/>
                  <a:pt x="5662" y="12979"/>
                </a:cubicBezTo>
                <a:lnTo>
                  <a:pt x="6135" y="12506"/>
                </a:lnTo>
                <a:cubicBezTo>
                  <a:pt x="5824" y="11861"/>
                  <a:pt x="5957" y="11091"/>
                  <a:pt x="6460" y="10582"/>
                </a:cubicBezTo>
                <a:cubicBezTo>
                  <a:pt x="6570" y="10476"/>
                  <a:pt x="6711" y="10424"/>
                  <a:pt x="6852" y="10424"/>
                </a:cubicBezTo>
                <a:cubicBezTo>
                  <a:pt x="6997" y="10424"/>
                  <a:pt x="7142" y="10479"/>
                  <a:pt x="7252" y="10591"/>
                </a:cubicBezTo>
                <a:cubicBezTo>
                  <a:pt x="7469" y="10808"/>
                  <a:pt x="7472" y="11160"/>
                  <a:pt x="7258" y="11383"/>
                </a:cubicBezTo>
                <a:cubicBezTo>
                  <a:pt x="6902" y="11738"/>
                  <a:pt x="7155" y="12346"/>
                  <a:pt x="7658" y="12346"/>
                </a:cubicBezTo>
                <a:cubicBezTo>
                  <a:pt x="8161" y="12346"/>
                  <a:pt x="8414" y="11738"/>
                  <a:pt x="8059" y="11383"/>
                </a:cubicBezTo>
                <a:cubicBezTo>
                  <a:pt x="7475" y="10798"/>
                  <a:pt x="7393" y="9883"/>
                  <a:pt x="7869" y="9209"/>
                </a:cubicBezTo>
                <a:cubicBezTo>
                  <a:pt x="8195" y="8749"/>
                  <a:pt x="8716" y="8495"/>
                  <a:pt x="9251" y="8495"/>
                </a:cubicBezTo>
                <a:cubicBezTo>
                  <a:pt x="9497" y="8495"/>
                  <a:pt x="9746" y="8549"/>
                  <a:pt x="9980" y="8660"/>
                </a:cubicBezTo>
                <a:lnTo>
                  <a:pt x="10453" y="8188"/>
                </a:lnTo>
                <a:cubicBezTo>
                  <a:pt x="10563" y="8082"/>
                  <a:pt x="10705" y="8029"/>
                  <a:pt x="10846" y="8029"/>
                </a:cubicBezTo>
                <a:close/>
                <a:moveTo>
                  <a:pt x="13208" y="0"/>
                </a:moveTo>
                <a:cubicBezTo>
                  <a:pt x="11632" y="0"/>
                  <a:pt x="10059" y="597"/>
                  <a:pt x="8857" y="1801"/>
                </a:cubicBezTo>
                <a:lnTo>
                  <a:pt x="8456" y="2201"/>
                </a:lnTo>
                <a:lnTo>
                  <a:pt x="9655" y="3397"/>
                </a:lnTo>
                <a:cubicBezTo>
                  <a:pt x="9869" y="3620"/>
                  <a:pt x="9866" y="3972"/>
                  <a:pt x="9646" y="4189"/>
                </a:cubicBezTo>
                <a:cubicBezTo>
                  <a:pt x="9536" y="4300"/>
                  <a:pt x="9391" y="4356"/>
                  <a:pt x="9246" y="4356"/>
                </a:cubicBezTo>
                <a:cubicBezTo>
                  <a:pt x="9106" y="4356"/>
                  <a:pt x="8965" y="4303"/>
                  <a:pt x="8857" y="4198"/>
                </a:cubicBezTo>
                <a:lnTo>
                  <a:pt x="7658" y="2999"/>
                </a:lnTo>
                <a:lnTo>
                  <a:pt x="663" y="9994"/>
                </a:lnTo>
                <a:cubicBezTo>
                  <a:pt x="1" y="10654"/>
                  <a:pt x="1" y="11726"/>
                  <a:pt x="663" y="12388"/>
                </a:cubicBezTo>
                <a:lnTo>
                  <a:pt x="7053" y="18775"/>
                </a:lnTo>
                <a:cubicBezTo>
                  <a:pt x="7383" y="19107"/>
                  <a:pt x="7816" y="19272"/>
                  <a:pt x="8249" y="19272"/>
                </a:cubicBezTo>
                <a:cubicBezTo>
                  <a:pt x="8682" y="19272"/>
                  <a:pt x="9116" y="19107"/>
                  <a:pt x="9447" y="18775"/>
                </a:cubicBezTo>
                <a:lnTo>
                  <a:pt x="16442" y="11783"/>
                </a:lnTo>
                <a:lnTo>
                  <a:pt x="15244" y="10585"/>
                </a:lnTo>
                <a:cubicBezTo>
                  <a:pt x="15030" y="10362"/>
                  <a:pt x="15033" y="10010"/>
                  <a:pt x="15250" y="9793"/>
                </a:cubicBezTo>
                <a:cubicBezTo>
                  <a:pt x="15361" y="9683"/>
                  <a:pt x="15506" y="9628"/>
                  <a:pt x="15650" y="9628"/>
                </a:cubicBezTo>
                <a:cubicBezTo>
                  <a:pt x="15792" y="9628"/>
                  <a:pt x="15933" y="9681"/>
                  <a:pt x="16042" y="9787"/>
                </a:cubicBezTo>
                <a:lnTo>
                  <a:pt x="17240" y="10982"/>
                </a:lnTo>
                <a:lnTo>
                  <a:pt x="17641" y="10585"/>
                </a:lnTo>
                <a:cubicBezTo>
                  <a:pt x="19923" y="8299"/>
                  <a:pt x="20025" y="4677"/>
                  <a:pt x="17999" y="2240"/>
                </a:cubicBezTo>
                <a:lnTo>
                  <a:pt x="19237" y="1003"/>
                </a:lnTo>
                <a:cubicBezTo>
                  <a:pt x="19456" y="783"/>
                  <a:pt x="19456" y="425"/>
                  <a:pt x="19237" y="205"/>
                </a:cubicBezTo>
                <a:cubicBezTo>
                  <a:pt x="19127" y="95"/>
                  <a:pt x="18982" y="40"/>
                  <a:pt x="18838" y="40"/>
                </a:cubicBezTo>
                <a:cubicBezTo>
                  <a:pt x="18693" y="40"/>
                  <a:pt x="18548" y="95"/>
                  <a:pt x="18439" y="205"/>
                </a:cubicBezTo>
                <a:lnTo>
                  <a:pt x="17198" y="1443"/>
                </a:lnTo>
                <a:cubicBezTo>
                  <a:pt x="16045" y="483"/>
                  <a:pt x="14625" y="0"/>
                  <a:pt x="132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25" name="Google Shape;6125;p70"/>
          <p:cNvGrpSpPr/>
          <p:nvPr/>
        </p:nvGrpSpPr>
        <p:grpSpPr>
          <a:xfrm>
            <a:off x="6297328" y="2303161"/>
            <a:ext cx="333585" cy="307287"/>
            <a:chOff x="2682350" y="2643425"/>
            <a:chExt cx="473775" cy="436425"/>
          </a:xfrm>
        </p:grpSpPr>
        <p:sp>
          <p:nvSpPr>
            <p:cNvPr id="6126" name="Google Shape;6126;p70"/>
            <p:cNvSpPr/>
            <p:nvPr/>
          </p:nvSpPr>
          <p:spPr>
            <a:xfrm>
              <a:off x="2682350" y="2725775"/>
              <a:ext cx="70175" cy="73425"/>
            </a:xfrm>
            <a:custGeom>
              <a:avLst/>
              <a:gdLst/>
              <a:ahLst/>
              <a:cxnLst/>
              <a:rect l="l" t="t" r="r" b="b"/>
              <a:pathLst>
                <a:path w="2807" h="2937" extrusionOk="0">
                  <a:moveTo>
                    <a:pt x="1130" y="1"/>
                  </a:moveTo>
                  <a:cubicBezTo>
                    <a:pt x="506" y="1"/>
                    <a:pt x="1" y="504"/>
                    <a:pt x="1" y="1130"/>
                  </a:cubicBezTo>
                  <a:lnTo>
                    <a:pt x="1" y="2937"/>
                  </a:lnTo>
                  <a:lnTo>
                    <a:pt x="1991" y="2937"/>
                  </a:lnTo>
                  <a:cubicBezTo>
                    <a:pt x="2443" y="2937"/>
                    <a:pt x="2807" y="2572"/>
                    <a:pt x="2807" y="2124"/>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7" name="Google Shape;6127;p70"/>
            <p:cNvSpPr/>
            <p:nvPr/>
          </p:nvSpPr>
          <p:spPr>
            <a:xfrm>
              <a:off x="2682350" y="3006350"/>
              <a:ext cx="70175" cy="73500"/>
            </a:xfrm>
            <a:custGeom>
              <a:avLst/>
              <a:gdLst/>
              <a:ahLst/>
              <a:cxnLst/>
              <a:rect l="l" t="t" r="r" b="b"/>
              <a:pathLst>
                <a:path w="2807" h="2940" extrusionOk="0">
                  <a:moveTo>
                    <a:pt x="1" y="1"/>
                  </a:moveTo>
                  <a:lnTo>
                    <a:pt x="1" y="1811"/>
                  </a:lnTo>
                  <a:cubicBezTo>
                    <a:pt x="1" y="2434"/>
                    <a:pt x="506" y="2940"/>
                    <a:pt x="1130" y="2940"/>
                  </a:cubicBezTo>
                  <a:lnTo>
                    <a:pt x="2807" y="2940"/>
                  </a:lnTo>
                  <a:lnTo>
                    <a:pt x="2807" y="817"/>
                  </a:lnTo>
                  <a:cubicBezTo>
                    <a:pt x="2807" y="365"/>
                    <a:pt x="2443" y="4"/>
                    <a:pt x="19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8" name="Google Shape;6128;p70"/>
            <p:cNvSpPr/>
            <p:nvPr/>
          </p:nvSpPr>
          <p:spPr>
            <a:xfrm>
              <a:off x="3085925" y="2725700"/>
              <a:ext cx="70200" cy="73500"/>
            </a:xfrm>
            <a:custGeom>
              <a:avLst/>
              <a:gdLst/>
              <a:ahLst/>
              <a:cxnLst/>
              <a:rect l="l" t="t" r="r" b="b"/>
              <a:pathLst>
                <a:path w="2808" h="2940" extrusionOk="0">
                  <a:moveTo>
                    <a:pt x="1" y="1"/>
                  </a:moveTo>
                  <a:lnTo>
                    <a:pt x="1" y="2127"/>
                  </a:lnTo>
                  <a:cubicBezTo>
                    <a:pt x="1" y="2575"/>
                    <a:pt x="365" y="2940"/>
                    <a:pt x="817" y="2940"/>
                  </a:cubicBezTo>
                  <a:lnTo>
                    <a:pt x="2807" y="2940"/>
                  </a:lnTo>
                  <a:lnTo>
                    <a:pt x="2807" y="1130"/>
                  </a:lnTo>
                  <a:cubicBezTo>
                    <a:pt x="2807" y="507"/>
                    <a:pt x="2301" y="1"/>
                    <a:pt x="16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9" name="Google Shape;6129;p70"/>
            <p:cNvSpPr/>
            <p:nvPr/>
          </p:nvSpPr>
          <p:spPr>
            <a:xfrm>
              <a:off x="2825150" y="2843075"/>
              <a:ext cx="180700" cy="107375"/>
            </a:xfrm>
            <a:custGeom>
              <a:avLst/>
              <a:gdLst/>
              <a:ahLst/>
              <a:cxnLst/>
              <a:rect l="l" t="t" r="r" b="b"/>
              <a:pathLst>
                <a:path w="7228" h="4295" extrusionOk="0">
                  <a:moveTo>
                    <a:pt x="5024" y="714"/>
                  </a:moveTo>
                  <a:cubicBezTo>
                    <a:pt x="5337" y="714"/>
                    <a:pt x="5590" y="967"/>
                    <a:pt x="5590" y="1277"/>
                  </a:cubicBezTo>
                  <a:cubicBezTo>
                    <a:pt x="5590" y="1590"/>
                    <a:pt x="5337" y="1843"/>
                    <a:pt x="5024" y="1843"/>
                  </a:cubicBezTo>
                  <a:lnTo>
                    <a:pt x="2503" y="1843"/>
                  </a:lnTo>
                  <a:cubicBezTo>
                    <a:pt x="2190" y="1843"/>
                    <a:pt x="1937" y="1590"/>
                    <a:pt x="1937" y="1277"/>
                  </a:cubicBezTo>
                  <a:cubicBezTo>
                    <a:pt x="1937" y="967"/>
                    <a:pt x="2190" y="714"/>
                    <a:pt x="2503" y="714"/>
                  </a:cubicBezTo>
                  <a:close/>
                  <a:moveTo>
                    <a:pt x="6078" y="2452"/>
                  </a:moveTo>
                  <a:cubicBezTo>
                    <a:pt x="6391" y="2452"/>
                    <a:pt x="6644" y="2704"/>
                    <a:pt x="6644" y="3018"/>
                  </a:cubicBezTo>
                  <a:cubicBezTo>
                    <a:pt x="6644" y="3328"/>
                    <a:pt x="6391" y="3581"/>
                    <a:pt x="6078" y="3581"/>
                  </a:cubicBezTo>
                  <a:lnTo>
                    <a:pt x="1449" y="3581"/>
                  </a:lnTo>
                  <a:cubicBezTo>
                    <a:pt x="1136" y="3581"/>
                    <a:pt x="883" y="3328"/>
                    <a:pt x="883" y="3018"/>
                  </a:cubicBezTo>
                  <a:cubicBezTo>
                    <a:pt x="883" y="2704"/>
                    <a:pt x="1136" y="2452"/>
                    <a:pt x="1449" y="2452"/>
                  </a:cubicBezTo>
                  <a:close/>
                  <a:moveTo>
                    <a:pt x="1" y="0"/>
                  </a:moveTo>
                  <a:lnTo>
                    <a:pt x="1" y="4294"/>
                  </a:lnTo>
                  <a:lnTo>
                    <a:pt x="7228" y="4294"/>
                  </a:lnTo>
                  <a:lnTo>
                    <a:pt x="72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0" name="Google Shape;6130;p70"/>
            <p:cNvSpPr/>
            <p:nvPr/>
          </p:nvSpPr>
          <p:spPr>
            <a:xfrm>
              <a:off x="2682350" y="2725700"/>
              <a:ext cx="473775" cy="354150"/>
            </a:xfrm>
            <a:custGeom>
              <a:avLst/>
              <a:gdLst/>
              <a:ahLst/>
              <a:cxnLst/>
              <a:rect l="l" t="t" r="r" b="b"/>
              <a:pathLst>
                <a:path w="18951" h="14166" extrusionOk="0">
                  <a:moveTo>
                    <a:pt x="13503" y="3566"/>
                  </a:moveTo>
                  <a:cubicBezTo>
                    <a:pt x="13816" y="3566"/>
                    <a:pt x="14069" y="3819"/>
                    <a:pt x="14069" y="4129"/>
                  </a:cubicBezTo>
                  <a:lnTo>
                    <a:pt x="14069" y="9556"/>
                  </a:lnTo>
                  <a:cubicBezTo>
                    <a:pt x="14069" y="9866"/>
                    <a:pt x="13816" y="10119"/>
                    <a:pt x="13503" y="10119"/>
                  </a:cubicBezTo>
                  <a:lnTo>
                    <a:pt x="5147" y="10119"/>
                  </a:lnTo>
                  <a:cubicBezTo>
                    <a:pt x="4834" y="10119"/>
                    <a:pt x="4584" y="9866"/>
                    <a:pt x="4584" y="9556"/>
                  </a:cubicBezTo>
                  <a:lnTo>
                    <a:pt x="4584" y="4129"/>
                  </a:lnTo>
                  <a:cubicBezTo>
                    <a:pt x="4584" y="3819"/>
                    <a:pt x="4834" y="3566"/>
                    <a:pt x="5147" y="3566"/>
                  </a:cubicBezTo>
                  <a:close/>
                  <a:moveTo>
                    <a:pt x="3936" y="1"/>
                  </a:moveTo>
                  <a:lnTo>
                    <a:pt x="3936" y="2127"/>
                  </a:lnTo>
                  <a:cubicBezTo>
                    <a:pt x="3933" y="3199"/>
                    <a:pt x="3066" y="4069"/>
                    <a:pt x="1991" y="4069"/>
                  </a:cubicBezTo>
                  <a:lnTo>
                    <a:pt x="1" y="4069"/>
                  </a:lnTo>
                  <a:lnTo>
                    <a:pt x="1" y="10098"/>
                  </a:lnTo>
                  <a:lnTo>
                    <a:pt x="1991" y="10098"/>
                  </a:lnTo>
                  <a:cubicBezTo>
                    <a:pt x="3066" y="10101"/>
                    <a:pt x="3933" y="10968"/>
                    <a:pt x="3936" y="12043"/>
                  </a:cubicBezTo>
                  <a:lnTo>
                    <a:pt x="3936" y="14166"/>
                  </a:lnTo>
                  <a:lnTo>
                    <a:pt x="15015" y="14166"/>
                  </a:lnTo>
                  <a:lnTo>
                    <a:pt x="15015" y="12043"/>
                  </a:lnTo>
                  <a:cubicBezTo>
                    <a:pt x="15018" y="10968"/>
                    <a:pt x="15885" y="10101"/>
                    <a:pt x="16960" y="10098"/>
                  </a:cubicBezTo>
                  <a:lnTo>
                    <a:pt x="18950" y="10098"/>
                  </a:lnTo>
                  <a:lnTo>
                    <a:pt x="18950" y="4069"/>
                  </a:lnTo>
                  <a:lnTo>
                    <a:pt x="16960" y="4069"/>
                  </a:lnTo>
                  <a:cubicBezTo>
                    <a:pt x="15885" y="4069"/>
                    <a:pt x="15018" y="3199"/>
                    <a:pt x="15015" y="2127"/>
                  </a:cubicBezTo>
                  <a:lnTo>
                    <a:pt x="15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1" name="Google Shape;6131;p70"/>
            <p:cNvSpPr/>
            <p:nvPr/>
          </p:nvSpPr>
          <p:spPr>
            <a:xfrm>
              <a:off x="3085925" y="3006350"/>
              <a:ext cx="70200" cy="73500"/>
            </a:xfrm>
            <a:custGeom>
              <a:avLst/>
              <a:gdLst/>
              <a:ahLst/>
              <a:cxnLst/>
              <a:rect l="l" t="t" r="r" b="b"/>
              <a:pathLst>
                <a:path w="2808" h="2940" extrusionOk="0">
                  <a:moveTo>
                    <a:pt x="817" y="1"/>
                  </a:moveTo>
                  <a:cubicBezTo>
                    <a:pt x="365" y="4"/>
                    <a:pt x="1" y="365"/>
                    <a:pt x="1" y="817"/>
                  </a:cubicBezTo>
                  <a:lnTo>
                    <a:pt x="1" y="2940"/>
                  </a:lnTo>
                  <a:lnTo>
                    <a:pt x="1678" y="2940"/>
                  </a:lnTo>
                  <a:cubicBezTo>
                    <a:pt x="2301" y="2940"/>
                    <a:pt x="2807" y="2434"/>
                    <a:pt x="2807" y="1811"/>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2" name="Google Shape;6132;p70"/>
            <p:cNvSpPr/>
            <p:nvPr/>
          </p:nvSpPr>
          <p:spPr>
            <a:xfrm>
              <a:off x="2825450" y="2643425"/>
              <a:ext cx="187550" cy="54075"/>
            </a:xfrm>
            <a:custGeom>
              <a:avLst/>
              <a:gdLst/>
              <a:ahLst/>
              <a:cxnLst/>
              <a:rect l="l" t="t" r="r" b="b"/>
              <a:pathLst>
                <a:path w="7502" h="2163" extrusionOk="0">
                  <a:moveTo>
                    <a:pt x="1862" y="1"/>
                  </a:moveTo>
                  <a:cubicBezTo>
                    <a:pt x="835" y="4"/>
                    <a:pt x="1" y="835"/>
                    <a:pt x="1" y="1861"/>
                  </a:cubicBezTo>
                  <a:lnTo>
                    <a:pt x="1" y="2163"/>
                  </a:lnTo>
                  <a:lnTo>
                    <a:pt x="1130" y="2163"/>
                  </a:lnTo>
                  <a:lnTo>
                    <a:pt x="1130" y="1861"/>
                  </a:lnTo>
                  <a:cubicBezTo>
                    <a:pt x="1130" y="1458"/>
                    <a:pt x="1458" y="1133"/>
                    <a:pt x="1862" y="1130"/>
                  </a:cubicBezTo>
                  <a:lnTo>
                    <a:pt x="5641" y="1130"/>
                  </a:lnTo>
                  <a:cubicBezTo>
                    <a:pt x="6044" y="1133"/>
                    <a:pt x="6373" y="1458"/>
                    <a:pt x="6373" y="1861"/>
                  </a:cubicBezTo>
                  <a:lnTo>
                    <a:pt x="6373" y="2163"/>
                  </a:lnTo>
                  <a:lnTo>
                    <a:pt x="7502" y="2163"/>
                  </a:lnTo>
                  <a:lnTo>
                    <a:pt x="7502" y="1861"/>
                  </a:lnTo>
                  <a:cubicBezTo>
                    <a:pt x="7502" y="835"/>
                    <a:pt x="6668" y="4"/>
                    <a:pt x="5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3" name="Google Shape;6133;p70"/>
          <p:cNvGrpSpPr/>
          <p:nvPr/>
        </p:nvGrpSpPr>
        <p:grpSpPr>
          <a:xfrm>
            <a:off x="6762818" y="2287178"/>
            <a:ext cx="238531" cy="339253"/>
            <a:chOff x="3342725" y="2620775"/>
            <a:chExt cx="338775" cy="481825"/>
          </a:xfrm>
        </p:grpSpPr>
        <p:sp>
          <p:nvSpPr>
            <p:cNvPr id="6134" name="Google Shape;6134;p70"/>
            <p:cNvSpPr/>
            <p:nvPr/>
          </p:nvSpPr>
          <p:spPr>
            <a:xfrm>
              <a:off x="3342725" y="2620775"/>
              <a:ext cx="338775" cy="56475"/>
            </a:xfrm>
            <a:custGeom>
              <a:avLst/>
              <a:gdLst/>
              <a:ahLst/>
              <a:cxnLst/>
              <a:rect l="l" t="t" r="r" b="b"/>
              <a:pathLst>
                <a:path w="13551" h="2259" extrusionOk="0">
                  <a:moveTo>
                    <a:pt x="1693" y="0"/>
                  </a:moveTo>
                  <a:cubicBezTo>
                    <a:pt x="756" y="0"/>
                    <a:pt x="0" y="759"/>
                    <a:pt x="0" y="1695"/>
                  </a:cubicBezTo>
                  <a:lnTo>
                    <a:pt x="0" y="2259"/>
                  </a:lnTo>
                  <a:lnTo>
                    <a:pt x="13551" y="2259"/>
                  </a:lnTo>
                  <a:lnTo>
                    <a:pt x="13551" y="1695"/>
                  </a:lnTo>
                  <a:cubicBezTo>
                    <a:pt x="13548" y="759"/>
                    <a:pt x="12792" y="0"/>
                    <a:pt x="11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5" name="Google Shape;6135;p70"/>
            <p:cNvSpPr/>
            <p:nvPr/>
          </p:nvSpPr>
          <p:spPr>
            <a:xfrm>
              <a:off x="3342725" y="2705450"/>
              <a:ext cx="338775" cy="284225"/>
            </a:xfrm>
            <a:custGeom>
              <a:avLst/>
              <a:gdLst/>
              <a:ahLst/>
              <a:cxnLst/>
              <a:rect l="l" t="t" r="r" b="b"/>
              <a:pathLst>
                <a:path w="13551" h="11369" extrusionOk="0">
                  <a:moveTo>
                    <a:pt x="0" y="1"/>
                  </a:moveTo>
                  <a:lnTo>
                    <a:pt x="0" y="11368"/>
                  </a:lnTo>
                  <a:lnTo>
                    <a:pt x="13551" y="11368"/>
                  </a:lnTo>
                  <a:lnTo>
                    <a:pt x="135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6" name="Google Shape;6136;p70"/>
            <p:cNvSpPr/>
            <p:nvPr/>
          </p:nvSpPr>
          <p:spPr>
            <a:xfrm>
              <a:off x="3342725" y="3017875"/>
              <a:ext cx="338775" cy="84725"/>
            </a:xfrm>
            <a:custGeom>
              <a:avLst/>
              <a:gdLst/>
              <a:ahLst/>
              <a:cxnLst/>
              <a:rect l="l" t="t" r="r" b="b"/>
              <a:pathLst>
                <a:path w="13551" h="3389" extrusionOk="0">
                  <a:moveTo>
                    <a:pt x="8224" y="1205"/>
                  </a:moveTo>
                  <a:cubicBezTo>
                    <a:pt x="8534" y="1205"/>
                    <a:pt x="8787" y="1458"/>
                    <a:pt x="8787" y="1771"/>
                  </a:cubicBezTo>
                  <a:cubicBezTo>
                    <a:pt x="8787" y="2081"/>
                    <a:pt x="8534" y="2334"/>
                    <a:pt x="8224" y="2334"/>
                  </a:cubicBezTo>
                  <a:lnTo>
                    <a:pt x="5324" y="2334"/>
                  </a:lnTo>
                  <a:cubicBezTo>
                    <a:pt x="5014" y="2334"/>
                    <a:pt x="4761" y="2081"/>
                    <a:pt x="4761" y="1771"/>
                  </a:cubicBezTo>
                  <a:cubicBezTo>
                    <a:pt x="4761" y="1458"/>
                    <a:pt x="5014" y="1205"/>
                    <a:pt x="5324" y="1205"/>
                  </a:cubicBezTo>
                  <a:close/>
                  <a:moveTo>
                    <a:pt x="0" y="0"/>
                  </a:moveTo>
                  <a:lnTo>
                    <a:pt x="0" y="1696"/>
                  </a:lnTo>
                  <a:cubicBezTo>
                    <a:pt x="0" y="2629"/>
                    <a:pt x="756" y="3388"/>
                    <a:pt x="1693" y="3388"/>
                  </a:cubicBezTo>
                  <a:lnTo>
                    <a:pt x="11855" y="3388"/>
                  </a:lnTo>
                  <a:cubicBezTo>
                    <a:pt x="12792" y="3388"/>
                    <a:pt x="13548" y="2629"/>
                    <a:pt x="13551" y="1696"/>
                  </a:cubicBezTo>
                  <a:lnTo>
                    <a:pt x="135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7" name="Google Shape;6137;p70"/>
          <p:cNvGrpSpPr/>
          <p:nvPr/>
        </p:nvGrpSpPr>
        <p:grpSpPr>
          <a:xfrm>
            <a:off x="7156568" y="2287178"/>
            <a:ext cx="278296" cy="339253"/>
            <a:chOff x="3907325" y="2620775"/>
            <a:chExt cx="395250" cy="481825"/>
          </a:xfrm>
        </p:grpSpPr>
        <p:sp>
          <p:nvSpPr>
            <p:cNvPr id="6138" name="Google Shape;6138;p70"/>
            <p:cNvSpPr/>
            <p:nvPr/>
          </p:nvSpPr>
          <p:spPr>
            <a:xfrm>
              <a:off x="3907325" y="3016975"/>
              <a:ext cx="74550" cy="56475"/>
            </a:xfrm>
            <a:custGeom>
              <a:avLst/>
              <a:gdLst/>
              <a:ahLst/>
              <a:cxnLst/>
              <a:rect l="l" t="t" r="r" b="b"/>
              <a:pathLst>
                <a:path w="2982" h="2259" extrusionOk="0">
                  <a:moveTo>
                    <a:pt x="1" y="0"/>
                  </a:moveTo>
                  <a:lnTo>
                    <a:pt x="1" y="563"/>
                  </a:lnTo>
                  <a:cubicBezTo>
                    <a:pt x="1" y="1500"/>
                    <a:pt x="756" y="2256"/>
                    <a:pt x="1693" y="2259"/>
                  </a:cubicBezTo>
                  <a:lnTo>
                    <a:pt x="2982" y="2259"/>
                  </a:lnTo>
                  <a:cubicBezTo>
                    <a:pt x="2711" y="1527"/>
                    <a:pt x="2515" y="768"/>
                    <a:pt x="2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9" name="Google Shape;6139;p70"/>
            <p:cNvSpPr/>
            <p:nvPr/>
          </p:nvSpPr>
          <p:spPr>
            <a:xfrm>
              <a:off x="3907325" y="2705450"/>
              <a:ext cx="282325" cy="283325"/>
            </a:xfrm>
            <a:custGeom>
              <a:avLst/>
              <a:gdLst/>
              <a:ahLst/>
              <a:cxnLst/>
              <a:rect l="l" t="t" r="r" b="b"/>
              <a:pathLst>
                <a:path w="11293" h="11333" extrusionOk="0">
                  <a:moveTo>
                    <a:pt x="1" y="1"/>
                  </a:moveTo>
                  <a:lnTo>
                    <a:pt x="1" y="11332"/>
                  </a:lnTo>
                  <a:lnTo>
                    <a:pt x="2283" y="11332"/>
                  </a:lnTo>
                  <a:cubicBezTo>
                    <a:pt x="2274" y="11142"/>
                    <a:pt x="2259" y="10956"/>
                    <a:pt x="2259" y="10766"/>
                  </a:cubicBezTo>
                  <a:lnTo>
                    <a:pt x="2259" y="9637"/>
                  </a:lnTo>
                  <a:cubicBezTo>
                    <a:pt x="2259" y="8396"/>
                    <a:pt x="2834" y="7249"/>
                    <a:pt x="3834" y="6490"/>
                  </a:cubicBezTo>
                  <a:lnTo>
                    <a:pt x="4517" y="5975"/>
                  </a:lnTo>
                  <a:lnTo>
                    <a:pt x="4517" y="3145"/>
                  </a:lnTo>
                  <a:cubicBezTo>
                    <a:pt x="4517" y="2051"/>
                    <a:pt x="5400" y="1169"/>
                    <a:pt x="6493" y="1169"/>
                  </a:cubicBezTo>
                  <a:cubicBezTo>
                    <a:pt x="7583" y="1169"/>
                    <a:pt x="8468" y="2051"/>
                    <a:pt x="8468" y="3145"/>
                  </a:cubicBezTo>
                  <a:lnTo>
                    <a:pt x="8468" y="3617"/>
                  </a:lnTo>
                  <a:cubicBezTo>
                    <a:pt x="8743" y="3487"/>
                    <a:pt x="9031" y="3426"/>
                    <a:pt x="9314" y="3426"/>
                  </a:cubicBezTo>
                  <a:cubicBezTo>
                    <a:pt x="10141" y="3426"/>
                    <a:pt x="10923" y="3949"/>
                    <a:pt x="11196" y="4795"/>
                  </a:cubicBezTo>
                  <a:cubicBezTo>
                    <a:pt x="11226" y="4780"/>
                    <a:pt x="11260" y="4771"/>
                    <a:pt x="11293" y="4759"/>
                  </a:cubicBezTo>
                  <a:lnTo>
                    <a:pt x="11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0" name="Google Shape;6140;p70"/>
            <p:cNvSpPr/>
            <p:nvPr/>
          </p:nvSpPr>
          <p:spPr>
            <a:xfrm>
              <a:off x="3907325" y="2620775"/>
              <a:ext cx="282325" cy="56475"/>
            </a:xfrm>
            <a:custGeom>
              <a:avLst/>
              <a:gdLst/>
              <a:ahLst/>
              <a:cxnLst/>
              <a:rect l="l" t="t" r="r" b="b"/>
              <a:pathLst>
                <a:path w="11293" h="2259" extrusionOk="0">
                  <a:moveTo>
                    <a:pt x="1693" y="0"/>
                  </a:moveTo>
                  <a:cubicBezTo>
                    <a:pt x="756" y="0"/>
                    <a:pt x="1" y="759"/>
                    <a:pt x="1" y="1695"/>
                  </a:cubicBezTo>
                  <a:lnTo>
                    <a:pt x="1" y="2259"/>
                  </a:lnTo>
                  <a:lnTo>
                    <a:pt x="11293" y="2259"/>
                  </a:lnTo>
                  <a:lnTo>
                    <a:pt x="11293" y="1695"/>
                  </a:lnTo>
                  <a:cubicBezTo>
                    <a:pt x="11290" y="759"/>
                    <a:pt x="10534"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1" name="Google Shape;6141;p70"/>
            <p:cNvSpPr/>
            <p:nvPr/>
          </p:nvSpPr>
          <p:spPr>
            <a:xfrm>
              <a:off x="3992025" y="2762900"/>
              <a:ext cx="310550" cy="339700"/>
            </a:xfrm>
            <a:custGeom>
              <a:avLst/>
              <a:gdLst/>
              <a:ahLst/>
              <a:cxnLst/>
              <a:rect l="l" t="t" r="r" b="b"/>
              <a:pathLst>
                <a:path w="12422" h="13588" extrusionOk="0">
                  <a:moveTo>
                    <a:pt x="3105" y="0"/>
                  </a:moveTo>
                  <a:cubicBezTo>
                    <a:pt x="2635" y="0"/>
                    <a:pt x="2259" y="377"/>
                    <a:pt x="2259" y="847"/>
                  </a:cubicBezTo>
                  <a:lnTo>
                    <a:pt x="2259" y="8468"/>
                  </a:lnTo>
                  <a:cubicBezTo>
                    <a:pt x="2259" y="8781"/>
                    <a:pt x="2006" y="9031"/>
                    <a:pt x="1693" y="9031"/>
                  </a:cubicBezTo>
                  <a:cubicBezTo>
                    <a:pt x="1379" y="9031"/>
                    <a:pt x="1129" y="8781"/>
                    <a:pt x="1129" y="8468"/>
                  </a:cubicBezTo>
                  <a:lnTo>
                    <a:pt x="1129" y="5095"/>
                  </a:lnTo>
                  <a:cubicBezTo>
                    <a:pt x="419" y="5622"/>
                    <a:pt x="0" y="6453"/>
                    <a:pt x="0" y="7339"/>
                  </a:cubicBezTo>
                  <a:lnTo>
                    <a:pt x="0" y="8468"/>
                  </a:lnTo>
                  <a:cubicBezTo>
                    <a:pt x="0" y="10052"/>
                    <a:pt x="368" y="11615"/>
                    <a:pt x="1069" y="13036"/>
                  </a:cubicBezTo>
                  <a:cubicBezTo>
                    <a:pt x="1223" y="13346"/>
                    <a:pt x="1322" y="13587"/>
                    <a:pt x="1693" y="13587"/>
                  </a:cubicBezTo>
                  <a:lnTo>
                    <a:pt x="10726" y="13587"/>
                  </a:lnTo>
                  <a:cubicBezTo>
                    <a:pt x="11097" y="13587"/>
                    <a:pt x="11196" y="13346"/>
                    <a:pt x="11350" y="13036"/>
                  </a:cubicBezTo>
                  <a:cubicBezTo>
                    <a:pt x="12051" y="11615"/>
                    <a:pt x="12419" y="10052"/>
                    <a:pt x="12422" y="8468"/>
                  </a:cubicBezTo>
                  <a:lnTo>
                    <a:pt x="12422" y="5363"/>
                  </a:lnTo>
                  <a:cubicBezTo>
                    <a:pt x="12422" y="4894"/>
                    <a:pt x="12042" y="4517"/>
                    <a:pt x="11572" y="4517"/>
                  </a:cubicBezTo>
                  <a:cubicBezTo>
                    <a:pt x="11106" y="4517"/>
                    <a:pt x="10726" y="4894"/>
                    <a:pt x="10726" y="5363"/>
                  </a:cubicBezTo>
                  <a:lnTo>
                    <a:pt x="10726" y="7339"/>
                  </a:lnTo>
                  <a:cubicBezTo>
                    <a:pt x="10726" y="7652"/>
                    <a:pt x="10473" y="7902"/>
                    <a:pt x="10163" y="7902"/>
                  </a:cubicBezTo>
                  <a:cubicBezTo>
                    <a:pt x="9850" y="7902"/>
                    <a:pt x="9597" y="7652"/>
                    <a:pt x="9597" y="7339"/>
                  </a:cubicBezTo>
                  <a:lnTo>
                    <a:pt x="9597" y="6297"/>
                  </a:lnTo>
                  <a:lnTo>
                    <a:pt x="9597" y="4234"/>
                  </a:lnTo>
                  <a:cubicBezTo>
                    <a:pt x="9597" y="3764"/>
                    <a:pt x="9218" y="3388"/>
                    <a:pt x="8751" y="3388"/>
                  </a:cubicBezTo>
                  <a:cubicBezTo>
                    <a:pt x="8281" y="3388"/>
                    <a:pt x="7905" y="3764"/>
                    <a:pt x="7905" y="4234"/>
                  </a:cubicBezTo>
                  <a:lnTo>
                    <a:pt x="7905" y="6210"/>
                  </a:lnTo>
                  <a:cubicBezTo>
                    <a:pt x="7905" y="6523"/>
                    <a:pt x="7652" y="6773"/>
                    <a:pt x="7339" y="6773"/>
                  </a:cubicBezTo>
                  <a:cubicBezTo>
                    <a:pt x="7025" y="6773"/>
                    <a:pt x="6776" y="6523"/>
                    <a:pt x="6776" y="6210"/>
                  </a:cubicBezTo>
                  <a:lnTo>
                    <a:pt x="6776" y="3105"/>
                  </a:lnTo>
                  <a:cubicBezTo>
                    <a:pt x="6776" y="2635"/>
                    <a:pt x="6396" y="2259"/>
                    <a:pt x="5926" y="2259"/>
                  </a:cubicBezTo>
                  <a:cubicBezTo>
                    <a:pt x="5460" y="2259"/>
                    <a:pt x="5080" y="2635"/>
                    <a:pt x="5080" y="3105"/>
                  </a:cubicBezTo>
                  <a:lnTo>
                    <a:pt x="5080" y="6210"/>
                  </a:lnTo>
                  <a:cubicBezTo>
                    <a:pt x="5080" y="6523"/>
                    <a:pt x="4827" y="6773"/>
                    <a:pt x="4517" y="6773"/>
                  </a:cubicBezTo>
                  <a:cubicBezTo>
                    <a:pt x="4204" y="6773"/>
                    <a:pt x="3951" y="6523"/>
                    <a:pt x="3951" y="6210"/>
                  </a:cubicBezTo>
                  <a:lnTo>
                    <a:pt x="3951" y="847"/>
                  </a:lnTo>
                  <a:cubicBezTo>
                    <a:pt x="3951" y="377"/>
                    <a:pt x="3572" y="0"/>
                    <a:pt x="31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2" name="Google Shape;6142;p70"/>
          <p:cNvGrpSpPr/>
          <p:nvPr/>
        </p:nvGrpSpPr>
        <p:grpSpPr>
          <a:xfrm>
            <a:off x="7549755" y="2297783"/>
            <a:ext cx="339253" cy="318042"/>
            <a:chOff x="4456875" y="2635825"/>
            <a:chExt cx="481825" cy="451700"/>
          </a:xfrm>
        </p:grpSpPr>
        <p:sp>
          <p:nvSpPr>
            <p:cNvPr id="6143" name="Google Shape;6143;p70"/>
            <p:cNvSpPr/>
            <p:nvPr/>
          </p:nvSpPr>
          <p:spPr>
            <a:xfrm>
              <a:off x="4542475" y="3031050"/>
              <a:ext cx="189725" cy="56475"/>
            </a:xfrm>
            <a:custGeom>
              <a:avLst/>
              <a:gdLst/>
              <a:ahLst/>
              <a:cxnLst/>
              <a:rect l="l" t="t" r="r" b="b"/>
              <a:pathLst>
                <a:path w="7589" h="2259" extrusionOk="0">
                  <a:moveTo>
                    <a:pt x="2792" y="0"/>
                  </a:moveTo>
                  <a:lnTo>
                    <a:pt x="2415" y="1130"/>
                  </a:lnTo>
                  <a:lnTo>
                    <a:pt x="567" y="1130"/>
                  </a:lnTo>
                  <a:cubicBezTo>
                    <a:pt x="253" y="1130"/>
                    <a:pt x="0" y="1383"/>
                    <a:pt x="0" y="1696"/>
                  </a:cubicBezTo>
                  <a:cubicBezTo>
                    <a:pt x="0" y="2006"/>
                    <a:pt x="253" y="2259"/>
                    <a:pt x="567" y="2259"/>
                  </a:cubicBezTo>
                  <a:lnTo>
                    <a:pt x="7589" y="2259"/>
                  </a:lnTo>
                  <a:cubicBezTo>
                    <a:pt x="7101" y="1831"/>
                    <a:pt x="6821" y="1214"/>
                    <a:pt x="6821" y="567"/>
                  </a:cubicBezTo>
                  <a:lnTo>
                    <a:pt x="6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4" name="Google Shape;6144;p70"/>
            <p:cNvSpPr/>
            <p:nvPr/>
          </p:nvSpPr>
          <p:spPr>
            <a:xfrm>
              <a:off x="4456875" y="2946350"/>
              <a:ext cx="256125" cy="56500"/>
            </a:xfrm>
            <a:custGeom>
              <a:avLst/>
              <a:gdLst/>
              <a:ahLst/>
              <a:cxnLst/>
              <a:rect l="l" t="t" r="r" b="b"/>
              <a:pathLst>
                <a:path w="10245" h="2260" extrusionOk="0">
                  <a:moveTo>
                    <a:pt x="1" y="1"/>
                  </a:moveTo>
                  <a:lnTo>
                    <a:pt x="1" y="567"/>
                  </a:lnTo>
                  <a:cubicBezTo>
                    <a:pt x="1" y="1500"/>
                    <a:pt x="756" y="2259"/>
                    <a:pt x="1693" y="2259"/>
                  </a:cubicBezTo>
                  <a:lnTo>
                    <a:pt x="10245" y="2259"/>
                  </a:lnTo>
                  <a:lnTo>
                    <a:pt x="102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5" name="Google Shape;6145;p70"/>
            <p:cNvSpPr/>
            <p:nvPr/>
          </p:nvSpPr>
          <p:spPr>
            <a:xfrm>
              <a:off x="4741225" y="2861675"/>
              <a:ext cx="169400" cy="141175"/>
            </a:xfrm>
            <a:custGeom>
              <a:avLst/>
              <a:gdLst/>
              <a:ahLst/>
              <a:cxnLst/>
              <a:rect l="l" t="t" r="r" b="b"/>
              <a:pathLst>
                <a:path w="6776" h="5647" extrusionOk="0">
                  <a:moveTo>
                    <a:pt x="0" y="0"/>
                  </a:moveTo>
                  <a:lnTo>
                    <a:pt x="0" y="5646"/>
                  </a:lnTo>
                  <a:lnTo>
                    <a:pt x="6775" y="5646"/>
                  </a:ln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6" name="Google Shape;6146;p70"/>
            <p:cNvSpPr/>
            <p:nvPr/>
          </p:nvSpPr>
          <p:spPr>
            <a:xfrm>
              <a:off x="4741225" y="3031050"/>
              <a:ext cx="169400" cy="42400"/>
            </a:xfrm>
            <a:custGeom>
              <a:avLst/>
              <a:gdLst/>
              <a:ahLst/>
              <a:cxnLst/>
              <a:rect l="l" t="t" r="r" b="b"/>
              <a:pathLst>
                <a:path w="6776" h="1696" extrusionOk="0">
                  <a:moveTo>
                    <a:pt x="0" y="0"/>
                  </a:moveTo>
                  <a:lnTo>
                    <a:pt x="0" y="567"/>
                  </a:lnTo>
                  <a:cubicBezTo>
                    <a:pt x="0" y="1190"/>
                    <a:pt x="506" y="1696"/>
                    <a:pt x="1129" y="1696"/>
                  </a:cubicBezTo>
                  <a:lnTo>
                    <a:pt x="5646" y="1696"/>
                  </a:lnTo>
                  <a:cubicBezTo>
                    <a:pt x="6270" y="1696"/>
                    <a:pt x="6775" y="1190"/>
                    <a:pt x="6775" y="567"/>
                  </a:cubicBez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7" name="Google Shape;6147;p70"/>
            <p:cNvSpPr/>
            <p:nvPr/>
          </p:nvSpPr>
          <p:spPr>
            <a:xfrm>
              <a:off x="4456875" y="2635825"/>
              <a:ext cx="481825" cy="282325"/>
            </a:xfrm>
            <a:custGeom>
              <a:avLst/>
              <a:gdLst/>
              <a:ahLst/>
              <a:cxnLst/>
              <a:rect l="l" t="t" r="r" b="b"/>
              <a:pathLst>
                <a:path w="19273" h="11293" extrusionOk="0">
                  <a:moveTo>
                    <a:pt x="1693" y="0"/>
                  </a:moveTo>
                  <a:cubicBezTo>
                    <a:pt x="756" y="0"/>
                    <a:pt x="1" y="759"/>
                    <a:pt x="1" y="1696"/>
                  </a:cubicBezTo>
                  <a:lnTo>
                    <a:pt x="1" y="11293"/>
                  </a:lnTo>
                  <a:lnTo>
                    <a:pt x="10245" y="11293"/>
                  </a:lnTo>
                  <a:lnTo>
                    <a:pt x="10245" y="7342"/>
                  </a:lnTo>
                  <a:cubicBezTo>
                    <a:pt x="10245" y="6092"/>
                    <a:pt x="11257" y="5083"/>
                    <a:pt x="12503" y="5083"/>
                  </a:cubicBezTo>
                  <a:lnTo>
                    <a:pt x="17020" y="5083"/>
                  </a:lnTo>
                  <a:cubicBezTo>
                    <a:pt x="18201" y="5083"/>
                    <a:pt x="19179" y="5993"/>
                    <a:pt x="19273" y="7167"/>
                  </a:cubicBezTo>
                  <a:lnTo>
                    <a:pt x="19273" y="1696"/>
                  </a:lnTo>
                  <a:cubicBezTo>
                    <a:pt x="19270" y="759"/>
                    <a:pt x="18514"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8" name="Google Shape;6148;p70"/>
            <p:cNvSpPr/>
            <p:nvPr/>
          </p:nvSpPr>
          <p:spPr>
            <a:xfrm>
              <a:off x="4741225" y="2791125"/>
              <a:ext cx="169400" cy="42325"/>
            </a:xfrm>
            <a:custGeom>
              <a:avLst/>
              <a:gdLst/>
              <a:ahLst/>
              <a:cxnLst/>
              <a:rect l="l" t="t" r="r" b="b"/>
              <a:pathLst>
                <a:path w="6776" h="1693" extrusionOk="0">
                  <a:moveTo>
                    <a:pt x="1129" y="1"/>
                  </a:moveTo>
                  <a:cubicBezTo>
                    <a:pt x="506" y="1"/>
                    <a:pt x="0" y="503"/>
                    <a:pt x="0" y="1130"/>
                  </a:cubicBezTo>
                  <a:lnTo>
                    <a:pt x="0" y="1693"/>
                  </a:lnTo>
                  <a:lnTo>
                    <a:pt x="6775" y="1693"/>
                  </a:lnTo>
                  <a:lnTo>
                    <a:pt x="6775" y="1130"/>
                  </a:lnTo>
                  <a:cubicBezTo>
                    <a:pt x="6775" y="503"/>
                    <a:pt x="6270" y="1"/>
                    <a:pt x="56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9" name="Google Shape;6149;p70"/>
          <p:cNvGrpSpPr/>
          <p:nvPr/>
        </p:nvGrpSpPr>
        <p:grpSpPr>
          <a:xfrm>
            <a:off x="7974679" y="2297783"/>
            <a:ext cx="339253" cy="318042"/>
            <a:chOff x="5049725" y="2635825"/>
            <a:chExt cx="481825" cy="451700"/>
          </a:xfrm>
        </p:grpSpPr>
        <p:sp>
          <p:nvSpPr>
            <p:cNvPr id="6150" name="Google Shape;6150;p70"/>
            <p:cNvSpPr/>
            <p:nvPr/>
          </p:nvSpPr>
          <p:spPr>
            <a:xfrm>
              <a:off x="5135325" y="3031050"/>
              <a:ext cx="310550" cy="56475"/>
            </a:xfrm>
            <a:custGeom>
              <a:avLst/>
              <a:gdLst/>
              <a:ahLst/>
              <a:cxnLst/>
              <a:rect l="l" t="t" r="r" b="b"/>
              <a:pathLst>
                <a:path w="12422" h="2259" extrusionOk="0">
                  <a:moveTo>
                    <a:pt x="2791" y="0"/>
                  </a:moveTo>
                  <a:lnTo>
                    <a:pt x="2415" y="1130"/>
                  </a:lnTo>
                  <a:lnTo>
                    <a:pt x="566" y="1130"/>
                  </a:lnTo>
                  <a:cubicBezTo>
                    <a:pt x="253" y="1130"/>
                    <a:pt x="0" y="1383"/>
                    <a:pt x="0" y="1696"/>
                  </a:cubicBezTo>
                  <a:cubicBezTo>
                    <a:pt x="0" y="2006"/>
                    <a:pt x="253" y="2259"/>
                    <a:pt x="566" y="2259"/>
                  </a:cubicBezTo>
                  <a:lnTo>
                    <a:pt x="11858" y="2259"/>
                  </a:lnTo>
                  <a:cubicBezTo>
                    <a:pt x="12169" y="2259"/>
                    <a:pt x="12421" y="2006"/>
                    <a:pt x="12421" y="1696"/>
                  </a:cubicBezTo>
                  <a:cubicBezTo>
                    <a:pt x="12421" y="1383"/>
                    <a:pt x="12169" y="1130"/>
                    <a:pt x="11858" y="1130"/>
                  </a:cubicBezTo>
                  <a:lnTo>
                    <a:pt x="10006" y="1130"/>
                  </a:lnTo>
                  <a:lnTo>
                    <a:pt x="9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1" name="Google Shape;6151;p70"/>
            <p:cNvSpPr/>
            <p:nvPr/>
          </p:nvSpPr>
          <p:spPr>
            <a:xfrm>
              <a:off x="5049725" y="2946350"/>
              <a:ext cx="481825" cy="56500"/>
            </a:xfrm>
            <a:custGeom>
              <a:avLst/>
              <a:gdLst/>
              <a:ahLst/>
              <a:cxnLst/>
              <a:rect l="l" t="t" r="r" b="b"/>
              <a:pathLst>
                <a:path w="19273" h="2260" extrusionOk="0">
                  <a:moveTo>
                    <a:pt x="0" y="1"/>
                  </a:moveTo>
                  <a:lnTo>
                    <a:pt x="0" y="567"/>
                  </a:lnTo>
                  <a:cubicBezTo>
                    <a:pt x="0" y="1500"/>
                    <a:pt x="756" y="2259"/>
                    <a:pt x="1693" y="2259"/>
                  </a:cubicBezTo>
                  <a:lnTo>
                    <a:pt x="17577" y="2259"/>
                  </a:lnTo>
                  <a:cubicBezTo>
                    <a:pt x="18513" y="2259"/>
                    <a:pt x="19269" y="1500"/>
                    <a:pt x="19272" y="567"/>
                  </a:cubicBezTo>
                  <a:lnTo>
                    <a:pt x="192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2" name="Google Shape;6152;p70"/>
            <p:cNvSpPr/>
            <p:nvPr/>
          </p:nvSpPr>
          <p:spPr>
            <a:xfrm>
              <a:off x="5049725" y="2635825"/>
              <a:ext cx="481825" cy="282325"/>
            </a:xfrm>
            <a:custGeom>
              <a:avLst/>
              <a:gdLst/>
              <a:ahLst/>
              <a:cxnLst/>
              <a:rect l="l" t="t" r="r" b="b"/>
              <a:pathLst>
                <a:path w="19273" h="11293" extrusionOk="0">
                  <a:moveTo>
                    <a:pt x="1693" y="0"/>
                  </a:moveTo>
                  <a:cubicBezTo>
                    <a:pt x="756" y="0"/>
                    <a:pt x="0" y="759"/>
                    <a:pt x="0" y="1696"/>
                  </a:cubicBezTo>
                  <a:lnTo>
                    <a:pt x="0" y="11293"/>
                  </a:lnTo>
                  <a:lnTo>
                    <a:pt x="19272" y="11293"/>
                  </a:lnTo>
                  <a:lnTo>
                    <a:pt x="19272" y="1696"/>
                  </a:lnTo>
                  <a:cubicBezTo>
                    <a:pt x="19269" y="759"/>
                    <a:pt x="18513"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53" name="Google Shape;6153;p70"/>
          <p:cNvGrpSpPr/>
          <p:nvPr/>
        </p:nvGrpSpPr>
        <p:grpSpPr>
          <a:xfrm>
            <a:off x="2375386" y="3952243"/>
            <a:ext cx="338566" cy="338373"/>
            <a:chOff x="5643000" y="2621375"/>
            <a:chExt cx="480850" cy="480575"/>
          </a:xfrm>
        </p:grpSpPr>
        <p:sp>
          <p:nvSpPr>
            <p:cNvPr id="6154" name="Google Shape;6154;p70"/>
            <p:cNvSpPr/>
            <p:nvPr/>
          </p:nvSpPr>
          <p:spPr>
            <a:xfrm>
              <a:off x="5837150" y="2812950"/>
              <a:ext cx="92625" cy="88125"/>
            </a:xfrm>
            <a:custGeom>
              <a:avLst/>
              <a:gdLst/>
              <a:ahLst/>
              <a:cxnLst/>
              <a:rect l="l" t="t" r="r" b="b"/>
              <a:pathLst>
                <a:path w="3705" h="3525" extrusionOk="0">
                  <a:moveTo>
                    <a:pt x="1853" y="1"/>
                  </a:moveTo>
                  <a:lnTo>
                    <a:pt x="1" y="1347"/>
                  </a:lnTo>
                  <a:lnTo>
                    <a:pt x="706" y="3524"/>
                  </a:lnTo>
                  <a:lnTo>
                    <a:pt x="2997" y="3524"/>
                  </a:lnTo>
                  <a:lnTo>
                    <a:pt x="3705" y="1347"/>
                  </a:lnTo>
                  <a:lnTo>
                    <a:pt x="1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5" name="Google Shape;6155;p70"/>
            <p:cNvSpPr/>
            <p:nvPr/>
          </p:nvSpPr>
          <p:spPr>
            <a:xfrm>
              <a:off x="5643000" y="2631975"/>
              <a:ext cx="480850" cy="469975"/>
            </a:xfrm>
            <a:custGeom>
              <a:avLst/>
              <a:gdLst/>
              <a:ahLst/>
              <a:cxnLst/>
              <a:rect l="l" t="t" r="r" b="b"/>
              <a:pathLst>
                <a:path w="19234" h="18799" extrusionOk="0">
                  <a:moveTo>
                    <a:pt x="9617" y="5978"/>
                  </a:moveTo>
                  <a:cubicBezTo>
                    <a:pt x="9734" y="5978"/>
                    <a:pt x="9851" y="6014"/>
                    <a:pt x="9950" y="6087"/>
                  </a:cubicBezTo>
                  <a:lnTo>
                    <a:pt x="12464" y="7914"/>
                  </a:lnTo>
                  <a:cubicBezTo>
                    <a:pt x="12663" y="8059"/>
                    <a:pt x="12745" y="8312"/>
                    <a:pt x="12669" y="8547"/>
                  </a:cubicBezTo>
                  <a:lnTo>
                    <a:pt x="11709" y="11504"/>
                  </a:lnTo>
                  <a:cubicBezTo>
                    <a:pt x="11633" y="11736"/>
                    <a:pt x="11417" y="11892"/>
                    <a:pt x="11173" y="11892"/>
                  </a:cubicBezTo>
                  <a:lnTo>
                    <a:pt x="8062" y="11892"/>
                  </a:lnTo>
                  <a:cubicBezTo>
                    <a:pt x="7818" y="11892"/>
                    <a:pt x="7601" y="11736"/>
                    <a:pt x="7526" y="11504"/>
                  </a:cubicBezTo>
                  <a:lnTo>
                    <a:pt x="6565" y="8547"/>
                  </a:lnTo>
                  <a:cubicBezTo>
                    <a:pt x="6490" y="8312"/>
                    <a:pt x="6571" y="8059"/>
                    <a:pt x="6770" y="7914"/>
                  </a:cubicBezTo>
                  <a:lnTo>
                    <a:pt x="9285" y="6087"/>
                  </a:lnTo>
                  <a:cubicBezTo>
                    <a:pt x="9384" y="6014"/>
                    <a:pt x="9501" y="5978"/>
                    <a:pt x="9617" y="5978"/>
                  </a:cubicBezTo>
                  <a:close/>
                  <a:moveTo>
                    <a:pt x="6785" y="1"/>
                  </a:moveTo>
                  <a:lnTo>
                    <a:pt x="6785" y="1"/>
                  </a:lnTo>
                  <a:cubicBezTo>
                    <a:pt x="5289" y="462"/>
                    <a:pt x="3928" y="1284"/>
                    <a:pt x="2822" y="2395"/>
                  </a:cubicBezTo>
                  <a:cubicBezTo>
                    <a:pt x="2431" y="2783"/>
                    <a:pt x="2076" y="3208"/>
                    <a:pt x="1756" y="3656"/>
                  </a:cubicBezTo>
                  <a:lnTo>
                    <a:pt x="3072" y="3834"/>
                  </a:lnTo>
                  <a:cubicBezTo>
                    <a:pt x="3289" y="3864"/>
                    <a:pt x="3467" y="4015"/>
                    <a:pt x="3533" y="4220"/>
                  </a:cubicBezTo>
                  <a:lnTo>
                    <a:pt x="4497" y="7177"/>
                  </a:lnTo>
                  <a:cubicBezTo>
                    <a:pt x="4572" y="7408"/>
                    <a:pt x="4488" y="7664"/>
                    <a:pt x="4289" y="7809"/>
                  </a:cubicBezTo>
                  <a:lnTo>
                    <a:pt x="1775" y="9637"/>
                  </a:lnTo>
                  <a:cubicBezTo>
                    <a:pt x="1677" y="9708"/>
                    <a:pt x="1560" y="9743"/>
                    <a:pt x="1444" y="9743"/>
                  </a:cubicBezTo>
                  <a:cubicBezTo>
                    <a:pt x="1351" y="9743"/>
                    <a:pt x="1259" y="9721"/>
                    <a:pt x="1175" y="9676"/>
                  </a:cubicBezTo>
                  <a:lnTo>
                    <a:pt x="7" y="9047"/>
                  </a:lnTo>
                  <a:cubicBezTo>
                    <a:pt x="7" y="9092"/>
                    <a:pt x="7" y="9140"/>
                    <a:pt x="7" y="9188"/>
                  </a:cubicBezTo>
                  <a:cubicBezTo>
                    <a:pt x="1" y="11269"/>
                    <a:pt x="675" y="13292"/>
                    <a:pt x="1925" y="14955"/>
                  </a:cubicBezTo>
                  <a:lnTo>
                    <a:pt x="2500" y="13756"/>
                  </a:lnTo>
                  <a:cubicBezTo>
                    <a:pt x="2594" y="13560"/>
                    <a:pt x="2792" y="13437"/>
                    <a:pt x="3009" y="13437"/>
                  </a:cubicBezTo>
                  <a:lnTo>
                    <a:pt x="6120" y="13437"/>
                  </a:lnTo>
                  <a:cubicBezTo>
                    <a:pt x="6364" y="13437"/>
                    <a:pt x="6580" y="13594"/>
                    <a:pt x="6656" y="13828"/>
                  </a:cubicBezTo>
                  <a:lnTo>
                    <a:pt x="7616" y="16786"/>
                  </a:lnTo>
                  <a:cubicBezTo>
                    <a:pt x="7683" y="16990"/>
                    <a:pt x="7625" y="17216"/>
                    <a:pt x="7469" y="17367"/>
                  </a:cubicBezTo>
                  <a:lnTo>
                    <a:pt x="6508" y="18288"/>
                  </a:lnTo>
                  <a:cubicBezTo>
                    <a:pt x="7515" y="18628"/>
                    <a:pt x="8566" y="18799"/>
                    <a:pt x="9616" y="18799"/>
                  </a:cubicBezTo>
                  <a:cubicBezTo>
                    <a:pt x="10667" y="18799"/>
                    <a:pt x="11718" y="18628"/>
                    <a:pt x="12726" y="18288"/>
                  </a:cubicBezTo>
                  <a:lnTo>
                    <a:pt x="11763" y="17367"/>
                  </a:lnTo>
                  <a:cubicBezTo>
                    <a:pt x="11606" y="17216"/>
                    <a:pt x="11549" y="16990"/>
                    <a:pt x="11615" y="16786"/>
                  </a:cubicBezTo>
                  <a:lnTo>
                    <a:pt x="12576" y="13828"/>
                  </a:lnTo>
                  <a:cubicBezTo>
                    <a:pt x="12651" y="13594"/>
                    <a:pt x="12868" y="13437"/>
                    <a:pt x="13115" y="13437"/>
                  </a:cubicBezTo>
                  <a:lnTo>
                    <a:pt x="16223" y="13437"/>
                  </a:lnTo>
                  <a:cubicBezTo>
                    <a:pt x="16439" y="13437"/>
                    <a:pt x="16638" y="13560"/>
                    <a:pt x="16731" y="13756"/>
                  </a:cubicBezTo>
                  <a:lnTo>
                    <a:pt x="17307" y="14955"/>
                  </a:lnTo>
                  <a:cubicBezTo>
                    <a:pt x="18559" y="13292"/>
                    <a:pt x="19234" y="11269"/>
                    <a:pt x="19228" y="9188"/>
                  </a:cubicBezTo>
                  <a:cubicBezTo>
                    <a:pt x="19228" y="9140"/>
                    <a:pt x="19228" y="9092"/>
                    <a:pt x="19225" y="9044"/>
                  </a:cubicBezTo>
                  <a:lnTo>
                    <a:pt x="18059" y="9673"/>
                  </a:lnTo>
                  <a:cubicBezTo>
                    <a:pt x="17975" y="9719"/>
                    <a:pt x="17883" y="9742"/>
                    <a:pt x="17791" y="9742"/>
                  </a:cubicBezTo>
                  <a:cubicBezTo>
                    <a:pt x="17674" y="9742"/>
                    <a:pt x="17557" y="9705"/>
                    <a:pt x="17457" y="9634"/>
                  </a:cubicBezTo>
                  <a:lnTo>
                    <a:pt x="14943" y="7806"/>
                  </a:lnTo>
                  <a:cubicBezTo>
                    <a:pt x="14744" y="7661"/>
                    <a:pt x="14663" y="7408"/>
                    <a:pt x="14738" y="7174"/>
                  </a:cubicBezTo>
                  <a:lnTo>
                    <a:pt x="15702" y="4220"/>
                  </a:lnTo>
                  <a:cubicBezTo>
                    <a:pt x="15768" y="4012"/>
                    <a:pt x="15945" y="3864"/>
                    <a:pt x="16162" y="3834"/>
                  </a:cubicBezTo>
                  <a:lnTo>
                    <a:pt x="17478" y="3656"/>
                  </a:lnTo>
                  <a:cubicBezTo>
                    <a:pt x="17162" y="3208"/>
                    <a:pt x="16804" y="2783"/>
                    <a:pt x="16415" y="2395"/>
                  </a:cubicBezTo>
                  <a:cubicBezTo>
                    <a:pt x="15307" y="1284"/>
                    <a:pt x="13946" y="462"/>
                    <a:pt x="12449" y="1"/>
                  </a:cubicBezTo>
                  <a:lnTo>
                    <a:pt x="12449" y="1"/>
                  </a:lnTo>
                  <a:lnTo>
                    <a:pt x="12690" y="1311"/>
                  </a:lnTo>
                  <a:cubicBezTo>
                    <a:pt x="12726" y="1524"/>
                    <a:pt x="12642" y="1741"/>
                    <a:pt x="12464" y="1868"/>
                  </a:cubicBezTo>
                  <a:lnTo>
                    <a:pt x="9950" y="3696"/>
                  </a:lnTo>
                  <a:cubicBezTo>
                    <a:pt x="9851" y="3768"/>
                    <a:pt x="9734" y="3804"/>
                    <a:pt x="9618" y="3804"/>
                  </a:cubicBezTo>
                  <a:cubicBezTo>
                    <a:pt x="9501" y="3804"/>
                    <a:pt x="9385" y="3768"/>
                    <a:pt x="9288" y="3696"/>
                  </a:cubicBezTo>
                  <a:lnTo>
                    <a:pt x="6770" y="1868"/>
                  </a:lnTo>
                  <a:cubicBezTo>
                    <a:pt x="6596" y="1741"/>
                    <a:pt x="6508" y="1524"/>
                    <a:pt x="6547" y="1311"/>
                  </a:cubicBezTo>
                  <a:lnTo>
                    <a:pt x="67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6" name="Google Shape;6156;p70"/>
            <p:cNvSpPr/>
            <p:nvPr/>
          </p:nvSpPr>
          <p:spPr>
            <a:xfrm>
              <a:off x="6041550" y="2749725"/>
              <a:ext cx="79750" cy="95025"/>
            </a:xfrm>
            <a:custGeom>
              <a:avLst/>
              <a:gdLst/>
              <a:ahLst/>
              <a:cxnLst/>
              <a:rect l="l" t="t" r="r" b="b"/>
              <a:pathLst>
                <a:path w="3190" h="3801" extrusionOk="0">
                  <a:moveTo>
                    <a:pt x="2184" y="0"/>
                  </a:moveTo>
                  <a:lnTo>
                    <a:pt x="723" y="196"/>
                  </a:lnTo>
                  <a:lnTo>
                    <a:pt x="0" y="2424"/>
                  </a:lnTo>
                  <a:lnTo>
                    <a:pt x="1895" y="3801"/>
                  </a:lnTo>
                  <a:lnTo>
                    <a:pt x="3189" y="3102"/>
                  </a:lnTo>
                  <a:cubicBezTo>
                    <a:pt x="3036" y="2018"/>
                    <a:pt x="2696" y="967"/>
                    <a:pt x="2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7" name="Google Shape;6157;p70"/>
            <p:cNvSpPr/>
            <p:nvPr/>
          </p:nvSpPr>
          <p:spPr>
            <a:xfrm>
              <a:off x="5963025" y="2996125"/>
              <a:ext cx="92625" cy="81175"/>
            </a:xfrm>
            <a:custGeom>
              <a:avLst/>
              <a:gdLst/>
              <a:ahLst/>
              <a:cxnLst/>
              <a:rect l="l" t="t" r="r" b="b"/>
              <a:pathLst>
                <a:path w="3705" h="3247" extrusionOk="0">
                  <a:moveTo>
                    <a:pt x="723" y="0"/>
                  </a:moveTo>
                  <a:lnTo>
                    <a:pt x="1" y="2229"/>
                  </a:lnTo>
                  <a:lnTo>
                    <a:pt x="1067" y="3246"/>
                  </a:lnTo>
                  <a:cubicBezTo>
                    <a:pt x="2009" y="2780"/>
                    <a:pt x="2870" y="2162"/>
                    <a:pt x="3614" y="1416"/>
                  </a:cubicBezTo>
                  <a:cubicBezTo>
                    <a:pt x="3644" y="1388"/>
                    <a:pt x="3674" y="1355"/>
                    <a:pt x="3705" y="1325"/>
                  </a:cubicBezTo>
                  <a:lnTo>
                    <a:pt x="30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8" name="Google Shape;6158;p70"/>
            <p:cNvSpPr/>
            <p:nvPr/>
          </p:nvSpPr>
          <p:spPr>
            <a:xfrm>
              <a:off x="5711225" y="2996200"/>
              <a:ext cx="92600" cy="81100"/>
            </a:xfrm>
            <a:custGeom>
              <a:avLst/>
              <a:gdLst/>
              <a:ahLst/>
              <a:cxnLst/>
              <a:rect l="l" t="t" r="r" b="b"/>
              <a:pathLst>
                <a:path w="3704" h="3244" extrusionOk="0">
                  <a:moveTo>
                    <a:pt x="635" y="0"/>
                  </a:moveTo>
                  <a:lnTo>
                    <a:pt x="0" y="1322"/>
                  </a:lnTo>
                  <a:cubicBezTo>
                    <a:pt x="30" y="1355"/>
                    <a:pt x="60" y="1385"/>
                    <a:pt x="93" y="1416"/>
                  </a:cubicBezTo>
                  <a:cubicBezTo>
                    <a:pt x="834" y="2162"/>
                    <a:pt x="1695" y="2780"/>
                    <a:pt x="2638" y="3243"/>
                  </a:cubicBezTo>
                  <a:lnTo>
                    <a:pt x="3704" y="2229"/>
                  </a:lnTo>
                  <a:lnTo>
                    <a:pt x="29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9" name="Google Shape;6159;p70"/>
            <p:cNvSpPr/>
            <p:nvPr/>
          </p:nvSpPr>
          <p:spPr>
            <a:xfrm>
              <a:off x="5645575" y="2749725"/>
              <a:ext cx="79825" cy="95100"/>
            </a:xfrm>
            <a:custGeom>
              <a:avLst/>
              <a:gdLst/>
              <a:ahLst/>
              <a:cxnLst/>
              <a:rect l="l" t="t" r="r" b="b"/>
              <a:pathLst>
                <a:path w="3193" h="3804" extrusionOk="0">
                  <a:moveTo>
                    <a:pt x="1009" y="0"/>
                  </a:moveTo>
                  <a:cubicBezTo>
                    <a:pt x="497" y="967"/>
                    <a:pt x="154" y="2018"/>
                    <a:pt x="0" y="3105"/>
                  </a:cubicBezTo>
                  <a:lnTo>
                    <a:pt x="1295" y="3804"/>
                  </a:lnTo>
                  <a:lnTo>
                    <a:pt x="3192" y="2424"/>
                  </a:lnTo>
                  <a:lnTo>
                    <a:pt x="2467" y="196"/>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0" name="Google Shape;6160;p70"/>
            <p:cNvSpPr/>
            <p:nvPr/>
          </p:nvSpPr>
          <p:spPr>
            <a:xfrm>
              <a:off x="5836025" y="2621375"/>
              <a:ext cx="94800" cy="74100"/>
            </a:xfrm>
            <a:custGeom>
              <a:avLst/>
              <a:gdLst/>
              <a:ahLst/>
              <a:cxnLst/>
              <a:rect l="l" t="t" r="r" b="b"/>
              <a:pathLst>
                <a:path w="3792" h="2964" extrusionOk="0">
                  <a:moveTo>
                    <a:pt x="1897" y="1"/>
                  </a:moveTo>
                  <a:cubicBezTo>
                    <a:pt x="1351" y="1"/>
                    <a:pt x="805" y="47"/>
                    <a:pt x="266" y="139"/>
                  </a:cubicBezTo>
                  <a:lnTo>
                    <a:pt x="1" y="1587"/>
                  </a:lnTo>
                  <a:lnTo>
                    <a:pt x="1898" y="2963"/>
                  </a:lnTo>
                  <a:lnTo>
                    <a:pt x="3792" y="1587"/>
                  </a:lnTo>
                  <a:lnTo>
                    <a:pt x="3530" y="139"/>
                  </a:lnTo>
                  <a:cubicBezTo>
                    <a:pt x="2989" y="47"/>
                    <a:pt x="2443" y="1"/>
                    <a:pt x="18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61" name="Google Shape;6161;p70"/>
          <p:cNvGrpSpPr/>
          <p:nvPr/>
        </p:nvGrpSpPr>
        <p:grpSpPr>
          <a:xfrm>
            <a:off x="4192782" y="3951803"/>
            <a:ext cx="339359" cy="339253"/>
            <a:chOff x="6235250" y="2620775"/>
            <a:chExt cx="481975" cy="481825"/>
          </a:xfrm>
        </p:grpSpPr>
        <p:sp>
          <p:nvSpPr>
            <p:cNvPr id="6162" name="Google Shape;6162;p70"/>
            <p:cNvSpPr/>
            <p:nvPr/>
          </p:nvSpPr>
          <p:spPr>
            <a:xfrm>
              <a:off x="6405675" y="2620775"/>
              <a:ext cx="28275" cy="56475"/>
            </a:xfrm>
            <a:custGeom>
              <a:avLst/>
              <a:gdLst/>
              <a:ahLst/>
              <a:cxnLst/>
              <a:rect l="l" t="t" r="r" b="b"/>
              <a:pathLst>
                <a:path w="1131"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3" name="Google Shape;6163;p70"/>
            <p:cNvSpPr/>
            <p:nvPr/>
          </p:nvSpPr>
          <p:spPr>
            <a:xfrm>
              <a:off x="6518600" y="2620775"/>
              <a:ext cx="28250" cy="56475"/>
            </a:xfrm>
            <a:custGeom>
              <a:avLst/>
              <a:gdLst/>
              <a:ahLst/>
              <a:cxnLst/>
              <a:rect l="l" t="t" r="r" b="b"/>
              <a:pathLst>
                <a:path w="1130"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4" name="Google Shape;6164;p70"/>
            <p:cNvSpPr/>
            <p:nvPr/>
          </p:nvSpPr>
          <p:spPr>
            <a:xfrm>
              <a:off x="6603300" y="2649000"/>
              <a:ext cx="28250" cy="56475"/>
            </a:xfrm>
            <a:custGeom>
              <a:avLst/>
              <a:gdLst/>
              <a:ahLst/>
              <a:cxnLst/>
              <a:rect l="l" t="t" r="r" b="b"/>
              <a:pathLst>
                <a:path w="1130" h="2259" extrusionOk="0">
                  <a:moveTo>
                    <a:pt x="567" y="0"/>
                  </a:moveTo>
                  <a:cubicBezTo>
                    <a:pt x="253" y="0"/>
                    <a:pt x="0" y="253"/>
                    <a:pt x="0" y="566"/>
                  </a:cubicBezTo>
                  <a:lnTo>
                    <a:pt x="0" y="1696"/>
                  </a:lnTo>
                  <a:cubicBezTo>
                    <a:pt x="0" y="2006"/>
                    <a:pt x="253" y="2259"/>
                    <a:pt x="567" y="2259"/>
                  </a:cubicBezTo>
                  <a:cubicBezTo>
                    <a:pt x="877" y="2259"/>
                    <a:pt x="1130" y="2006"/>
                    <a:pt x="1130" y="1696"/>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5" name="Google Shape;6165;p70"/>
            <p:cNvSpPr/>
            <p:nvPr/>
          </p:nvSpPr>
          <p:spPr>
            <a:xfrm>
              <a:off x="6321000" y="2649000"/>
              <a:ext cx="28250" cy="56475"/>
            </a:xfrm>
            <a:custGeom>
              <a:avLst/>
              <a:gdLst/>
              <a:ahLst/>
              <a:cxnLst/>
              <a:rect l="l" t="t" r="r" b="b"/>
              <a:pathLst>
                <a:path w="1130" h="2259" extrusionOk="0">
                  <a:moveTo>
                    <a:pt x="566" y="0"/>
                  </a:moveTo>
                  <a:cubicBezTo>
                    <a:pt x="253" y="0"/>
                    <a:pt x="0" y="253"/>
                    <a:pt x="0" y="566"/>
                  </a:cubicBezTo>
                  <a:lnTo>
                    <a:pt x="0" y="1696"/>
                  </a:lnTo>
                  <a:cubicBezTo>
                    <a:pt x="0" y="2006"/>
                    <a:pt x="253" y="2259"/>
                    <a:pt x="566" y="2259"/>
                  </a:cubicBezTo>
                  <a:cubicBezTo>
                    <a:pt x="876" y="2259"/>
                    <a:pt x="1129" y="2006"/>
                    <a:pt x="1129" y="1696"/>
                  </a:cubicBezTo>
                  <a:lnTo>
                    <a:pt x="1129" y="566"/>
                  </a:lnTo>
                  <a:cubicBezTo>
                    <a:pt x="1129" y="253"/>
                    <a:pt x="876"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6" name="Google Shape;6166;p70"/>
            <p:cNvSpPr/>
            <p:nvPr/>
          </p:nvSpPr>
          <p:spPr>
            <a:xfrm>
              <a:off x="6235250" y="2677225"/>
              <a:ext cx="481975" cy="425375"/>
            </a:xfrm>
            <a:custGeom>
              <a:avLst/>
              <a:gdLst/>
              <a:ahLst/>
              <a:cxnLst/>
              <a:rect l="l" t="t" r="r" b="b"/>
              <a:pathLst>
                <a:path w="19279" h="17015" extrusionOk="0">
                  <a:moveTo>
                    <a:pt x="9639" y="1"/>
                  </a:moveTo>
                  <a:cubicBezTo>
                    <a:pt x="9326" y="1"/>
                    <a:pt x="9073" y="254"/>
                    <a:pt x="9073" y="567"/>
                  </a:cubicBezTo>
                  <a:lnTo>
                    <a:pt x="9073" y="1202"/>
                  </a:lnTo>
                  <a:cubicBezTo>
                    <a:pt x="7920" y="1470"/>
                    <a:pt x="6872" y="2548"/>
                    <a:pt x="6252" y="4156"/>
                  </a:cubicBezTo>
                  <a:cubicBezTo>
                    <a:pt x="6164" y="4380"/>
                    <a:pt x="5952" y="4518"/>
                    <a:pt x="5726" y="4518"/>
                  </a:cubicBezTo>
                  <a:cubicBezTo>
                    <a:pt x="5658" y="4518"/>
                    <a:pt x="5588" y="4505"/>
                    <a:pt x="5520" y="4478"/>
                  </a:cubicBezTo>
                  <a:cubicBezTo>
                    <a:pt x="5231" y="4367"/>
                    <a:pt x="5083" y="4042"/>
                    <a:pt x="5198" y="3750"/>
                  </a:cubicBezTo>
                  <a:cubicBezTo>
                    <a:pt x="5532" y="2876"/>
                    <a:pt x="5987" y="2130"/>
                    <a:pt x="6517" y="1536"/>
                  </a:cubicBezTo>
                  <a:lnTo>
                    <a:pt x="6517" y="1536"/>
                  </a:lnTo>
                  <a:cubicBezTo>
                    <a:pt x="2753" y="2527"/>
                    <a:pt x="0" y="5258"/>
                    <a:pt x="0" y="8468"/>
                  </a:cubicBezTo>
                  <a:lnTo>
                    <a:pt x="0" y="9034"/>
                  </a:lnTo>
                  <a:cubicBezTo>
                    <a:pt x="0" y="9347"/>
                    <a:pt x="253" y="9597"/>
                    <a:pt x="564" y="9597"/>
                  </a:cubicBezTo>
                  <a:cubicBezTo>
                    <a:pt x="877" y="9597"/>
                    <a:pt x="1130" y="9347"/>
                    <a:pt x="1130" y="9034"/>
                  </a:cubicBezTo>
                  <a:cubicBezTo>
                    <a:pt x="1130" y="8423"/>
                    <a:pt x="1904" y="7905"/>
                    <a:pt x="2822" y="7905"/>
                  </a:cubicBezTo>
                  <a:cubicBezTo>
                    <a:pt x="3740" y="7905"/>
                    <a:pt x="4553" y="8423"/>
                    <a:pt x="4553" y="9034"/>
                  </a:cubicBezTo>
                  <a:cubicBezTo>
                    <a:pt x="4553" y="9347"/>
                    <a:pt x="4806" y="9597"/>
                    <a:pt x="5120" y="9597"/>
                  </a:cubicBezTo>
                  <a:cubicBezTo>
                    <a:pt x="5430" y="9597"/>
                    <a:pt x="5683" y="9347"/>
                    <a:pt x="5683" y="9034"/>
                  </a:cubicBezTo>
                  <a:cubicBezTo>
                    <a:pt x="5683" y="8423"/>
                    <a:pt x="6460" y="7905"/>
                    <a:pt x="7378" y="7905"/>
                  </a:cubicBezTo>
                  <a:cubicBezTo>
                    <a:pt x="8296" y="7905"/>
                    <a:pt x="9070" y="8423"/>
                    <a:pt x="9070" y="9034"/>
                  </a:cubicBezTo>
                  <a:lnTo>
                    <a:pt x="9070" y="14756"/>
                  </a:lnTo>
                  <a:cubicBezTo>
                    <a:pt x="9070" y="15379"/>
                    <a:pt x="8564" y="15885"/>
                    <a:pt x="7941" y="15885"/>
                  </a:cubicBezTo>
                  <a:cubicBezTo>
                    <a:pt x="7318" y="15885"/>
                    <a:pt x="6812" y="15379"/>
                    <a:pt x="6812" y="14756"/>
                  </a:cubicBezTo>
                  <a:lnTo>
                    <a:pt x="6812" y="14190"/>
                  </a:lnTo>
                  <a:cubicBezTo>
                    <a:pt x="6812" y="13879"/>
                    <a:pt x="6559" y="13626"/>
                    <a:pt x="6249" y="13626"/>
                  </a:cubicBezTo>
                  <a:cubicBezTo>
                    <a:pt x="5936" y="13626"/>
                    <a:pt x="5683" y="13879"/>
                    <a:pt x="5683" y="14190"/>
                  </a:cubicBezTo>
                  <a:lnTo>
                    <a:pt x="5683" y="14756"/>
                  </a:lnTo>
                  <a:cubicBezTo>
                    <a:pt x="5683" y="16002"/>
                    <a:pt x="6694" y="17014"/>
                    <a:pt x="7941" y="17014"/>
                  </a:cubicBezTo>
                  <a:cubicBezTo>
                    <a:pt x="9188" y="17014"/>
                    <a:pt x="10200" y="16002"/>
                    <a:pt x="10200" y="14756"/>
                  </a:cubicBezTo>
                  <a:lnTo>
                    <a:pt x="10200" y="9034"/>
                  </a:lnTo>
                  <a:cubicBezTo>
                    <a:pt x="10200" y="8423"/>
                    <a:pt x="10976" y="7905"/>
                    <a:pt x="11895" y="7905"/>
                  </a:cubicBezTo>
                  <a:cubicBezTo>
                    <a:pt x="12813" y="7905"/>
                    <a:pt x="13587" y="8423"/>
                    <a:pt x="13587" y="9034"/>
                  </a:cubicBezTo>
                  <a:cubicBezTo>
                    <a:pt x="13587" y="9347"/>
                    <a:pt x="13840" y="9597"/>
                    <a:pt x="14153" y="9597"/>
                  </a:cubicBezTo>
                  <a:cubicBezTo>
                    <a:pt x="14463" y="9597"/>
                    <a:pt x="14716" y="9347"/>
                    <a:pt x="14716" y="9034"/>
                  </a:cubicBezTo>
                  <a:cubicBezTo>
                    <a:pt x="14716" y="8423"/>
                    <a:pt x="15529" y="7905"/>
                    <a:pt x="16448" y="7905"/>
                  </a:cubicBezTo>
                  <a:cubicBezTo>
                    <a:pt x="17366" y="7905"/>
                    <a:pt x="18143" y="8423"/>
                    <a:pt x="18143" y="9034"/>
                  </a:cubicBezTo>
                  <a:cubicBezTo>
                    <a:pt x="18143" y="9347"/>
                    <a:pt x="18396" y="9597"/>
                    <a:pt x="18706" y="9597"/>
                  </a:cubicBezTo>
                  <a:cubicBezTo>
                    <a:pt x="19019" y="9597"/>
                    <a:pt x="19272" y="9347"/>
                    <a:pt x="19272" y="9034"/>
                  </a:cubicBezTo>
                  <a:lnTo>
                    <a:pt x="19272" y="8471"/>
                  </a:lnTo>
                  <a:cubicBezTo>
                    <a:pt x="19278" y="5258"/>
                    <a:pt x="16523" y="2527"/>
                    <a:pt x="12759" y="1536"/>
                  </a:cubicBezTo>
                  <a:lnTo>
                    <a:pt x="12759" y="1536"/>
                  </a:lnTo>
                  <a:cubicBezTo>
                    <a:pt x="13292" y="2130"/>
                    <a:pt x="13744" y="2876"/>
                    <a:pt x="14081" y="3750"/>
                  </a:cubicBezTo>
                  <a:cubicBezTo>
                    <a:pt x="14192" y="4042"/>
                    <a:pt x="14048" y="4367"/>
                    <a:pt x="13756" y="4478"/>
                  </a:cubicBezTo>
                  <a:cubicBezTo>
                    <a:pt x="13688" y="4505"/>
                    <a:pt x="13618" y="4518"/>
                    <a:pt x="13550" y="4518"/>
                  </a:cubicBezTo>
                  <a:cubicBezTo>
                    <a:pt x="13324" y="4518"/>
                    <a:pt x="13113" y="4380"/>
                    <a:pt x="13027" y="4156"/>
                  </a:cubicBezTo>
                  <a:cubicBezTo>
                    <a:pt x="12407" y="2548"/>
                    <a:pt x="11359" y="1470"/>
                    <a:pt x="10203" y="1202"/>
                  </a:cubicBezTo>
                  <a:lnTo>
                    <a:pt x="10203" y="567"/>
                  </a:lnTo>
                  <a:cubicBezTo>
                    <a:pt x="10203" y="254"/>
                    <a:pt x="9950" y="1"/>
                    <a:pt x="9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67" name="Google Shape;6167;p70"/>
          <p:cNvSpPr/>
          <p:nvPr/>
        </p:nvSpPr>
        <p:spPr>
          <a:xfrm>
            <a:off x="5037584" y="2720693"/>
            <a:ext cx="345027" cy="320295"/>
          </a:xfrm>
          <a:custGeom>
            <a:avLst/>
            <a:gdLst/>
            <a:ahLst/>
            <a:cxnLst/>
            <a:rect l="l" t="t" r="r" b="b"/>
            <a:pathLst>
              <a:path w="19601" h="18196" extrusionOk="0">
                <a:moveTo>
                  <a:pt x="9798" y="0"/>
                </a:moveTo>
                <a:cubicBezTo>
                  <a:pt x="9597" y="0"/>
                  <a:pt x="9397" y="104"/>
                  <a:pt x="9293" y="312"/>
                </a:cubicBezTo>
                <a:lnTo>
                  <a:pt x="6619" y="5666"/>
                </a:lnTo>
                <a:lnTo>
                  <a:pt x="648" y="6524"/>
                </a:lnTo>
                <a:cubicBezTo>
                  <a:pt x="184" y="6590"/>
                  <a:pt x="1" y="7163"/>
                  <a:pt x="338" y="7488"/>
                </a:cubicBezTo>
                <a:lnTo>
                  <a:pt x="4659" y="11652"/>
                </a:lnTo>
                <a:lnTo>
                  <a:pt x="3638" y="17530"/>
                </a:lnTo>
                <a:cubicBezTo>
                  <a:pt x="3574" y="17898"/>
                  <a:pt x="3865" y="18195"/>
                  <a:pt x="4195" y="18195"/>
                </a:cubicBezTo>
                <a:cubicBezTo>
                  <a:pt x="4281" y="18195"/>
                  <a:pt x="4371" y="18175"/>
                  <a:pt x="4457" y="18129"/>
                </a:cubicBezTo>
                <a:lnTo>
                  <a:pt x="9802" y="15350"/>
                </a:lnTo>
                <a:lnTo>
                  <a:pt x="15147" y="18129"/>
                </a:lnTo>
                <a:cubicBezTo>
                  <a:pt x="15233" y="18175"/>
                  <a:pt x="15322" y="18195"/>
                  <a:pt x="15408" y="18195"/>
                </a:cubicBezTo>
                <a:cubicBezTo>
                  <a:pt x="15736" y="18195"/>
                  <a:pt x="16025" y="17898"/>
                  <a:pt x="15963" y="17533"/>
                </a:cubicBezTo>
                <a:lnTo>
                  <a:pt x="14942" y="11652"/>
                </a:lnTo>
                <a:lnTo>
                  <a:pt x="19263" y="7491"/>
                </a:lnTo>
                <a:cubicBezTo>
                  <a:pt x="19601" y="7163"/>
                  <a:pt x="19417" y="6590"/>
                  <a:pt x="18950" y="6524"/>
                </a:cubicBezTo>
                <a:lnTo>
                  <a:pt x="12976" y="5666"/>
                </a:lnTo>
                <a:lnTo>
                  <a:pt x="10302" y="312"/>
                </a:lnTo>
                <a:cubicBezTo>
                  <a:pt x="10198" y="104"/>
                  <a:pt x="9998" y="0"/>
                  <a:pt x="9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68" name="Google Shape;6168;p70"/>
          <p:cNvGrpSpPr/>
          <p:nvPr/>
        </p:nvGrpSpPr>
        <p:grpSpPr>
          <a:xfrm>
            <a:off x="5472652" y="2711317"/>
            <a:ext cx="341101" cy="339253"/>
            <a:chOff x="1535000" y="3223325"/>
            <a:chExt cx="484450" cy="481825"/>
          </a:xfrm>
        </p:grpSpPr>
        <p:sp>
          <p:nvSpPr>
            <p:cNvPr id="6169" name="Google Shape;6169;p70"/>
            <p:cNvSpPr/>
            <p:nvPr/>
          </p:nvSpPr>
          <p:spPr>
            <a:xfrm>
              <a:off x="1760150" y="3308225"/>
              <a:ext cx="143825" cy="140600"/>
            </a:xfrm>
            <a:custGeom>
              <a:avLst/>
              <a:gdLst/>
              <a:ahLst/>
              <a:cxnLst/>
              <a:rect l="l" t="t" r="r" b="b"/>
              <a:pathLst>
                <a:path w="5753"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4" y="5310"/>
                  </a:cubicBezTo>
                  <a:lnTo>
                    <a:pt x="4102" y="3973"/>
                  </a:lnTo>
                  <a:lnTo>
                    <a:pt x="5439" y="3304"/>
                  </a:lnTo>
                  <a:cubicBezTo>
                    <a:pt x="5629" y="3208"/>
                    <a:pt x="5752" y="3012"/>
                    <a:pt x="5752" y="2798"/>
                  </a:cubicBezTo>
                  <a:cubicBezTo>
                    <a:pt x="5752" y="2585"/>
                    <a:pt x="5632" y="2389"/>
                    <a:pt x="5439" y="2295"/>
                  </a:cubicBezTo>
                  <a:lnTo>
                    <a:pt x="4102" y="1627"/>
                  </a:lnTo>
                  <a:lnTo>
                    <a:pt x="3434"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0" name="Google Shape;6170;p70"/>
            <p:cNvSpPr/>
            <p:nvPr/>
          </p:nvSpPr>
          <p:spPr>
            <a:xfrm>
              <a:off x="1873075" y="3421150"/>
              <a:ext cx="146375" cy="140600"/>
            </a:xfrm>
            <a:custGeom>
              <a:avLst/>
              <a:gdLst/>
              <a:ahLst/>
              <a:cxnLst/>
              <a:rect l="l" t="t" r="r" b="b"/>
              <a:pathLst>
                <a:path w="5855"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3" y="5310"/>
                  </a:cubicBezTo>
                  <a:lnTo>
                    <a:pt x="4102" y="3973"/>
                  </a:lnTo>
                  <a:lnTo>
                    <a:pt x="5439" y="3304"/>
                  </a:lnTo>
                  <a:cubicBezTo>
                    <a:pt x="5854" y="3096"/>
                    <a:pt x="5854" y="2503"/>
                    <a:pt x="5439" y="2295"/>
                  </a:cubicBezTo>
                  <a:lnTo>
                    <a:pt x="4102" y="1627"/>
                  </a:lnTo>
                  <a:lnTo>
                    <a:pt x="3433"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1" name="Google Shape;6171;p70"/>
            <p:cNvSpPr/>
            <p:nvPr/>
          </p:nvSpPr>
          <p:spPr>
            <a:xfrm>
              <a:off x="1535000" y="3223325"/>
              <a:ext cx="406450" cy="481825"/>
            </a:xfrm>
            <a:custGeom>
              <a:avLst/>
              <a:gdLst/>
              <a:ahLst/>
              <a:cxnLst/>
              <a:rect l="l" t="t" r="r" b="b"/>
              <a:pathLst>
                <a:path w="16258" h="19273" extrusionOk="0">
                  <a:moveTo>
                    <a:pt x="9660" y="0"/>
                  </a:moveTo>
                  <a:cubicBezTo>
                    <a:pt x="4399" y="0"/>
                    <a:pt x="0" y="4351"/>
                    <a:pt x="0" y="9636"/>
                  </a:cubicBezTo>
                  <a:cubicBezTo>
                    <a:pt x="0" y="14927"/>
                    <a:pt x="4381" y="19272"/>
                    <a:pt x="9675" y="19272"/>
                  </a:cubicBezTo>
                  <a:cubicBezTo>
                    <a:pt x="12012" y="19269"/>
                    <a:pt x="14270" y="18411"/>
                    <a:pt x="16023" y="16860"/>
                  </a:cubicBezTo>
                  <a:cubicBezTo>
                    <a:pt x="16195" y="16707"/>
                    <a:pt x="16258" y="16463"/>
                    <a:pt x="16176" y="16243"/>
                  </a:cubicBezTo>
                  <a:cubicBezTo>
                    <a:pt x="16098" y="16026"/>
                    <a:pt x="15893" y="15879"/>
                    <a:pt x="15662" y="15872"/>
                  </a:cubicBezTo>
                  <a:cubicBezTo>
                    <a:pt x="11352" y="15752"/>
                    <a:pt x="7980" y="12250"/>
                    <a:pt x="7980" y="7941"/>
                  </a:cubicBezTo>
                  <a:cubicBezTo>
                    <a:pt x="7974" y="5207"/>
                    <a:pt x="9380" y="2662"/>
                    <a:pt x="11696" y="1211"/>
                  </a:cubicBezTo>
                  <a:cubicBezTo>
                    <a:pt x="12129" y="937"/>
                    <a:pt x="12006" y="274"/>
                    <a:pt x="11503" y="178"/>
                  </a:cubicBezTo>
                  <a:cubicBezTo>
                    <a:pt x="10881" y="58"/>
                    <a:pt x="10265" y="0"/>
                    <a:pt x="96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2" name="Google Shape;6172;p70"/>
          <p:cNvGrpSpPr/>
          <p:nvPr/>
        </p:nvGrpSpPr>
        <p:grpSpPr>
          <a:xfrm>
            <a:off x="5880219" y="2746618"/>
            <a:ext cx="339253" cy="268649"/>
            <a:chOff x="2085525" y="3263750"/>
            <a:chExt cx="481825" cy="381550"/>
          </a:xfrm>
        </p:grpSpPr>
        <p:sp>
          <p:nvSpPr>
            <p:cNvPr id="6173" name="Google Shape;6173;p70"/>
            <p:cNvSpPr/>
            <p:nvPr/>
          </p:nvSpPr>
          <p:spPr>
            <a:xfrm>
              <a:off x="2320325" y="3263750"/>
              <a:ext cx="227825" cy="141025"/>
            </a:xfrm>
            <a:custGeom>
              <a:avLst/>
              <a:gdLst/>
              <a:ahLst/>
              <a:cxnLst/>
              <a:rect l="l" t="t" r="r" b="b"/>
              <a:pathLst>
                <a:path w="9113" h="5641" extrusionOk="0">
                  <a:moveTo>
                    <a:pt x="4066" y="0"/>
                  </a:moveTo>
                  <a:cubicBezTo>
                    <a:pt x="2283" y="3"/>
                    <a:pt x="675" y="1081"/>
                    <a:pt x="0" y="2731"/>
                  </a:cubicBezTo>
                  <a:cubicBezTo>
                    <a:pt x="1527" y="2939"/>
                    <a:pt x="2912" y="3734"/>
                    <a:pt x="3861" y="4948"/>
                  </a:cubicBezTo>
                  <a:cubicBezTo>
                    <a:pt x="4331" y="4823"/>
                    <a:pt x="4810" y="4761"/>
                    <a:pt x="5287" y="4761"/>
                  </a:cubicBezTo>
                  <a:cubicBezTo>
                    <a:pt x="6338" y="4761"/>
                    <a:pt x="7378" y="5060"/>
                    <a:pt x="8281" y="5640"/>
                  </a:cubicBezTo>
                  <a:cubicBezTo>
                    <a:pt x="9112" y="2825"/>
                    <a:pt x="7002" y="0"/>
                    <a:pt x="40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4" name="Google Shape;6174;p70"/>
            <p:cNvSpPr/>
            <p:nvPr/>
          </p:nvSpPr>
          <p:spPr>
            <a:xfrm>
              <a:off x="2085525" y="3355200"/>
              <a:ext cx="481825" cy="290100"/>
            </a:xfrm>
            <a:custGeom>
              <a:avLst/>
              <a:gdLst/>
              <a:ahLst/>
              <a:cxnLst/>
              <a:rect l="l" t="t" r="r" b="b"/>
              <a:pathLst>
                <a:path w="19273" h="11604" extrusionOk="0">
                  <a:moveTo>
                    <a:pt x="8620" y="1"/>
                  </a:moveTo>
                  <a:cubicBezTo>
                    <a:pt x="8610" y="1"/>
                    <a:pt x="8599" y="1"/>
                    <a:pt x="8588" y="1"/>
                  </a:cubicBezTo>
                  <a:cubicBezTo>
                    <a:pt x="7468" y="4"/>
                    <a:pt x="6384" y="407"/>
                    <a:pt x="5535" y="1139"/>
                  </a:cubicBezTo>
                  <a:cubicBezTo>
                    <a:pt x="4818" y="1756"/>
                    <a:pt x="4288" y="2563"/>
                    <a:pt x="4005" y="3470"/>
                  </a:cubicBezTo>
                  <a:lnTo>
                    <a:pt x="3891" y="3470"/>
                  </a:lnTo>
                  <a:cubicBezTo>
                    <a:pt x="1747" y="3470"/>
                    <a:pt x="0" y="5295"/>
                    <a:pt x="0" y="7538"/>
                  </a:cubicBezTo>
                  <a:cubicBezTo>
                    <a:pt x="0" y="9781"/>
                    <a:pt x="1744" y="11603"/>
                    <a:pt x="3891" y="11603"/>
                  </a:cubicBezTo>
                  <a:lnTo>
                    <a:pt x="14798" y="11603"/>
                  </a:lnTo>
                  <a:cubicBezTo>
                    <a:pt x="17264" y="11603"/>
                    <a:pt x="19272" y="9504"/>
                    <a:pt x="19272" y="6924"/>
                  </a:cubicBezTo>
                  <a:cubicBezTo>
                    <a:pt x="19272" y="6044"/>
                    <a:pt x="19034" y="5180"/>
                    <a:pt x="18583" y="4427"/>
                  </a:cubicBezTo>
                  <a:cubicBezTo>
                    <a:pt x="18152" y="3705"/>
                    <a:pt x="17529" y="3118"/>
                    <a:pt x="16782" y="2726"/>
                  </a:cubicBezTo>
                  <a:cubicBezTo>
                    <a:pt x="16161" y="2403"/>
                    <a:pt x="15480" y="2241"/>
                    <a:pt x="14799" y="2241"/>
                  </a:cubicBezTo>
                  <a:cubicBezTo>
                    <a:pt x="14135" y="2241"/>
                    <a:pt x="13471" y="2394"/>
                    <a:pt x="12861" y="2702"/>
                  </a:cubicBezTo>
                  <a:cubicBezTo>
                    <a:pt x="12232" y="1443"/>
                    <a:pt x="11118" y="513"/>
                    <a:pt x="9784" y="157"/>
                  </a:cubicBezTo>
                  <a:cubicBezTo>
                    <a:pt x="9403" y="55"/>
                    <a:pt x="9013" y="1"/>
                    <a:pt x="86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75" name="Google Shape;6175;p70"/>
          <p:cNvSpPr/>
          <p:nvPr/>
        </p:nvSpPr>
        <p:spPr>
          <a:xfrm>
            <a:off x="6294404" y="2778690"/>
            <a:ext cx="339253" cy="204295"/>
          </a:xfrm>
          <a:custGeom>
            <a:avLst/>
            <a:gdLst/>
            <a:ahLst/>
            <a:cxnLst/>
            <a:rect l="l" t="t" r="r" b="b"/>
            <a:pathLst>
              <a:path w="19273" h="11606" extrusionOk="0">
                <a:moveTo>
                  <a:pt x="8589" y="0"/>
                </a:moveTo>
                <a:cubicBezTo>
                  <a:pt x="7469" y="3"/>
                  <a:pt x="6385" y="407"/>
                  <a:pt x="5536" y="1138"/>
                </a:cubicBezTo>
                <a:cubicBezTo>
                  <a:pt x="4819" y="1759"/>
                  <a:pt x="4289" y="2566"/>
                  <a:pt x="4006" y="3469"/>
                </a:cubicBezTo>
                <a:lnTo>
                  <a:pt x="3891" y="3469"/>
                </a:lnTo>
                <a:cubicBezTo>
                  <a:pt x="1747" y="3469"/>
                  <a:pt x="1" y="5294"/>
                  <a:pt x="1" y="7537"/>
                </a:cubicBezTo>
                <a:cubicBezTo>
                  <a:pt x="1" y="9781"/>
                  <a:pt x="1744" y="11605"/>
                  <a:pt x="3891" y="11605"/>
                </a:cubicBezTo>
                <a:lnTo>
                  <a:pt x="14798" y="11605"/>
                </a:lnTo>
                <a:cubicBezTo>
                  <a:pt x="17264" y="11605"/>
                  <a:pt x="19273" y="9507"/>
                  <a:pt x="19273" y="6923"/>
                </a:cubicBezTo>
                <a:cubicBezTo>
                  <a:pt x="19273" y="6044"/>
                  <a:pt x="19035" y="5182"/>
                  <a:pt x="18583" y="4430"/>
                </a:cubicBezTo>
                <a:cubicBezTo>
                  <a:pt x="18153" y="3707"/>
                  <a:pt x="17529" y="3117"/>
                  <a:pt x="16783" y="2728"/>
                </a:cubicBezTo>
                <a:cubicBezTo>
                  <a:pt x="16161" y="2404"/>
                  <a:pt x="15479" y="2243"/>
                  <a:pt x="14797" y="2243"/>
                </a:cubicBezTo>
                <a:cubicBezTo>
                  <a:pt x="14134" y="2243"/>
                  <a:pt x="13470" y="2395"/>
                  <a:pt x="12862" y="2701"/>
                </a:cubicBezTo>
                <a:cubicBezTo>
                  <a:pt x="12233" y="1442"/>
                  <a:pt x="11118" y="512"/>
                  <a:pt x="9784" y="157"/>
                </a:cubicBezTo>
                <a:cubicBezTo>
                  <a:pt x="9393" y="54"/>
                  <a:pt x="8992" y="0"/>
                  <a:pt x="85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76" name="Google Shape;6176;p70"/>
          <p:cNvGrpSpPr/>
          <p:nvPr/>
        </p:nvGrpSpPr>
        <p:grpSpPr>
          <a:xfrm>
            <a:off x="6711982" y="2711308"/>
            <a:ext cx="340204" cy="339271"/>
            <a:chOff x="3270450" y="3213625"/>
            <a:chExt cx="483175" cy="481850"/>
          </a:xfrm>
        </p:grpSpPr>
        <p:sp>
          <p:nvSpPr>
            <p:cNvPr id="6177" name="Google Shape;6177;p70"/>
            <p:cNvSpPr/>
            <p:nvPr/>
          </p:nvSpPr>
          <p:spPr>
            <a:xfrm>
              <a:off x="3392550" y="3335025"/>
              <a:ext cx="239050" cy="239050"/>
            </a:xfrm>
            <a:custGeom>
              <a:avLst/>
              <a:gdLst/>
              <a:ahLst/>
              <a:cxnLst/>
              <a:rect l="l" t="t" r="r" b="b"/>
              <a:pathLst>
                <a:path w="9562" h="9562" extrusionOk="0">
                  <a:moveTo>
                    <a:pt x="4782" y="1"/>
                  </a:moveTo>
                  <a:cubicBezTo>
                    <a:pt x="2142" y="1"/>
                    <a:pt x="1" y="2139"/>
                    <a:pt x="1" y="4780"/>
                  </a:cubicBezTo>
                  <a:cubicBezTo>
                    <a:pt x="1" y="7421"/>
                    <a:pt x="2142" y="9562"/>
                    <a:pt x="4782" y="9562"/>
                  </a:cubicBezTo>
                  <a:cubicBezTo>
                    <a:pt x="7420" y="9562"/>
                    <a:pt x="9561" y="7421"/>
                    <a:pt x="9561" y="4780"/>
                  </a:cubicBezTo>
                  <a:cubicBezTo>
                    <a:pt x="9561" y="2139"/>
                    <a:pt x="7420" y="1"/>
                    <a:pt x="4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8" name="Google Shape;6178;p70"/>
            <p:cNvSpPr/>
            <p:nvPr/>
          </p:nvSpPr>
          <p:spPr>
            <a:xfrm>
              <a:off x="3270450" y="3213625"/>
              <a:ext cx="483175" cy="481850"/>
            </a:xfrm>
            <a:custGeom>
              <a:avLst/>
              <a:gdLst/>
              <a:ahLst/>
              <a:cxnLst/>
              <a:rect l="l" t="t" r="r" b="b"/>
              <a:pathLst>
                <a:path w="19327" h="19274" extrusionOk="0">
                  <a:moveTo>
                    <a:pt x="9666" y="3728"/>
                  </a:moveTo>
                  <a:cubicBezTo>
                    <a:pt x="12925" y="3728"/>
                    <a:pt x="15575" y="6378"/>
                    <a:pt x="15575" y="9636"/>
                  </a:cubicBezTo>
                  <a:cubicBezTo>
                    <a:pt x="15575" y="12894"/>
                    <a:pt x="12925" y="15547"/>
                    <a:pt x="9666" y="15547"/>
                  </a:cubicBezTo>
                  <a:cubicBezTo>
                    <a:pt x="6405" y="15547"/>
                    <a:pt x="3755" y="12894"/>
                    <a:pt x="3755" y="9636"/>
                  </a:cubicBezTo>
                  <a:cubicBezTo>
                    <a:pt x="3755" y="6378"/>
                    <a:pt x="6405" y="3728"/>
                    <a:pt x="9666" y="3728"/>
                  </a:cubicBezTo>
                  <a:close/>
                  <a:moveTo>
                    <a:pt x="9665" y="0"/>
                  </a:moveTo>
                  <a:cubicBezTo>
                    <a:pt x="9575" y="0"/>
                    <a:pt x="9484" y="22"/>
                    <a:pt x="9402" y="66"/>
                  </a:cubicBezTo>
                  <a:lnTo>
                    <a:pt x="7532" y="1054"/>
                  </a:lnTo>
                  <a:lnTo>
                    <a:pt x="5418" y="1054"/>
                  </a:lnTo>
                  <a:cubicBezTo>
                    <a:pt x="5231" y="1054"/>
                    <a:pt x="5056" y="1144"/>
                    <a:pt x="4954" y="1301"/>
                  </a:cubicBezTo>
                  <a:lnTo>
                    <a:pt x="3752" y="3053"/>
                  </a:lnTo>
                  <a:lnTo>
                    <a:pt x="1879" y="4041"/>
                  </a:lnTo>
                  <a:cubicBezTo>
                    <a:pt x="1717" y="4128"/>
                    <a:pt x="1605" y="4288"/>
                    <a:pt x="1584" y="4474"/>
                  </a:cubicBezTo>
                  <a:lnTo>
                    <a:pt x="1328" y="6588"/>
                  </a:lnTo>
                  <a:lnTo>
                    <a:pt x="127" y="8341"/>
                  </a:lnTo>
                  <a:cubicBezTo>
                    <a:pt x="24" y="8491"/>
                    <a:pt x="0" y="8687"/>
                    <a:pt x="67" y="8859"/>
                  </a:cubicBezTo>
                  <a:lnTo>
                    <a:pt x="816" y="10852"/>
                  </a:lnTo>
                  <a:lnTo>
                    <a:pt x="560" y="12966"/>
                  </a:lnTo>
                  <a:cubicBezTo>
                    <a:pt x="536" y="13150"/>
                    <a:pt x="606" y="13334"/>
                    <a:pt x="744" y="13457"/>
                  </a:cubicBezTo>
                  <a:lnTo>
                    <a:pt x="2325" y="14869"/>
                  </a:lnTo>
                  <a:lnTo>
                    <a:pt x="3075" y="16860"/>
                  </a:lnTo>
                  <a:cubicBezTo>
                    <a:pt x="3141" y="17034"/>
                    <a:pt x="3289" y="17164"/>
                    <a:pt x="3466" y="17209"/>
                  </a:cubicBezTo>
                  <a:lnTo>
                    <a:pt x="5520" y="17718"/>
                  </a:lnTo>
                  <a:lnTo>
                    <a:pt x="7101" y="19130"/>
                  </a:lnTo>
                  <a:cubicBezTo>
                    <a:pt x="7205" y="19223"/>
                    <a:pt x="7340" y="19273"/>
                    <a:pt x="7477" y="19273"/>
                  </a:cubicBezTo>
                  <a:cubicBezTo>
                    <a:pt x="7523" y="19273"/>
                    <a:pt x="7568" y="19268"/>
                    <a:pt x="7613" y="19257"/>
                  </a:cubicBezTo>
                  <a:lnTo>
                    <a:pt x="9666" y="18745"/>
                  </a:lnTo>
                  <a:lnTo>
                    <a:pt x="11717" y="19254"/>
                  </a:lnTo>
                  <a:cubicBezTo>
                    <a:pt x="11759" y="19266"/>
                    <a:pt x="11807" y="19272"/>
                    <a:pt x="11853" y="19272"/>
                  </a:cubicBezTo>
                  <a:cubicBezTo>
                    <a:pt x="11991" y="19272"/>
                    <a:pt x="12124" y="19221"/>
                    <a:pt x="12229" y="19127"/>
                  </a:cubicBezTo>
                  <a:lnTo>
                    <a:pt x="13810" y="17715"/>
                  </a:lnTo>
                  <a:lnTo>
                    <a:pt x="15861" y="17206"/>
                  </a:lnTo>
                  <a:cubicBezTo>
                    <a:pt x="16041" y="17161"/>
                    <a:pt x="16186" y="17031"/>
                    <a:pt x="16252" y="16857"/>
                  </a:cubicBezTo>
                  <a:lnTo>
                    <a:pt x="17002" y="14866"/>
                  </a:lnTo>
                  <a:lnTo>
                    <a:pt x="18583" y="13454"/>
                  </a:lnTo>
                  <a:cubicBezTo>
                    <a:pt x="18721" y="13331"/>
                    <a:pt x="18791" y="13147"/>
                    <a:pt x="18766" y="12963"/>
                  </a:cubicBezTo>
                  <a:lnTo>
                    <a:pt x="18514" y="10849"/>
                  </a:lnTo>
                  <a:lnTo>
                    <a:pt x="19263" y="8856"/>
                  </a:lnTo>
                  <a:cubicBezTo>
                    <a:pt x="19327" y="8684"/>
                    <a:pt x="19306" y="8491"/>
                    <a:pt x="19200" y="8338"/>
                  </a:cubicBezTo>
                  <a:lnTo>
                    <a:pt x="18002" y="6588"/>
                  </a:lnTo>
                  <a:lnTo>
                    <a:pt x="17746" y="4471"/>
                  </a:lnTo>
                  <a:cubicBezTo>
                    <a:pt x="17725" y="4288"/>
                    <a:pt x="17613" y="4128"/>
                    <a:pt x="17451" y="4041"/>
                  </a:cubicBezTo>
                  <a:lnTo>
                    <a:pt x="15578" y="3050"/>
                  </a:lnTo>
                  <a:lnTo>
                    <a:pt x="14379" y="1298"/>
                  </a:lnTo>
                  <a:cubicBezTo>
                    <a:pt x="14274" y="1144"/>
                    <a:pt x="14099" y="1054"/>
                    <a:pt x="13912" y="1054"/>
                  </a:cubicBezTo>
                  <a:lnTo>
                    <a:pt x="11798" y="1054"/>
                  </a:lnTo>
                  <a:lnTo>
                    <a:pt x="9928" y="66"/>
                  </a:lnTo>
                  <a:cubicBezTo>
                    <a:pt x="9846" y="22"/>
                    <a:pt x="9755" y="0"/>
                    <a:pt x="9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9" name="Google Shape;6179;p70"/>
          <p:cNvGrpSpPr/>
          <p:nvPr/>
        </p:nvGrpSpPr>
        <p:grpSpPr>
          <a:xfrm>
            <a:off x="7211250" y="2711317"/>
            <a:ext cx="168931" cy="339253"/>
            <a:chOff x="3984950" y="3213600"/>
            <a:chExt cx="239925" cy="481825"/>
          </a:xfrm>
        </p:grpSpPr>
        <p:sp>
          <p:nvSpPr>
            <p:cNvPr id="6180" name="Google Shape;6180;p70"/>
            <p:cNvSpPr/>
            <p:nvPr/>
          </p:nvSpPr>
          <p:spPr>
            <a:xfrm>
              <a:off x="3984950" y="3213600"/>
              <a:ext cx="239925" cy="481825"/>
            </a:xfrm>
            <a:custGeom>
              <a:avLst/>
              <a:gdLst/>
              <a:ahLst/>
              <a:cxnLst/>
              <a:rect l="l" t="t" r="r" b="b"/>
              <a:pathLst>
                <a:path w="9597" h="19273" extrusionOk="0">
                  <a:moveTo>
                    <a:pt x="4800" y="3355"/>
                  </a:moveTo>
                  <a:cubicBezTo>
                    <a:pt x="5110" y="3355"/>
                    <a:pt x="5363" y="3608"/>
                    <a:pt x="5363" y="3918"/>
                  </a:cubicBezTo>
                  <a:lnTo>
                    <a:pt x="5363" y="12121"/>
                  </a:lnTo>
                  <a:cubicBezTo>
                    <a:pt x="6556" y="12407"/>
                    <a:pt x="7345" y="13542"/>
                    <a:pt x="7203" y="14759"/>
                  </a:cubicBezTo>
                  <a:cubicBezTo>
                    <a:pt x="7059" y="15978"/>
                    <a:pt x="6026" y="16897"/>
                    <a:pt x="4800" y="16897"/>
                  </a:cubicBezTo>
                  <a:cubicBezTo>
                    <a:pt x="3571" y="16897"/>
                    <a:pt x="2539" y="15978"/>
                    <a:pt x="2394" y="14759"/>
                  </a:cubicBezTo>
                  <a:cubicBezTo>
                    <a:pt x="2253" y="13542"/>
                    <a:pt x="3042" y="12407"/>
                    <a:pt x="4234" y="12121"/>
                  </a:cubicBezTo>
                  <a:lnTo>
                    <a:pt x="4234" y="3918"/>
                  </a:lnTo>
                  <a:cubicBezTo>
                    <a:pt x="4234" y="3608"/>
                    <a:pt x="4487" y="3355"/>
                    <a:pt x="4800" y="3355"/>
                  </a:cubicBezTo>
                  <a:close/>
                  <a:moveTo>
                    <a:pt x="4800" y="1"/>
                  </a:moveTo>
                  <a:cubicBezTo>
                    <a:pt x="3219" y="1"/>
                    <a:pt x="1939" y="1281"/>
                    <a:pt x="1939" y="2861"/>
                  </a:cubicBezTo>
                  <a:lnTo>
                    <a:pt x="1939" y="10567"/>
                  </a:lnTo>
                  <a:cubicBezTo>
                    <a:pt x="723" y="11501"/>
                    <a:pt x="9" y="12943"/>
                    <a:pt x="0" y="14476"/>
                  </a:cubicBezTo>
                  <a:cubicBezTo>
                    <a:pt x="0" y="17123"/>
                    <a:pt x="2150" y="19273"/>
                    <a:pt x="4800" y="19273"/>
                  </a:cubicBezTo>
                  <a:cubicBezTo>
                    <a:pt x="7450" y="19273"/>
                    <a:pt x="9597" y="17123"/>
                    <a:pt x="9597" y="14476"/>
                  </a:cubicBezTo>
                  <a:cubicBezTo>
                    <a:pt x="9597" y="13651"/>
                    <a:pt x="9395" y="12844"/>
                    <a:pt x="9007" y="12118"/>
                  </a:cubicBezTo>
                  <a:cubicBezTo>
                    <a:pt x="8679" y="11510"/>
                    <a:pt x="8221" y="10980"/>
                    <a:pt x="7664" y="10567"/>
                  </a:cubicBezTo>
                  <a:lnTo>
                    <a:pt x="7661" y="2861"/>
                  </a:lnTo>
                  <a:cubicBezTo>
                    <a:pt x="7661" y="1281"/>
                    <a:pt x="6378" y="1"/>
                    <a:pt x="4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1" name="Google Shape;6181;p70"/>
            <p:cNvSpPr/>
            <p:nvPr/>
          </p:nvSpPr>
          <p:spPr>
            <a:xfrm>
              <a:off x="4072650" y="3543175"/>
              <a:ext cx="64525" cy="64625"/>
            </a:xfrm>
            <a:custGeom>
              <a:avLst/>
              <a:gdLst/>
              <a:ahLst/>
              <a:cxnLst/>
              <a:rect l="l" t="t" r="r" b="b"/>
              <a:pathLst>
                <a:path w="2581" h="2585" extrusionOk="0">
                  <a:moveTo>
                    <a:pt x="1292" y="1"/>
                  </a:moveTo>
                  <a:cubicBezTo>
                    <a:pt x="578" y="1"/>
                    <a:pt x="0" y="579"/>
                    <a:pt x="0" y="1293"/>
                  </a:cubicBezTo>
                  <a:cubicBezTo>
                    <a:pt x="0" y="2006"/>
                    <a:pt x="578" y="2585"/>
                    <a:pt x="1292" y="2585"/>
                  </a:cubicBezTo>
                  <a:cubicBezTo>
                    <a:pt x="2003" y="2585"/>
                    <a:pt x="2581" y="2006"/>
                    <a:pt x="2581" y="1293"/>
                  </a:cubicBezTo>
                  <a:cubicBezTo>
                    <a:pt x="2581" y="579"/>
                    <a:pt x="2003"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82" name="Google Shape;6182;p70"/>
          <p:cNvSpPr/>
          <p:nvPr/>
        </p:nvSpPr>
        <p:spPr>
          <a:xfrm>
            <a:off x="7549578" y="2711214"/>
            <a:ext cx="339306" cy="339253"/>
          </a:xfrm>
          <a:custGeom>
            <a:avLst/>
            <a:gdLst/>
            <a:ahLst/>
            <a:cxnLst/>
            <a:rect l="l" t="t" r="r" b="b"/>
            <a:pathLst>
              <a:path w="19276" h="19273" extrusionOk="0">
                <a:moveTo>
                  <a:pt x="9640" y="5686"/>
                </a:moveTo>
                <a:cubicBezTo>
                  <a:pt x="11236" y="5686"/>
                  <a:pt x="12678" y="6647"/>
                  <a:pt x="13289" y="8125"/>
                </a:cubicBezTo>
                <a:cubicBezTo>
                  <a:pt x="13901" y="9601"/>
                  <a:pt x="13563" y="11302"/>
                  <a:pt x="12434" y="12431"/>
                </a:cubicBezTo>
                <a:cubicBezTo>
                  <a:pt x="11676" y="13187"/>
                  <a:pt x="10664" y="13590"/>
                  <a:pt x="9635" y="13590"/>
                </a:cubicBezTo>
                <a:cubicBezTo>
                  <a:pt x="9126" y="13590"/>
                  <a:pt x="8614" y="13491"/>
                  <a:pt x="8125" y="13289"/>
                </a:cubicBezTo>
                <a:cubicBezTo>
                  <a:pt x="6649" y="12675"/>
                  <a:pt x="5686" y="11236"/>
                  <a:pt x="5686" y="9637"/>
                </a:cubicBezTo>
                <a:cubicBezTo>
                  <a:pt x="5689" y="7454"/>
                  <a:pt x="7457" y="5686"/>
                  <a:pt x="9640" y="5686"/>
                </a:cubicBezTo>
                <a:close/>
                <a:moveTo>
                  <a:pt x="9640" y="1"/>
                </a:moveTo>
                <a:cubicBezTo>
                  <a:pt x="8297" y="1"/>
                  <a:pt x="7068" y="748"/>
                  <a:pt x="6451" y="1940"/>
                </a:cubicBezTo>
                <a:cubicBezTo>
                  <a:pt x="6093" y="1826"/>
                  <a:pt x="5726" y="1771"/>
                  <a:pt x="5363" y="1771"/>
                </a:cubicBezTo>
                <a:cubicBezTo>
                  <a:pt x="4425" y="1771"/>
                  <a:pt x="3509" y="2139"/>
                  <a:pt x="2825" y="2822"/>
                </a:cubicBezTo>
                <a:cubicBezTo>
                  <a:pt x="1877" y="3771"/>
                  <a:pt x="1536" y="5168"/>
                  <a:pt x="1940" y="6448"/>
                </a:cubicBezTo>
                <a:cubicBezTo>
                  <a:pt x="750" y="7065"/>
                  <a:pt x="1" y="8297"/>
                  <a:pt x="1" y="9637"/>
                </a:cubicBezTo>
                <a:cubicBezTo>
                  <a:pt x="1" y="10977"/>
                  <a:pt x="750" y="12208"/>
                  <a:pt x="1940" y="12826"/>
                </a:cubicBezTo>
                <a:cubicBezTo>
                  <a:pt x="1536" y="14105"/>
                  <a:pt x="1877" y="15503"/>
                  <a:pt x="2825" y="16451"/>
                </a:cubicBezTo>
                <a:cubicBezTo>
                  <a:pt x="3510" y="17136"/>
                  <a:pt x="4428" y="17504"/>
                  <a:pt x="5367" y="17504"/>
                </a:cubicBezTo>
                <a:cubicBezTo>
                  <a:pt x="5729" y="17504"/>
                  <a:pt x="6095" y="17449"/>
                  <a:pt x="6451" y="17337"/>
                </a:cubicBezTo>
                <a:cubicBezTo>
                  <a:pt x="7068" y="18526"/>
                  <a:pt x="8297" y="19273"/>
                  <a:pt x="9640" y="19273"/>
                </a:cubicBezTo>
                <a:cubicBezTo>
                  <a:pt x="10980" y="19273"/>
                  <a:pt x="12208" y="18526"/>
                  <a:pt x="12826" y="17337"/>
                </a:cubicBezTo>
                <a:cubicBezTo>
                  <a:pt x="13182" y="17449"/>
                  <a:pt x="13547" y="17504"/>
                  <a:pt x="13909" y="17504"/>
                </a:cubicBezTo>
                <a:cubicBezTo>
                  <a:pt x="14848" y="17504"/>
                  <a:pt x="15767" y="17136"/>
                  <a:pt x="16451" y="16451"/>
                </a:cubicBezTo>
                <a:cubicBezTo>
                  <a:pt x="17400" y="15503"/>
                  <a:pt x="17740" y="14105"/>
                  <a:pt x="17336" y="12826"/>
                </a:cubicBezTo>
                <a:cubicBezTo>
                  <a:pt x="18526" y="12208"/>
                  <a:pt x="19276" y="10977"/>
                  <a:pt x="19276" y="9637"/>
                </a:cubicBezTo>
                <a:cubicBezTo>
                  <a:pt x="19276" y="8297"/>
                  <a:pt x="18526" y="7065"/>
                  <a:pt x="17336" y="6448"/>
                </a:cubicBezTo>
                <a:cubicBezTo>
                  <a:pt x="17740" y="5168"/>
                  <a:pt x="17400" y="3771"/>
                  <a:pt x="16451" y="2822"/>
                </a:cubicBezTo>
                <a:cubicBezTo>
                  <a:pt x="15768" y="2139"/>
                  <a:pt x="14851" y="1771"/>
                  <a:pt x="13914" y="1771"/>
                </a:cubicBezTo>
                <a:cubicBezTo>
                  <a:pt x="13550" y="1771"/>
                  <a:pt x="13183" y="1826"/>
                  <a:pt x="12826" y="1940"/>
                </a:cubicBezTo>
                <a:cubicBezTo>
                  <a:pt x="12208" y="748"/>
                  <a:pt x="10980" y="1"/>
                  <a:pt x="9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3" name="Google Shape;6183;p70"/>
          <p:cNvSpPr/>
          <p:nvPr/>
        </p:nvSpPr>
        <p:spPr>
          <a:xfrm>
            <a:off x="7974508" y="2731069"/>
            <a:ext cx="339253" cy="299542"/>
          </a:xfrm>
          <a:custGeom>
            <a:avLst/>
            <a:gdLst/>
            <a:ahLst/>
            <a:cxnLst/>
            <a:rect l="l" t="t" r="r" b="b"/>
            <a:pathLst>
              <a:path w="19273" h="17017" extrusionOk="0">
                <a:moveTo>
                  <a:pt x="5119" y="1"/>
                </a:moveTo>
                <a:cubicBezTo>
                  <a:pt x="2198" y="1"/>
                  <a:pt x="0" y="2389"/>
                  <a:pt x="0" y="5554"/>
                </a:cubicBezTo>
                <a:cubicBezTo>
                  <a:pt x="0" y="8974"/>
                  <a:pt x="2744" y="11311"/>
                  <a:pt x="6902" y="14855"/>
                </a:cubicBezTo>
                <a:cubicBezTo>
                  <a:pt x="7607" y="15458"/>
                  <a:pt x="8408" y="16138"/>
                  <a:pt x="9239" y="16867"/>
                </a:cubicBezTo>
                <a:cubicBezTo>
                  <a:pt x="9352" y="16966"/>
                  <a:pt x="9493" y="17016"/>
                  <a:pt x="9635" y="17016"/>
                </a:cubicBezTo>
                <a:cubicBezTo>
                  <a:pt x="9776" y="17016"/>
                  <a:pt x="9918" y="16966"/>
                  <a:pt x="10031" y="16867"/>
                </a:cubicBezTo>
                <a:cubicBezTo>
                  <a:pt x="10862" y="16138"/>
                  <a:pt x="11663" y="15458"/>
                  <a:pt x="12370" y="14855"/>
                </a:cubicBezTo>
                <a:cubicBezTo>
                  <a:pt x="16526" y="11314"/>
                  <a:pt x="19272" y="8974"/>
                  <a:pt x="19272" y="5554"/>
                </a:cubicBezTo>
                <a:cubicBezTo>
                  <a:pt x="19272" y="2389"/>
                  <a:pt x="17071" y="1"/>
                  <a:pt x="14153" y="1"/>
                </a:cubicBezTo>
                <a:cubicBezTo>
                  <a:pt x="13105" y="1"/>
                  <a:pt x="12148" y="332"/>
                  <a:pt x="11301" y="986"/>
                </a:cubicBezTo>
                <a:cubicBezTo>
                  <a:pt x="10491" y="1612"/>
                  <a:pt x="9952" y="2410"/>
                  <a:pt x="9636" y="2991"/>
                </a:cubicBezTo>
                <a:cubicBezTo>
                  <a:pt x="9317" y="2410"/>
                  <a:pt x="8778" y="1612"/>
                  <a:pt x="7968" y="986"/>
                </a:cubicBezTo>
                <a:cubicBezTo>
                  <a:pt x="7122" y="332"/>
                  <a:pt x="6164" y="1"/>
                  <a:pt x="5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84" name="Google Shape;6184;p70"/>
          <p:cNvGrpSpPr/>
          <p:nvPr/>
        </p:nvGrpSpPr>
        <p:grpSpPr>
          <a:xfrm>
            <a:off x="1874281" y="3981487"/>
            <a:ext cx="355218" cy="279880"/>
            <a:chOff x="5629975" y="3255775"/>
            <a:chExt cx="504500" cy="397500"/>
          </a:xfrm>
        </p:grpSpPr>
        <p:sp>
          <p:nvSpPr>
            <p:cNvPr id="6185" name="Google Shape;6185;p70"/>
            <p:cNvSpPr/>
            <p:nvPr/>
          </p:nvSpPr>
          <p:spPr>
            <a:xfrm>
              <a:off x="5756375" y="3255775"/>
              <a:ext cx="112950" cy="143425"/>
            </a:xfrm>
            <a:custGeom>
              <a:avLst/>
              <a:gdLst/>
              <a:ahLst/>
              <a:cxnLst/>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6" name="Google Shape;6186;p70"/>
            <p:cNvSpPr/>
            <p:nvPr/>
          </p:nvSpPr>
          <p:spPr>
            <a:xfrm>
              <a:off x="5629975" y="3374400"/>
              <a:ext cx="140575" cy="136175"/>
            </a:xfrm>
            <a:custGeom>
              <a:avLst/>
              <a:gdLst/>
              <a:ahLst/>
              <a:cxnLst/>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7" name="Google Shape;6187;p70"/>
            <p:cNvSpPr/>
            <p:nvPr/>
          </p:nvSpPr>
          <p:spPr>
            <a:xfrm>
              <a:off x="5897525" y="3255775"/>
              <a:ext cx="112950" cy="143425"/>
            </a:xfrm>
            <a:custGeom>
              <a:avLst/>
              <a:gdLst/>
              <a:ahLst/>
              <a:cxnLst/>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8" name="Google Shape;6188;p70"/>
            <p:cNvSpPr/>
            <p:nvPr/>
          </p:nvSpPr>
          <p:spPr>
            <a:xfrm>
              <a:off x="5996075" y="3373900"/>
              <a:ext cx="138400" cy="136200"/>
            </a:xfrm>
            <a:custGeom>
              <a:avLst/>
              <a:gdLst/>
              <a:ahLst/>
              <a:cxnLst/>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9" name="Google Shape;6189;p70"/>
            <p:cNvSpPr/>
            <p:nvPr/>
          </p:nvSpPr>
          <p:spPr>
            <a:xfrm>
              <a:off x="5728150" y="3427400"/>
              <a:ext cx="310575" cy="225875"/>
            </a:xfrm>
            <a:custGeom>
              <a:avLst/>
              <a:gdLst/>
              <a:ahLst/>
              <a:cxnLst/>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0" name="Google Shape;6190;p70"/>
          <p:cNvGrpSpPr/>
          <p:nvPr/>
        </p:nvGrpSpPr>
        <p:grpSpPr>
          <a:xfrm>
            <a:off x="3755839" y="3981593"/>
            <a:ext cx="340256" cy="279669"/>
            <a:chOff x="6234950" y="3255925"/>
            <a:chExt cx="483250" cy="397200"/>
          </a:xfrm>
        </p:grpSpPr>
        <p:sp>
          <p:nvSpPr>
            <p:cNvPr id="6191" name="Google Shape;6191;p70"/>
            <p:cNvSpPr/>
            <p:nvPr/>
          </p:nvSpPr>
          <p:spPr>
            <a:xfrm>
              <a:off x="6444675" y="3255925"/>
              <a:ext cx="128300" cy="90200"/>
            </a:xfrm>
            <a:custGeom>
              <a:avLst/>
              <a:gdLst/>
              <a:ahLst/>
              <a:cxnLst/>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2" name="Google Shape;6192;p70"/>
            <p:cNvSpPr/>
            <p:nvPr/>
          </p:nvSpPr>
          <p:spPr>
            <a:xfrm>
              <a:off x="6444750" y="3563200"/>
              <a:ext cx="128225" cy="89925"/>
            </a:xfrm>
            <a:custGeom>
              <a:avLst/>
              <a:gdLst/>
              <a:ahLst/>
              <a:cxnLst/>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3" name="Google Shape;6193;p70"/>
            <p:cNvSpPr/>
            <p:nvPr/>
          </p:nvSpPr>
          <p:spPr>
            <a:xfrm>
              <a:off x="6375350" y="3355650"/>
              <a:ext cx="244750" cy="197650"/>
            </a:xfrm>
            <a:custGeom>
              <a:avLst/>
              <a:gdLst/>
              <a:ahLst/>
              <a:cxnLst/>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4" name="Google Shape;6194;p70"/>
            <p:cNvSpPr/>
            <p:nvPr/>
          </p:nvSpPr>
          <p:spPr>
            <a:xfrm>
              <a:off x="6587875" y="3385100"/>
              <a:ext cx="130325" cy="140500"/>
            </a:xfrm>
            <a:custGeom>
              <a:avLst/>
              <a:gdLst/>
              <a:ahLst/>
              <a:cxnLst/>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5" name="Google Shape;6195;p70"/>
            <p:cNvSpPr/>
            <p:nvPr/>
          </p:nvSpPr>
          <p:spPr>
            <a:xfrm>
              <a:off x="6234950" y="3469100"/>
              <a:ext cx="165050" cy="141200"/>
            </a:xfrm>
            <a:custGeom>
              <a:avLst/>
              <a:gdLst/>
              <a:ahLst/>
              <a:cxnLst/>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6" name="Google Shape;6196;p70"/>
            <p:cNvSpPr/>
            <p:nvPr/>
          </p:nvSpPr>
          <p:spPr>
            <a:xfrm>
              <a:off x="6234950" y="3299725"/>
              <a:ext cx="165050" cy="141175"/>
            </a:xfrm>
            <a:custGeom>
              <a:avLst/>
              <a:gdLst/>
              <a:ahLst/>
              <a:cxnLst/>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7" name="Google Shape;6197;p70"/>
          <p:cNvGrpSpPr/>
          <p:nvPr/>
        </p:nvGrpSpPr>
        <p:grpSpPr>
          <a:xfrm>
            <a:off x="5051107" y="3125970"/>
            <a:ext cx="318042" cy="339253"/>
            <a:chOff x="914900" y="3806450"/>
            <a:chExt cx="451700" cy="481825"/>
          </a:xfrm>
        </p:grpSpPr>
        <p:sp>
          <p:nvSpPr>
            <p:cNvPr id="6198" name="Google Shape;6198;p70"/>
            <p:cNvSpPr/>
            <p:nvPr/>
          </p:nvSpPr>
          <p:spPr>
            <a:xfrm>
              <a:off x="914900" y="4174425"/>
              <a:ext cx="423400" cy="113850"/>
            </a:xfrm>
            <a:custGeom>
              <a:avLst/>
              <a:gdLst/>
              <a:ahLst/>
              <a:cxnLst/>
              <a:rect l="l" t="t" r="r" b="b"/>
              <a:pathLst>
                <a:path w="16936" h="4554" extrusionOk="0">
                  <a:moveTo>
                    <a:pt x="564" y="0"/>
                  </a:moveTo>
                  <a:cubicBezTo>
                    <a:pt x="250" y="0"/>
                    <a:pt x="0" y="250"/>
                    <a:pt x="0" y="563"/>
                  </a:cubicBezTo>
                  <a:cubicBezTo>
                    <a:pt x="0" y="877"/>
                    <a:pt x="250" y="1130"/>
                    <a:pt x="564" y="1130"/>
                  </a:cubicBezTo>
                  <a:lnTo>
                    <a:pt x="2259" y="1130"/>
                  </a:lnTo>
                  <a:lnTo>
                    <a:pt x="2259" y="2861"/>
                  </a:lnTo>
                  <a:cubicBezTo>
                    <a:pt x="2259" y="3795"/>
                    <a:pt x="3015" y="4553"/>
                    <a:pt x="3951" y="4553"/>
                  </a:cubicBezTo>
                  <a:cubicBezTo>
                    <a:pt x="4264" y="4553"/>
                    <a:pt x="4517" y="4300"/>
                    <a:pt x="4517" y="3990"/>
                  </a:cubicBezTo>
                  <a:lnTo>
                    <a:pt x="4517" y="1130"/>
                  </a:lnTo>
                  <a:lnTo>
                    <a:pt x="5646" y="1130"/>
                  </a:lnTo>
                  <a:lnTo>
                    <a:pt x="5646" y="1693"/>
                  </a:lnTo>
                  <a:cubicBezTo>
                    <a:pt x="5646" y="2629"/>
                    <a:pt x="6402" y="3424"/>
                    <a:pt x="7339" y="3424"/>
                  </a:cubicBezTo>
                  <a:cubicBezTo>
                    <a:pt x="7652" y="3424"/>
                    <a:pt x="7905" y="3171"/>
                    <a:pt x="7905" y="2861"/>
                  </a:cubicBezTo>
                  <a:lnTo>
                    <a:pt x="7905" y="1130"/>
                  </a:lnTo>
                  <a:lnTo>
                    <a:pt x="9034" y="1130"/>
                  </a:lnTo>
                  <a:lnTo>
                    <a:pt x="9034" y="3990"/>
                  </a:lnTo>
                  <a:cubicBezTo>
                    <a:pt x="9034" y="4300"/>
                    <a:pt x="9284" y="4553"/>
                    <a:pt x="9597" y="4553"/>
                  </a:cubicBezTo>
                  <a:cubicBezTo>
                    <a:pt x="9910" y="4553"/>
                    <a:pt x="10163" y="4300"/>
                    <a:pt x="10163" y="3990"/>
                  </a:cubicBezTo>
                  <a:lnTo>
                    <a:pt x="10163" y="1130"/>
                  </a:lnTo>
                  <a:lnTo>
                    <a:pt x="16373" y="1130"/>
                  </a:lnTo>
                  <a:cubicBezTo>
                    <a:pt x="16686" y="1130"/>
                    <a:pt x="16936" y="877"/>
                    <a:pt x="16936" y="563"/>
                  </a:cubicBezTo>
                  <a:cubicBezTo>
                    <a:pt x="16936" y="250"/>
                    <a:pt x="16686" y="0"/>
                    <a:pt x="16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9" name="Google Shape;6199;p70"/>
            <p:cNvSpPr/>
            <p:nvPr/>
          </p:nvSpPr>
          <p:spPr>
            <a:xfrm>
              <a:off x="971350" y="3806450"/>
              <a:ext cx="254100" cy="339775"/>
            </a:xfrm>
            <a:custGeom>
              <a:avLst/>
              <a:gdLst/>
              <a:ahLst/>
              <a:cxnLst/>
              <a:rect l="l" t="t" r="r" b="b"/>
              <a:pathLst>
                <a:path w="10164" h="13591" extrusionOk="0">
                  <a:moveTo>
                    <a:pt x="7563" y="2032"/>
                  </a:moveTo>
                  <a:cubicBezTo>
                    <a:pt x="7853" y="2032"/>
                    <a:pt x="8131" y="2256"/>
                    <a:pt x="8131" y="2596"/>
                  </a:cubicBezTo>
                  <a:cubicBezTo>
                    <a:pt x="8131" y="2937"/>
                    <a:pt x="7852" y="3163"/>
                    <a:pt x="7562" y="3163"/>
                  </a:cubicBezTo>
                  <a:cubicBezTo>
                    <a:pt x="7423" y="3163"/>
                    <a:pt x="7282" y="3111"/>
                    <a:pt x="7168" y="2997"/>
                  </a:cubicBezTo>
                  <a:cubicBezTo>
                    <a:pt x="6945" y="2777"/>
                    <a:pt x="6945" y="2418"/>
                    <a:pt x="7168" y="2199"/>
                  </a:cubicBezTo>
                  <a:cubicBezTo>
                    <a:pt x="7283" y="2083"/>
                    <a:pt x="7425" y="2032"/>
                    <a:pt x="7563" y="2032"/>
                  </a:cubicBezTo>
                  <a:close/>
                  <a:moveTo>
                    <a:pt x="7339" y="0"/>
                  </a:moveTo>
                  <a:cubicBezTo>
                    <a:pt x="5412" y="0"/>
                    <a:pt x="3759" y="1087"/>
                    <a:pt x="2901" y="2668"/>
                  </a:cubicBezTo>
                  <a:cubicBezTo>
                    <a:pt x="2852" y="2674"/>
                    <a:pt x="2804" y="2686"/>
                    <a:pt x="2762" y="2704"/>
                  </a:cubicBezTo>
                  <a:cubicBezTo>
                    <a:pt x="2602" y="2782"/>
                    <a:pt x="2431" y="2819"/>
                    <a:pt x="2260" y="2819"/>
                  </a:cubicBezTo>
                  <a:cubicBezTo>
                    <a:pt x="1967" y="2819"/>
                    <a:pt x="1678" y="2707"/>
                    <a:pt x="1458" y="2494"/>
                  </a:cubicBezTo>
                  <a:cubicBezTo>
                    <a:pt x="1247" y="2280"/>
                    <a:pt x="1127" y="1994"/>
                    <a:pt x="1130" y="1696"/>
                  </a:cubicBezTo>
                  <a:cubicBezTo>
                    <a:pt x="1130" y="1395"/>
                    <a:pt x="1247" y="1178"/>
                    <a:pt x="1458" y="964"/>
                  </a:cubicBezTo>
                  <a:cubicBezTo>
                    <a:pt x="1681" y="744"/>
                    <a:pt x="1681" y="386"/>
                    <a:pt x="1458" y="166"/>
                  </a:cubicBezTo>
                  <a:cubicBezTo>
                    <a:pt x="1348" y="56"/>
                    <a:pt x="1204" y="1"/>
                    <a:pt x="1059" y="1"/>
                  </a:cubicBezTo>
                  <a:cubicBezTo>
                    <a:pt x="915" y="1"/>
                    <a:pt x="770" y="56"/>
                    <a:pt x="660" y="166"/>
                  </a:cubicBezTo>
                  <a:cubicBezTo>
                    <a:pt x="236" y="594"/>
                    <a:pt x="1" y="1093"/>
                    <a:pt x="1" y="1696"/>
                  </a:cubicBezTo>
                  <a:cubicBezTo>
                    <a:pt x="1" y="2942"/>
                    <a:pt x="1010" y="3954"/>
                    <a:pt x="2259" y="3954"/>
                  </a:cubicBezTo>
                  <a:cubicBezTo>
                    <a:pt x="2307" y="3954"/>
                    <a:pt x="2353" y="3939"/>
                    <a:pt x="2401" y="3936"/>
                  </a:cubicBezTo>
                  <a:lnTo>
                    <a:pt x="2401" y="3936"/>
                  </a:lnTo>
                  <a:cubicBezTo>
                    <a:pt x="2319" y="4282"/>
                    <a:pt x="2274" y="4635"/>
                    <a:pt x="2265" y="4990"/>
                  </a:cubicBezTo>
                  <a:cubicBezTo>
                    <a:pt x="2976" y="4680"/>
                    <a:pt x="3741" y="4517"/>
                    <a:pt x="4518" y="4517"/>
                  </a:cubicBezTo>
                  <a:lnTo>
                    <a:pt x="5081" y="4517"/>
                  </a:lnTo>
                  <a:cubicBezTo>
                    <a:pt x="6017" y="4517"/>
                    <a:pt x="6773" y="5276"/>
                    <a:pt x="6776" y="6213"/>
                  </a:cubicBezTo>
                  <a:lnTo>
                    <a:pt x="6776" y="9073"/>
                  </a:lnTo>
                  <a:cubicBezTo>
                    <a:pt x="6776" y="10925"/>
                    <a:pt x="5864" y="12557"/>
                    <a:pt x="4482" y="13590"/>
                  </a:cubicBezTo>
                  <a:lnTo>
                    <a:pt x="6210" y="13590"/>
                  </a:lnTo>
                  <a:cubicBezTo>
                    <a:pt x="8393" y="13590"/>
                    <a:pt x="10164" y="11820"/>
                    <a:pt x="10164" y="9636"/>
                  </a:cubicBezTo>
                  <a:lnTo>
                    <a:pt x="101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0" name="Google Shape;6200;p70"/>
            <p:cNvSpPr/>
            <p:nvPr/>
          </p:nvSpPr>
          <p:spPr>
            <a:xfrm>
              <a:off x="971350" y="3947600"/>
              <a:ext cx="141175" cy="198625"/>
            </a:xfrm>
            <a:custGeom>
              <a:avLst/>
              <a:gdLst/>
              <a:ahLst/>
              <a:cxnLst/>
              <a:rect l="l" t="t" r="r" b="b"/>
              <a:pathLst>
                <a:path w="5647" h="7945" extrusionOk="0">
                  <a:moveTo>
                    <a:pt x="4518" y="0"/>
                  </a:moveTo>
                  <a:cubicBezTo>
                    <a:pt x="2021" y="0"/>
                    <a:pt x="1" y="2060"/>
                    <a:pt x="1" y="4556"/>
                  </a:cubicBezTo>
                  <a:lnTo>
                    <a:pt x="1" y="6815"/>
                  </a:lnTo>
                  <a:cubicBezTo>
                    <a:pt x="934" y="6812"/>
                    <a:pt x="1693" y="6056"/>
                    <a:pt x="1693" y="5120"/>
                  </a:cubicBezTo>
                  <a:cubicBezTo>
                    <a:pt x="1693" y="4806"/>
                    <a:pt x="1946" y="4556"/>
                    <a:pt x="2259" y="4556"/>
                  </a:cubicBezTo>
                  <a:cubicBezTo>
                    <a:pt x="2569" y="4556"/>
                    <a:pt x="2822" y="4806"/>
                    <a:pt x="2822" y="5120"/>
                  </a:cubicBezTo>
                  <a:cubicBezTo>
                    <a:pt x="2822" y="6547"/>
                    <a:pt x="1753" y="7718"/>
                    <a:pt x="377" y="7905"/>
                  </a:cubicBezTo>
                  <a:cubicBezTo>
                    <a:pt x="434" y="7929"/>
                    <a:pt x="501" y="7941"/>
                    <a:pt x="564" y="7944"/>
                  </a:cubicBezTo>
                  <a:lnTo>
                    <a:pt x="1130" y="7944"/>
                  </a:lnTo>
                  <a:cubicBezTo>
                    <a:pt x="3623" y="7944"/>
                    <a:pt x="5647" y="5921"/>
                    <a:pt x="5647" y="3427"/>
                  </a:cubicBezTo>
                  <a:lnTo>
                    <a:pt x="5647" y="567"/>
                  </a:lnTo>
                  <a:cubicBezTo>
                    <a:pt x="5647" y="253"/>
                    <a:pt x="5394" y="0"/>
                    <a:pt x="5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1" name="Google Shape;6201;p70"/>
            <p:cNvSpPr/>
            <p:nvPr/>
          </p:nvSpPr>
          <p:spPr>
            <a:xfrm>
              <a:off x="1253675" y="3806450"/>
              <a:ext cx="112925" cy="90350"/>
            </a:xfrm>
            <a:custGeom>
              <a:avLst/>
              <a:gdLst/>
              <a:ahLst/>
              <a:cxnLst/>
              <a:rect l="l" t="t" r="r" b="b"/>
              <a:pathLst>
                <a:path w="4517" h="3614" extrusionOk="0">
                  <a:moveTo>
                    <a:pt x="0" y="0"/>
                  </a:moveTo>
                  <a:lnTo>
                    <a:pt x="0" y="1696"/>
                  </a:lnTo>
                  <a:cubicBezTo>
                    <a:pt x="142" y="1685"/>
                    <a:pt x="428" y="1669"/>
                    <a:pt x="771" y="1669"/>
                  </a:cubicBezTo>
                  <a:cubicBezTo>
                    <a:pt x="1415" y="1669"/>
                    <a:pt x="2264" y="1726"/>
                    <a:pt x="2749" y="1988"/>
                  </a:cubicBezTo>
                  <a:cubicBezTo>
                    <a:pt x="3355" y="2313"/>
                    <a:pt x="4062" y="3078"/>
                    <a:pt x="4517" y="3614"/>
                  </a:cubicBezTo>
                  <a:lnTo>
                    <a:pt x="4517" y="2259"/>
                  </a:lnTo>
                  <a:cubicBezTo>
                    <a:pt x="4517" y="1012"/>
                    <a:pt x="3505" y="0"/>
                    <a:pt x="22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2" name="Google Shape;6202;p70"/>
            <p:cNvSpPr/>
            <p:nvPr/>
          </p:nvSpPr>
          <p:spPr>
            <a:xfrm>
              <a:off x="1253600" y="3876425"/>
              <a:ext cx="95025" cy="42975"/>
            </a:xfrm>
            <a:custGeom>
              <a:avLst/>
              <a:gdLst/>
              <a:ahLst/>
              <a:cxnLst/>
              <a:rect l="l" t="t" r="r" b="b"/>
              <a:pathLst>
                <a:path w="3801" h="1719" extrusionOk="0">
                  <a:moveTo>
                    <a:pt x="726" y="0"/>
                  </a:moveTo>
                  <a:cubicBezTo>
                    <a:pt x="478" y="0"/>
                    <a:pt x="239" y="9"/>
                    <a:pt x="42" y="23"/>
                  </a:cubicBezTo>
                  <a:lnTo>
                    <a:pt x="0" y="23"/>
                  </a:lnTo>
                  <a:lnTo>
                    <a:pt x="3" y="1718"/>
                  </a:lnTo>
                  <a:lnTo>
                    <a:pt x="3800" y="1718"/>
                  </a:lnTo>
                  <a:cubicBezTo>
                    <a:pt x="3379" y="1203"/>
                    <a:pt x="2692" y="438"/>
                    <a:pt x="2219" y="182"/>
                  </a:cubicBezTo>
                  <a:cubicBezTo>
                    <a:pt x="1969" y="49"/>
                    <a:pt x="1321" y="0"/>
                    <a:pt x="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3" name="Google Shape;6203;p70"/>
          <p:cNvGrpSpPr/>
          <p:nvPr/>
        </p:nvGrpSpPr>
        <p:grpSpPr>
          <a:xfrm>
            <a:off x="5470028" y="3125785"/>
            <a:ext cx="346347" cy="339623"/>
            <a:chOff x="1490050" y="3805975"/>
            <a:chExt cx="491900" cy="482350"/>
          </a:xfrm>
        </p:grpSpPr>
        <p:sp>
          <p:nvSpPr>
            <p:cNvPr id="6204" name="Google Shape;6204;p70"/>
            <p:cNvSpPr/>
            <p:nvPr/>
          </p:nvSpPr>
          <p:spPr>
            <a:xfrm>
              <a:off x="1541775" y="3877050"/>
              <a:ext cx="302500" cy="277225"/>
            </a:xfrm>
            <a:custGeom>
              <a:avLst/>
              <a:gdLst/>
              <a:ahLst/>
              <a:cxnLst/>
              <a:rect l="l" t="t" r="r" b="b"/>
              <a:pathLst>
                <a:path w="12100" h="11089" extrusionOk="0">
                  <a:moveTo>
                    <a:pt x="10512" y="1"/>
                  </a:moveTo>
                  <a:lnTo>
                    <a:pt x="0" y="10513"/>
                  </a:lnTo>
                  <a:cubicBezTo>
                    <a:pt x="207" y="10475"/>
                    <a:pt x="415" y="10456"/>
                    <a:pt x="622" y="10456"/>
                  </a:cubicBezTo>
                  <a:cubicBezTo>
                    <a:pt x="1327" y="10456"/>
                    <a:pt x="2020" y="10674"/>
                    <a:pt x="2602" y="11088"/>
                  </a:cubicBezTo>
                  <a:lnTo>
                    <a:pt x="12099" y="1588"/>
                  </a:lnTo>
                  <a:lnTo>
                    <a:pt x="10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5" name="Google Shape;6205;p70"/>
            <p:cNvSpPr/>
            <p:nvPr/>
          </p:nvSpPr>
          <p:spPr>
            <a:xfrm>
              <a:off x="1824450" y="3805975"/>
              <a:ext cx="157500" cy="150525"/>
            </a:xfrm>
            <a:custGeom>
              <a:avLst/>
              <a:gdLst/>
              <a:ahLst/>
              <a:cxnLst/>
              <a:rect l="l" t="t" r="r" b="b"/>
              <a:pathLst>
                <a:path w="6300" h="6021" extrusionOk="0">
                  <a:moveTo>
                    <a:pt x="3211" y="0"/>
                  </a:moveTo>
                  <a:cubicBezTo>
                    <a:pt x="2484" y="0"/>
                    <a:pt x="1758" y="281"/>
                    <a:pt x="1208" y="841"/>
                  </a:cubicBezTo>
                  <a:lnTo>
                    <a:pt x="0" y="2049"/>
                  </a:lnTo>
                  <a:lnTo>
                    <a:pt x="3972" y="6021"/>
                  </a:lnTo>
                  <a:lnTo>
                    <a:pt x="5180" y="4813"/>
                  </a:lnTo>
                  <a:cubicBezTo>
                    <a:pt x="6294" y="3717"/>
                    <a:pt x="6300" y="1925"/>
                    <a:pt x="5198" y="823"/>
                  </a:cubicBezTo>
                  <a:cubicBezTo>
                    <a:pt x="4649" y="274"/>
                    <a:pt x="3930" y="0"/>
                    <a:pt x="32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6" name="Google Shape;6206;p70"/>
            <p:cNvSpPr/>
            <p:nvPr/>
          </p:nvSpPr>
          <p:spPr>
            <a:xfrm>
              <a:off x="1626675" y="3936600"/>
              <a:ext cx="277225" cy="302600"/>
            </a:xfrm>
            <a:custGeom>
              <a:avLst/>
              <a:gdLst/>
              <a:ahLst/>
              <a:cxnLst/>
              <a:rect l="l" t="t" r="r" b="b"/>
              <a:pathLst>
                <a:path w="11089" h="12104" extrusionOk="0">
                  <a:moveTo>
                    <a:pt x="9501" y="1"/>
                  </a:moveTo>
                  <a:lnTo>
                    <a:pt x="1" y="9501"/>
                  </a:lnTo>
                  <a:cubicBezTo>
                    <a:pt x="537" y="10254"/>
                    <a:pt x="745" y="11194"/>
                    <a:pt x="576" y="12103"/>
                  </a:cubicBezTo>
                  <a:lnTo>
                    <a:pt x="11088" y="1591"/>
                  </a:lnTo>
                  <a:lnTo>
                    <a:pt x="95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7" name="Google Shape;6207;p70"/>
            <p:cNvSpPr/>
            <p:nvPr/>
          </p:nvSpPr>
          <p:spPr>
            <a:xfrm>
              <a:off x="1490050" y="4166500"/>
              <a:ext cx="129950" cy="121825"/>
            </a:xfrm>
            <a:custGeom>
              <a:avLst/>
              <a:gdLst/>
              <a:ahLst/>
              <a:cxnLst/>
              <a:rect l="l" t="t" r="r" b="b"/>
              <a:pathLst>
                <a:path w="5198" h="4873" extrusionOk="0">
                  <a:moveTo>
                    <a:pt x="2693" y="0"/>
                  </a:moveTo>
                  <a:cubicBezTo>
                    <a:pt x="2243" y="0"/>
                    <a:pt x="1790" y="133"/>
                    <a:pt x="1398" y="405"/>
                  </a:cubicBezTo>
                  <a:lnTo>
                    <a:pt x="1398" y="402"/>
                  </a:lnTo>
                  <a:lnTo>
                    <a:pt x="741" y="2446"/>
                  </a:lnTo>
                  <a:lnTo>
                    <a:pt x="139" y="4118"/>
                  </a:lnTo>
                  <a:cubicBezTo>
                    <a:pt x="0" y="4500"/>
                    <a:pt x="295" y="4872"/>
                    <a:pt x="664" y="4872"/>
                  </a:cubicBezTo>
                  <a:cubicBezTo>
                    <a:pt x="727" y="4872"/>
                    <a:pt x="793" y="4861"/>
                    <a:pt x="859" y="4837"/>
                  </a:cubicBezTo>
                  <a:lnTo>
                    <a:pt x="2530" y="4235"/>
                  </a:lnTo>
                  <a:lnTo>
                    <a:pt x="4574" y="3579"/>
                  </a:lnTo>
                  <a:cubicBezTo>
                    <a:pt x="5198" y="2672"/>
                    <a:pt x="5086" y="1450"/>
                    <a:pt x="4306" y="670"/>
                  </a:cubicBezTo>
                  <a:cubicBezTo>
                    <a:pt x="3866" y="228"/>
                    <a:pt x="3282" y="0"/>
                    <a:pt x="2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8" name="Google Shape;6208;p70"/>
          <p:cNvGrpSpPr/>
          <p:nvPr/>
        </p:nvGrpSpPr>
        <p:grpSpPr>
          <a:xfrm>
            <a:off x="5893896" y="3125970"/>
            <a:ext cx="311899" cy="339253"/>
            <a:chOff x="2104275" y="3806450"/>
            <a:chExt cx="442975" cy="481825"/>
          </a:xfrm>
        </p:grpSpPr>
        <p:sp>
          <p:nvSpPr>
            <p:cNvPr id="6209" name="Google Shape;6209;p70"/>
            <p:cNvSpPr/>
            <p:nvPr/>
          </p:nvSpPr>
          <p:spPr>
            <a:xfrm>
              <a:off x="2104275" y="3806450"/>
              <a:ext cx="442975" cy="481825"/>
            </a:xfrm>
            <a:custGeom>
              <a:avLst/>
              <a:gdLst/>
              <a:ahLst/>
              <a:cxnLst/>
              <a:rect l="l" t="t" r="r" b="b"/>
              <a:pathLst>
                <a:path w="17719" h="19273" extrusionOk="0">
                  <a:moveTo>
                    <a:pt x="8889" y="1130"/>
                  </a:moveTo>
                  <a:cubicBezTo>
                    <a:pt x="9660" y="1130"/>
                    <a:pt x="10482" y="2382"/>
                    <a:pt x="11039" y="4343"/>
                  </a:cubicBezTo>
                  <a:cubicBezTo>
                    <a:pt x="10308" y="4586"/>
                    <a:pt x="9594" y="4870"/>
                    <a:pt x="8895" y="5192"/>
                  </a:cubicBezTo>
                  <a:cubicBezTo>
                    <a:pt x="8194" y="4864"/>
                    <a:pt x="7474" y="4577"/>
                    <a:pt x="6742" y="4331"/>
                  </a:cubicBezTo>
                  <a:cubicBezTo>
                    <a:pt x="7302" y="2379"/>
                    <a:pt x="8121" y="1130"/>
                    <a:pt x="8889" y="1130"/>
                  </a:cubicBezTo>
                  <a:close/>
                  <a:moveTo>
                    <a:pt x="6471" y="5445"/>
                  </a:moveTo>
                  <a:cubicBezTo>
                    <a:pt x="6830" y="5565"/>
                    <a:pt x="7200" y="5704"/>
                    <a:pt x="7570" y="5854"/>
                  </a:cubicBezTo>
                  <a:cubicBezTo>
                    <a:pt x="6571" y="6393"/>
                    <a:pt x="6878" y="6243"/>
                    <a:pt x="6273" y="6616"/>
                  </a:cubicBezTo>
                  <a:cubicBezTo>
                    <a:pt x="6330" y="6210"/>
                    <a:pt x="6396" y="5815"/>
                    <a:pt x="6471" y="5445"/>
                  </a:cubicBezTo>
                  <a:close/>
                  <a:moveTo>
                    <a:pt x="11307" y="5445"/>
                  </a:moveTo>
                  <a:cubicBezTo>
                    <a:pt x="11386" y="5815"/>
                    <a:pt x="11449" y="6210"/>
                    <a:pt x="11506" y="6616"/>
                  </a:cubicBezTo>
                  <a:cubicBezTo>
                    <a:pt x="10895" y="6240"/>
                    <a:pt x="11220" y="6399"/>
                    <a:pt x="10208" y="5854"/>
                  </a:cubicBezTo>
                  <a:cubicBezTo>
                    <a:pt x="10582" y="5704"/>
                    <a:pt x="10949" y="5565"/>
                    <a:pt x="11307" y="5445"/>
                  </a:cubicBezTo>
                  <a:close/>
                  <a:moveTo>
                    <a:pt x="13999" y="4845"/>
                  </a:moveTo>
                  <a:cubicBezTo>
                    <a:pt x="14142" y="5686"/>
                    <a:pt x="14870" y="6249"/>
                    <a:pt x="15661" y="6249"/>
                  </a:cubicBezTo>
                  <a:cubicBezTo>
                    <a:pt x="15873" y="6249"/>
                    <a:pt x="16089" y="6209"/>
                    <a:pt x="16300" y="6122"/>
                  </a:cubicBezTo>
                  <a:lnTo>
                    <a:pt x="16300" y="6122"/>
                  </a:lnTo>
                  <a:cubicBezTo>
                    <a:pt x="16201" y="6676"/>
                    <a:pt x="15821" y="7384"/>
                    <a:pt x="15183" y="8158"/>
                  </a:cubicBezTo>
                  <a:cubicBezTo>
                    <a:pt x="14993" y="8390"/>
                    <a:pt x="14761" y="8625"/>
                    <a:pt x="14535" y="8856"/>
                  </a:cubicBezTo>
                  <a:cubicBezTo>
                    <a:pt x="13963" y="8345"/>
                    <a:pt x="13361" y="7866"/>
                    <a:pt x="12735" y="7423"/>
                  </a:cubicBezTo>
                  <a:cubicBezTo>
                    <a:pt x="12662" y="6652"/>
                    <a:pt x="12551" y="5884"/>
                    <a:pt x="12394" y="5125"/>
                  </a:cubicBezTo>
                  <a:cubicBezTo>
                    <a:pt x="12921" y="4990"/>
                    <a:pt x="13457" y="4897"/>
                    <a:pt x="13999" y="4845"/>
                  </a:cubicBezTo>
                  <a:close/>
                  <a:moveTo>
                    <a:pt x="3779" y="4845"/>
                  </a:moveTo>
                  <a:cubicBezTo>
                    <a:pt x="4321" y="4897"/>
                    <a:pt x="4857" y="4990"/>
                    <a:pt x="5384" y="5129"/>
                  </a:cubicBezTo>
                  <a:cubicBezTo>
                    <a:pt x="5231" y="5887"/>
                    <a:pt x="5116" y="6652"/>
                    <a:pt x="5047" y="7423"/>
                  </a:cubicBezTo>
                  <a:cubicBezTo>
                    <a:pt x="4421" y="7869"/>
                    <a:pt x="3818" y="8348"/>
                    <a:pt x="3246" y="8859"/>
                  </a:cubicBezTo>
                  <a:cubicBezTo>
                    <a:pt x="3020" y="8625"/>
                    <a:pt x="2789" y="8393"/>
                    <a:pt x="2599" y="8161"/>
                  </a:cubicBezTo>
                  <a:cubicBezTo>
                    <a:pt x="1963" y="7387"/>
                    <a:pt x="1584" y="6685"/>
                    <a:pt x="1485" y="6125"/>
                  </a:cubicBezTo>
                  <a:lnTo>
                    <a:pt x="1485" y="6125"/>
                  </a:lnTo>
                  <a:cubicBezTo>
                    <a:pt x="1683" y="6207"/>
                    <a:pt x="1897" y="6249"/>
                    <a:pt x="2114" y="6249"/>
                  </a:cubicBezTo>
                  <a:cubicBezTo>
                    <a:pt x="2936" y="6246"/>
                    <a:pt x="3638" y="5655"/>
                    <a:pt x="3779" y="4845"/>
                  </a:cubicBezTo>
                  <a:close/>
                  <a:moveTo>
                    <a:pt x="4951" y="8893"/>
                  </a:moveTo>
                  <a:lnTo>
                    <a:pt x="4951" y="8893"/>
                  </a:lnTo>
                  <a:cubicBezTo>
                    <a:pt x="4945" y="9143"/>
                    <a:pt x="4939" y="9389"/>
                    <a:pt x="4939" y="9636"/>
                  </a:cubicBezTo>
                  <a:cubicBezTo>
                    <a:pt x="4939" y="9882"/>
                    <a:pt x="4945" y="10128"/>
                    <a:pt x="4951" y="10377"/>
                  </a:cubicBezTo>
                  <a:lnTo>
                    <a:pt x="4951" y="10377"/>
                  </a:lnTo>
                  <a:cubicBezTo>
                    <a:pt x="4637" y="10133"/>
                    <a:pt x="4348" y="9886"/>
                    <a:pt x="4065" y="9636"/>
                  </a:cubicBezTo>
                  <a:cubicBezTo>
                    <a:pt x="4348" y="9386"/>
                    <a:pt x="4637" y="9139"/>
                    <a:pt x="4951" y="8893"/>
                  </a:cubicBezTo>
                  <a:close/>
                  <a:moveTo>
                    <a:pt x="12828" y="8896"/>
                  </a:moveTo>
                  <a:lnTo>
                    <a:pt x="12828" y="8896"/>
                  </a:lnTo>
                  <a:cubicBezTo>
                    <a:pt x="13144" y="9139"/>
                    <a:pt x="13430" y="9386"/>
                    <a:pt x="13713" y="9636"/>
                  </a:cubicBezTo>
                  <a:cubicBezTo>
                    <a:pt x="13433" y="9886"/>
                    <a:pt x="13144" y="10133"/>
                    <a:pt x="12828" y="10380"/>
                  </a:cubicBezTo>
                  <a:cubicBezTo>
                    <a:pt x="12837" y="10130"/>
                    <a:pt x="12843" y="9883"/>
                    <a:pt x="12843" y="9636"/>
                  </a:cubicBezTo>
                  <a:cubicBezTo>
                    <a:pt x="12843" y="9389"/>
                    <a:pt x="12837" y="9143"/>
                    <a:pt x="12828" y="8896"/>
                  </a:cubicBezTo>
                  <a:close/>
                  <a:moveTo>
                    <a:pt x="8889" y="6447"/>
                  </a:moveTo>
                  <a:cubicBezTo>
                    <a:pt x="9850" y="6908"/>
                    <a:pt x="10774" y="7441"/>
                    <a:pt x="11657" y="8040"/>
                  </a:cubicBezTo>
                  <a:cubicBezTo>
                    <a:pt x="11693" y="8555"/>
                    <a:pt x="11714" y="9088"/>
                    <a:pt x="11714" y="9636"/>
                  </a:cubicBezTo>
                  <a:cubicBezTo>
                    <a:pt x="11714" y="10187"/>
                    <a:pt x="11693" y="10717"/>
                    <a:pt x="11657" y="11232"/>
                  </a:cubicBezTo>
                  <a:cubicBezTo>
                    <a:pt x="10774" y="11832"/>
                    <a:pt x="9853" y="12365"/>
                    <a:pt x="8895" y="12828"/>
                  </a:cubicBezTo>
                  <a:cubicBezTo>
                    <a:pt x="7932" y="12368"/>
                    <a:pt x="7007" y="11832"/>
                    <a:pt x="6125" y="11232"/>
                  </a:cubicBezTo>
                  <a:cubicBezTo>
                    <a:pt x="6086" y="10717"/>
                    <a:pt x="6068" y="10187"/>
                    <a:pt x="6068" y="9636"/>
                  </a:cubicBezTo>
                  <a:cubicBezTo>
                    <a:pt x="6068" y="9088"/>
                    <a:pt x="6089" y="8555"/>
                    <a:pt x="6125" y="8040"/>
                  </a:cubicBezTo>
                  <a:cubicBezTo>
                    <a:pt x="7004" y="7441"/>
                    <a:pt x="7929" y="6908"/>
                    <a:pt x="8889" y="6447"/>
                  </a:cubicBezTo>
                  <a:close/>
                  <a:moveTo>
                    <a:pt x="6273" y="12657"/>
                  </a:moveTo>
                  <a:lnTo>
                    <a:pt x="6273" y="12657"/>
                  </a:lnTo>
                  <a:cubicBezTo>
                    <a:pt x="6878" y="13033"/>
                    <a:pt x="6571" y="12879"/>
                    <a:pt x="7570" y="13418"/>
                  </a:cubicBezTo>
                  <a:cubicBezTo>
                    <a:pt x="7194" y="13569"/>
                    <a:pt x="6827" y="13708"/>
                    <a:pt x="6471" y="13828"/>
                  </a:cubicBezTo>
                  <a:cubicBezTo>
                    <a:pt x="6393" y="13455"/>
                    <a:pt x="6330" y="13063"/>
                    <a:pt x="6273" y="12657"/>
                  </a:cubicBezTo>
                  <a:close/>
                  <a:moveTo>
                    <a:pt x="11506" y="12657"/>
                  </a:moveTo>
                  <a:cubicBezTo>
                    <a:pt x="11449" y="13063"/>
                    <a:pt x="11386" y="13458"/>
                    <a:pt x="11307" y="13828"/>
                  </a:cubicBezTo>
                  <a:cubicBezTo>
                    <a:pt x="10949" y="13711"/>
                    <a:pt x="10582" y="13569"/>
                    <a:pt x="10208" y="13418"/>
                  </a:cubicBezTo>
                  <a:cubicBezTo>
                    <a:pt x="11181" y="12898"/>
                    <a:pt x="10937" y="13009"/>
                    <a:pt x="11506" y="12657"/>
                  </a:cubicBezTo>
                  <a:close/>
                  <a:moveTo>
                    <a:pt x="14535" y="10416"/>
                  </a:moveTo>
                  <a:cubicBezTo>
                    <a:pt x="14761" y="10648"/>
                    <a:pt x="14993" y="10883"/>
                    <a:pt x="15183" y="11115"/>
                  </a:cubicBezTo>
                  <a:cubicBezTo>
                    <a:pt x="15818" y="11886"/>
                    <a:pt x="16198" y="12590"/>
                    <a:pt x="16294" y="13147"/>
                  </a:cubicBezTo>
                  <a:cubicBezTo>
                    <a:pt x="16095" y="13066"/>
                    <a:pt x="15881" y="13024"/>
                    <a:pt x="15665" y="13024"/>
                  </a:cubicBezTo>
                  <a:cubicBezTo>
                    <a:pt x="14843" y="13024"/>
                    <a:pt x="14141" y="13617"/>
                    <a:pt x="13999" y="14424"/>
                  </a:cubicBezTo>
                  <a:cubicBezTo>
                    <a:pt x="13457" y="14376"/>
                    <a:pt x="12921" y="14280"/>
                    <a:pt x="12394" y="14144"/>
                  </a:cubicBezTo>
                  <a:cubicBezTo>
                    <a:pt x="12551" y="13385"/>
                    <a:pt x="12662" y="12620"/>
                    <a:pt x="12735" y="11850"/>
                  </a:cubicBezTo>
                  <a:cubicBezTo>
                    <a:pt x="13361" y="11407"/>
                    <a:pt x="13963" y="10928"/>
                    <a:pt x="14535" y="10416"/>
                  </a:cubicBezTo>
                  <a:close/>
                  <a:moveTo>
                    <a:pt x="3243" y="10416"/>
                  </a:moveTo>
                  <a:cubicBezTo>
                    <a:pt x="3815" y="10928"/>
                    <a:pt x="4418" y="11407"/>
                    <a:pt x="5044" y="11850"/>
                  </a:cubicBezTo>
                  <a:cubicBezTo>
                    <a:pt x="5116" y="12620"/>
                    <a:pt x="5228" y="13385"/>
                    <a:pt x="5384" y="14144"/>
                  </a:cubicBezTo>
                  <a:cubicBezTo>
                    <a:pt x="4554" y="14353"/>
                    <a:pt x="3815" y="14456"/>
                    <a:pt x="3207" y="14456"/>
                  </a:cubicBezTo>
                  <a:cubicBezTo>
                    <a:pt x="2366" y="14456"/>
                    <a:pt x="1778" y="14258"/>
                    <a:pt x="1554" y="13870"/>
                  </a:cubicBezTo>
                  <a:cubicBezTo>
                    <a:pt x="1238" y="13322"/>
                    <a:pt x="1626" y="12292"/>
                    <a:pt x="2596" y="11115"/>
                  </a:cubicBezTo>
                  <a:cubicBezTo>
                    <a:pt x="2786" y="10883"/>
                    <a:pt x="3020" y="10648"/>
                    <a:pt x="3243" y="10416"/>
                  </a:cubicBezTo>
                  <a:close/>
                  <a:moveTo>
                    <a:pt x="8889" y="14081"/>
                  </a:moveTo>
                  <a:cubicBezTo>
                    <a:pt x="9588" y="14403"/>
                    <a:pt x="10308" y="14689"/>
                    <a:pt x="11039" y="14933"/>
                  </a:cubicBezTo>
                  <a:cubicBezTo>
                    <a:pt x="10482" y="16890"/>
                    <a:pt x="9660" y="18143"/>
                    <a:pt x="8889" y="18143"/>
                  </a:cubicBezTo>
                  <a:cubicBezTo>
                    <a:pt x="8118" y="18143"/>
                    <a:pt x="7296" y="16887"/>
                    <a:pt x="6739" y="14924"/>
                  </a:cubicBezTo>
                  <a:cubicBezTo>
                    <a:pt x="7471" y="14683"/>
                    <a:pt x="8188" y="14400"/>
                    <a:pt x="8889" y="14081"/>
                  </a:cubicBezTo>
                  <a:close/>
                  <a:moveTo>
                    <a:pt x="8889" y="0"/>
                  </a:moveTo>
                  <a:cubicBezTo>
                    <a:pt x="7396" y="0"/>
                    <a:pt x="6312" y="1708"/>
                    <a:pt x="5658" y="4014"/>
                  </a:cubicBezTo>
                  <a:cubicBezTo>
                    <a:pt x="4902" y="3825"/>
                    <a:pt x="4201" y="3719"/>
                    <a:pt x="3568" y="3698"/>
                  </a:cubicBezTo>
                  <a:cubicBezTo>
                    <a:pt x="3260" y="3171"/>
                    <a:pt x="2700" y="2861"/>
                    <a:pt x="2111" y="2861"/>
                  </a:cubicBezTo>
                  <a:cubicBezTo>
                    <a:pt x="1963" y="2861"/>
                    <a:pt x="1813" y="2881"/>
                    <a:pt x="1665" y="2921"/>
                  </a:cubicBezTo>
                  <a:cubicBezTo>
                    <a:pt x="928" y="3123"/>
                    <a:pt x="419" y="3792"/>
                    <a:pt x="422" y="4556"/>
                  </a:cubicBezTo>
                  <a:cubicBezTo>
                    <a:pt x="422" y="4716"/>
                    <a:pt x="449" y="4876"/>
                    <a:pt x="497" y="5026"/>
                  </a:cubicBezTo>
                  <a:cubicBezTo>
                    <a:pt x="63" y="6017"/>
                    <a:pt x="485" y="7372"/>
                    <a:pt x="1726" y="8878"/>
                  </a:cubicBezTo>
                  <a:cubicBezTo>
                    <a:pt x="1933" y="9130"/>
                    <a:pt x="2183" y="9383"/>
                    <a:pt x="2430" y="9636"/>
                  </a:cubicBezTo>
                  <a:cubicBezTo>
                    <a:pt x="2183" y="9892"/>
                    <a:pt x="1933" y="10145"/>
                    <a:pt x="1726" y="10398"/>
                  </a:cubicBezTo>
                  <a:cubicBezTo>
                    <a:pt x="407" y="12000"/>
                    <a:pt x="0" y="13434"/>
                    <a:pt x="578" y="14436"/>
                  </a:cubicBezTo>
                  <a:cubicBezTo>
                    <a:pt x="1045" y="15246"/>
                    <a:pt x="2003" y="15593"/>
                    <a:pt x="3225" y="15593"/>
                  </a:cubicBezTo>
                  <a:cubicBezTo>
                    <a:pt x="3954" y="15593"/>
                    <a:pt x="4782" y="15460"/>
                    <a:pt x="5652" y="15240"/>
                  </a:cubicBezTo>
                  <a:cubicBezTo>
                    <a:pt x="6306" y="17556"/>
                    <a:pt x="7396" y="19272"/>
                    <a:pt x="8889" y="19272"/>
                  </a:cubicBezTo>
                  <a:cubicBezTo>
                    <a:pt x="10383" y="19272"/>
                    <a:pt x="11473" y="17559"/>
                    <a:pt x="12126" y="15246"/>
                  </a:cubicBezTo>
                  <a:cubicBezTo>
                    <a:pt x="12810" y="15424"/>
                    <a:pt x="13509" y="15532"/>
                    <a:pt x="14210" y="15572"/>
                  </a:cubicBezTo>
                  <a:cubicBezTo>
                    <a:pt x="14519" y="16101"/>
                    <a:pt x="15083" y="16413"/>
                    <a:pt x="15674" y="16413"/>
                  </a:cubicBezTo>
                  <a:cubicBezTo>
                    <a:pt x="15820" y="16413"/>
                    <a:pt x="15968" y="16394"/>
                    <a:pt x="16113" y="16354"/>
                  </a:cubicBezTo>
                  <a:cubicBezTo>
                    <a:pt x="16851" y="16153"/>
                    <a:pt x="17363" y="15484"/>
                    <a:pt x="17360" y="14719"/>
                  </a:cubicBezTo>
                  <a:cubicBezTo>
                    <a:pt x="17357" y="14560"/>
                    <a:pt x="17333" y="14400"/>
                    <a:pt x="17285" y="14247"/>
                  </a:cubicBezTo>
                  <a:cubicBezTo>
                    <a:pt x="17718" y="13256"/>
                    <a:pt x="17297" y="11904"/>
                    <a:pt x="16056" y="10398"/>
                  </a:cubicBezTo>
                  <a:cubicBezTo>
                    <a:pt x="15848" y="10142"/>
                    <a:pt x="15595" y="9889"/>
                    <a:pt x="15351" y="9636"/>
                  </a:cubicBezTo>
                  <a:cubicBezTo>
                    <a:pt x="15595" y="9383"/>
                    <a:pt x="15848" y="9130"/>
                    <a:pt x="16056" y="8878"/>
                  </a:cubicBezTo>
                  <a:cubicBezTo>
                    <a:pt x="17261" y="7414"/>
                    <a:pt x="17694" y="6095"/>
                    <a:pt x="17279" y="5044"/>
                  </a:cubicBezTo>
                  <a:cubicBezTo>
                    <a:pt x="17330" y="4885"/>
                    <a:pt x="17357" y="4722"/>
                    <a:pt x="17360" y="4556"/>
                  </a:cubicBezTo>
                  <a:cubicBezTo>
                    <a:pt x="17363" y="3792"/>
                    <a:pt x="16851" y="3120"/>
                    <a:pt x="16113" y="2918"/>
                  </a:cubicBezTo>
                  <a:cubicBezTo>
                    <a:pt x="15967" y="2879"/>
                    <a:pt x="15819" y="2860"/>
                    <a:pt x="15673" y="2860"/>
                  </a:cubicBezTo>
                  <a:cubicBezTo>
                    <a:pt x="15080" y="2860"/>
                    <a:pt x="14517" y="3173"/>
                    <a:pt x="14210" y="3704"/>
                  </a:cubicBezTo>
                  <a:cubicBezTo>
                    <a:pt x="13506" y="3743"/>
                    <a:pt x="12810" y="3852"/>
                    <a:pt x="12126" y="4029"/>
                  </a:cubicBezTo>
                  <a:cubicBezTo>
                    <a:pt x="11473" y="1714"/>
                    <a:pt x="10383" y="0"/>
                    <a:pt x="88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0" name="Google Shape;6210;p70"/>
            <p:cNvSpPr/>
            <p:nvPr/>
          </p:nvSpPr>
          <p:spPr>
            <a:xfrm>
              <a:off x="2284200" y="4005050"/>
              <a:ext cx="84700" cy="84700"/>
            </a:xfrm>
            <a:custGeom>
              <a:avLst/>
              <a:gdLst/>
              <a:ahLst/>
              <a:cxnLst/>
              <a:rect l="l" t="t" r="r" b="b"/>
              <a:pathLst>
                <a:path w="3388" h="3388" extrusionOk="0">
                  <a:moveTo>
                    <a:pt x="1692" y="0"/>
                  </a:moveTo>
                  <a:cubicBezTo>
                    <a:pt x="756" y="0"/>
                    <a:pt x="0" y="756"/>
                    <a:pt x="0" y="1692"/>
                  </a:cubicBezTo>
                  <a:cubicBezTo>
                    <a:pt x="0" y="2629"/>
                    <a:pt x="756" y="3388"/>
                    <a:pt x="1692" y="3388"/>
                  </a:cubicBezTo>
                  <a:cubicBezTo>
                    <a:pt x="2629" y="3388"/>
                    <a:pt x="3388" y="2629"/>
                    <a:pt x="3388" y="1692"/>
                  </a:cubicBezTo>
                  <a:cubicBezTo>
                    <a:pt x="3388" y="756"/>
                    <a:pt x="2629" y="0"/>
                    <a:pt x="1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1" name="Google Shape;6211;p70"/>
          <p:cNvGrpSpPr/>
          <p:nvPr/>
        </p:nvGrpSpPr>
        <p:grpSpPr>
          <a:xfrm>
            <a:off x="6317413" y="3125970"/>
            <a:ext cx="293416" cy="339253"/>
            <a:chOff x="2710875" y="3806450"/>
            <a:chExt cx="416725" cy="481825"/>
          </a:xfrm>
        </p:grpSpPr>
        <p:sp>
          <p:nvSpPr>
            <p:cNvPr id="6212" name="Google Shape;6212;p70"/>
            <p:cNvSpPr/>
            <p:nvPr/>
          </p:nvSpPr>
          <p:spPr>
            <a:xfrm>
              <a:off x="2710875" y="4144450"/>
              <a:ext cx="416725" cy="143825"/>
            </a:xfrm>
            <a:custGeom>
              <a:avLst/>
              <a:gdLst/>
              <a:ahLst/>
              <a:cxnLst/>
              <a:rect l="l" t="t" r="r" b="b"/>
              <a:pathLst>
                <a:path w="16669" h="5753" extrusionOk="0">
                  <a:moveTo>
                    <a:pt x="2313" y="1"/>
                  </a:moveTo>
                  <a:lnTo>
                    <a:pt x="260" y="3590"/>
                  </a:lnTo>
                  <a:cubicBezTo>
                    <a:pt x="1" y="4039"/>
                    <a:pt x="1" y="4590"/>
                    <a:pt x="266" y="5036"/>
                  </a:cubicBezTo>
                  <a:cubicBezTo>
                    <a:pt x="517" y="5479"/>
                    <a:pt x="986" y="5752"/>
                    <a:pt x="1495" y="5752"/>
                  </a:cubicBezTo>
                  <a:cubicBezTo>
                    <a:pt x="1498" y="5752"/>
                    <a:pt x="1501" y="5752"/>
                    <a:pt x="1503" y="5752"/>
                  </a:cubicBezTo>
                  <a:lnTo>
                    <a:pt x="15165" y="5752"/>
                  </a:lnTo>
                  <a:cubicBezTo>
                    <a:pt x="15168" y="5752"/>
                    <a:pt x="15171" y="5752"/>
                    <a:pt x="15174" y="5752"/>
                  </a:cubicBezTo>
                  <a:cubicBezTo>
                    <a:pt x="15682" y="5752"/>
                    <a:pt x="16151" y="5479"/>
                    <a:pt x="16403" y="5036"/>
                  </a:cubicBezTo>
                  <a:cubicBezTo>
                    <a:pt x="16668" y="4590"/>
                    <a:pt x="16668" y="4039"/>
                    <a:pt x="16409" y="3590"/>
                  </a:cubicBezTo>
                  <a:lnTo>
                    <a:pt x="143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3" name="Google Shape;6213;p70"/>
            <p:cNvSpPr/>
            <p:nvPr/>
          </p:nvSpPr>
          <p:spPr>
            <a:xfrm>
              <a:off x="2784800" y="3806450"/>
              <a:ext cx="268850" cy="309800"/>
            </a:xfrm>
            <a:custGeom>
              <a:avLst/>
              <a:gdLst/>
              <a:ahLst/>
              <a:cxnLst/>
              <a:rect l="l" t="t" r="r" b="b"/>
              <a:pathLst>
                <a:path w="10754" h="12392" extrusionOk="0">
                  <a:moveTo>
                    <a:pt x="5379" y="8113"/>
                  </a:moveTo>
                  <a:cubicBezTo>
                    <a:pt x="5882" y="8113"/>
                    <a:pt x="6132" y="8721"/>
                    <a:pt x="5776" y="9076"/>
                  </a:cubicBezTo>
                  <a:cubicBezTo>
                    <a:pt x="5661" y="9192"/>
                    <a:pt x="5519" y="9244"/>
                    <a:pt x="5380" y="9244"/>
                  </a:cubicBezTo>
                  <a:cubicBezTo>
                    <a:pt x="5091" y="9244"/>
                    <a:pt x="4813" y="9019"/>
                    <a:pt x="4813" y="8679"/>
                  </a:cubicBezTo>
                  <a:cubicBezTo>
                    <a:pt x="4813" y="8366"/>
                    <a:pt x="5066" y="8113"/>
                    <a:pt x="5379" y="8113"/>
                  </a:cubicBezTo>
                  <a:close/>
                  <a:moveTo>
                    <a:pt x="4280" y="9989"/>
                  </a:moveTo>
                  <a:cubicBezTo>
                    <a:pt x="4783" y="9989"/>
                    <a:pt x="5036" y="10597"/>
                    <a:pt x="4680" y="10952"/>
                  </a:cubicBezTo>
                  <a:cubicBezTo>
                    <a:pt x="4566" y="11067"/>
                    <a:pt x="4425" y="11118"/>
                    <a:pt x="4286" y="11118"/>
                  </a:cubicBezTo>
                  <a:cubicBezTo>
                    <a:pt x="3996" y="11118"/>
                    <a:pt x="3717" y="10892"/>
                    <a:pt x="3717" y="10552"/>
                  </a:cubicBezTo>
                  <a:cubicBezTo>
                    <a:pt x="3717" y="10242"/>
                    <a:pt x="3970" y="9989"/>
                    <a:pt x="4280" y="9989"/>
                  </a:cubicBezTo>
                  <a:close/>
                  <a:moveTo>
                    <a:pt x="6475" y="9989"/>
                  </a:moveTo>
                  <a:cubicBezTo>
                    <a:pt x="6978" y="9989"/>
                    <a:pt x="7231" y="10597"/>
                    <a:pt x="6875" y="10952"/>
                  </a:cubicBezTo>
                  <a:cubicBezTo>
                    <a:pt x="6761" y="11067"/>
                    <a:pt x="6620" y="11118"/>
                    <a:pt x="6481" y="11118"/>
                  </a:cubicBezTo>
                  <a:cubicBezTo>
                    <a:pt x="6191" y="11118"/>
                    <a:pt x="5912" y="10892"/>
                    <a:pt x="5912" y="10552"/>
                  </a:cubicBezTo>
                  <a:cubicBezTo>
                    <a:pt x="5912" y="10242"/>
                    <a:pt x="6162" y="9989"/>
                    <a:pt x="6475" y="9989"/>
                  </a:cubicBezTo>
                  <a:close/>
                  <a:moveTo>
                    <a:pt x="1744" y="0"/>
                  </a:moveTo>
                  <a:cubicBezTo>
                    <a:pt x="1434" y="0"/>
                    <a:pt x="1181" y="253"/>
                    <a:pt x="1181" y="566"/>
                  </a:cubicBezTo>
                  <a:cubicBezTo>
                    <a:pt x="1181" y="877"/>
                    <a:pt x="1434" y="1130"/>
                    <a:pt x="1744" y="1130"/>
                  </a:cubicBezTo>
                  <a:lnTo>
                    <a:pt x="2259" y="1130"/>
                  </a:lnTo>
                  <a:lnTo>
                    <a:pt x="2259" y="8444"/>
                  </a:lnTo>
                  <a:lnTo>
                    <a:pt x="1" y="12392"/>
                  </a:lnTo>
                  <a:lnTo>
                    <a:pt x="10754" y="12392"/>
                  </a:lnTo>
                  <a:lnTo>
                    <a:pt x="8496" y="8444"/>
                  </a:lnTo>
                  <a:lnTo>
                    <a:pt x="8496" y="1130"/>
                  </a:lnTo>
                  <a:lnTo>
                    <a:pt x="9010" y="1130"/>
                  </a:lnTo>
                  <a:cubicBezTo>
                    <a:pt x="9321" y="1130"/>
                    <a:pt x="9574" y="877"/>
                    <a:pt x="9574" y="566"/>
                  </a:cubicBezTo>
                  <a:cubicBezTo>
                    <a:pt x="9574" y="253"/>
                    <a:pt x="9321" y="0"/>
                    <a:pt x="90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4" name="Google Shape;6214;p70"/>
          <p:cNvGrpSpPr/>
          <p:nvPr/>
        </p:nvGrpSpPr>
        <p:grpSpPr>
          <a:xfrm>
            <a:off x="6712457" y="3166412"/>
            <a:ext cx="339253" cy="258369"/>
            <a:chOff x="3271200" y="3863875"/>
            <a:chExt cx="481825" cy="366950"/>
          </a:xfrm>
        </p:grpSpPr>
        <p:sp>
          <p:nvSpPr>
            <p:cNvPr id="6215" name="Google Shape;6215;p70"/>
            <p:cNvSpPr/>
            <p:nvPr/>
          </p:nvSpPr>
          <p:spPr>
            <a:xfrm>
              <a:off x="3271200" y="3920350"/>
              <a:ext cx="283225" cy="310475"/>
            </a:xfrm>
            <a:custGeom>
              <a:avLst/>
              <a:gdLst/>
              <a:ahLst/>
              <a:cxnLst/>
              <a:rect l="l" t="t" r="r" b="b"/>
              <a:pathLst>
                <a:path w="11329" h="12419" extrusionOk="0">
                  <a:moveTo>
                    <a:pt x="1693" y="0"/>
                  </a:moveTo>
                  <a:cubicBezTo>
                    <a:pt x="756" y="0"/>
                    <a:pt x="0" y="756"/>
                    <a:pt x="0" y="1693"/>
                  </a:cubicBezTo>
                  <a:lnTo>
                    <a:pt x="0" y="8468"/>
                  </a:lnTo>
                  <a:cubicBezTo>
                    <a:pt x="0" y="9405"/>
                    <a:pt x="756" y="10160"/>
                    <a:pt x="1693" y="10163"/>
                  </a:cubicBezTo>
                  <a:lnTo>
                    <a:pt x="2861" y="10163"/>
                  </a:lnTo>
                  <a:cubicBezTo>
                    <a:pt x="2861" y="11410"/>
                    <a:pt x="3870" y="12419"/>
                    <a:pt x="5120" y="12419"/>
                  </a:cubicBezTo>
                  <a:cubicBezTo>
                    <a:pt x="6366" y="12419"/>
                    <a:pt x="7378" y="11410"/>
                    <a:pt x="7378" y="10163"/>
                  </a:cubicBezTo>
                  <a:lnTo>
                    <a:pt x="9070" y="10163"/>
                  </a:lnTo>
                  <a:lnTo>
                    <a:pt x="9070" y="6679"/>
                  </a:lnTo>
                  <a:cubicBezTo>
                    <a:pt x="9070" y="6356"/>
                    <a:pt x="9350" y="6116"/>
                    <a:pt x="9645" y="6116"/>
                  </a:cubicBezTo>
                  <a:cubicBezTo>
                    <a:pt x="9705" y="6116"/>
                    <a:pt x="9765" y="6126"/>
                    <a:pt x="9823" y="6146"/>
                  </a:cubicBezTo>
                  <a:cubicBezTo>
                    <a:pt x="9938" y="6187"/>
                    <a:pt x="10055" y="6206"/>
                    <a:pt x="10172" y="6206"/>
                  </a:cubicBezTo>
                  <a:cubicBezTo>
                    <a:pt x="10766" y="6206"/>
                    <a:pt x="11329" y="5708"/>
                    <a:pt x="11329" y="5080"/>
                  </a:cubicBezTo>
                  <a:cubicBezTo>
                    <a:pt x="11329" y="4453"/>
                    <a:pt x="10766" y="3954"/>
                    <a:pt x="10172" y="3954"/>
                  </a:cubicBezTo>
                  <a:cubicBezTo>
                    <a:pt x="10055" y="3954"/>
                    <a:pt x="9938" y="3974"/>
                    <a:pt x="9823" y="4014"/>
                  </a:cubicBezTo>
                  <a:cubicBezTo>
                    <a:pt x="9759" y="4037"/>
                    <a:pt x="9695" y="4048"/>
                    <a:pt x="9632" y="4048"/>
                  </a:cubicBezTo>
                  <a:cubicBezTo>
                    <a:pt x="9333" y="4048"/>
                    <a:pt x="9070" y="3805"/>
                    <a:pt x="9070" y="3484"/>
                  </a:cubicBezTo>
                  <a:lnTo>
                    <a:pt x="9070" y="0"/>
                  </a:lnTo>
                  <a:lnTo>
                    <a:pt x="6381" y="0"/>
                  </a:lnTo>
                  <a:cubicBezTo>
                    <a:pt x="5894" y="0"/>
                    <a:pt x="5635" y="576"/>
                    <a:pt x="5960" y="940"/>
                  </a:cubicBezTo>
                  <a:cubicBezTo>
                    <a:pt x="6610" y="1669"/>
                    <a:pt x="6095" y="2822"/>
                    <a:pt x="5120" y="2822"/>
                  </a:cubicBezTo>
                  <a:cubicBezTo>
                    <a:pt x="4141" y="2822"/>
                    <a:pt x="3626" y="1669"/>
                    <a:pt x="4276" y="940"/>
                  </a:cubicBezTo>
                  <a:cubicBezTo>
                    <a:pt x="4602" y="576"/>
                    <a:pt x="4343" y="0"/>
                    <a:pt x="3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6" name="Google Shape;6216;p70"/>
            <p:cNvSpPr/>
            <p:nvPr/>
          </p:nvSpPr>
          <p:spPr>
            <a:xfrm>
              <a:off x="3526175" y="3863875"/>
              <a:ext cx="226850" cy="310575"/>
            </a:xfrm>
            <a:custGeom>
              <a:avLst/>
              <a:gdLst/>
              <a:ahLst/>
              <a:cxnLst/>
              <a:rect l="l" t="t" r="r" b="b"/>
              <a:pathLst>
                <a:path w="9074" h="12423" extrusionOk="0">
                  <a:moveTo>
                    <a:pt x="3954" y="1"/>
                  </a:moveTo>
                  <a:cubicBezTo>
                    <a:pt x="2705" y="1"/>
                    <a:pt x="1696" y="1010"/>
                    <a:pt x="1696" y="2259"/>
                  </a:cubicBezTo>
                  <a:lnTo>
                    <a:pt x="1" y="2259"/>
                  </a:lnTo>
                  <a:lnTo>
                    <a:pt x="1" y="5081"/>
                  </a:lnTo>
                  <a:cubicBezTo>
                    <a:pt x="1247" y="5081"/>
                    <a:pt x="2259" y="6093"/>
                    <a:pt x="2259" y="7339"/>
                  </a:cubicBezTo>
                  <a:cubicBezTo>
                    <a:pt x="2259" y="8586"/>
                    <a:pt x="1247" y="9598"/>
                    <a:pt x="1" y="9598"/>
                  </a:cubicBezTo>
                  <a:lnTo>
                    <a:pt x="1" y="12422"/>
                  </a:lnTo>
                  <a:lnTo>
                    <a:pt x="7378" y="12422"/>
                  </a:lnTo>
                  <a:cubicBezTo>
                    <a:pt x="8315" y="12419"/>
                    <a:pt x="9070" y="11664"/>
                    <a:pt x="9073" y="10727"/>
                  </a:cubicBezTo>
                  <a:lnTo>
                    <a:pt x="9073" y="3952"/>
                  </a:lnTo>
                  <a:cubicBezTo>
                    <a:pt x="9070" y="3015"/>
                    <a:pt x="8315" y="2259"/>
                    <a:pt x="7378" y="2259"/>
                  </a:cubicBezTo>
                  <a:lnTo>
                    <a:pt x="6213" y="2259"/>
                  </a:lnTo>
                  <a:cubicBezTo>
                    <a:pt x="6213" y="1010"/>
                    <a:pt x="5201" y="1"/>
                    <a:pt x="3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7" name="Google Shape;6217;p70"/>
          <p:cNvGrpSpPr/>
          <p:nvPr/>
        </p:nvGrpSpPr>
        <p:grpSpPr>
          <a:xfrm>
            <a:off x="7147952" y="3126199"/>
            <a:ext cx="295528" cy="338795"/>
            <a:chOff x="3895050" y="3806775"/>
            <a:chExt cx="419725" cy="481175"/>
          </a:xfrm>
        </p:grpSpPr>
        <p:sp>
          <p:nvSpPr>
            <p:cNvPr id="6218" name="Google Shape;6218;p70"/>
            <p:cNvSpPr/>
            <p:nvPr/>
          </p:nvSpPr>
          <p:spPr>
            <a:xfrm>
              <a:off x="3895050" y="3942650"/>
              <a:ext cx="419725" cy="345300"/>
            </a:xfrm>
            <a:custGeom>
              <a:avLst/>
              <a:gdLst/>
              <a:ahLst/>
              <a:cxnLst/>
              <a:rect l="l" t="t" r="r" b="b"/>
              <a:pathLst>
                <a:path w="16789" h="13812" extrusionOk="0">
                  <a:moveTo>
                    <a:pt x="4448" y="1"/>
                  </a:moveTo>
                  <a:cubicBezTo>
                    <a:pt x="4233" y="1"/>
                    <a:pt x="4016" y="18"/>
                    <a:pt x="3801" y="54"/>
                  </a:cubicBezTo>
                  <a:cubicBezTo>
                    <a:pt x="1545" y="418"/>
                    <a:pt x="1" y="2604"/>
                    <a:pt x="356" y="4929"/>
                  </a:cubicBezTo>
                  <a:cubicBezTo>
                    <a:pt x="994" y="9100"/>
                    <a:pt x="2205" y="11942"/>
                    <a:pt x="3858" y="13147"/>
                  </a:cubicBezTo>
                  <a:cubicBezTo>
                    <a:pt x="4470" y="13592"/>
                    <a:pt x="5129" y="13811"/>
                    <a:pt x="5863" y="13811"/>
                  </a:cubicBezTo>
                  <a:cubicBezTo>
                    <a:pt x="6071" y="13811"/>
                    <a:pt x="6286" y="13793"/>
                    <a:pt x="6508" y="13758"/>
                  </a:cubicBezTo>
                  <a:cubicBezTo>
                    <a:pt x="7125" y="13659"/>
                    <a:pt x="7610" y="13406"/>
                    <a:pt x="7999" y="12987"/>
                  </a:cubicBezTo>
                  <a:lnTo>
                    <a:pt x="8396" y="12557"/>
                  </a:lnTo>
                  <a:lnTo>
                    <a:pt x="8791" y="12987"/>
                  </a:lnTo>
                  <a:cubicBezTo>
                    <a:pt x="9179" y="13406"/>
                    <a:pt x="9667" y="13659"/>
                    <a:pt x="10281" y="13758"/>
                  </a:cubicBezTo>
                  <a:cubicBezTo>
                    <a:pt x="10503" y="13793"/>
                    <a:pt x="10718" y="13811"/>
                    <a:pt x="10927" y="13811"/>
                  </a:cubicBezTo>
                  <a:cubicBezTo>
                    <a:pt x="11660" y="13811"/>
                    <a:pt x="12319" y="13592"/>
                    <a:pt x="12931" y="13147"/>
                  </a:cubicBezTo>
                  <a:cubicBezTo>
                    <a:pt x="14587" y="11942"/>
                    <a:pt x="15795" y="9100"/>
                    <a:pt x="16433" y="4929"/>
                  </a:cubicBezTo>
                  <a:cubicBezTo>
                    <a:pt x="16788" y="2604"/>
                    <a:pt x="15244" y="418"/>
                    <a:pt x="12988" y="54"/>
                  </a:cubicBezTo>
                  <a:cubicBezTo>
                    <a:pt x="12773" y="18"/>
                    <a:pt x="12556" y="1"/>
                    <a:pt x="12341" y="1"/>
                  </a:cubicBezTo>
                  <a:cubicBezTo>
                    <a:pt x="11461" y="1"/>
                    <a:pt x="10599" y="293"/>
                    <a:pt x="9893" y="840"/>
                  </a:cubicBezTo>
                  <a:cubicBezTo>
                    <a:pt x="9601" y="1063"/>
                    <a:pt x="9263" y="1216"/>
                    <a:pt x="8905" y="1292"/>
                  </a:cubicBezTo>
                  <a:cubicBezTo>
                    <a:pt x="8736" y="1326"/>
                    <a:pt x="8567" y="1343"/>
                    <a:pt x="8397" y="1343"/>
                  </a:cubicBezTo>
                  <a:cubicBezTo>
                    <a:pt x="8296" y="1343"/>
                    <a:pt x="8196" y="1337"/>
                    <a:pt x="8095" y="1325"/>
                  </a:cubicBezTo>
                  <a:cubicBezTo>
                    <a:pt x="7658" y="1273"/>
                    <a:pt x="7246" y="1105"/>
                    <a:pt x="6896" y="840"/>
                  </a:cubicBezTo>
                  <a:cubicBezTo>
                    <a:pt x="6190" y="293"/>
                    <a:pt x="5328" y="1"/>
                    <a:pt x="44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9" name="Google Shape;6219;p70"/>
            <p:cNvSpPr/>
            <p:nvPr/>
          </p:nvSpPr>
          <p:spPr>
            <a:xfrm>
              <a:off x="4016325" y="3806775"/>
              <a:ext cx="199225" cy="142475"/>
            </a:xfrm>
            <a:custGeom>
              <a:avLst/>
              <a:gdLst/>
              <a:ahLst/>
              <a:cxnLst/>
              <a:rect l="l" t="t" r="r" b="b"/>
              <a:pathLst>
                <a:path w="7969" h="5699" extrusionOk="0">
                  <a:moveTo>
                    <a:pt x="1350" y="0"/>
                  </a:moveTo>
                  <a:cubicBezTo>
                    <a:pt x="1132" y="0"/>
                    <a:pt x="925" y="129"/>
                    <a:pt x="832" y="343"/>
                  </a:cubicBezTo>
                  <a:cubicBezTo>
                    <a:pt x="799" y="424"/>
                    <a:pt x="1" y="2330"/>
                    <a:pt x="678" y="4101"/>
                  </a:cubicBezTo>
                  <a:cubicBezTo>
                    <a:pt x="736" y="4242"/>
                    <a:pt x="796" y="4381"/>
                    <a:pt x="868" y="4516"/>
                  </a:cubicBezTo>
                  <a:cubicBezTo>
                    <a:pt x="1534" y="4691"/>
                    <a:pt x="2157" y="4995"/>
                    <a:pt x="2702" y="5414"/>
                  </a:cubicBezTo>
                  <a:cubicBezTo>
                    <a:pt x="2950" y="5603"/>
                    <a:pt x="3247" y="5698"/>
                    <a:pt x="3544" y="5698"/>
                  </a:cubicBezTo>
                  <a:cubicBezTo>
                    <a:pt x="3840" y="5698"/>
                    <a:pt x="4137" y="5603"/>
                    <a:pt x="4385" y="5414"/>
                  </a:cubicBezTo>
                  <a:cubicBezTo>
                    <a:pt x="4442" y="5368"/>
                    <a:pt x="4503" y="5326"/>
                    <a:pt x="4563" y="5284"/>
                  </a:cubicBezTo>
                  <a:cubicBezTo>
                    <a:pt x="4870" y="4592"/>
                    <a:pt x="5355" y="3968"/>
                    <a:pt x="6020" y="3417"/>
                  </a:cubicBezTo>
                  <a:cubicBezTo>
                    <a:pt x="6478" y="3035"/>
                    <a:pt x="6987" y="2722"/>
                    <a:pt x="7532" y="2484"/>
                  </a:cubicBezTo>
                  <a:cubicBezTo>
                    <a:pt x="7824" y="2372"/>
                    <a:pt x="7969" y="2044"/>
                    <a:pt x="7854" y="1752"/>
                  </a:cubicBezTo>
                  <a:cubicBezTo>
                    <a:pt x="7768" y="1529"/>
                    <a:pt x="7554" y="1392"/>
                    <a:pt x="7327" y="1392"/>
                  </a:cubicBezTo>
                  <a:cubicBezTo>
                    <a:pt x="7260" y="1392"/>
                    <a:pt x="7192" y="1404"/>
                    <a:pt x="7125" y="1430"/>
                  </a:cubicBezTo>
                  <a:lnTo>
                    <a:pt x="7125" y="1433"/>
                  </a:lnTo>
                  <a:cubicBezTo>
                    <a:pt x="7089" y="1445"/>
                    <a:pt x="6243" y="1776"/>
                    <a:pt x="5334" y="2520"/>
                  </a:cubicBezTo>
                  <a:cubicBezTo>
                    <a:pt x="4997" y="2794"/>
                    <a:pt x="4689" y="3098"/>
                    <a:pt x="4412" y="3429"/>
                  </a:cubicBezTo>
                  <a:cubicBezTo>
                    <a:pt x="4367" y="3194"/>
                    <a:pt x="4301" y="2965"/>
                    <a:pt x="4217" y="2743"/>
                  </a:cubicBezTo>
                  <a:cubicBezTo>
                    <a:pt x="3536" y="972"/>
                    <a:pt x="1669" y="90"/>
                    <a:pt x="1588" y="54"/>
                  </a:cubicBezTo>
                  <a:cubicBezTo>
                    <a:pt x="1511" y="17"/>
                    <a:pt x="1430" y="0"/>
                    <a:pt x="13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0" name="Google Shape;6220;p70"/>
          <p:cNvGrpSpPr/>
          <p:nvPr/>
        </p:nvGrpSpPr>
        <p:grpSpPr>
          <a:xfrm>
            <a:off x="7551234" y="3125979"/>
            <a:ext cx="336296" cy="339235"/>
            <a:chOff x="4464775" y="3806475"/>
            <a:chExt cx="477625" cy="481800"/>
          </a:xfrm>
        </p:grpSpPr>
        <p:sp>
          <p:nvSpPr>
            <p:cNvPr id="6221" name="Google Shape;6221;p70"/>
            <p:cNvSpPr/>
            <p:nvPr/>
          </p:nvSpPr>
          <p:spPr>
            <a:xfrm>
              <a:off x="4726375" y="3806475"/>
              <a:ext cx="56500" cy="141125"/>
            </a:xfrm>
            <a:custGeom>
              <a:avLst/>
              <a:gdLst/>
              <a:ahLst/>
              <a:cxnLst/>
              <a:rect l="l" t="t" r="r" b="b"/>
              <a:pathLst>
                <a:path w="2260" h="5645" extrusionOk="0">
                  <a:moveTo>
                    <a:pt x="1133" y="1"/>
                  </a:moveTo>
                  <a:cubicBezTo>
                    <a:pt x="978" y="1"/>
                    <a:pt x="823" y="64"/>
                    <a:pt x="712" y="189"/>
                  </a:cubicBezTo>
                  <a:cubicBezTo>
                    <a:pt x="504" y="421"/>
                    <a:pt x="522" y="776"/>
                    <a:pt x="754" y="984"/>
                  </a:cubicBezTo>
                  <a:cubicBezTo>
                    <a:pt x="832" y="1056"/>
                    <a:pt x="1130" y="1385"/>
                    <a:pt x="1130" y="1695"/>
                  </a:cubicBezTo>
                  <a:cubicBezTo>
                    <a:pt x="1130" y="1990"/>
                    <a:pt x="850" y="2315"/>
                    <a:pt x="754" y="2402"/>
                  </a:cubicBezTo>
                  <a:cubicBezTo>
                    <a:pt x="678" y="2472"/>
                    <a:pt x="1" y="3101"/>
                    <a:pt x="1" y="3953"/>
                  </a:cubicBezTo>
                  <a:cubicBezTo>
                    <a:pt x="1" y="4802"/>
                    <a:pt x="675" y="5432"/>
                    <a:pt x="754" y="5501"/>
                  </a:cubicBezTo>
                  <a:cubicBezTo>
                    <a:pt x="861" y="5597"/>
                    <a:pt x="995" y="5644"/>
                    <a:pt x="1128" y="5644"/>
                  </a:cubicBezTo>
                  <a:cubicBezTo>
                    <a:pt x="1283" y="5644"/>
                    <a:pt x="1437" y="5580"/>
                    <a:pt x="1549" y="5456"/>
                  </a:cubicBezTo>
                  <a:cubicBezTo>
                    <a:pt x="1757" y="5224"/>
                    <a:pt x="1735" y="4869"/>
                    <a:pt x="1507" y="4661"/>
                  </a:cubicBezTo>
                  <a:cubicBezTo>
                    <a:pt x="1428" y="4588"/>
                    <a:pt x="1130" y="4260"/>
                    <a:pt x="1130" y="3950"/>
                  </a:cubicBezTo>
                  <a:cubicBezTo>
                    <a:pt x="1130" y="3655"/>
                    <a:pt x="1410" y="3330"/>
                    <a:pt x="1507" y="3242"/>
                  </a:cubicBezTo>
                  <a:cubicBezTo>
                    <a:pt x="1585" y="3173"/>
                    <a:pt x="2259" y="2544"/>
                    <a:pt x="2259" y="1692"/>
                  </a:cubicBezTo>
                  <a:cubicBezTo>
                    <a:pt x="2259" y="842"/>
                    <a:pt x="1585" y="213"/>
                    <a:pt x="1507" y="144"/>
                  </a:cubicBezTo>
                  <a:cubicBezTo>
                    <a:pt x="1399" y="48"/>
                    <a:pt x="1266" y="1"/>
                    <a:pt x="11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2" name="Google Shape;6222;p70"/>
            <p:cNvSpPr/>
            <p:nvPr/>
          </p:nvSpPr>
          <p:spPr>
            <a:xfrm>
              <a:off x="4641700" y="3806475"/>
              <a:ext cx="56475" cy="141125"/>
            </a:xfrm>
            <a:custGeom>
              <a:avLst/>
              <a:gdLst/>
              <a:ahLst/>
              <a:cxnLst/>
              <a:rect l="l" t="t" r="r" b="b"/>
              <a:pathLst>
                <a:path w="2259" h="5645" extrusionOk="0">
                  <a:moveTo>
                    <a:pt x="1132" y="1"/>
                  </a:moveTo>
                  <a:cubicBezTo>
                    <a:pt x="977" y="1"/>
                    <a:pt x="823" y="64"/>
                    <a:pt x="711" y="189"/>
                  </a:cubicBezTo>
                  <a:cubicBezTo>
                    <a:pt x="503" y="421"/>
                    <a:pt x="521" y="776"/>
                    <a:pt x="753" y="984"/>
                  </a:cubicBezTo>
                  <a:cubicBezTo>
                    <a:pt x="831" y="1056"/>
                    <a:pt x="1130" y="1385"/>
                    <a:pt x="1130" y="1695"/>
                  </a:cubicBezTo>
                  <a:cubicBezTo>
                    <a:pt x="1130" y="1990"/>
                    <a:pt x="849" y="2315"/>
                    <a:pt x="753" y="2402"/>
                  </a:cubicBezTo>
                  <a:cubicBezTo>
                    <a:pt x="678" y="2472"/>
                    <a:pt x="0" y="3101"/>
                    <a:pt x="0" y="3953"/>
                  </a:cubicBezTo>
                  <a:cubicBezTo>
                    <a:pt x="0" y="4802"/>
                    <a:pt x="675" y="5432"/>
                    <a:pt x="753" y="5501"/>
                  </a:cubicBezTo>
                  <a:cubicBezTo>
                    <a:pt x="860" y="5597"/>
                    <a:pt x="994" y="5644"/>
                    <a:pt x="1127" y="5644"/>
                  </a:cubicBezTo>
                  <a:cubicBezTo>
                    <a:pt x="1282" y="5644"/>
                    <a:pt x="1436" y="5580"/>
                    <a:pt x="1548" y="5456"/>
                  </a:cubicBezTo>
                  <a:cubicBezTo>
                    <a:pt x="1756" y="5224"/>
                    <a:pt x="1735" y="4869"/>
                    <a:pt x="1506" y="4661"/>
                  </a:cubicBezTo>
                  <a:cubicBezTo>
                    <a:pt x="1428" y="4588"/>
                    <a:pt x="1130" y="4260"/>
                    <a:pt x="1130" y="3950"/>
                  </a:cubicBezTo>
                  <a:cubicBezTo>
                    <a:pt x="1130" y="3655"/>
                    <a:pt x="1410" y="3330"/>
                    <a:pt x="1506" y="3242"/>
                  </a:cubicBezTo>
                  <a:cubicBezTo>
                    <a:pt x="1581" y="3173"/>
                    <a:pt x="2259" y="2544"/>
                    <a:pt x="2259" y="1692"/>
                  </a:cubicBezTo>
                  <a:cubicBezTo>
                    <a:pt x="2259" y="842"/>
                    <a:pt x="1581"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3" name="Google Shape;6223;p70"/>
            <p:cNvSpPr/>
            <p:nvPr/>
          </p:nvSpPr>
          <p:spPr>
            <a:xfrm>
              <a:off x="4557000" y="3806475"/>
              <a:ext cx="56500" cy="141125"/>
            </a:xfrm>
            <a:custGeom>
              <a:avLst/>
              <a:gdLst/>
              <a:ahLst/>
              <a:cxnLst/>
              <a:rect l="l" t="t" r="r" b="b"/>
              <a:pathLst>
                <a:path w="2260" h="5645" extrusionOk="0">
                  <a:moveTo>
                    <a:pt x="1132" y="1"/>
                  </a:moveTo>
                  <a:cubicBezTo>
                    <a:pt x="977" y="1"/>
                    <a:pt x="823" y="64"/>
                    <a:pt x="711" y="189"/>
                  </a:cubicBezTo>
                  <a:cubicBezTo>
                    <a:pt x="504" y="421"/>
                    <a:pt x="522" y="776"/>
                    <a:pt x="753" y="984"/>
                  </a:cubicBezTo>
                  <a:cubicBezTo>
                    <a:pt x="832" y="1056"/>
                    <a:pt x="1130" y="1385"/>
                    <a:pt x="1130" y="1695"/>
                  </a:cubicBezTo>
                  <a:cubicBezTo>
                    <a:pt x="1130" y="1990"/>
                    <a:pt x="850" y="2315"/>
                    <a:pt x="753" y="2402"/>
                  </a:cubicBezTo>
                  <a:cubicBezTo>
                    <a:pt x="678" y="2472"/>
                    <a:pt x="1" y="3101"/>
                    <a:pt x="1" y="3953"/>
                  </a:cubicBezTo>
                  <a:cubicBezTo>
                    <a:pt x="1" y="4802"/>
                    <a:pt x="675" y="5432"/>
                    <a:pt x="753" y="5501"/>
                  </a:cubicBezTo>
                  <a:cubicBezTo>
                    <a:pt x="861" y="5597"/>
                    <a:pt x="994" y="5644"/>
                    <a:pt x="1127" y="5644"/>
                  </a:cubicBezTo>
                  <a:cubicBezTo>
                    <a:pt x="1282" y="5644"/>
                    <a:pt x="1437" y="5580"/>
                    <a:pt x="1548" y="5456"/>
                  </a:cubicBezTo>
                  <a:cubicBezTo>
                    <a:pt x="1756" y="5224"/>
                    <a:pt x="1735" y="4869"/>
                    <a:pt x="1506" y="4661"/>
                  </a:cubicBezTo>
                  <a:cubicBezTo>
                    <a:pt x="1428" y="4588"/>
                    <a:pt x="1130" y="4260"/>
                    <a:pt x="1130" y="3950"/>
                  </a:cubicBezTo>
                  <a:cubicBezTo>
                    <a:pt x="1130" y="3655"/>
                    <a:pt x="1410" y="3330"/>
                    <a:pt x="1506" y="3242"/>
                  </a:cubicBezTo>
                  <a:cubicBezTo>
                    <a:pt x="1582" y="3173"/>
                    <a:pt x="2259" y="2544"/>
                    <a:pt x="2259" y="1692"/>
                  </a:cubicBezTo>
                  <a:cubicBezTo>
                    <a:pt x="2259" y="842"/>
                    <a:pt x="1582"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4" name="Google Shape;6224;p70"/>
            <p:cNvSpPr/>
            <p:nvPr/>
          </p:nvSpPr>
          <p:spPr>
            <a:xfrm>
              <a:off x="4464775" y="4230875"/>
              <a:ext cx="395250" cy="57400"/>
            </a:xfrm>
            <a:custGeom>
              <a:avLst/>
              <a:gdLst/>
              <a:ahLst/>
              <a:cxnLst/>
              <a:rect l="l" t="t" r="r" b="b"/>
              <a:pathLst>
                <a:path w="15810" h="2296" extrusionOk="0">
                  <a:moveTo>
                    <a:pt x="567" y="1"/>
                  </a:moveTo>
                  <a:cubicBezTo>
                    <a:pt x="254" y="1"/>
                    <a:pt x="1" y="251"/>
                    <a:pt x="1" y="564"/>
                  </a:cubicBezTo>
                  <a:cubicBezTo>
                    <a:pt x="1" y="877"/>
                    <a:pt x="254" y="1130"/>
                    <a:pt x="567" y="1130"/>
                  </a:cubicBezTo>
                  <a:lnTo>
                    <a:pt x="1910" y="1130"/>
                  </a:lnTo>
                  <a:lnTo>
                    <a:pt x="2006" y="1359"/>
                  </a:lnTo>
                  <a:cubicBezTo>
                    <a:pt x="2291" y="1932"/>
                    <a:pt x="2875" y="2295"/>
                    <a:pt x="3516" y="2295"/>
                  </a:cubicBezTo>
                  <a:cubicBezTo>
                    <a:pt x="3519" y="2295"/>
                    <a:pt x="3521" y="2295"/>
                    <a:pt x="3524" y="2295"/>
                  </a:cubicBezTo>
                  <a:lnTo>
                    <a:pt x="12290" y="2295"/>
                  </a:lnTo>
                  <a:cubicBezTo>
                    <a:pt x="12292" y="2295"/>
                    <a:pt x="12295" y="2295"/>
                    <a:pt x="12298" y="2295"/>
                  </a:cubicBezTo>
                  <a:cubicBezTo>
                    <a:pt x="12936" y="2295"/>
                    <a:pt x="13520" y="1932"/>
                    <a:pt x="13804" y="1359"/>
                  </a:cubicBezTo>
                  <a:lnTo>
                    <a:pt x="13901" y="1130"/>
                  </a:lnTo>
                  <a:lnTo>
                    <a:pt x="15247" y="1130"/>
                  </a:lnTo>
                  <a:cubicBezTo>
                    <a:pt x="15557" y="1130"/>
                    <a:pt x="15810" y="877"/>
                    <a:pt x="15810" y="564"/>
                  </a:cubicBezTo>
                  <a:cubicBezTo>
                    <a:pt x="15810" y="251"/>
                    <a:pt x="15557" y="1"/>
                    <a:pt x="15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5" name="Google Shape;6225;p70"/>
            <p:cNvSpPr/>
            <p:nvPr/>
          </p:nvSpPr>
          <p:spPr>
            <a:xfrm>
              <a:off x="4840675" y="4007300"/>
              <a:ext cx="101725" cy="166025"/>
            </a:xfrm>
            <a:custGeom>
              <a:avLst/>
              <a:gdLst/>
              <a:ahLst/>
              <a:cxnLst/>
              <a:rect l="l" t="t" r="r" b="b"/>
              <a:pathLst>
                <a:path w="4069" h="6641" extrusionOk="0">
                  <a:moveTo>
                    <a:pt x="1870" y="0"/>
                  </a:moveTo>
                  <a:cubicBezTo>
                    <a:pt x="1852" y="380"/>
                    <a:pt x="1837" y="759"/>
                    <a:pt x="1795" y="1130"/>
                  </a:cubicBezTo>
                  <a:cubicBezTo>
                    <a:pt x="1927" y="1181"/>
                    <a:pt x="2048" y="1256"/>
                    <a:pt x="2150" y="1355"/>
                  </a:cubicBezTo>
                  <a:cubicBezTo>
                    <a:pt x="2800" y="2006"/>
                    <a:pt x="2433" y="3469"/>
                    <a:pt x="1352" y="4550"/>
                  </a:cubicBezTo>
                  <a:cubicBezTo>
                    <a:pt x="1177" y="4722"/>
                    <a:pt x="991" y="4879"/>
                    <a:pt x="792" y="5017"/>
                  </a:cubicBezTo>
                  <a:cubicBezTo>
                    <a:pt x="566" y="5577"/>
                    <a:pt x="301" y="6119"/>
                    <a:pt x="0" y="6640"/>
                  </a:cubicBezTo>
                  <a:cubicBezTo>
                    <a:pt x="747" y="6429"/>
                    <a:pt x="1506" y="5993"/>
                    <a:pt x="2150" y="5348"/>
                  </a:cubicBezTo>
                  <a:cubicBezTo>
                    <a:pt x="3716" y="3782"/>
                    <a:pt x="4068" y="1678"/>
                    <a:pt x="2948" y="557"/>
                  </a:cubicBezTo>
                  <a:cubicBezTo>
                    <a:pt x="2656" y="268"/>
                    <a:pt x="2280" y="97"/>
                    <a:pt x="18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6" name="Google Shape;6226;p70"/>
            <p:cNvSpPr/>
            <p:nvPr/>
          </p:nvSpPr>
          <p:spPr>
            <a:xfrm>
              <a:off x="4464775" y="3976800"/>
              <a:ext cx="395250" cy="225875"/>
            </a:xfrm>
            <a:custGeom>
              <a:avLst/>
              <a:gdLst/>
              <a:ahLst/>
              <a:cxnLst/>
              <a:rect l="l" t="t" r="r" b="b"/>
              <a:pathLst>
                <a:path w="15810" h="9035" extrusionOk="0">
                  <a:moveTo>
                    <a:pt x="564" y="1"/>
                  </a:moveTo>
                  <a:cubicBezTo>
                    <a:pt x="254" y="1"/>
                    <a:pt x="1" y="251"/>
                    <a:pt x="1" y="564"/>
                  </a:cubicBezTo>
                  <a:cubicBezTo>
                    <a:pt x="1" y="3930"/>
                    <a:pt x="1157" y="7026"/>
                    <a:pt x="3075" y="9035"/>
                  </a:cubicBezTo>
                  <a:lnTo>
                    <a:pt x="12735" y="9035"/>
                  </a:lnTo>
                  <a:cubicBezTo>
                    <a:pt x="14654" y="7026"/>
                    <a:pt x="15810" y="3930"/>
                    <a:pt x="15810" y="564"/>
                  </a:cubicBezTo>
                  <a:cubicBezTo>
                    <a:pt x="15810" y="251"/>
                    <a:pt x="15557" y="1"/>
                    <a:pt x="152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7" name="Google Shape;6227;p70"/>
          <p:cNvGrpSpPr/>
          <p:nvPr/>
        </p:nvGrpSpPr>
        <p:grpSpPr>
          <a:xfrm>
            <a:off x="7974679" y="3125970"/>
            <a:ext cx="339253" cy="339253"/>
            <a:chOff x="5049725" y="3806450"/>
            <a:chExt cx="481825" cy="481825"/>
          </a:xfrm>
        </p:grpSpPr>
        <p:sp>
          <p:nvSpPr>
            <p:cNvPr id="6228" name="Google Shape;6228;p70"/>
            <p:cNvSpPr/>
            <p:nvPr/>
          </p:nvSpPr>
          <p:spPr>
            <a:xfrm>
              <a:off x="536115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9" name="Google Shape;6229;p70"/>
            <p:cNvSpPr/>
            <p:nvPr/>
          </p:nvSpPr>
          <p:spPr>
            <a:xfrm>
              <a:off x="519177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0" name="Google Shape;6230;p70"/>
            <p:cNvSpPr/>
            <p:nvPr/>
          </p:nvSpPr>
          <p:spPr>
            <a:xfrm>
              <a:off x="504972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0" y="8901"/>
                    <a:pt x="6686" y="9073"/>
                    <a:pt x="6246" y="9073"/>
                  </a:cubicBezTo>
                  <a:cubicBezTo>
                    <a:pt x="6028" y="9073"/>
                    <a:pt x="5808" y="9031"/>
                    <a:pt x="5598" y="8944"/>
                  </a:cubicBezTo>
                  <a:cubicBezTo>
                    <a:pt x="4966" y="8682"/>
                    <a:pt x="4553" y="8064"/>
                    <a:pt x="4553" y="7378"/>
                  </a:cubicBezTo>
                  <a:cubicBezTo>
                    <a:pt x="4553"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0"/>
                    <a:pt x="13024" y="9073"/>
                  </a:cubicBezTo>
                  <a:cubicBezTo>
                    <a:pt x="12337" y="9073"/>
                    <a:pt x="11720" y="8658"/>
                    <a:pt x="11458" y="8025"/>
                  </a:cubicBezTo>
                  <a:cubicBezTo>
                    <a:pt x="11196" y="7393"/>
                    <a:pt x="11341" y="6664"/>
                    <a:pt x="11825" y="6179"/>
                  </a:cubicBezTo>
                  <a:cubicBezTo>
                    <a:pt x="12150" y="5855"/>
                    <a:pt x="12583" y="5683"/>
                    <a:pt x="13024" y="5683"/>
                  </a:cubicBezTo>
                  <a:close/>
                  <a:moveTo>
                    <a:pt x="9636" y="10196"/>
                  </a:moveTo>
                  <a:cubicBezTo>
                    <a:pt x="11955" y="10196"/>
                    <a:pt x="13981" y="11765"/>
                    <a:pt x="14557" y="14012"/>
                  </a:cubicBezTo>
                  <a:cubicBezTo>
                    <a:pt x="14635" y="14316"/>
                    <a:pt x="14454" y="14623"/>
                    <a:pt x="14153" y="14701"/>
                  </a:cubicBezTo>
                  <a:cubicBezTo>
                    <a:pt x="14107" y="14713"/>
                    <a:pt x="14060" y="14718"/>
                    <a:pt x="14014" y="14718"/>
                  </a:cubicBezTo>
                  <a:cubicBezTo>
                    <a:pt x="13760" y="14718"/>
                    <a:pt x="13530" y="14550"/>
                    <a:pt x="13464" y="14295"/>
                  </a:cubicBezTo>
                  <a:cubicBezTo>
                    <a:pt x="13015" y="12548"/>
                    <a:pt x="11440" y="11326"/>
                    <a:pt x="9636" y="11326"/>
                  </a:cubicBezTo>
                  <a:cubicBezTo>
                    <a:pt x="7833" y="11326"/>
                    <a:pt x="6258" y="12548"/>
                    <a:pt x="5809" y="14295"/>
                  </a:cubicBezTo>
                  <a:cubicBezTo>
                    <a:pt x="5743" y="14550"/>
                    <a:pt x="5512" y="14718"/>
                    <a:pt x="5260" y="14718"/>
                  </a:cubicBezTo>
                  <a:cubicBezTo>
                    <a:pt x="5215" y="14718"/>
                    <a:pt x="5169" y="14713"/>
                    <a:pt x="5122" y="14701"/>
                  </a:cubicBezTo>
                  <a:cubicBezTo>
                    <a:pt x="4818" y="14623"/>
                    <a:pt x="4638" y="14316"/>
                    <a:pt x="4716" y="14012"/>
                  </a:cubicBezTo>
                  <a:cubicBezTo>
                    <a:pt x="5291" y="11765"/>
                    <a:pt x="7318" y="10196"/>
                    <a:pt x="9636" y="10196"/>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27"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1" name="Google Shape;6231;p70"/>
          <p:cNvGrpSpPr/>
          <p:nvPr/>
        </p:nvGrpSpPr>
        <p:grpSpPr>
          <a:xfrm>
            <a:off x="1461983" y="3951798"/>
            <a:ext cx="339253" cy="339253"/>
            <a:chOff x="5651375" y="3806450"/>
            <a:chExt cx="481825" cy="481825"/>
          </a:xfrm>
        </p:grpSpPr>
        <p:sp>
          <p:nvSpPr>
            <p:cNvPr id="6232" name="Google Shape;6232;p70"/>
            <p:cNvSpPr/>
            <p:nvPr/>
          </p:nvSpPr>
          <p:spPr>
            <a:xfrm>
              <a:off x="579342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3" name="Google Shape;6233;p70"/>
            <p:cNvSpPr/>
            <p:nvPr/>
          </p:nvSpPr>
          <p:spPr>
            <a:xfrm>
              <a:off x="5794475" y="4089725"/>
              <a:ext cx="195600" cy="84725"/>
            </a:xfrm>
            <a:custGeom>
              <a:avLst/>
              <a:gdLst/>
              <a:ahLst/>
              <a:cxnLst/>
              <a:rect l="l" t="t" r="r" b="b"/>
              <a:pathLst>
                <a:path w="7824" h="3389" extrusionOk="0">
                  <a:moveTo>
                    <a:pt x="1" y="1"/>
                  </a:moveTo>
                  <a:cubicBezTo>
                    <a:pt x="284" y="1943"/>
                    <a:pt x="1949" y="3385"/>
                    <a:pt x="3912" y="3388"/>
                  </a:cubicBezTo>
                  <a:cubicBezTo>
                    <a:pt x="5875" y="3385"/>
                    <a:pt x="7541" y="1943"/>
                    <a:pt x="78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4" name="Google Shape;6234;p70"/>
            <p:cNvSpPr/>
            <p:nvPr/>
          </p:nvSpPr>
          <p:spPr>
            <a:xfrm>
              <a:off x="565137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2" y="8901"/>
                    <a:pt x="6689" y="9073"/>
                    <a:pt x="6248" y="9073"/>
                  </a:cubicBezTo>
                  <a:cubicBezTo>
                    <a:pt x="6029" y="9073"/>
                    <a:pt x="5808" y="9031"/>
                    <a:pt x="5598" y="8944"/>
                  </a:cubicBezTo>
                  <a:cubicBezTo>
                    <a:pt x="4966" y="8682"/>
                    <a:pt x="4553" y="8064"/>
                    <a:pt x="4553" y="7378"/>
                  </a:cubicBezTo>
                  <a:cubicBezTo>
                    <a:pt x="4556"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3"/>
                    <a:pt x="13024" y="9073"/>
                  </a:cubicBezTo>
                  <a:cubicBezTo>
                    <a:pt x="12337" y="9073"/>
                    <a:pt x="11720" y="8658"/>
                    <a:pt x="11458" y="8025"/>
                  </a:cubicBezTo>
                  <a:cubicBezTo>
                    <a:pt x="11196" y="7393"/>
                    <a:pt x="11341" y="6664"/>
                    <a:pt x="11825" y="6179"/>
                  </a:cubicBezTo>
                  <a:cubicBezTo>
                    <a:pt x="12150" y="5855"/>
                    <a:pt x="12583" y="5683"/>
                    <a:pt x="13024" y="5683"/>
                  </a:cubicBezTo>
                  <a:close/>
                  <a:moveTo>
                    <a:pt x="14153" y="10202"/>
                  </a:moveTo>
                  <a:cubicBezTo>
                    <a:pt x="14463" y="10202"/>
                    <a:pt x="14716" y="10452"/>
                    <a:pt x="14716" y="10766"/>
                  </a:cubicBezTo>
                  <a:cubicBezTo>
                    <a:pt x="14716" y="13566"/>
                    <a:pt x="12437" y="15849"/>
                    <a:pt x="9636" y="15849"/>
                  </a:cubicBezTo>
                  <a:cubicBezTo>
                    <a:pt x="6833" y="15849"/>
                    <a:pt x="4553" y="13566"/>
                    <a:pt x="4553" y="10766"/>
                  </a:cubicBezTo>
                  <a:cubicBezTo>
                    <a:pt x="4553" y="10452"/>
                    <a:pt x="4806" y="10202"/>
                    <a:pt x="5119" y="10202"/>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30"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5" name="Google Shape;6235;p70"/>
            <p:cNvSpPr/>
            <p:nvPr/>
          </p:nvSpPr>
          <p:spPr>
            <a:xfrm>
              <a:off x="596280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6" name="Google Shape;6236;p70"/>
          <p:cNvGrpSpPr/>
          <p:nvPr/>
        </p:nvGrpSpPr>
        <p:grpSpPr>
          <a:xfrm>
            <a:off x="3360663" y="3953787"/>
            <a:ext cx="298503" cy="335275"/>
            <a:chOff x="6264300" y="3809300"/>
            <a:chExt cx="423950" cy="476175"/>
          </a:xfrm>
        </p:grpSpPr>
        <p:sp>
          <p:nvSpPr>
            <p:cNvPr id="6237" name="Google Shape;6237;p70"/>
            <p:cNvSpPr/>
            <p:nvPr/>
          </p:nvSpPr>
          <p:spPr>
            <a:xfrm>
              <a:off x="6346200" y="4002825"/>
              <a:ext cx="66950" cy="63225"/>
            </a:xfrm>
            <a:custGeom>
              <a:avLst/>
              <a:gdLst/>
              <a:ahLst/>
              <a:cxnLst/>
              <a:rect l="l" t="t" r="r" b="b"/>
              <a:pathLst>
                <a:path w="2678" h="2529" extrusionOk="0">
                  <a:moveTo>
                    <a:pt x="1365" y="1"/>
                  </a:moveTo>
                  <a:cubicBezTo>
                    <a:pt x="1058" y="1"/>
                    <a:pt x="751" y="118"/>
                    <a:pt x="516" y="351"/>
                  </a:cubicBezTo>
                  <a:cubicBezTo>
                    <a:pt x="272" y="598"/>
                    <a:pt x="88" y="992"/>
                    <a:pt x="46" y="1381"/>
                  </a:cubicBezTo>
                  <a:cubicBezTo>
                    <a:pt x="1" y="1757"/>
                    <a:pt x="88" y="2085"/>
                    <a:pt x="281" y="2281"/>
                  </a:cubicBezTo>
                  <a:cubicBezTo>
                    <a:pt x="454" y="2453"/>
                    <a:pt x="709" y="2528"/>
                    <a:pt x="985" y="2528"/>
                  </a:cubicBezTo>
                  <a:cubicBezTo>
                    <a:pt x="1425" y="2528"/>
                    <a:pt x="1917" y="2337"/>
                    <a:pt x="2211" y="2043"/>
                  </a:cubicBezTo>
                  <a:cubicBezTo>
                    <a:pt x="2678" y="1577"/>
                    <a:pt x="2678" y="818"/>
                    <a:pt x="2211" y="351"/>
                  </a:cubicBezTo>
                  <a:cubicBezTo>
                    <a:pt x="1978" y="118"/>
                    <a:pt x="1671" y="1"/>
                    <a:pt x="1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8" name="Google Shape;6238;p70"/>
            <p:cNvSpPr/>
            <p:nvPr/>
          </p:nvSpPr>
          <p:spPr>
            <a:xfrm>
              <a:off x="6539375" y="4002825"/>
              <a:ext cx="66950" cy="63200"/>
            </a:xfrm>
            <a:custGeom>
              <a:avLst/>
              <a:gdLst/>
              <a:ahLst/>
              <a:cxnLst/>
              <a:rect l="l" t="t" r="r" b="b"/>
              <a:pathLst>
                <a:path w="2678" h="2528" extrusionOk="0">
                  <a:moveTo>
                    <a:pt x="1314" y="1"/>
                  </a:moveTo>
                  <a:cubicBezTo>
                    <a:pt x="1007" y="1"/>
                    <a:pt x="701" y="118"/>
                    <a:pt x="468" y="351"/>
                  </a:cubicBezTo>
                  <a:cubicBezTo>
                    <a:pt x="1" y="818"/>
                    <a:pt x="1" y="1577"/>
                    <a:pt x="468" y="2043"/>
                  </a:cubicBezTo>
                  <a:cubicBezTo>
                    <a:pt x="761" y="2337"/>
                    <a:pt x="1252" y="2528"/>
                    <a:pt x="1691" y="2528"/>
                  </a:cubicBezTo>
                  <a:cubicBezTo>
                    <a:pt x="1968" y="2528"/>
                    <a:pt x="2224" y="2452"/>
                    <a:pt x="2398" y="2278"/>
                  </a:cubicBezTo>
                  <a:cubicBezTo>
                    <a:pt x="2591" y="2085"/>
                    <a:pt x="2678" y="1757"/>
                    <a:pt x="2633" y="1381"/>
                  </a:cubicBezTo>
                  <a:cubicBezTo>
                    <a:pt x="2588" y="992"/>
                    <a:pt x="2407" y="598"/>
                    <a:pt x="2160" y="351"/>
                  </a:cubicBezTo>
                  <a:cubicBezTo>
                    <a:pt x="1927" y="118"/>
                    <a:pt x="1620" y="1"/>
                    <a:pt x="13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9" name="Google Shape;6239;p70"/>
            <p:cNvSpPr/>
            <p:nvPr/>
          </p:nvSpPr>
          <p:spPr>
            <a:xfrm>
              <a:off x="6264300" y="3809300"/>
              <a:ext cx="423950" cy="476175"/>
            </a:xfrm>
            <a:custGeom>
              <a:avLst/>
              <a:gdLst/>
              <a:ahLst/>
              <a:cxnLst/>
              <a:rect l="l" t="t" r="r" b="b"/>
              <a:pathLst>
                <a:path w="16958" h="19047" extrusionOk="0">
                  <a:moveTo>
                    <a:pt x="4662" y="6571"/>
                  </a:moveTo>
                  <a:cubicBezTo>
                    <a:pt x="5263" y="6571"/>
                    <a:pt x="5864" y="6799"/>
                    <a:pt x="6324" y="7258"/>
                  </a:cubicBezTo>
                  <a:cubicBezTo>
                    <a:pt x="7249" y="8182"/>
                    <a:pt x="7240" y="9685"/>
                    <a:pt x="6303" y="10600"/>
                  </a:cubicBezTo>
                  <a:lnTo>
                    <a:pt x="6300" y="10600"/>
                  </a:lnTo>
                  <a:cubicBezTo>
                    <a:pt x="5791" y="11109"/>
                    <a:pt x="5014" y="11422"/>
                    <a:pt x="4268" y="11422"/>
                  </a:cubicBezTo>
                  <a:cubicBezTo>
                    <a:pt x="3705" y="11422"/>
                    <a:pt x="3154" y="11245"/>
                    <a:pt x="2744" y="10835"/>
                  </a:cubicBezTo>
                  <a:cubicBezTo>
                    <a:pt x="2301" y="10393"/>
                    <a:pt x="2094" y="9718"/>
                    <a:pt x="2181" y="8992"/>
                  </a:cubicBezTo>
                  <a:cubicBezTo>
                    <a:pt x="2256" y="8336"/>
                    <a:pt x="2548" y="7713"/>
                    <a:pt x="2982" y="7279"/>
                  </a:cubicBezTo>
                  <a:cubicBezTo>
                    <a:pt x="3442" y="6807"/>
                    <a:pt x="4052" y="6571"/>
                    <a:pt x="4662" y="6571"/>
                  </a:cubicBezTo>
                  <a:close/>
                  <a:moveTo>
                    <a:pt x="12317" y="6589"/>
                  </a:moveTo>
                  <a:cubicBezTo>
                    <a:pt x="12918" y="6589"/>
                    <a:pt x="13520" y="6818"/>
                    <a:pt x="13979" y="7276"/>
                  </a:cubicBezTo>
                  <a:cubicBezTo>
                    <a:pt x="14873" y="8173"/>
                    <a:pt x="15165" y="9884"/>
                    <a:pt x="14214" y="10835"/>
                  </a:cubicBezTo>
                  <a:cubicBezTo>
                    <a:pt x="13804" y="11245"/>
                    <a:pt x="13256" y="11422"/>
                    <a:pt x="12690" y="11422"/>
                  </a:cubicBezTo>
                  <a:cubicBezTo>
                    <a:pt x="11943" y="11422"/>
                    <a:pt x="11166" y="11109"/>
                    <a:pt x="10658" y="10600"/>
                  </a:cubicBezTo>
                  <a:cubicBezTo>
                    <a:pt x="9739" y="9682"/>
                    <a:pt x="9739" y="8194"/>
                    <a:pt x="10658" y="7276"/>
                  </a:cubicBezTo>
                  <a:cubicBezTo>
                    <a:pt x="11115" y="6818"/>
                    <a:pt x="11716" y="6589"/>
                    <a:pt x="12317" y="6589"/>
                  </a:cubicBezTo>
                  <a:close/>
                  <a:moveTo>
                    <a:pt x="8479" y="10841"/>
                  </a:moveTo>
                  <a:cubicBezTo>
                    <a:pt x="8669" y="10841"/>
                    <a:pt x="8858" y="10933"/>
                    <a:pt x="8971" y="11118"/>
                  </a:cubicBezTo>
                  <a:lnTo>
                    <a:pt x="10266" y="13238"/>
                  </a:lnTo>
                  <a:cubicBezTo>
                    <a:pt x="10435" y="13509"/>
                    <a:pt x="10347" y="13865"/>
                    <a:pt x="10076" y="14030"/>
                  </a:cubicBezTo>
                  <a:lnTo>
                    <a:pt x="10073" y="14030"/>
                  </a:lnTo>
                  <a:cubicBezTo>
                    <a:pt x="9980" y="14087"/>
                    <a:pt x="9877" y="14114"/>
                    <a:pt x="9775" y="14114"/>
                  </a:cubicBezTo>
                  <a:cubicBezTo>
                    <a:pt x="9582" y="14114"/>
                    <a:pt x="9393" y="14016"/>
                    <a:pt x="9284" y="13840"/>
                  </a:cubicBezTo>
                  <a:lnTo>
                    <a:pt x="8480" y="12522"/>
                  </a:lnTo>
                  <a:lnTo>
                    <a:pt x="7673" y="13840"/>
                  </a:lnTo>
                  <a:cubicBezTo>
                    <a:pt x="7565" y="14018"/>
                    <a:pt x="7376" y="14115"/>
                    <a:pt x="7182" y="14115"/>
                  </a:cubicBezTo>
                  <a:cubicBezTo>
                    <a:pt x="7079" y="14115"/>
                    <a:pt x="6975" y="14088"/>
                    <a:pt x="6881" y="14030"/>
                  </a:cubicBezTo>
                  <a:cubicBezTo>
                    <a:pt x="6610" y="13862"/>
                    <a:pt x="6526" y="13509"/>
                    <a:pt x="6692" y="13238"/>
                  </a:cubicBezTo>
                  <a:lnTo>
                    <a:pt x="7987" y="11118"/>
                  </a:lnTo>
                  <a:cubicBezTo>
                    <a:pt x="8100" y="10933"/>
                    <a:pt x="8289" y="10841"/>
                    <a:pt x="8479" y="10841"/>
                  </a:cubicBezTo>
                  <a:close/>
                  <a:moveTo>
                    <a:pt x="8474" y="1"/>
                  </a:moveTo>
                  <a:cubicBezTo>
                    <a:pt x="3801" y="1"/>
                    <a:pt x="1" y="3840"/>
                    <a:pt x="1" y="8553"/>
                  </a:cubicBezTo>
                  <a:lnTo>
                    <a:pt x="1" y="11856"/>
                  </a:lnTo>
                  <a:cubicBezTo>
                    <a:pt x="1" y="12883"/>
                    <a:pt x="449" y="13862"/>
                    <a:pt x="1229" y="14530"/>
                  </a:cubicBezTo>
                  <a:lnTo>
                    <a:pt x="2934" y="16000"/>
                  </a:lnTo>
                  <a:lnTo>
                    <a:pt x="2934" y="18472"/>
                  </a:lnTo>
                  <a:cubicBezTo>
                    <a:pt x="2934" y="18788"/>
                    <a:pt x="3193" y="19047"/>
                    <a:pt x="3512" y="19047"/>
                  </a:cubicBezTo>
                  <a:lnTo>
                    <a:pt x="5183" y="19047"/>
                  </a:lnTo>
                  <a:lnTo>
                    <a:pt x="5183" y="16536"/>
                  </a:lnTo>
                  <a:cubicBezTo>
                    <a:pt x="5192" y="16222"/>
                    <a:pt x="5448" y="15975"/>
                    <a:pt x="5761" y="15975"/>
                  </a:cubicBezTo>
                  <a:cubicBezTo>
                    <a:pt x="6071" y="15975"/>
                    <a:pt x="6327" y="16222"/>
                    <a:pt x="6336" y="16536"/>
                  </a:cubicBezTo>
                  <a:lnTo>
                    <a:pt x="6336" y="19047"/>
                  </a:lnTo>
                  <a:lnTo>
                    <a:pt x="7905" y="19047"/>
                  </a:lnTo>
                  <a:lnTo>
                    <a:pt x="7905" y="16536"/>
                  </a:lnTo>
                  <a:cubicBezTo>
                    <a:pt x="7905" y="16219"/>
                    <a:pt x="8161" y="15960"/>
                    <a:pt x="8480" y="15960"/>
                  </a:cubicBezTo>
                  <a:cubicBezTo>
                    <a:pt x="8797" y="15960"/>
                    <a:pt x="9056" y="16219"/>
                    <a:pt x="9056" y="16536"/>
                  </a:cubicBezTo>
                  <a:lnTo>
                    <a:pt x="9056" y="19047"/>
                  </a:lnTo>
                  <a:lnTo>
                    <a:pt x="10624" y="19047"/>
                  </a:lnTo>
                  <a:lnTo>
                    <a:pt x="10624" y="16536"/>
                  </a:lnTo>
                  <a:cubicBezTo>
                    <a:pt x="10630" y="16222"/>
                    <a:pt x="10886" y="15975"/>
                    <a:pt x="11200" y="15975"/>
                  </a:cubicBezTo>
                  <a:cubicBezTo>
                    <a:pt x="11513" y="15975"/>
                    <a:pt x="11766" y="16222"/>
                    <a:pt x="11775" y="16536"/>
                  </a:cubicBezTo>
                  <a:lnTo>
                    <a:pt x="11775" y="19047"/>
                  </a:lnTo>
                  <a:lnTo>
                    <a:pt x="13449" y="19047"/>
                  </a:lnTo>
                  <a:cubicBezTo>
                    <a:pt x="13765" y="19044"/>
                    <a:pt x="14024" y="18788"/>
                    <a:pt x="14024" y="18469"/>
                  </a:cubicBezTo>
                  <a:lnTo>
                    <a:pt x="14024" y="15997"/>
                  </a:lnTo>
                  <a:lnTo>
                    <a:pt x="15729" y="14530"/>
                  </a:lnTo>
                  <a:cubicBezTo>
                    <a:pt x="16508" y="13859"/>
                    <a:pt x="16957" y="12883"/>
                    <a:pt x="16957" y="11853"/>
                  </a:cubicBezTo>
                  <a:lnTo>
                    <a:pt x="16957" y="8462"/>
                  </a:lnTo>
                  <a:cubicBezTo>
                    <a:pt x="16948" y="3786"/>
                    <a:pt x="13154" y="1"/>
                    <a:pt x="84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0" name="Google Shape;6240;p70"/>
          <p:cNvGrpSpPr/>
          <p:nvPr/>
        </p:nvGrpSpPr>
        <p:grpSpPr>
          <a:xfrm>
            <a:off x="5039841" y="3538881"/>
            <a:ext cx="340573" cy="339271"/>
            <a:chOff x="898875" y="4399275"/>
            <a:chExt cx="483700" cy="481850"/>
          </a:xfrm>
        </p:grpSpPr>
        <p:sp>
          <p:nvSpPr>
            <p:cNvPr id="6241" name="Google Shape;6241;p70"/>
            <p:cNvSpPr/>
            <p:nvPr/>
          </p:nvSpPr>
          <p:spPr>
            <a:xfrm>
              <a:off x="992750" y="4642900"/>
              <a:ext cx="145300" cy="144100"/>
            </a:xfrm>
            <a:custGeom>
              <a:avLst/>
              <a:gdLst/>
              <a:ahLst/>
              <a:cxnLst/>
              <a:rect l="l" t="t" r="r" b="b"/>
              <a:pathLst>
                <a:path w="5812" h="5764" extrusionOk="0">
                  <a:moveTo>
                    <a:pt x="994" y="0"/>
                  </a:moveTo>
                  <a:lnTo>
                    <a:pt x="988" y="12"/>
                  </a:lnTo>
                  <a:cubicBezTo>
                    <a:pt x="988" y="9"/>
                    <a:pt x="991" y="6"/>
                    <a:pt x="991" y="3"/>
                  </a:cubicBezTo>
                  <a:lnTo>
                    <a:pt x="991" y="3"/>
                  </a:lnTo>
                  <a:lnTo>
                    <a:pt x="979" y="27"/>
                  </a:lnTo>
                  <a:lnTo>
                    <a:pt x="108" y="1759"/>
                  </a:lnTo>
                  <a:cubicBezTo>
                    <a:pt x="0" y="1976"/>
                    <a:pt x="42" y="2241"/>
                    <a:pt x="214" y="2415"/>
                  </a:cubicBezTo>
                  <a:lnTo>
                    <a:pt x="3397" y="5598"/>
                  </a:lnTo>
                  <a:cubicBezTo>
                    <a:pt x="3506" y="5707"/>
                    <a:pt x="3649" y="5763"/>
                    <a:pt x="3795" y="5763"/>
                  </a:cubicBezTo>
                  <a:cubicBezTo>
                    <a:pt x="3883" y="5763"/>
                    <a:pt x="3971" y="5743"/>
                    <a:pt x="4053" y="5701"/>
                  </a:cubicBezTo>
                  <a:lnTo>
                    <a:pt x="5797" y="4827"/>
                  </a:lnTo>
                  <a:lnTo>
                    <a:pt x="5800" y="4824"/>
                  </a:lnTo>
                  <a:lnTo>
                    <a:pt x="5812" y="4818"/>
                  </a:lnTo>
                  <a:lnTo>
                    <a:pt x="9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2" name="Google Shape;6242;p70"/>
            <p:cNvSpPr/>
            <p:nvPr/>
          </p:nvSpPr>
          <p:spPr>
            <a:xfrm>
              <a:off x="1138025" y="4763350"/>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3" name="Google Shape;6243;p70"/>
            <p:cNvSpPr/>
            <p:nvPr/>
          </p:nvSpPr>
          <p:spPr>
            <a:xfrm>
              <a:off x="1269550" y="4399275"/>
              <a:ext cx="113025" cy="112125"/>
            </a:xfrm>
            <a:custGeom>
              <a:avLst/>
              <a:gdLst/>
              <a:ahLst/>
              <a:cxnLst/>
              <a:rect l="l" t="t" r="r" b="b"/>
              <a:pathLst>
                <a:path w="4521" h="4485" extrusionOk="0">
                  <a:moveTo>
                    <a:pt x="3066" y="1"/>
                  </a:moveTo>
                  <a:cubicBezTo>
                    <a:pt x="1947" y="1"/>
                    <a:pt x="938" y="82"/>
                    <a:pt x="0" y="239"/>
                  </a:cubicBezTo>
                  <a:lnTo>
                    <a:pt x="9" y="895"/>
                  </a:lnTo>
                  <a:cubicBezTo>
                    <a:pt x="34" y="2862"/>
                    <a:pt x="1623" y="4452"/>
                    <a:pt x="3590" y="4476"/>
                  </a:cubicBezTo>
                  <a:lnTo>
                    <a:pt x="4243" y="4485"/>
                  </a:lnTo>
                  <a:cubicBezTo>
                    <a:pt x="4439" y="3313"/>
                    <a:pt x="4520" y="2028"/>
                    <a:pt x="4469" y="561"/>
                  </a:cubicBezTo>
                  <a:cubicBezTo>
                    <a:pt x="4457" y="266"/>
                    <a:pt x="4219" y="28"/>
                    <a:pt x="3924" y="16"/>
                  </a:cubicBezTo>
                  <a:cubicBezTo>
                    <a:pt x="3631" y="6"/>
                    <a:pt x="3345" y="1"/>
                    <a:pt x="30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4" name="Google Shape;6244;p70"/>
            <p:cNvSpPr/>
            <p:nvPr/>
          </p:nvSpPr>
          <p:spPr>
            <a:xfrm>
              <a:off x="1161975" y="4531175"/>
              <a:ext cx="91400" cy="84350"/>
            </a:xfrm>
            <a:custGeom>
              <a:avLst/>
              <a:gdLst/>
              <a:ahLst/>
              <a:cxnLst/>
              <a:rect l="l" t="t" r="r" b="b"/>
              <a:pathLst>
                <a:path w="3656" h="3374" extrusionOk="0">
                  <a:moveTo>
                    <a:pt x="1821" y="1"/>
                  </a:moveTo>
                  <a:cubicBezTo>
                    <a:pt x="1137" y="1"/>
                    <a:pt x="523" y="415"/>
                    <a:pt x="262" y="1046"/>
                  </a:cubicBezTo>
                  <a:cubicBezTo>
                    <a:pt x="0" y="1678"/>
                    <a:pt x="145" y="2410"/>
                    <a:pt x="633" y="2894"/>
                  </a:cubicBezTo>
                  <a:cubicBezTo>
                    <a:pt x="952" y="3214"/>
                    <a:pt x="1391" y="3373"/>
                    <a:pt x="1830" y="3373"/>
                  </a:cubicBezTo>
                  <a:cubicBezTo>
                    <a:pt x="2269" y="3373"/>
                    <a:pt x="2707" y="3214"/>
                    <a:pt x="3027" y="2894"/>
                  </a:cubicBezTo>
                  <a:cubicBezTo>
                    <a:pt x="3511" y="2410"/>
                    <a:pt x="3656" y="1681"/>
                    <a:pt x="3394" y="1046"/>
                  </a:cubicBezTo>
                  <a:cubicBezTo>
                    <a:pt x="3132" y="413"/>
                    <a:pt x="2515" y="1"/>
                    <a:pt x="1828" y="1"/>
                  </a:cubicBezTo>
                  <a:cubicBezTo>
                    <a:pt x="1826" y="1"/>
                    <a:pt x="1823" y="1"/>
                    <a:pt x="1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5" name="Google Shape;6245;p70"/>
            <p:cNvSpPr/>
            <p:nvPr/>
          </p:nvSpPr>
          <p:spPr>
            <a:xfrm>
              <a:off x="1031050" y="4411100"/>
              <a:ext cx="338650" cy="338725"/>
            </a:xfrm>
            <a:custGeom>
              <a:avLst/>
              <a:gdLst/>
              <a:ahLst/>
              <a:cxnLst/>
              <a:rect l="l" t="t" r="r" b="b"/>
              <a:pathLst>
                <a:path w="13546" h="13549" extrusionOk="0">
                  <a:moveTo>
                    <a:pt x="7066" y="3673"/>
                  </a:moveTo>
                  <a:cubicBezTo>
                    <a:pt x="7800" y="3673"/>
                    <a:pt x="8522" y="3960"/>
                    <a:pt x="9062" y="4500"/>
                  </a:cubicBezTo>
                  <a:cubicBezTo>
                    <a:pt x="10170" y="5602"/>
                    <a:pt x="10170" y="7393"/>
                    <a:pt x="9062" y="8492"/>
                  </a:cubicBezTo>
                  <a:cubicBezTo>
                    <a:pt x="8522" y="9032"/>
                    <a:pt x="7800" y="9319"/>
                    <a:pt x="7066" y="9319"/>
                  </a:cubicBezTo>
                  <a:cubicBezTo>
                    <a:pt x="6702" y="9319"/>
                    <a:pt x="6334" y="9248"/>
                    <a:pt x="5984" y="9104"/>
                  </a:cubicBezTo>
                  <a:cubicBezTo>
                    <a:pt x="4930" y="8667"/>
                    <a:pt x="4244" y="7637"/>
                    <a:pt x="4244" y="6496"/>
                  </a:cubicBezTo>
                  <a:cubicBezTo>
                    <a:pt x="4244" y="5355"/>
                    <a:pt x="4930" y="4325"/>
                    <a:pt x="5984" y="3888"/>
                  </a:cubicBezTo>
                  <a:cubicBezTo>
                    <a:pt x="6334" y="3744"/>
                    <a:pt x="6702" y="3673"/>
                    <a:pt x="7066" y="3673"/>
                  </a:cubicBezTo>
                  <a:close/>
                  <a:moveTo>
                    <a:pt x="3868" y="9124"/>
                  </a:moveTo>
                  <a:cubicBezTo>
                    <a:pt x="4006" y="9124"/>
                    <a:pt x="4147" y="9176"/>
                    <a:pt x="4262" y="9290"/>
                  </a:cubicBezTo>
                  <a:cubicBezTo>
                    <a:pt x="4481" y="9510"/>
                    <a:pt x="4481" y="9869"/>
                    <a:pt x="4262" y="10088"/>
                  </a:cubicBezTo>
                  <a:cubicBezTo>
                    <a:pt x="4147" y="10204"/>
                    <a:pt x="4005" y="10255"/>
                    <a:pt x="3866" y="10255"/>
                  </a:cubicBezTo>
                  <a:cubicBezTo>
                    <a:pt x="3576" y="10255"/>
                    <a:pt x="3298" y="10031"/>
                    <a:pt x="3298" y="9691"/>
                  </a:cubicBezTo>
                  <a:cubicBezTo>
                    <a:pt x="3298" y="9350"/>
                    <a:pt x="3577" y="9124"/>
                    <a:pt x="3868" y="9124"/>
                  </a:cubicBezTo>
                  <a:close/>
                  <a:moveTo>
                    <a:pt x="8414" y="1"/>
                  </a:moveTo>
                  <a:cubicBezTo>
                    <a:pt x="6466" y="507"/>
                    <a:pt x="4888" y="1425"/>
                    <a:pt x="3518" y="2846"/>
                  </a:cubicBezTo>
                  <a:cubicBezTo>
                    <a:pt x="2169" y="4244"/>
                    <a:pt x="1000" y="6282"/>
                    <a:pt x="1" y="8212"/>
                  </a:cubicBezTo>
                  <a:lnTo>
                    <a:pt x="5337" y="13548"/>
                  </a:lnTo>
                  <a:cubicBezTo>
                    <a:pt x="7267" y="12549"/>
                    <a:pt x="9309" y="11380"/>
                    <a:pt x="10706" y="10031"/>
                  </a:cubicBezTo>
                  <a:cubicBezTo>
                    <a:pt x="12124" y="8664"/>
                    <a:pt x="13039" y="7086"/>
                    <a:pt x="13545" y="5138"/>
                  </a:cubicBezTo>
                  <a:lnTo>
                    <a:pt x="13112" y="5129"/>
                  </a:lnTo>
                  <a:cubicBezTo>
                    <a:pt x="10534" y="5099"/>
                    <a:pt x="8453" y="3015"/>
                    <a:pt x="8420" y="440"/>
                  </a:cubicBezTo>
                  <a:lnTo>
                    <a:pt x="84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6" name="Google Shape;6246;p70"/>
            <p:cNvSpPr/>
            <p:nvPr/>
          </p:nvSpPr>
          <p:spPr>
            <a:xfrm>
              <a:off x="1130500" y="4740450"/>
              <a:ext cx="108950" cy="111250"/>
            </a:xfrm>
            <a:custGeom>
              <a:avLst/>
              <a:gdLst/>
              <a:ahLst/>
              <a:cxnLst/>
              <a:rect l="l" t="t" r="r" b="b"/>
              <a:pathLst>
                <a:path w="4358" h="4450" extrusionOk="0">
                  <a:moveTo>
                    <a:pt x="4358" y="1"/>
                  </a:moveTo>
                  <a:lnTo>
                    <a:pt x="4358" y="1"/>
                  </a:lnTo>
                  <a:cubicBezTo>
                    <a:pt x="2906" y="877"/>
                    <a:pt x="1437" y="1609"/>
                    <a:pt x="1" y="2332"/>
                  </a:cubicBezTo>
                  <a:cubicBezTo>
                    <a:pt x="58" y="3090"/>
                    <a:pt x="112" y="3789"/>
                    <a:pt x="118" y="3882"/>
                  </a:cubicBezTo>
                  <a:cubicBezTo>
                    <a:pt x="118" y="4211"/>
                    <a:pt x="387" y="4450"/>
                    <a:pt x="683" y="4450"/>
                  </a:cubicBezTo>
                  <a:cubicBezTo>
                    <a:pt x="767" y="4450"/>
                    <a:pt x="854" y="4430"/>
                    <a:pt x="937" y="4388"/>
                  </a:cubicBezTo>
                  <a:cubicBezTo>
                    <a:pt x="1039" y="4295"/>
                    <a:pt x="3858" y="3208"/>
                    <a:pt x="43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7" name="Google Shape;6247;p70"/>
            <p:cNvSpPr/>
            <p:nvPr/>
          </p:nvSpPr>
          <p:spPr>
            <a:xfrm>
              <a:off x="927325" y="4539825"/>
              <a:ext cx="114150" cy="109800"/>
            </a:xfrm>
            <a:custGeom>
              <a:avLst/>
              <a:gdLst/>
              <a:ahLst/>
              <a:cxnLst/>
              <a:rect l="l" t="t" r="r" b="b"/>
              <a:pathLst>
                <a:path w="4566" h="4392" extrusionOk="0">
                  <a:moveTo>
                    <a:pt x="4565" y="1"/>
                  </a:moveTo>
                  <a:lnTo>
                    <a:pt x="4565" y="1"/>
                  </a:lnTo>
                  <a:cubicBezTo>
                    <a:pt x="1268" y="459"/>
                    <a:pt x="184" y="3334"/>
                    <a:pt x="91" y="3437"/>
                  </a:cubicBezTo>
                  <a:cubicBezTo>
                    <a:pt x="0" y="3611"/>
                    <a:pt x="9" y="3822"/>
                    <a:pt x="112" y="3988"/>
                  </a:cubicBezTo>
                  <a:cubicBezTo>
                    <a:pt x="295" y="4286"/>
                    <a:pt x="606" y="4232"/>
                    <a:pt x="723" y="4256"/>
                  </a:cubicBezTo>
                  <a:lnTo>
                    <a:pt x="2214" y="4391"/>
                  </a:lnTo>
                  <a:cubicBezTo>
                    <a:pt x="2945" y="2928"/>
                    <a:pt x="3680" y="1458"/>
                    <a:pt x="4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8" name="Google Shape;6248;p70"/>
            <p:cNvSpPr/>
            <p:nvPr/>
          </p:nvSpPr>
          <p:spPr>
            <a:xfrm>
              <a:off x="898875" y="4711550"/>
              <a:ext cx="170825" cy="169575"/>
            </a:xfrm>
            <a:custGeom>
              <a:avLst/>
              <a:gdLst/>
              <a:ahLst/>
              <a:cxnLst/>
              <a:rect l="l" t="t" r="r" b="b"/>
              <a:pathLst>
                <a:path w="6833" h="6783" extrusionOk="0">
                  <a:moveTo>
                    <a:pt x="2846" y="1"/>
                  </a:moveTo>
                  <a:cubicBezTo>
                    <a:pt x="1747" y="1052"/>
                    <a:pt x="503" y="4602"/>
                    <a:pt x="63" y="6050"/>
                  </a:cubicBezTo>
                  <a:cubicBezTo>
                    <a:pt x="0" y="6252"/>
                    <a:pt x="54" y="6469"/>
                    <a:pt x="202" y="6616"/>
                  </a:cubicBezTo>
                  <a:cubicBezTo>
                    <a:pt x="309" y="6724"/>
                    <a:pt x="454" y="6782"/>
                    <a:pt x="602" y="6782"/>
                  </a:cubicBezTo>
                  <a:cubicBezTo>
                    <a:pt x="656" y="6782"/>
                    <a:pt x="711" y="6774"/>
                    <a:pt x="765" y="6758"/>
                  </a:cubicBezTo>
                  <a:cubicBezTo>
                    <a:pt x="2225" y="6318"/>
                    <a:pt x="5782" y="5084"/>
                    <a:pt x="6833" y="3981"/>
                  </a:cubicBezTo>
                  <a:cubicBezTo>
                    <a:pt x="6655" y="3900"/>
                    <a:pt x="6492" y="3789"/>
                    <a:pt x="6354" y="3650"/>
                  </a:cubicBezTo>
                  <a:lnTo>
                    <a:pt x="5167" y="2464"/>
                  </a:lnTo>
                  <a:lnTo>
                    <a:pt x="4767" y="2861"/>
                  </a:lnTo>
                  <a:cubicBezTo>
                    <a:pt x="4658" y="2967"/>
                    <a:pt x="4517" y="3020"/>
                    <a:pt x="4375" y="3020"/>
                  </a:cubicBezTo>
                  <a:cubicBezTo>
                    <a:pt x="4231" y="3020"/>
                    <a:pt x="4086" y="2965"/>
                    <a:pt x="3975" y="2855"/>
                  </a:cubicBezTo>
                  <a:cubicBezTo>
                    <a:pt x="3758" y="2638"/>
                    <a:pt x="3755" y="2286"/>
                    <a:pt x="3969" y="2063"/>
                  </a:cubicBezTo>
                  <a:lnTo>
                    <a:pt x="4369" y="1663"/>
                  </a:lnTo>
                  <a:lnTo>
                    <a:pt x="3171" y="464"/>
                  </a:lnTo>
                  <a:cubicBezTo>
                    <a:pt x="3035" y="329"/>
                    <a:pt x="2927" y="172"/>
                    <a:pt x="28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9" name="Google Shape;6249;p70"/>
          <p:cNvGrpSpPr/>
          <p:nvPr/>
        </p:nvGrpSpPr>
        <p:grpSpPr>
          <a:xfrm>
            <a:off x="5473575" y="3554133"/>
            <a:ext cx="339253" cy="308765"/>
            <a:chOff x="1492675" y="4420975"/>
            <a:chExt cx="481825" cy="438525"/>
          </a:xfrm>
        </p:grpSpPr>
        <p:sp>
          <p:nvSpPr>
            <p:cNvPr id="6250" name="Google Shape;6250;p70"/>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1" name="Google Shape;6251;p70"/>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2" name="Google Shape;6252;p70"/>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3" name="Google Shape;6253;p70"/>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4" name="Google Shape;6254;p70"/>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55" name="Google Shape;6255;p70"/>
          <p:cNvGrpSpPr/>
          <p:nvPr/>
        </p:nvGrpSpPr>
        <p:grpSpPr>
          <a:xfrm>
            <a:off x="5878556" y="3539558"/>
            <a:ext cx="342580" cy="337915"/>
            <a:chOff x="2084100" y="4400250"/>
            <a:chExt cx="486550" cy="479925"/>
          </a:xfrm>
        </p:grpSpPr>
        <p:sp>
          <p:nvSpPr>
            <p:cNvPr id="6256" name="Google Shape;6256;p70"/>
            <p:cNvSpPr/>
            <p:nvPr/>
          </p:nvSpPr>
          <p:spPr>
            <a:xfrm>
              <a:off x="2084100" y="4652250"/>
              <a:ext cx="105325" cy="90050"/>
            </a:xfrm>
            <a:custGeom>
              <a:avLst/>
              <a:gdLst/>
              <a:ahLst/>
              <a:cxnLst/>
              <a:rect l="l" t="t" r="r" b="b"/>
              <a:pathLst>
                <a:path w="4213" h="3602" extrusionOk="0">
                  <a:moveTo>
                    <a:pt x="2260" y="1"/>
                  </a:moveTo>
                  <a:cubicBezTo>
                    <a:pt x="2109" y="1"/>
                    <a:pt x="1966" y="60"/>
                    <a:pt x="1858" y="168"/>
                  </a:cubicBezTo>
                  <a:lnTo>
                    <a:pt x="259" y="1764"/>
                  </a:lnTo>
                  <a:cubicBezTo>
                    <a:pt x="0" y="2023"/>
                    <a:pt x="54" y="2457"/>
                    <a:pt x="367" y="2647"/>
                  </a:cubicBezTo>
                  <a:lnTo>
                    <a:pt x="1957" y="3601"/>
                  </a:lnTo>
                  <a:cubicBezTo>
                    <a:pt x="2078" y="3228"/>
                    <a:pt x="2274" y="2885"/>
                    <a:pt x="2533" y="2592"/>
                  </a:cubicBezTo>
                  <a:lnTo>
                    <a:pt x="4213" y="274"/>
                  </a:lnTo>
                  <a:lnTo>
                    <a:pt x="2337" y="6"/>
                  </a:lnTo>
                  <a:cubicBezTo>
                    <a:pt x="2311" y="2"/>
                    <a:pt x="2285" y="1"/>
                    <a:pt x="2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7" name="Google Shape;6257;p70"/>
            <p:cNvSpPr/>
            <p:nvPr/>
          </p:nvSpPr>
          <p:spPr>
            <a:xfrm>
              <a:off x="2372575" y="4644175"/>
              <a:ext cx="175875" cy="226275"/>
            </a:xfrm>
            <a:custGeom>
              <a:avLst/>
              <a:gdLst/>
              <a:ahLst/>
              <a:cxnLst/>
              <a:rect l="l" t="t" r="r" b="b"/>
              <a:pathLst>
                <a:path w="7035" h="9051" extrusionOk="0">
                  <a:moveTo>
                    <a:pt x="4469" y="1"/>
                  </a:moveTo>
                  <a:cubicBezTo>
                    <a:pt x="3981" y="467"/>
                    <a:pt x="3466" y="901"/>
                    <a:pt x="2927" y="1304"/>
                  </a:cubicBezTo>
                  <a:lnTo>
                    <a:pt x="0" y="3436"/>
                  </a:lnTo>
                  <a:lnTo>
                    <a:pt x="3406" y="8787"/>
                  </a:lnTo>
                  <a:cubicBezTo>
                    <a:pt x="3514" y="8960"/>
                    <a:pt x="3697" y="9050"/>
                    <a:pt x="3882" y="9050"/>
                  </a:cubicBezTo>
                  <a:cubicBezTo>
                    <a:pt x="4025" y="9050"/>
                    <a:pt x="4170" y="8996"/>
                    <a:pt x="4282" y="8884"/>
                  </a:cubicBezTo>
                  <a:cubicBezTo>
                    <a:pt x="5818" y="7348"/>
                    <a:pt x="5990" y="7173"/>
                    <a:pt x="6821" y="6345"/>
                  </a:cubicBezTo>
                  <a:cubicBezTo>
                    <a:pt x="7034" y="6125"/>
                    <a:pt x="7031" y="5773"/>
                    <a:pt x="6812" y="5553"/>
                  </a:cubicBezTo>
                  <a:cubicBezTo>
                    <a:pt x="6702" y="5444"/>
                    <a:pt x="6558" y="5389"/>
                    <a:pt x="6413" y="5389"/>
                  </a:cubicBezTo>
                  <a:cubicBezTo>
                    <a:pt x="6272" y="5389"/>
                    <a:pt x="6130" y="5441"/>
                    <a:pt x="6020" y="5547"/>
                  </a:cubicBezTo>
                  <a:lnTo>
                    <a:pt x="5800" y="5767"/>
                  </a:lnTo>
                  <a:lnTo>
                    <a:pt x="5201" y="3174"/>
                  </a:lnTo>
                  <a:lnTo>
                    <a:pt x="5920" y="2455"/>
                  </a:lnTo>
                  <a:cubicBezTo>
                    <a:pt x="6134" y="2232"/>
                    <a:pt x="6131" y="1880"/>
                    <a:pt x="5914" y="1663"/>
                  </a:cubicBezTo>
                  <a:cubicBezTo>
                    <a:pt x="5804" y="1551"/>
                    <a:pt x="5660" y="1496"/>
                    <a:pt x="5515" y="1496"/>
                  </a:cubicBezTo>
                  <a:cubicBezTo>
                    <a:pt x="5374" y="1496"/>
                    <a:pt x="5232" y="1548"/>
                    <a:pt x="5122" y="1654"/>
                  </a:cubicBezTo>
                  <a:lnTo>
                    <a:pt x="4903" y="1877"/>
                  </a:lnTo>
                  <a:lnTo>
                    <a:pt x="44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8" name="Google Shape;6258;p70"/>
            <p:cNvSpPr/>
            <p:nvPr/>
          </p:nvSpPr>
          <p:spPr>
            <a:xfrm>
              <a:off x="2093950" y="4419400"/>
              <a:ext cx="228500" cy="174750"/>
            </a:xfrm>
            <a:custGeom>
              <a:avLst/>
              <a:gdLst/>
              <a:ahLst/>
              <a:cxnLst/>
              <a:rect l="l" t="t" r="r" b="b"/>
              <a:pathLst>
                <a:path w="9140" h="6990" extrusionOk="0">
                  <a:moveTo>
                    <a:pt x="3194" y="1"/>
                  </a:moveTo>
                  <a:cubicBezTo>
                    <a:pt x="3049" y="1"/>
                    <a:pt x="2905" y="56"/>
                    <a:pt x="2795" y="166"/>
                  </a:cubicBezTo>
                  <a:lnTo>
                    <a:pt x="257" y="2704"/>
                  </a:lnTo>
                  <a:cubicBezTo>
                    <a:pt x="1" y="2960"/>
                    <a:pt x="46" y="3385"/>
                    <a:pt x="350" y="3580"/>
                  </a:cubicBezTo>
                  <a:lnTo>
                    <a:pt x="5707" y="6989"/>
                  </a:lnTo>
                  <a:lnTo>
                    <a:pt x="7824" y="4071"/>
                  </a:lnTo>
                  <a:cubicBezTo>
                    <a:pt x="8230" y="3526"/>
                    <a:pt x="8670" y="3008"/>
                    <a:pt x="9140" y="2517"/>
                  </a:cubicBezTo>
                  <a:lnTo>
                    <a:pt x="7264" y="2084"/>
                  </a:lnTo>
                  <a:lnTo>
                    <a:pt x="7484" y="1864"/>
                  </a:lnTo>
                  <a:cubicBezTo>
                    <a:pt x="7697" y="1641"/>
                    <a:pt x="7694" y="1289"/>
                    <a:pt x="7478" y="1072"/>
                  </a:cubicBezTo>
                  <a:cubicBezTo>
                    <a:pt x="7368" y="961"/>
                    <a:pt x="7223" y="905"/>
                    <a:pt x="7078" y="905"/>
                  </a:cubicBezTo>
                  <a:cubicBezTo>
                    <a:pt x="6937" y="905"/>
                    <a:pt x="6795" y="958"/>
                    <a:pt x="6686" y="1063"/>
                  </a:cubicBezTo>
                  <a:lnTo>
                    <a:pt x="5966" y="1786"/>
                  </a:lnTo>
                  <a:lnTo>
                    <a:pt x="3370" y="1186"/>
                  </a:lnTo>
                  <a:lnTo>
                    <a:pt x="3593" y="964"/>
                  </a:lnTo>
                  <a:cubicBezTo>
                    <a:pt x="3813" y="744"/>
                    <a:pt x="3813" y="385"/>
                    <a:pt x="3593" y="166"/>
                  </a:cubicBezTo>
                  <a:cubicBezTo>
                    <a:pt x="3483" y="56"/>
                    <a:pt x="3339" y="1"/>
                    <a:pt x="31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9" name="Google Shape;6259;p70"/>
            <p:cNvSpPr/>
            <p:nvPr/>
          </p:nvSpPr>
          <p:spPr>
            <a:xfrm>
              <a:off x="2224425" y="4777500"/>
              <a:ext cx="90425" cy="102675"/>
            </a:xfrm>
            <a:custGeom>
              <a:avLst/>
              <a:gdLst/>
              <a:ahLst/>
              <a:cxnLst/>
              <a:rect l="l" t="t" r="r" b="b"/>
              <a:pathLst>
                <a:path w="3617" h="4107" extrusionOk="0">
                  <a:moveTo>
                    <a:pt x="3324" y="0"/>
                  </a:moveTo>
                  <a:lnTo>
                    <a:pt x="846" y="1804"/>
                  </a:lnTo>
                  <a:cubicBezTo>
                    <a:pt x="638" y="1994"/>
                    <a:pt x="340" y="2144"/>
                    <a:pt x="0" y="2250"/>
                  </a:cubicBezTo>
                  <a:lnTo>
                    <a:pt x="949" y="3831"/>
                  </a:lnTo>
                  <a:cubicBezTo>
                    <a:pt x="1057" y="4011"/>
                    <a:pt x="1245" y="4106"/>
                    <a:pt x="1435" y="4106"/>
                  </a:cubicBezTo>
                  <a:cubicBezTo>
                    <a:pt x="1578" y="4106"/>
                    <a:pt x="1723" y="4052"/>
                    <a:pt x="1834" y="3939"/>
                  </a:cubicBezTo>
                  <a:lnTo>
                    <a:pt x="3430" y="2343"/>
                  </a:lnTo>
                  <a:cubicBezTo>
                    <a:pt x="3556" y="2217"/>
                    <a:pt x="3617" y="2039"/>
                    <a:pt x="3589" y="1864"/>
                  </a:cubicBezTo>
                  <a:lnTo>
                    <a:pt x="33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0" name="Google Shape;6260;p70"/>
            <p:cNvSpPr/>
            <p:nvPr/>
          </p:nvSpPr>
          <p:spPr>
            <a:xfrm>
              <a:off x="2454100" y="4400250"/>
              <a:ext cx="116550" cy="107300"/>
            </a:xfrm>
            <a:custGeom>
              <a:avLst/>
              <a:gdLst/>
              <a:ahLst/>
              <a:cxnLst/>
              <a:rect l="l" t="t" r="r" b="b"/>
              <a:pathLst>
                <a:path w="4662" h="4292" extrusionOk="0">
                  <a:moveTo>
                    <a:pt x="2188" y="0"/>
                  </a:moveTo>
                  <a:cubicBezTo>
                    <a:pt x="1911" y="0"/>
                    <a:pt x="1630" y="51"/>
                    <a:pt x="1361" y="155"/>
                  </a:cubicBezTo>
                  <a:cubicBezTo>
                    <a:pt x="1015" y="287"/>
                    <a:pt x="675" y="432"/>
                    <a:pt x="341" y="588"/>
                  </a:cubicBezTo>
                  <a:cubicBezTo>
                    <a:pt x="0" y="1600"/>
                    <a:pt x="265" y="2717"/>
                    <a:pt x="1021" y="3470"/>
                  </a:cubicBezTo>
                  <a:cubicBezTo>
                    <a:pt x="1558" y="4004"/>
                    <a:pt x="2275" y="4291"/>
                    <a:pt x="3007" y="4291"/>
                  </a:cubicBezTo>
                  <a:cubicBezTo>
                    <a:pt x="3307" y="4291"/>
                    <a:pt x="3609" y="4243"/>
                    <a:pt x="3903" y="4145"/>
                  </a:cubicBezTo>
                  <a:cubicBezTo>
                    <a:pt x="4060" y="3813"/>
                    <a:pt x="4204" y="3473"/>
                    <a:pt x="4337" y="3130"/>
                  </a:cubicBezTo>
                  <a:cubicBezTo>
                    <a:pt x="4662" y="2281"/>
                    <a:pt x="4457" y="1320"/>
                    <a:pt x="3816" y="676"/>
                  </a:cubicBezTo>
                  <a:cubicBezTo>
                    <a:pt x="3375" y="235"/>
                    <a:pt x="2787" y="0"/>
                    <a:pt x="21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1" name="Google Shape;6261;p70"/>
            <p:cNvSpPr/>
            <p:nvPr/>
          </p:nvSpPr>
          <p:spPr>
            <a:xfrm>
              <a:off x="2152975" y="4431500"/>
              <a:ext cx="381925" cy="377725"/>
            </a:xfrm>
            <a:custGeom>
              <a:avLst/>
              <a:gdLst/>
              <a:ahLst/>
              <a:cxnLst/>
              <a:rect l="l" t="t" r="r" b="b"/>
              <a:pathLst>
                <a:path w="15277" h="15109" extrusionOk="0">
                  <a:moveTo>
                    <a:pt x="11062" y="3658"/>
                  </a:moveTo>
                  <a:cubicBezTo>
                    <a:pt x="11207" y="3658"/>
                    <a:pt x="11353" y="3714"/>
                    <a:pt x="11464" y="3825"/>
                  </a:cubicBezTo>
                  <a:cubicBezTo>
                    <a:pt x="11681" y="4042"/>
                    <a:pt x="11684" y="4394"/>
                    <a:pt x="11470" y="4617"/>
                  </a:cubicBezTo>
                  <a:lnTo>
                    <a:pt x="9076" y="7011"/>
                  </a:lnTo>
                  <a:cubicBezTo>
                    <a:pt x="8965" y="7122"/>
                    <a:pt x="8820" y="7178"/>
                    <a:pt x="8675" y="7178"/>
                  </a:cubicBezTo>
                  <a:cubicBezTo>
                    <a:pt x="8530" y="7178"/>
                    <a:pt x="8385" y="7122"/>
                    <a:pt x="8275" y="7011"/>
                  </a:cubicBezTo>
                  <a:cubicBezTo>
                    <a:pt x="8055" y="6791"/>
                    <a:pt x="8055" y="6433"/>
                    <a:pt x="8275" y="6213"/>
                  </a:cubicBezTo>
                  <a:lnTo>
                    <a:pt x="10672" y="3816"/>
                  </a:lnTo>
                  <a:cubicBezTo>
                    <a:pt x="10781" y="3711"/>
                    <a:pt x="10921" y="3658"/>
                    <a:pt x="11062" y="3658"/>
                  </a:cubicBezTo>
                  <a:close/>
                  <a:moveTo>
                    <a:pt x="11136" y="1"/>
                  </a:moveTo>
                  <a:lnTo>
                    <a:pt x="11136" y="1"/>
                  </a:lnTo>
                  <a:cubicBezTo>
                    <a:pt x="9278" y="1079"/>
                    <a:pt x="7658" y="2524"/>
                    <a:pt x="6378" y="4253"/>
                  </a:cubicBezTo>
                  <a:lnTo>
                    <a:pt x="624" y="12169"/>
                  </a:lnTo>
                  <a:cubicBezTo>
                    <a:pt x="0" y="12877"/>
                    <a:pt x="15" y="13979"/>
                    <a:pt x="660" y="14623"/>
                  </a:cubicBezTo>
                  <a:cubicBezTo>
                    <a:pt x="992" y="14957"/>
                    <a:pt x="1464" y="15108"/>
                    <a:pt x="1921" y="15108"/>
                  </a:cubicBezTo>
                  <a:cubicBezTo>
                    <a:pt x="2351" y="15108"/>
                    <a:pt x="2767" y="14974"/>
                    <a:pt x="3039" y="14732"/>
                  </a:cubicBezTo>
                  <a:lnTo>
                    <a:pt x="11037" y="8905"/>
                  </a:lnTo>
                  <a:cubicBezTo>
                    <a:pt x="12759" y="7628"/>
                    <a:pt x="14201" y="6014"/>
                    <a:pt x="15276" y="4162"/>
                  </a:cubicBezTo>
                  <a:lnTo>
                    <a:pt x="15276" y="4162"/>
                  </a:lnTo>
                  <a:cubicBezTo>
                    <a:pt x="15201" y="4166"/>
                    <a:pt x="15126" y="4168"/>
                    <a:pt x="15052" y="4168"/>
                  </a:cubicBezTo>
                  <a:cubicBezTo>
                    <a:pt x="13942" y="4168"/>
                    <a:pt x="12979" y="3729"/>
                    <a:pt x="12265" y="3018"/>
                  </a:cubicBezTo>
                  <a:cubicBezTo>
                    <a:pt x="11446" y="2199"/>
                    <a:pt x="11076" y="109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62" name="Google Shape;6262;p70"/>
          <p:cNvGrpSpPr/>
          <p:nvPr/>
        </p:nvGrpSpPr>
        <p:grpSpPr>
          <a:xfrm>
            <a:off x="6315036" y="3538907"/>
            <a:ext cx="298169" cy="339218"/>
            <a:chOff x="2707950" y="4399325"/>
            <a:chExt cx="423475" cy="481775"/>
          </a:xfrm>
        </p:grpSpPr>
        <p:sp>
          <p:nvSpPr>
            <p:cNvPr id="6263" name="Google Shape;6263;p70"/>
            <p:cNvSpPr/>
            <p:nvPr/>
          </p:nvSpPr>
          <p:spPr>
            <a:xfrm>
              <a:off x="2905550" y="4515000"/>
              <a:ext cx="28275" cy="366100"/>
            </a:xfrm>
            <a:custGeom>
              <a:avLst/>
              <a:gdLst/>
              <a:ahLst/>
              <a:cxnLst/>
              <a:rect l="l" t="t" r="r" b="b"/>
              <a:pathLst>
                <a:path w="1131" h="14644" extrusionOk="0">
                  <a:moveTo>
                    <a:pt x="1" y="0"/>
                  </a:moveTo>
                  <a:lnTo>
                    <a:pt x="1" y="14644"/>
                  </a:lnTo>
                  <a:lnTo>
                    <a:pt x="1130" y="14644"/>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4" name="Google Shape;6264;p70"/>
            <p:cNvSpPr/>
            <p:nvPr/>
          </p:nvSpPr>
          <p:spPr>
            <a:xfrm>
              <a:off x="2962025" y="4710725"/>
              <a:ext cx="141175" cy="29225"/>
            </a:xfrm>
            <a:custGeom>
              <a:avLst/>
              <a:gdLst/>
              <a:ahLst/>
              <a:cxnLst/>
              <a:rect l="l" t="t" r="r" b="b"/>
              <a:pathLst>
                <a:path w="5647" h="1169" extrusionOk="0">
                  <a:moveTo>
                    <a:pt x="0" y="0"/>
                  </a:moveTo>
                  <a:lnTo>
                    <a:pt x="0" y="1169"/>
                  </a:lnTo>
                  <a:lnTo>
                    <a:pt x="5646" y="1169"/>
                  </a:ln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5" name="Google Shape;6265;p70"/>
            <p:cNvSpPr/>
            <p:nvPr/>
          </p:nvSpPr>
          <p:spPr>
            <a:xfrm>
              <a:off x="2962025" y="4768175"/>
              <a:ext cx="141175" cy="112925"/>
            </a:xfrm>
            <a:custGeom>
              <a:avLst/>
              <a:gdLst/>
              <a:ahLst/>
              <a:cxnLst/>
              <a:rect l="l" t="t" r="r" b="b"/>
              <a:pathLst>
                <a:path w="5647" h="4517" extrusionOk="0">
                  <a:moveTo>
                    <a:pt x="0" y="0"/>
                  </a:moveTo>
                  <a:lnTo>
                    <a:pt x="0" y="4517"/>
                  </a:lnTo>
                  <a:lnTo>
                    <a:pt x="3951" y="4517"/>
                  </a:lnTo>
                  <a:cubicBezTo>
                    <a:pt x="4888" y="4517"/>
                    <a:pt x="5646" y="3758"/>
                    <a:pt x="5646" y="2825"/>
                  </a:cubicBez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6" name="Google Shape;6266;p70"/>
            <p:cNvSpPr/>
            <p:nvPr/>
          </p:nvSpPr>
          <p:spPr>
            <a:xfrm>
              <a:off x="2736175" y="4710725"/>
              <a:ext cx="141175" cy="29225"/>
            </a:xfrm>
            <a:custGeom>
              <a:avLst/>
              <a:gdLst/>
              <a:ahLst/>
              <a:cxnLst/>
              <a:rect l="l" t="t" r="r" b="b"/>
              <a:pathLst>
                <a:path w="5647" h="1169" extrusionOk="0">
                  <a:moveTo>
                    <a:pt x="1" y="0"/>
                  </a:moveTo>
                  <a:lnTo>
                    <a:pt x="1" y="1169"/>
                  </a:lnTo>
                  <a:lnTo>
                    <a:pt x="5647" y="1169"/>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7" name="Google Shape;6267;p70"/>
            <p:cNvSpPr/>
            <p:nvPr/>
          </p:nvSpPr>
          <p:spPr>
            <a:xfrm>
              <a:off x="2736175" y="4768175"/>
              <a:ext cx="141175" cy="112925"/>
            </a:xfrm>
            <a:custGeom>
              <a:avLst/>
              <a:gdLst/>
              <a:ahLst/>
              <a:cxnLst/>
              <a:rect l="l" t="t" r="r" b="b"/>
              <a:pathLst>
                <a:path w="5647" h="4517" extrusionOk="0">
                  <a:moveTo>
                    <a:pt x="1" y="0"/>
                  </a:moveTo>
                  <a:lnTo>
                    <a:pt x="1" y="2825"/>
                  </a:lnTo>
                  <a:cubicBezTo>
                    <a:pt x="1" y="3758"/>
                    <a:pt x="759" y="4517"/>
                    <a:pt x="1693" y="4517"/>
                  </a:cubicBezTo>
                  <a:lnTo>
                    <a:pt x="5647" y="4517"/>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8" name="Google Shape;6268;p70"/>
            <p:cNvSpPr/>
            <p:nvPr/>
          </p:nvSpPr>
          <p:spPr>
            <a:xfrm>
              <a:off x="2707950" y="4515075"/>
              <a:ext cx="169400" cy="82825"/>
            </a:xfrm>
            <a:custGeom>
              <a:avLst/>
              <a:gdLst/>
              <a:ahLst/>
              <a:cxnLst/>
              <a:rect l="l" t="t" r="r" b="b"/>
              <a:pathLst>
                <a:path w="6776" h="3313" extrusionOk="0">
                  <a:moveTo>
                    <a:pt x="1693" y="0"/>
                  </a:moveTo>
                  <a:cubicBezTo>
                    <a:pt x="759" y="0"/>
                    <a:pt x="0" y="756"/>
                    <a:pt x="0" y="1693"/>
                  </a:cubicBezTo>
                  <a:lnTo>
                    <a:pt x="0" y="2747"/>
                  </a:lnTo>
                  <a:cubicBezTo>
                    <a:pt x="0" y="3060"/>
                    <a:pt x="253" y="3313"/>
                    <a:pt x="563" y="3313"/>
                  </a:cubicBezTo>
                  <a:lnTo>
                    <a:pt x="6776" y="3313"/>
                  </a:lnTo>
                  <a:lnTo>
                    <a:pt x="67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9" name="Google Shape;6269;p70"/>
            <p:cNvSpPr/>
            <p:nvPr/>
          </p:nvSpPr>
          <p:spPr>
            <a:xfrm>
              <a:off x="2736175" y="4626025"/>
              <a:ext cx="141175" cy="56500"/>
            </a:xfrm>
            <a:custGeom>
              <a:avLst/>
              <a:gdLst/>
              <a:ahLst/>
              <a:cxnLst/>
              <a:rect l="l" t="t" r="r" b="b"/>
              <a:pathLst>
                <a:path w="5647" h="2260" extrusionOk="0">
                  <a:moveTo>
                    <a:pt x="1" y="1"/>
                  </a:moveTo>
                  <a:lnTo>
                    <a:pt x="1" y="2259"/>
                  </a:lnTo>
                  <a:lnTo>
                    <a:pt x="5647" y="2259"/>
                  </a:lnTo>
                  <a:lnTo>
                    <a:pt x="5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0" name="Google Shape;6270;p70"/>
            <p:cNvSpPr/>
            <p:nvPr/>
          </p:nvSpPr>
          <p:spPr>
            <a:xfrm>
              <a:off x="2850525" y="4430375"/>
              <a:ext cx="138325" cy="56500"/>
            </a:xfrm>
            <a:custGeom>
              <a:avLst/>
              <a:gdLst/>
              <a:ahLst/>
              <a:cxnLst/>
              <a:rect l="l" t="t" r="r" b="b"/>
              <a:pathLst>
                <a:path w="5533" h="2260" extrusionOk="0">
                  <a:moveTo>
                    <a:pt x="2765" y="1"/>
                  </a:moveTo>
                  <a:cubicBezTo>
                    <a:pt x="1500" y="1"/>
                    <a:pt x="275" y="916"/>
                    <a:pt x="1" y="2259"/>
                  </a:cubicBezTo>
                  <a:lnTo>
                    <a:pt x="5532" y="2259"/>
                  </a:lnTo>
                  <a:cubicBezTo>
                    <a:pt x="5258" y="910"/>
                    <a:pt x="4030" y="1"/>
                    <a:pt x="2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1" name="Google Shape;6271;p70"/>
            <p:cNvSpPr/>
            <p:nvPr/>
          </p:nvSpPr>
          <p:spPr>
            <a:xfrm>
              <a:off x="2974300" y="4399350"/>
              <a:ext cx="129650" cy="87525"/>
            </a:xfrm>
            <a:custGeom>
              <a:avLst/>
              <a:gdLst/>
              <a:ahLst/>
              <a:cxnLst/>
              <a:rect l="l" t="t" r="r" b="b"/>
              <a:pathLst>
                <a:path w="5186" h="3501" extrusionOk="0">
                  <a:moveTo>
                    <a:pt x="2058" y="0"/>
                  </a:moveTo>
                  <a:cubicBezTo>
                    <a:pt x="1374" y="0"/>
                    <a:pt x="670" y="239"/>
                    <a:pt x="0" y="775"/>
                  </a:cubicBezTo>
                  <a:cubicBezTo>
                    <a:pt x="931" y="1398"/>
                    <a:pt x="1554" y="2389"/>
                    <a:pt x="1714" y="3500"/>
                  </a:cubicBezTo>
                  <a:lnTo>
                    <a:pt x="4397" y="3500"/>
                  </a:lnTo>
                  <a:cubicBezTo>
                    <a:pt x="4842" y="3497"/>
                    <a:pt x="5185" y="3109"/>
                    <a:pt x="5131" y="2666"/>
                  </a:cubicBezTo>
                  <a:cubicBezTo>
                    <a:pt x="5128" y="2639"/>
                    <a:pt x="5125" y="2609"/>
                    <a:pt x="5119" y="2579"/>
                  </a:cubicBezTo>
                  <a:cubicBezTo>
                    <a:pt x="4936" y="1482"/>
                    <a:pt x="4207" y="609"/>
                    <a:pt x="3171" y="212"/>
                  </a:cubicBezTo>
                  <a:cubicBezTo>
                    <a:pt x="2813" y="74"/>
                    <a:pt x="2438" y="0"/>
                    <a:pt x="20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2" name="Google Shape;6272;p70"/>
            <p:cNvSpPr/>
            <p:nvPr/>
          </p:nvSpPr>
          <p:spPr>
            <a:xfrm>
              <a:off x="2735425" y="4399325"/>
              <a:ext cx="129650" cy="87475"/>
            </a:xfrm>
            <a:custGeom>
              <a:avLst/>
              <a:gdLst/>
              <a:ahLst/>
              <a:cxnLst/>
              <a:rect l="l" t="t" r="r" b="b"/>
              <a:pathLst>
                <a:path w="5186" h="3499" extrusionOk="0">
                  <a:moveTo>
                    <a:pt x="3150" y="0"/>
                  </a:moveTo>
                  <a:cubicBezTo>
                    <a:pt x="2765" y="0"/>
                    <a:pt x="2385" y="77"/>
                    <a:pt x="2015" y="219"/>
                  </a:cubicBezTo>
                  <a:cubicBezTo>
                    <a:pt x="979" y="616"/>
                    <a:pt x="250" y="1483"/>
                    <a:pt x="67" y="2580"/>
                  </a:cubicBezTo>
                  <a:cubicBezTo>
                    <a:pt x="64" y="2610"/>
                    <a:pt x="58" y="2637"/>
                    <a:pt x="55" y="2667"/>
                  </a:cubicBezTo>
                  <a:cubicBezTo>
                    <a:pt x="0" y="3110"/>
                    <a:pt x="344" y="3498"/>
                    <a:pt x="789" y="3498"/>
                  </a:cubicBezTo>
                  <a:lnTo>
                    <a:pt x="3475" y="3498"/>
                  </a:lnTo>
                  <a:cubicBezTo>
                    <a:pt x="3632" y="2390"/>
                    <a:pt x="4255" y="1399"/>
                    <a:pt x="5186" y="776"/>
                  </a:cubicBezTo>
                  <a:cubicBezTo>
                    <a:pt x="4510" y="236"/>
                    <a:pt x="3823" y="0"/>
                    <a:pt x="31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3" name="Google Shape;6273;p70"/>
            <p:cNvSpPr/>
            <p:nvPr/>
          </p:nvSpPr>
          <p:spPr>
            <a:xfrm>
              <a:off x="2962025" y="4515075"/>
              <a:ext cx="169400" cy="82825"/>
            </a:xfrm>
            <a:custGeom>
              <a:avLst/>
              <a:gdLst/>
              <a:ahLst/>
              <a:cxnLst/>
              <a:rect l="l" t="t" r="r" b="b"/>
              <a:pathLst>
                <a:path w="6776" h="3313" extrusionOk="0">
                  <a:moveTo>
                    <a:pt x="0" y="0"/>
                  </a:moveTo>
                  <a:lnTo>
                    <a:pt x="0" y="3313"/>
                  </a:lnTo>
                  <a:lnTo>
                    <a:pt x="6209" y="3313"/>
                  </a:lnTo>
                  <a:cubicBezTo>
                    <a:pt x="6523" y="3313"/>
                    <a:pt x="6776" y="3060"/>
                    <a:pt x="6776" y="2747"/>
                  </a:cubicBezTo>
                  <a:lnTo>
                    <a:pt x="6776" y="1693"/>
                  </a:lnTo>
                  <a:cubicBezTo>
                    <a:pt x="6776" y="756"/>
                    <a:pt x="6017"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4" name="Google Shape;6274;p70"/>
            <p:cNvSpPr/>
            <p:nvPr/>
          </p:nvSpPr>
          <p:spPr>
            <a:xfrm>
              <a:off x="2962025" y="4626025"/>
              <a:ext cx="141175" cy="56500"/>
            </a:xfrm>
            <a:custGeom>
              <a:avLst/>
              <a:gdLst/>
              <a:ahLst/>
              <a:cxnLst/>
              <a:rect l="l" t="t" r="r" b="b"/>
              <a:pathLst>
                <a:path w="5647" h="2260" extrusionOk="0">
                  <a:moveTo>
                    <a:pt x="0" y="1"/>
                  </a:moveTo>
                  <a:lnTo>
                    <a:pt x="0" y="2259"/>
                  </a:lnTo>
                  <a:lnTo>
                    <a:pt x="5646" y="2259"/>
                  </a:lnTo>
                  <a:lnTo>
                    <a:pt x="56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75" name="Google Shape;6275;p70"/>
          <p:cNvGrpSpPr/>
          <p:nvPr/>
        </p:nvGrpSpPr>
        <p:grpSpPr>
          <a:xfrm>
            <a:off x="6744555" y="3538881"/>
            <a:ext cx="275057" cy="339271"/>
            <a:chOff x="3330525" y="4399275"/>
            <a:chExt cx="390650" cy="481850"/>
          </a:xfrm>
        </p:grpSpPr>
        <p:sp>
          <p:nvSpPr>
            <p:cNvPr id="6276" name="Google Shape;6276;p70"/>
            <p:cNvSpPr/>
            <p:nvPr/>
          </p:nvSpPr>
          <p:spPr>
            <a:xfrm>
              <a:off x="3543950" y="4648550"/>
              <a:ext cx="78450" cy="95775"/>
            </a:xfrm>
            <a:custGeom>
              <a:avLst/>
              <a:gdLst/>
              <a:ahLst/>
              <a:cxnLst/>
              <a:rect l="l" t="t" r="r" b="b"/>
              <a:pathLst>
                <a:path w="3138" h="3831" extrusionOk="0">
                  <a:moveTo>
                    <a:pt x="2677" y="0"/>
                  </a:moveTo>
                  <a:cubicBezTo>
                    <a:pt x="2298" y="356"/>
                    <a:pt x="1861" y="648"/>
                    <a:pt x="1388" y="858"/>
                  </a:cubicBezTo>
                  <a:lnTo>
                    <a:pt x="0" y="2948"/>
                  </a:lnTo>
                  <a:lnTo>
                    <a:pt x="880" y="3831"/>
                  </a:lnTo>
                  <a:lnTo>
                    <a:pt x="3138" y="443"/>
                  </a:lnTo>
                  <a:lnTo>
                    <a:pt x="26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7" name="Google Shape;6277;p70"/>
            <p:cNvSpPr/>
            <p:nvPr/>
          </p:nvSpPr>
          <p:spPr>
            <a:xfrm>
              <a:off x="3427250" y="4456050"/>
              <a:ext cx="197650" cy="197175"/>
            </a:xfrm>
            <a:custGeom>
              <a:avLst/>
              <a:gdLst/>
              <a:ahLst/>
              <a:cxnLst/>
              <a:rect l="l" t="t" r="r" b="b"/>
              <a:pathLst>
                <a:path w="7906" h="7887" extrusionOk="0">
                  <a:moveTo>
                    <a:pt x="7520" y="0"/>
                  </a:moveTo>
                  <a:cubicBezTo>
                    <a:pt x="6863" y="1374"/>
                    <a:pt x="5475" y="2247"/>
                    <a:pt x="3952" y="2247"/>
                  </a:cubicBezTo>
                  <a:lnTo>
                    <a:pt x="1" y="2247"/>
                  </a:lnTo>
                  <a:lnTo>
                    <a:pt x="1" y="3942"/>
                  </a:lnTo>
                  <a:cubicBezTo>
                    <a:pt x="1" y="5698"/>
                    <a:pt x="1154" y="7137"/>
                    <a:pt x="2587" y="7643"/>
                  </a:cubicBezTo>
                  <a:lnTo>
                    <a:pt x="2597" y="7643"/>
                  </a:lnTo>
                  <a:cubicBezTo>
                    <a:pt x="3006" y="7806"/>
                    <a:pt x="3480" y="7887"/>
                    <a:pt x="3953" y="7887"/>
                  </a:cubicBezTo>
                  <a:cubicBezTo>
                    <a:pt x="4426" y="7887"/>
                    <a:pt x="4899" y="7806"/>
                    <a:pt x="5307" y="7643"/>
                  </a:cubicBezTo>
                  <a:lnTo>
                    <a:pt x="5319" y="7643"/>
                  </a:lnTo>
                  <a:cubicBezTo>
                    <a:pt x="6451" y="7306"/>
                    <a:pt x="7905" y="5848"/>
                    <a:pt x="7905" y="3942"/>
                  </a:cubicBezTo>
                  <a:lnTo>
                    <a:pt x="7905" y="1684"/>
                  </a:lnTo>
                  <a:cubicBezTo>
                    <a:pt x="7905" y="1100"/>
                    <a:pt x="7776" y="524"/>
                    <a:pt x="7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8" name="Google Shape;6278;p70"/>
            <p:cNvSpPr/>
            <p:nvPr/>
          </p:nvSpPr>
          <p:spPr>
            <a:xfrm>
              <a:off x="3428150" y="4399275"/>
              <a:ext cx="166925" cy="84725"/>
            </a:xfrm>
            <a:custGeom>
              <a:avLst/>
              <a:gdLst/>
              <a:ahLst/>
              <a:cxnLst/>
              <a:rect l="l" t="t" r="r" b="b"/>
              <a:pathLst>
                <a:path w="6677" h="3389" extrusionOk="0">
                  <a:moveTo>
                    <a:pt x="3921" y="1"/>
                  </a:moveTo>
                  <a:cubicBezTo>
                    <a:pt x="3917" y="1"/>
                    <a:pt x="3913" y="1"/>
                    <a:pt x="3910" y="1"/>
                  </a:cubicBezTo>
                  <a:cubicBezTo>
                    <a:pt x="1946" y="4"/>
                    <a:pt x="284" y="1446"/>
                    <a:pt x="1" y="3389"/>
                  </a:cubicBezTo>
                  <a:lnTo>
                    <a:pt x="3910" y="3389"/>
                  </a:lnTo>
                  <a:cubicBezTo>
                    <a:pt x="5247" y="3389"/>
                    <a:pt x="6403" y="2452"/>
                    <a:pt x="6677" y="1142"/>
                  </a:cubicBezTo>
                  <a:cubicBezTo>
                    <a:pt x="5945" y="410"/>
                    <a:pt x="4953" y="1"/>
                    <a:pt x="39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9" name="Google Shape;6279;p70"/>
            <p:cNvSpPr/>
            <p:nvPr/>
          </p:nvSpPr>
          <p:spPr>
            <a:xfrm>
              <a:off x="3330525" y="4674000"/>
              <a:ext cx="181225" cy="207125"/>
            </a:xfrm>
            <a:custGeom>
              <a:avLst/>
              <a:gdLst/>
              <a:ahLst/>
              <a:cxnLst/>
              <a:rect l="l" t="t" r="r" b="b"/>
              <a:pathLst>
                <a:path w="7249" h="8285" extrusionOk="0">
                  <a:moveTo>
                    <a:pt x="2972" y="0"/>
                  </a:moveTo>
                  <a:lnTo>
                    <a:pt x="1455" y="440"/>
                  </a:lnTo>
                  <a:cubicBezTo>
                    <a:pt x="542" y="744"/>
                    <a:pt x="0" y="1716"/>
                    <a:pt x="235" y="2620"/>
                  </a:cubicBezTo>
                  <a:lnTo>
                    <a:pt x="1229" y="7832"/>
                  </a:lnTo>
                  <a:cubicBezTo>
                    <a:pt x="1289" y="8091"/>
                    <a:pt x="1518" y="8278"/>
                    <a:pt x="1783" y="8284"/>
                  </a:cubicBezTo>
                  <a:cubicBezTo>
                    <a:pt x="1787" y="8284"/>
                    <a:pt x="1792" y="8285"/>
                    <a:pt x="1796" y="8285"/>
                  </a:cubicBezTo>
                  <a:cubicBezTo>
                    <a:pt x="1816" y="8285"/>
                    <a:pt x="1835" y="8279"/>
                    <a:pt x="1852" y="8272"/>
                  </a:cubicBezTo>
                  <a:cubicBezTo>
                    <a:pt x="1861" y="8284"/>
                    <a:pt x="1861" y="8284"/>
                    <a:pt x="1873" y="8284"/>
                  </a:cubicBezTo>
                  <a:lnTo>
                    <a:pt x="7248" y="8284"/>
                  </a:lnTo>
                  <a:lnTo>
                    <a:pt x="7248" y="3364"/>
                  </a:lnTo>
                  <a:lnTo>
                    <a:pt x="6514" y="4086"/>
                  </a:lnTo>
                  <a:cubicBezTo>
                    <a:pt x="6410" y="4202"/>
                    <a:pt x="6270" y="4259"/>
                    <a:pt x="6126" y="4259"/>
                  </a:cubicBezTo>
                  <a:cubicBezTo>
                    <a:pt x="5952" y="4259"/>
                    <a:pt x="5772" y="4175"/>
                    <a:pt x="5646" y="4008"/>
                  </a:cubicBezTo>
                  <a:lnTo>
                    <a:pt x="29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0" name="Google Shape;6280;p70"/>
            <p:cNvSpPr/>
            <p:nvPr/>
          </p:nvSpPr>
          <p:spPr>
            <a:xfrm>
              <a:off x="3540175" y="4674000"/>
              <a:ext cx="181000" cy="207100"/>
            </a:xfrm>
            <a:custGeom>
              <a:avLst/>
              <a:gdLst/>
              <a:ahLst/>
              <a:cxnLst/>
              <a:rect l="l" t="t" r="r" b="b"/>
              <a:pathLst>
                <a:path w="7240" h="8284" extrusionOk="0">
                  <a:moveTo>
                    <a:pt x="3951" y="4821"/>
                  </a:moveTo>
                  <a:cubicBezTo>
                    <a:pt x="4701" y="4821"/>
                    <a:pt x="4701" y="5950"/>
                    <a:pt x="3951" y="5950"/>
                  </a:cubicBezTo>
                  <a:lnTo>
                    <a:pt x="2822" y="5950"/>
                  </a:lnTo>
                  <a:cubicBezTo>
                    <a:pt x="2075" y="5950"/>
                    <a:pt x="2075" y="4821"/>
                    <a:pt x="2822" y="4821"/>
                  </a:cubicBezTo>
                  <a:close/>
                  <a:moveTo>
                    <a:pt x="4280" y="0"/>
                  </a:moveTo>
                  <a:lnTo>
                    <a:pt x="1603" y="4008"/>
                  </a:lnTo>
                  <a:cubicBezTo>
                    <a:pt x="1476" y="4178"/>
                    <a:pt x="1297" y="4257"/>
                    <a:pt x="1126" y="4257"/>
                  </a:cubicBezTo>
                  <a:cubicBezTo>
                    <a:pt x="977" y="4257"/>
                    <a:pt x="834" y="4197"/>
                    <a:pt x="735" y="4086"/>
                  </a:cubicBezTo>
                  <a:lnTo>
                    <a:pt x="1" y="3364"/>
                  </a:lnTo>
                  <a:lnTo>
                    <a:pt x="1" y="8284"/>
                  </a:lnTo>
                  <a:lnTo>
                    <a:pt x="5454" y="8284"/>
                  </a:lnTo>
                  <a:cubicBezTo>
                    <a:pt x="5722" y="8284"/>
                    <a:pt x="5954" y="8094"/>
                    <a:pt x="6008" y="7832"/>
                  </a:cubicBezTo>
                  <a:lnTo>
                    <a:pt x="7002" y="2653"/>
                  </a:lnTo>
                  <a:cubicBezTo>
                    <a:pt x="7240" y="1716"/>
                    <a:pt x="6707" y="744"/>
                    <a:pt x="5770" y="428"/>
                  </a:cubicBezTo>
                  <a:lnTo>
                    <a:pt x="42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1" name="Google Shape;6281;p70"/>
            <p:cNvSpPr/>
            <p:nvPr/>
          </p:nvSpPr>
          <p:spPr>
            <a:xfrm>
              <a:off x="3429975" y="4648850"/>
              <a:ext cx="78225" cy="95400"/>
            </a:xfrm>
            <a:custGeom>
              <a:avLst/>
              <a:gdLst/>
              <a:ahLst/>
              <a:cxnLst/>
              <a:rect l="l" t="t" r="r" b="b"/>
              <a:pathLst>
                <a:path w="3129" h="3816" extrusionOk="0">
                  <a:moveTo>
                    <a:pt x="452" y="0"/>
                  </a:moveTo>
                  <a:lnTo>
                    <a:pt x="0" y="440"/>
                  </a:lnTo>
                  <a:lnTo>
                    <a:pt x="2247" y="3816"/>
                  </a:lnTo>
                  <a:lnTo>
                    <a:pt x="3129" y="2936"/>
                  </a:lnTo>
                  <a:lnTo>
                    <a:pt x="1741" y="846"/>
                  </a:lnTo>
                  <a:cubicBezTo>
                    <a:pt x="1268" y="636"/>
                    <a:pt x="834" y="350"/>
                    <a:pt x="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2" name="Google Shape;6282;p70"/>
            <p:cNvSpPr/>
            <p:nvPr/>
          </p:nvSpPr>
          <p:spPr>
            <a:xfrm>
              <a:off x="3514200" y="4681000"/>
              <a:ext cx="23150" cy="17550"/>
            </a:xfrm>
            <a:custGeom>
              <a:avLst/>
              <a:gdLst/>
              <a:ahLst/>
              <a:cxnLst/>
              <a:rect l="l" t="t" r="r" b="b"/>
              <a:pathLst>
                <a:path w="926" h="702" extrusionOk="0">
                  <a:moveTo>
                    <a:pt x="1" y="0"/>
                  </a:moveTo>
                  <a:lnTo>
                    <a:pt x="465" y="702"/>
                  </a:lnTo>
                  <a:lnTo>
                    <a:pt x="925" y="0"/>
                  </a:lnTo>
                  <a:lnTo>
                    <a:pt x="916" y="0"/>
                  </a:lnTo>
                  <a:cubicBezTo>
                    <a:pt x="769" y="12"/>
                    <a:pt x="609" y="24"/>
                    <a:pt x="465" y="24"/>
                  </a:cubicBezTo>
                  <a:cubicBezTo>
                    <a:pt x="317" y="24"/>
                    <a:pt x="157" y="12"/>
                    <a:pt x="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3" name="Google Shape;6283;p70"/>
          <p:cNvGrpSpPr/>
          <p:nvPr/>
        </p:nvGrpSpPr>
        <p:grpSpPr>
          <a:xfrm>
            <a:off x="7169084" y="3538890"/>
            <a:ext cx="253265" cy="339253"/>
            <a:chOff x="3938800" y="4399275"/>
            <a:chExt cx="359700" cy="481825"/>
          </a:xfrm>
        </p:grpSpPr>
        <p:sp>
          <p:nvSpPr>
            <p:cNvPr id="6284" name="Google Shape;6284;p70"/>
            <p:cNvSpPr/>
            <p:nvPr/>
          </p:nvSpPr>
          <p:spPr>
            <a:xfrm>
              <a:off x="4022650" y="4427525"/>
              <a:ext cx="166625" cy="84700"/>
            </a:xfrm>
            <a:custGeom>
              <a:avLst/>
              <a:gdLst/>
              <a:ahLst/>
              <a:cxnLst/>
              <a:rect l="l" t="t" r="r" b="b"/>
              <a:pathLst>
                <a:path w="6665" h="3388" extrusionOk="0">
                  <a:moveTo>
                    <a:pt x="3909" y="0"/>
                  </a:moveTo>
                  <a:cubicBezTo>
                    <a:pt x="1946" y="3"/>
                    <a:pt x="284" y="1446"/>
                    <a:pt x="1" y="3388"/>
                  </a:cubicBezTo>
                  <a:lnTo>
                    <a:pt x="3909" y="3388"/>
                  </a:lnTo>
                  <a:cubicBezTo>
                    <a:pt x="4807" y="3385"/>
                    <a:pt x="5647" y="2957"/>
                    <a:pt x="6180" y="2235"/>
                  </a:cubicBezTo>
                  <a:cubicBezTo>
                    <a:pt x="6421" y="1909"/>
                    <a:pt x="6589" y="1530"/>
                    <a:pt x="6665" y="1129"/>
                  </a:cubicBezTo>
                  <a:cubicBezTo>
                    <a:pt x="6135" y="602"/>
                    <a:pt x="5463" y="241"/>
                    <a:pt x="4734" y="91"/>
                  </a:cubicBezTo>
                  <a:cubicBezTo>
                    <a:pt x="4463" y="30"/>
                    <a:pt x="4186" y="0"/>
                    <a:pt x="3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5" name="Google Shape;6285;p70"/>
            <p:cNvSpPr/>
            <p:nvPr/>
          </p:nvSpPr>
          <p:spPr>
            <a:xfrm>
              <a:off x="4021450" y="4484275"/>
              <a:ext cx="197650" cy="199225"/>
            </a:xfrm>
            <a:custGeom>
              <a:avLst/>
              <a:gdLst/>
              <a:ahLst/>
              <a:cxnLst/>
              <a:rect l="l" t="t" r="r" b="b"/>
              <a:pathLst>
                <a:path w="7906" h="7969" extrusionOk="0">
                  <a:moveTo>
                    <a:pt x="7526" y="1"/>
                  </a:moveTo>
                  <a:cubicBezTo>
                    <a:pt x="7420" y="223"/>
                    <a:pt x="7291" y="434"/>
                    <a:pt x="7140" y="633"/>
                  </a:cubicBezTo>
                  <a:cubicBezTo>
                    <a:pt x="6396" y="1648"/>
                    <a:pt x="5216" y="2247"/>
                    <a:pt x="3957" y="2247"/>
                  </a:cubicBezTo>
                  <a:lnTo>
                    <a:pt x="4" y="2247"/>
                  </a:lnTo>
                  <a:lnTo>
                    <a:pt x="4" y="4018"/>
                  </a:lnTo>
                  <a:cubicBezTo>
                    <a:pt x="1" y="4635"/>
                    <a:pt x="148" y="5243"/>
                    <a:pt x="434" y="5788"/>
                  </a:cubicBezTo>
                  <a:lnTo>
                    <a:pt x="434" y="5800"/>
                  </a:lnTo>
                  <a:cubicBezTo>
                    <a:pt x="615" y="6159"/>
                    <a:pt x="850" y="6487"/>
                    <a:pt x="1133" y="6773"/>
                  </a:cubicBezTo>
                  <a:lnTo>
                    <a:pt x="1202" y="6839"/>
                  </a:lnTo>
                  <a:cubicBezTo>
                    <a:pt x="1967" y="7592"/>
                    <a:pt x="2962" y="7968"/>
                    <a:pt x="3958" y="7968"/>
                  </a:cubicBezTo>
                  <a:cubicBezTo>
                    <a:pt x="4959" y="7968"/>
                    <a:pt x="5959" y="7588"/>
                    <a:pt x="6725" y="6827"/>
                  </a:cubicBezTo>
                  <a:lnTo>
                    <a:pt x="6758" y="6794"/>
                  </a:lnTo>
                  <a:cubicBezTo>
                    <a:pt x="6972" y="6583"/>
                    <a:pt x="7158" y="6342"/>
                    <a:pt x="7312" y="6083"/>
                  </a:cubicBezTo>
                  <a:lnTo>
                    <a:pt x="7321" y="6083"/>
                  </a:lnTo>
                  <a:cubicBezTo>
                    <a:pt x="7703" y="5463"/>
                    <a:pt x="7905" y="4746"/>
                    <a:pt x="7902" y="4018"/>
                  </a:cubicBezTo>
                  <a:lnTo>
                    <a:pt x="7902" y="1684"/>
                  </a:lnTo>
                  <a:cubicBezTo>
                    <a:pt x="7902" y="1407"/>
                    <a:pt x="7875" y="1130"/>
                    <a:pt x="7818" y="859"/>
                  </a:cubicBezTo>
                  <a:cubicBezTo>
                    <a:pt x="7764" y="561"/>
                    <a:pt x="7664" y="272"/>
                    <a:pt x="75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6" name="Google Shape;6286;p70"/>
            <p:cNvSpPr/>
            <p:nvPr/>
          </p:nvSpPr>
          <p:spPr>
            <a:xfrm>
              <a:off x="4054050" y="4692500"/>
              <a:ext cx="132975" cy="47450"/>
            </a:xfrm>
            <a:custGeom>
              <a:avLst/>
              <a:gdLst/>
              <a:ahLst/>
              <a:cxnLst/>
              <a:rect l="l" t="t" r="r" b="b"/>
              <a:pathLst>
                <a:path w="5319" h="1898" extrusionOk="0">
                  <a:moveTo>
                    <a:pt x="5318" y="1"/>
                  </a:moveTo>
                  <a:lnTo>
                    <a:pt x="5318" y="1"/>
                  </a:lnTo>
                  <a:cubicBezTo>
                    <a:pt x="4550" y="498"/>
                    <a:pt x="3635" y="769"/>
                    <a:pt x="2653" y="769"/>
                  </a:cubicBezTo>
                  <a:cubicBezTo>
                    <a:pt x="2648" y="769"/>
                    <a:pt x="2643" y="769"/>
                    <a:pt x="2637" y="769"/>
                  </a:cubicBezTo>
                  <a:cubicBezTo>
                    <a:pt x="1703" y="769"/>
                    <a:pt x="791" y="507"/>
                    <a:pt x="0" y="13"/>
                  </a:cubicBezTo>
                  <a:lnTo>
                    <a:pt x="0" y="13"/>
                  </a:lnTo>
                  <a:cubicBezTo>
                    <a:pt x="82" y="272"/>
                    <a:pt x="202" y="516"/>
                    <a:pt x="362" y="736"/>
                  </a:cubicBezTo>
                  <a:cubicBezTo>
                    <a:pt x="898" y="1464"/>
                    <a:pt x="1747" y="1895"/>
                    <a:pt x="2653" y="1898"/>
                  </a:cubicBezTo>
                  <a:cubicBezTo>
                    <a:pt x="2660" y="1898"/>
                    <a:pt x="2667" y="1898"/>
                    <a:pt x="2674" y="1898"/>
                  </a:cubicBezTo>
                  <a:cubicBezTo>
                    <a:pt x="3870" y="1898"/>
                    <a:pt x="4935" y="1135"/>
                    <a:pt x="5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7" name="Google Shape;6287;p70"/>
            <p:cNvSpPr/>
            <p:nvPr/>
          </p:nvSpPr>
          <p:spPr>
            <a:xfrm>
              <a:off x="4163275" y="4399275"/>
              <a:ext cx="84275" cy="84200"/>
            </a:xfrm>
            <a:custGeom>
              <a:avLst/>
              <a:gdLst/>
              <a:ahLst/>
              <a:cxnLst/>
              <a:rect l="l" t="t" r="r" b="b"/>
              <a:pathLst>
                <a:path w="3371" h="3368" extrusionOk="0">
                  <a:moveTo>
                    <a:pt x="1090" y="1"/>
                  </a:moveTo>
                  <a:cubicBezTo>
                    <a:pt x="707" y="1"/>
                    <a:pt x="330" y="106"/>
                    <a:pt x="1" y="305"/>
                  </a:cubicBezTo>
                  <a:cubicBezTo>
                    <a:pt x="338" y="420"/>
                    <a:pt x="660" y="573"/>
                    <a:pt x="961" y="769"/>
                  </a:cubicBezTo>
                  <a:lnTo>
                    <a:pt x="961" y="781"/>
                  </a:lnTo>
                  <a:cubicBezTo>
                    <a:pt x="1443" y="1070"/>
                    <a:pt x="1874" y="1446"/>
                    <a:pt x="2226" y="1886"/>
                  </a:cubicBezTo>
                  <a:cubicBezTo>
                    <a:pt x="2587" y="2329"/>
                    <a:pt x="2871" y="2829"/>
                    <a:pt x="3060" y="3368"/>
                  </a:cubicBezTo>
                  <a:cubicBezTo>
                    <a:pt x="3262" y="3033"/>
                    <a:pt x="3370" y="2651"/>
                    <a:pt x="3364" y="2259"/>
                  </a:cubicBezTo>
                  <a:cubicBezTo>
                    <a:pt x="3361" y="1236"/>
                    <a:pt x="2672" y="341"/>
                    <a:pt x="1684" y="79"/>
                  </a:cubicBezTo>
                  <a:cubicBezTo>
                    <a:pt x="1615" y="58"/>
                    <a:pt x="1543" y="46"/>
                    <a:pt x="1467" y="46"/>
                  </a:cubicBezTo>
                  <a:cubicBezTo>
                    <a:pt x="1344" y="34"/>
                    <a:pt x="1232" y="1"/>
                    <a:pt x="1106" y="1"/>
                  </a:cubicBezTo>
                  <a:cubicBezTo>
                    <a:pt x="1101" y="1"/>
                    <a:pt x="1095" y="1"/>
                    <a:pt x="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8" name="Google Shape;6288;p70"/>
            <p:cNvSpPr/>
            <p:nvPr/>
          </p:nvSpPr>
          <p:spPr>
            <a:xfrm>
              <a:off x="3938800" y="4692800"/>
              <a:ext cx="359700" cy="188300"/>
            </a:xfrm>
            <a:custGeom>
              <a:avLst/>
              <a:gdLst/>
              <a:ahLst/>
              <a:cxnLst/>
              <a:rect l="l" t="t" r="r" b="b"/>
              <a:pathLst>
                <a:path w="14388" h="7532" extrusionOk="0">
                  <a:moveTo>
                    <a:pt x="11160" y="4144"/>
                  </a:moveTo>
                  <a:cubicBezTo>
                    <a:pt x="11470" y="4144"/>
                    <a:pt x="11723" y="4397"/>
                    <a:pt x="11723" y="4710"/>
                  </a:cubicBezTo>
                  <a:cubicBezTo>
                    <a:pt x="11723" y="5021"/>
                    <a:pt x="11470" y="5274"/>
                    <a:pt x="11160" y="5274"/>
                  </a:cubicBezTo>
                  <a:lnTo>
                    <a:pt x="10031" y="5274"/>
                  </a:lnTo>
                  <a:cubicBezTo>
                    <a:pt x="9718" y="5274"/>
                    <a:pt x="9465" y="5021"/>
                    <a:pt x="9465" y="4710"/>
                  </a:cubicBezTo>
                  <a:cubicBezTo>
                    <a:pt x="9465" y="4397"/>
                    <a:pt x="9718" y="4144"/>
                    <a:pt x="10031" y="4144"/>
                  </a:cubicBezTo>
                  <a:close/>
                  <a:moveTo>
                    <a:pt x="3379" y="1"/>
                  </a:moveTo>
                  <a:lnTo>
                    <a:pt x="2385" y="248"/>
                  </a:lnTo>
                  <a:cubicBezTo>
                    <a:pt x="922" y="615"/>
                    <a:pt x="0" y="2067"/>
                    <a:pt x="295" y="3545"/>
                  </a:cubicBezTo>
                  <a:lnTo>
                    <a:pt x="1006" y="7080"/>
                  </a:lnTo>
                  <a:cubicBezTo>
                    <a:pt x="1060" y="7342"/>
                    <a:pt x="1292" y="7532"/>
                    <a:pt x="1560" y="7532"/>
                  </a:cubicBezTo>
                  <a:lnTo>
                    <a:pt x="12831" y="7532"/>
                  </a:lnTo>
                  <a:cubicBezTo>
                    <a:pt x="12833" y="7532"/>
                    <a:pt x="12835" y="7532"/>
                    <a:pt x="12837" y="7532"/>
                  </a:cubicBezTo>
                  <a:cubicBezTo>
                    <a:pt x="13103" y="7532"/>
                    <a:pt x="13331" y="7343"/>
                    <a:pt x="13382" y="7080"/>
                  </a:cubicBezTo>
                  <a:lnTo>
                    <a:pt x="14096" y="3545"/>
                  </a:lnTo>
                  <a:cubicBezTo>
                    <a:pt x="14388" y="2070"/>
                    <a:pt x="13476" y="621"/>
                    <a:pt x="12018" y="248"/>
                  </a:cubicBezTo>
                  <a:lnTo>
                    <a:pt x="11046" y="13"/>
                  </a:lnTo>
                  <a:cubicBezTo>
                    <a:pt x="10678" y="1506"/>
                    <a:pt x="9474" y="2648"/>
                    <a:pt x="7965" y="2943"/>
                  </a:cubicBezTo>
                  <a:cubicBezTo>
                    <a:pt x="7714" y="2991"/>
                    <a:pt x="7463" y="3015"/>
                    <a:pt x="7214" y="3015"/>
                  </a:cubicBezTo>
                  <a:cubicBezTo>
                    <a:pt x="5960" y="3015"/>
                    <a:pt x="4762" y="2417"/>
                    <a:pt x="4011" y="1377"/>
                  </a:cubicBezTo>
                  <a:cubicBezTo>
                    <a:pt x="3707" y="967"/>
                    <a:pt x="3493" y="498"/>
                    <a:pt x="3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9" name="Google Shape;6289;p70"/>
          <p:cNvGrpSpPr/>
          <p:nvPr/>
        </p:nvGrpSpPr>
        <p:grpSpPr>
          <a:xfrm>
            <a:off x="7639862" y="3538890"/>
            <a:ext cx="159039" cy="339253"/>
            <a:chOff x="4584850" y="4399275"/>
            <a:chExt cx="225875" cy="481825"/>
          </a:xfrm>
        </p:grpSpPr>
        <p:sp>
          <p:nvSpPr>
            <p:cNvPr id="6290" name="Google Shape;6290;p70"/>
            <p:cNvSpPr/>
            <p:nvPr/>
          </p:nvSpPr>
          <p:spPr>
            <a:xfrm>
              <a:off x="4655400" y="4399275"/>
              <a:ext cx="84700" cy="84725"/>
            </a:xfrm>
            <a:custGeom>
              <a:avLst/>
              <a:gdLst/>
              <a:ahLst/>
              <a:cxnLst/>
              <a:rect l="l" t="t" r="r" b="b"/>
              <a:pathLst>
                <a:path w="3388" h="3389" extrusionOk="0">
                  <a:moveTo>
                    <a:pt x="1696" y="1"/>
                  </a:moveTo>
                  <a:cubicBezTo>
                    <a:pt x="759" y="1"/>
                    <a:pt x="0" y="760"/>
                    <a:pt x="0" y="1696"/>
                  </a:cubicBezTo>
                  <a:cubicBezTo>
                    <a:pt x="0" y="2630"/>
                    <a:pt x="759" y="3389"/>
                    <a:pt x="1696" y="3389"/>
                  </a:cubicBezTo>
                  <a:cubicBezTo>
                    <a:pt x="2629" y="3389"/>
                    <a:pt x="3388" y="2630"/>
                    <a:pt x="3388" y="1696"/>
                  </a:cubicBezTo>
                  <a:cubicBezTo>
                    <a:pt x="3388" y="760"/>
                    <a:pt x="2629"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1" name="Google Shape;6291;p70"/>
            <p:cNvSpPr/>
            <p:nvPr/>
          </p:nvSpPr>
          <p:spPr>
            <a:xfrm>
              <a:off x="4584850" y="4512200"/>
              <a:ext cx="225875" cy="368900"/>
            </a:xfrm>
            <a:custGeom>
              <a:avLst/>
              <a:gdLst/>
              <a:ahLst/>
              <a:cxnLst/>
              <a:rect l="l" t="t" r="r" b="b"/>
              <a:pathLst>
                <a:path w="9035" h="14756" extrusionOk="0">
                  <a:moveTo>
                    <a:pt x="2259" y="1"/>
                  </a:moveTo>
                  <a:cubicBezTo>
                    <a:pt x="1013" y="1"/>
                    <a:pt x="1" y="1052"/>
                    <a:pt x="1" y="2298"/>
                  </a:cubicBezTo>
                  <a:lnTo>
                    <a:pt x="1" y="5686"/>
                  </a:lnTo>
                  <a:cubicBezTo>
                    <a:pt x="1" y="6280"/>
                    <a:pt x="414" y="6792"/>
                    <a:pt x="1106" y="6792"/>
                  </a:cubicBezTo>
                  <a:cubicBezTo>
                    <a:pt x="1284" y="6792"/>
                    <a:pt x="1480" y="6758"/>
                    <a:pt x="1693" y="6683"/>
                  </a:cubicBezTo>
                  <a:lnTo>
                    <a:pt x="1693" y="13627"/>
                  </a:lnTo>
                  <a:cubicBezTo>
                    <a:pt x="1693" y="14250"/>
                    <a:pt x="2199" y="14756"/>
                    <a:pt x="2822" y="14756"/>
                  </a:cubicBezTo>
                  <a:cubicBezTo>
                    <a:pt x="3446" y="14756"/>
                    <a:pt x="3952" y="14250"/>
                    <a:pt x="3952" y="13627"/>
                  </a:cubicBezTo>
                  <a:lnTo>
                    <a:pt x="3952" y="9637"/>
                  </a:lnTo>
                  <a:cubicBezTo>
                    <a:pt x="3952" y="9324"/>
                    <a:pt x="4204" y="9074"/>
                    <a:pt x="4518" y="9074"/>
                  </a:cubicBezTo>
                  <a:cubicBezTo>
                    <a:pt x="4828" y="9074"/>
                    <a:pt x="5081" y="9324"/>
                    <a:pt x="5081" y="9637"/>
                  </a:cubicBezTo>
                  <a:lnTo>
                    <a:pt x="5081" y="13627"/>
                  </a:lnTo>
                  <a:cubicBezTo>
                    <a:pt x="5081" y="14250"/>
                    <a:pt x="5587" y="14756"/>
                    <a:pt x="6210" y="14756"/>
                  </a:cubicBezTo>
                  <a:cubicBezTo>
                    <a:pt x="6833" y="14756"/>
                    <a:pt x="7339" y="14250"/>
                    <a:pt x="7339" y="13627"/>
                  </a:cubicBezTo>
                  <a:lnTo>
                    <a:pt x="7339" y="6683"/>
                  </a:lnTo>
                  <a:cubicBezTo>
                    <a:pt x="7552" y="6758"/>
                    <a:pt x="7749" y="6792"/>
                    <a:pt x="7927" y="6792"/>
                  </a:cubicBezTo>
                  <a:cubicBezTo>
                    <a:pt x="8619" y="6792"/>
                    <a:pt x="9035" y="6280"/>
                    <a:pt x="9035" y="5686"/>
                  </a:cubicBezTo>
                  <a:lnTo>
                    <a:pt x="9035" y="2298"/>
                  </a:lnTo>
                  <a:cubicBezTo>
                    <a:pt x="9035" y="1052"/>
                    <a:pt x="8020" y="1"/>
                    <a:pt x="67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292" name="Google Shape;6292;p70"/>
          <p:cNvSpPr/>
          <p:nvPr/>
        </p:nvSpPr>
        <p:spPr>
          <a:xfrm>
            <a:off x="7957998" y="3538820"/>
            <a:ext cx="372275" cy="339112"/>
          </a:xfrm>
          <a:custGeom>
            <a:avLst/>
            <a:gdLst/>
            <a:ahLst/>
            <a:cxnLst/>
            <a:rect l="l" t="t" r="r" b="b"/>
            <a:pathLst>
              <a:path w="21149" h="19265" extrusionOk="0">
                <a:moveTo>
                  <a:pt x="10580" y="3417"/>
                </a:moveTo>
                <a:cubicBezTo>
                  <a:pt x="12186" y="3417"/>
                  <a:pt x="13773" y="4040"/>
                  <a:pt x="14967" y="5236"/>
                </a:cubicBezTo>
                <a:cubicBezTo>
                  <a:pt x="16933" y="7199"/>
                  <a:pt x="17352" y="10231"/>
                  <a:pt x="15997" y="12655"/>
                </a:cubicBezTo>
                <a:lnTo>
                  <a:pt x="7550" y="4209"/>
                </a:lnTo>
                <a:cubicBezTo>
                  <a:pt x="8500" y="3676"/>
                  <a:pt x="9544" y="3417"/>
                  <a:pt x="10580" y="3417"/>
                </a:cubicBezTo>
                <a:close/>
                <a:moveTo>
                  <a:pt x="5156" y="6603"/>
                </a:moveTo>
                <a:lnTo>
                  <a:pt x="13600" y="15049"/>
                </a:lnTo>
                <a:cubicBezTo>
                  <a:pt x="12650" y="15584"/>
                  <a:pt x="11607" y="15844"/>
                  <a:pt x="10570" y="15844"/>
                </a:cubicBezTo>
                <a:cubicBezTo>
                  <a:pt x="8964" y="15844"/>
                  <a:pt x="7375" y="15218"/>
                  <a:pt x="6183" y="14019"/>
                </a:cubicBezTo>
                <a:cubicBezTo>
                  <a:pt x="4210" y="12059"/>
                  <a:pt x="3789" y="9024"/>
                  <a:pt x="5156" y="6603"/>
                </a:cubicBezTo>
                <a:close/>
                <a:moveTo>
                  <a:pt x="10574" y="0"/>
                </a:moveTo>
                <a:cubicBezTo>
                  <a:pt x="8127" y="0"/>
                  <a:pt x="5681" y="948"/>
                  <a:pt x="3789" y="2842"/>
                </a:cubicBezTo>
                <a:cubicBezTo>
                  <a:pt x="1" y="6630"/>
                  <a:pt x="1" y="12628"/>
                  <a:pt x="3789" y="16413"/>
                </a:cubicBezTo>
                <a:cubicBezTo>
                  <a:pt x="5662" y="18289"/>
                  <a:pt x="8113" y="19265"/>
                  <a:pt x="10576" y="19265"/>
                </a:cubicBezTo>
                <a:cubicBezTo>
                  <a:pt x="13036" y="19265"/>
                  <a:pt x="15488" y="18289"/>
                  <a:pt x="17361" y="16413"/>
                </a:cubicBezTo>
                <a:cubicBezTo>
                  <a:pt x="21149" y="12625"/>
                  <a:pt x="21149" y="6630"/>
                  <a:pt x="17361" y="2842"/>
                </a:cubicBezTo>
                <a:cubicBezTo>
                  <a:pt x="15467" y="948"/>
                  <a:pt x="13020" y="0"/>
                  <a:pt x="105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293" name="Google Shape;6293;p70"/>
          <p:cNvGrpSpPr/>
          <p:nvPr/>
        </p:nvGrpSpPr>
        <p:grpSpPr>
          <a:xfrm>
            <a:off x="1049680" y="3951795"/>
            <a:ext cx="339253" cy="339253"/>
            <a:chOff x="5642550" y="4399275"/>
            <a:chExt cx="481825" cy="481825"/>
          </a:xfrm>
        </p:grpSpPr>
        <p:sp>
          <p:nvSpPr>
            <p:cNvPr id="6294" name="Google Shape;6294;p70"/>
            <p:cNvSpPr/>
            <p:nvPr/>
          </p:nvSpPr>
          <p:spPr>
            <a:xfrm>
              <a:off x="5642550" y="4399275"/>
              <a:ext cx="481825" cy="481825"/>
            </a:xfrm>
            <a:custGeom>
              <a:avLst/>
              <a:gdLst/>
              <a:ahLst/>
              <a:cxnLst/>
              <a:rect l="l" t="t" r="r" b="b"/>
              <a:pathLst>
                <a:path w="19273" h="19273" extrusionOk="0">
                  <a:moveTo>
                    <a:pt x="15283" y="7945"/>
                  </a:moveTo>
                  <a:cubicBezTo>
                    <a:pt x="15593" y="7945"/>
                    <a:pt x="15846" y="8195"/>
                    <a:pt x="15846" y="8508"/>
                  </a:cubicBezTo>
                  <a:lnTo>
                    <a:pt x="15846" y="10766"/>
                  </a:lnTo>
                  <a:cubicBezTo>
                    <a:pt x="15846" y="11079"/>
                    <a:pt x="15593" y="11332"/>
                    <a:pt x="15283" y="11332"/>
                  </a:cubicBezTo>
                  <a:lnTo>
                    <a:pt x="3991" y="11332"/>
                  </a:lnTo>
                  <a:cubicBezTo>
                    <a:pt x="3678" y="11332"/>
                    <a:pt x="3425" y="11079"/>
                    <a:pt x="3425" y="10766"/>
                  </a:cubicBezTo>
                  <a:lnTo>
                    <a:pt x="3425" y="8508"/>
                  </a:lnTo>
                  <a:cubicBezTo>
                    <a:pt x="3425" y="8195"/>
                    <a:pt x="3678" y="7945"/>
                    <a:pt x="3991" y="7945"/>
                  </a:cubicBezTo>
                  <a:close/>
                  <a:moveTo>
                    <a:pt x="9637" y="1"/>
                  </a:moveTo>
                  <a:cubicBezTo>
                    <a:pt x="4331" y="1"/>
                    <a:pt x="1" y="4331"/>
                    <a:pt x="1" y="9637"/>
                  </a:cubicBezTo>
                  <a:cubicBezTo>
                    <a:pt x="1" y="14946"/>
                    <a:pt x="4328" y="19273"/>
                    <a:pt x="9637" y="19273"/>
                  </a:cubicBezTo>
                  <a:cubicBezTo>
                    <a:pt x="14943" y="19273"/>
                    <a:pt x="19273" y="14946"/>
                    <a:pt x="19273" y="9637"/>
                  </a:cubicBezTo>
                  <a:cubicBezTo>
                    <a:pt x="19273" y="4331"/>
                    <a:pt x="14943"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5" name="Google Shape;6295;p70"/>
            <p:cNvSpPr/>
            <p:nvPr/>
          </p:nvSpPr>
          <p:spPr>
            <a:xfrm>
              <a:off x="5756375" y="4626100"/>
              <a:ext cx="254100" cy="28275"/>
            </a:xfrm>
            <a:custGeom>
              <a:avLst/>
              <a:gdLst/>
              <a:ahLst/>
              <a:cxnLst/>
              <a:rect l="l" t="t" r="r" b="b"/>
              <a:pathLst>
                <a:path w="10164" h="1131" extrusionOk="0">
                  <a:moveTo>
                    <a:pt x="1" y="1"/>
                  </a:moveTo>
                  <a:lnTo>
                    <a:pt x="1" y="1130"/>
                  </a:lnTo>
                  <a:lnTo>
                    <a:pt x="10164" y="1130"/>
                  </a:lnTo>
                  <a:lnTo>
                    <a:pt x="101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96" name="Google Shape;6296;p70"/>
          <p:cNvGrpSpPr/>
          <p:nvPr/>
        </p:nvGrpSpPr>
        <p:grpSpPr>
          <a:xfrm>
            <a:off x="2859815" y="3963703"/>
            <a:ext cx="363316" cy="315437"/>
            <a:chOff x="6218300" y="4416175"/>
            <a:chExt cx="516000" cy="448000"/>
          </a:xfrm>
        </p:grpSpPr>
        <p:sp>
          <p:nvSpPr>
            <p:cNvPr id="6297" name="Google Shape;6297;p70"/>
            <p:cNvSpPr/>
            <p:nvPr/>
          </p:nvSpPr>
          <p:spPr>
            <a:xfrm>
              <a:off x="6462150" y="4525375"/>
              <a:ext cx="28250" cy="141250"/>
            </a:xfrm>
            <a:custGeom>
              <a:avLst/>
              <a:gdLst/>
              <a:ahLst/>
              <a:cxnLst/>
              <a:rect l="l" t="t" r="r" b="b"/>
              <a:pathLst>
                <a:path w="1130" h="5650" extrusionOk="0">
                  <a:moveTo>
                    <a:pt x="566" y="1"/>
                  </a:moveTo>
                  <a:cubicBezTo>
                    <a:pt x="253" y="1"/>
                    <a:pt x="0" y="254"/>
                    <a:pt x="0" y="567"/>
                  </a:cubicBezTo>
                  <a:lnTo>
                    <a:pt x="0" y="5087"/>
                  </a:lnTo>
                  <a:cubicBezTo>
                    <a:pt x="0" y="5397"/>
                    <a:pt x="253" y="5650"/>
                    <a:pt x="566" y="5650"/>
                  </a:cubicBezTo>
                  <a:cubicBezTo>
                    <a:pt x="877" y="5650"/>
                    <a:pt x="1130" y="5397"/>
                    <a:pt x="1130" y="5087"/>
                  </a:cubicBezTo>
                  <a:lnTo>
                    <a:pt x="1130" y="567"/>
                  </a:lnTo>
                  <a:cubicBezTo>
                    <a:pt x="1130" y="254"/>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8" name="Google Shape;6298;p70"/>
            <p:cNvSpPr/>
            <p:nvPr/>
          </p:nvSpPr>
          <p:spPr>
            <a:xfrm>
              <a:off x="6218300" y="4416175"/>
              <a:ext cx="516000" cy="448000"/>
            </a:xfrm>
            <a:custGeom>
              <a:avLst/>
              <a:gdLst/>
              <a:ahLst/>
              <a:cxnLst/>
              <a:rect l="l" t="t" r="r" b="b"/>
              <a:pathLst>
                <a:path w="20640" h="17920" extrusionOk="0">
                  <a:moveTo>
                    <a:pt x="10320" y="3240"/>
                  </a:moveTo>
                  <a:cubicBezTo>
                    <a:pt x="11254" y="3240"/>
                    <a:pt x="12013" y="3998"/>
                    <a:pt x="12013" y="4935"/>
                  </a:cubicBezTo>
                  <a:lnTo>
                    <a:pt x="12013" y="9452"/>
                  </a:lnTo>
                  <a:cubicBezTo>
                    <a:pt x="12013" y="10385"/>
                    <a:pt x="11254" y="11144"/>
                    <a:pt x="10320" y="11144"/>
                  </a:cubicBezTo>
                  <a:cubicBezTo>
                    <a:pt x="9384" y="11144"/>
                    <a:pt x="8625" y="10385"/>
                    <a:pt x="8625" y="9452"/>
                  </a:cubicBezTo>
                  <a:lnTo>
                    <a:pt x="8625" y="4935"/>
                  </a:lnTo>
                  <a:cubicBezTo>
                    <a:pt x="8625" y="3998"/>
                    <a:pt x="9384" y="3240"/>
                    <a:pt x="10320" y="3240"/>
                  </a:cubicBezTo>
                  <a:close/>
                  <a:moveTo>
                    <a:pt x="10320" y="12274"/>
                  </a:moveTo>
                  <a:cubicBezTo>
                    <a:pt x="10538" y="12274"/>
                    <a:pt x="10758" y="12316"/>
                    <a:pt x="10968" y="12403"/>
                  </a:cubicBezTo>
                  <a:cubicBezTo>
                    <a:pt x="11600" y="12665"/>
                    <a:pt x="12013" y="13282"/>
                    <a:pt x="12013" y="13969"/>
                  </a:cubicBezTo>
                  <a:cubicBezTo>
                    <a:pt x="12013" y="14902"/>
                    <a:pt x="11254" y="15661"/>
                    <a:pt x="10320" y="15661"/>
                  </a:cubicBezTo>
                  <a:cubicBezTo>
                    <a:pt x="9634" y="15661"/>
                    <a:pt x="9017" y="15248"/>
                    <a:pt x="8755" y="14616"/>
                  </a:cubicBezTo>
                  <a:cubicBezTo>
                    <a:pt x="8493" y="13984"/>
                    <a:pt x="8637" y="13255"/>
                    <a:pt x="9122" y="12770"/>
                  </a:cubicBezTo>
                  <a:cubicBezTo>
                    <a:pt x="9446" y="12446"/>
                    <a:pt x="9880" y="12274"/>
                    <a:pt x="10320" y="12274"/>
                  </a:cubicBezTo>
                  <a:close/>
                  <a:moveTo>
                    <a:pt x="10319" y="1"/>
                  </a:moveTo>
                  <a:cubicBezTo>
                    <a:pt x="9352" y="1"/>
                    <a:pt x="8386" y="487"/>
                    <a:pt x="7848" y="1460"/>
                  </a:cubicBezTo>
                  <a:lnTo>
                    <a:pt x="1040" y="13731"/>
                  </a:lnTo>
                  <a:cubicBezTo>
                    <a:pt x="1" y="15613"/>
                    <a:pt x="1359" y="17919"/>
                    <a:pt x="3509" y="17919"/>
                  </a:cubicBezTo>
                  <a:lnTo>
                    <a:pt x="17129" y="17919"/>
                  </a:lnTo>
                  <a:cubicBezTo>
                    <a:pt x="19279" y="17919"/>
                    <a:pt x="20640" y="15616"/>
                    <a:pt x="19598" y="13731"/>
                  </a:cubicBezTo>
                  <a:lnTo>
                    <a:pt x="12790" y="1460"/>
                  </a:lnTo>
                  <a:cubicBezTo>
                    <a:pt x="12252" y="487"/>
                    <a:pt x="11286" y="1"/>
                    <a:pt x="10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9" name="Google Shape;6299;p70"/>
            <p:cNvSpPr/>
            <p:nvPr/>
          </p:nvSpPr>
          <p:spPr>
            <a:xfrm>
              <a:off x="6462150" y="4751225"/>
              <a:ext cx="28250" cy="28250"/>
            </a:xfrm>
            <a:custGeom>
              <a:avLst/>
              <a:gdLst/>
              <a:ahLst/>
              <a:cxnLst/>
              <a:rect l="l" t="t" r="r" b="b"/>
              <a:pathLst>
                <a:path w="1130" h="1130" extrusionOk="0">
                  <a:moveTo>
                    <a:pt x="566" y="1"/>
                  </a:moveTo>
                  <a:cubicBezTo>
                    <a:pt x="253" y="1"/>
                    <a:pt x="0" y="253"/>
                    <a:pt x="0" y="567"/>
                  </a:cubicBezTo>
                  <a:cubicBezTo>
                    <a:pt x="0" y="877"/>
                    <a:pt x="253" y="1130"/>
                    <a:pt x="566" y="1130"/>
                  </a:cubicBezTo>
                  <a:cubicBezTo>
                    <a:pt x="877" y="1130"/>
                    <a:pt x="1130" y="877"/>
                    <a:pt x="1130" y="567"/>
                  </a:cubicBezTo>
                  <a:cubicBezTo>
                    <a:pt x="1130" y="253"/>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0" name="Google Shape;6300;p70"/>
          <p:cNvGrpSpPr/>
          <p:nvPr/>
        </p:nvGrpSpPr>
        <p:grpSpPr>
          <a:xfrm>
            <a:off x="5918879" y="3951792"/>
            <a:ext cx="339253" cy="339253"/>
            <a:chOff x="899850" y="4992125"/>
            <a:chExt cx="481825" cy="481825"/>
          </a:xfrm>
        </p:grpSpPr>
        <p:sp>
          <p:nvSpPr>
            <p:cNvPr id="6301" name="Google Shape;6301;p70"/>
            <p:cNvSpPr/>
            <p:nvPr/>
          </p:nvSpPr>
          <p:spPr>
            <a:xfrm>
              <a:off x="1126600" y="5360100"/>
              <a:ext cx="28250" cy="28250"/>
            </a:xfrm>
            <a:custGeom>
              <a:avLst/>
              <a:gdLst/>
              <a:ahLst/>
              <a:cxnLst/>
              <a:rect l="l" t="t" r="r" b="b"/>
              <a:pathLst>
                <a:path w="1130" h="1130" extrusionOk="0">
                  <a:moveTo>
                    <a:pt x="566" y="1"/>
                  </a:moveTo>
                  <a:cubicBezTo>
                    <a:pt x="253" y="1"/>
                    <a:pt x="0" y="250"/>
                    <a:pt x="0" y="564"/>
                  </a:cubicBezTo>
                  <a:cubicBezTo>
                    <a:pt x="0" y="877"/>
                    <a:pt x="253" y="1130"/>
                    <a:pt x="566" y="1130"/>
                  </a:cubicBezTo>
                  <a:cubicBezTo>
                    <a:pt x="876" y="1130"/>
                    <a:pt x="1129" y="877"/>
                    <a:pt x="1129" y="564"/>
                  </a:cubicBezTo>
                  <a:cubicBezTo>
                    <a:pt x="1129" y="250"/>
                    <a:pt x="876"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2" name="Google Shape;6302;p70"/>
            <p:cNvSpPr/>
            <p:nvPr/>
          </p:nvSpPr>
          <p:spPr>
            <a:xfrm>
              <a:off x="1056050" y="5079900"/>
              <a:ext cx="169400" cy="194950"/>
            </a:xfrm>
            <a:custGeom>
              <a:avLst/>
              <a:gdLst/>
              <a:ahLst/>
              <a:cxnLst/>
              <a:rect l="l" t="t" r="r" b="b"/>
              <a:pathLst>
                <a:path w="6776" h="7798" extrusionOk="0">
                  <a:moveTo>
                    <a:pt x="3417" y="1"/>
                  </a:moveTo>
                  <a:cubicBezTo>
                    <a:pt x="1713" y="1"/>
                    <a:pt x="0" y="1115"/>
                    <a:pt x="0" y="3304"/>
                  </a:cubicBezTo>
                  <a:cubicBezTo>
                    <a:pt x="0" y="3614"/>
                    <a:pt x="250" y="3867"/>
                    <a:pt x="564" y="3867"/>
                  </a:cubicBezTo>
                  <a:cubicBezTo>
                    <a:pt x="877" y="3867"/>
                    <a:pt x="1130" y="3614"/>
                    <a:pt x="1130" y="3304"/>
                  </a:cubicBezTo>
                  <a:cubicBezTo>
                    <a:pt x="1130" y="2069"/>
                    <a:pt x="2111" y="1061"/>
                    <a:pt x="3388" y="1061"/>
                  </a:cubicBezTo>
                  <a:cubicBezTo>
                    <a:pt x="4665" y="1061"/>
                    <a:pt x="5647" y="2066"/>
                    <a:pt x="5647" y="3304"/>
                  </a:cubicBezTo>
                  <a:cubicBezTo>
                    <a:pt x="5647" y="4147"/>
                    <a:pt x="5174" y="4921"/>
                    <a:pt x="4424" y="5310"/>
                  </a:cubicBezTo>
                  <a:cubicBezTo>
                    <a:pt x="3617" y="5728"/>
                    <a:pt x="3108" y="6336"/>
                    <a:pt x="2912" y="7116"/>
                  </a:cubicBezTo>
                  <a:cubicBezTo>
                    <a:pt x="2870" y="7285"/>
                    <a:pt x="2906" y="7466"/>
                    <a:pt x="3015" y="7601"/>
                  </a:cubicBezTo>
                  <a:cubicBezTo>
                    <a:pt x="3118" y="7736"/>
                    <a:pt x="3277" y="7798"/>
                    <a:pt x="3439" y="7798"/>
                  </a:cubicBezTo>
                  <a:cubicBezTo>
                    <a:pt x="3686" y="7798"/>
                    <a:pt x="3938" y="7652"/>
                    <a:pt x="4005" y="7399"/>
                  </a:cubicBezTo>
                  <a:cubicBezTo>
                    <a:pt x="4129" y="6936"/>
                    <a:pt x="4445" y="6568"/>
                    <a:pt x="4945" y="6312"/>
                  </a:cubicBezTo>
                  <a:cubicBezTo>
                    <a:pt x="6071" y="5728"/>
                    <a:pt x="6776" y="4569"/>
                    <a:pt x="6776" y="3304"/>
                  </a:cubicBezTo>
                  <a:cubicBezTo>
                    <a:pt x="6776" y="1090"/>
                    <a:pt x="5101" y="1"/>
                    <a:pt x="34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3" name="Google Shape;6303;p70"/>
            <p:cNvSpPr/>
            <p:nvPr/>
          </p:nvSpPr>
          <p:spPr>
            <a:xfrm>
              <a:off x="899850" y="4992125"/>
              <a:ext cx="481825" cy="481825"/>
            </a:xfrm>
            <a:custGeom>
              <a:avLst/>
              <a:gdLst/>
              <a:ahLst/>
              <a:cxnLst/>
              <a:rect l="l" t="t" r="r" b="b"/>
              <a:pathLst>
                <a:path w="19273" h="19273" extrusionOk="0">
                  <a:moveTo>
                    <a:pt x="9636" y="2334"/>
                  </a:moveTo>
                  <a:cubicBezTo>
                    <a:pt x="12223" y="2334"/>
                    <a:pt x="14153" y="4367"/>
                    <a:pt x="14153" y="6815"/>
                  </a:cubicBezTo>
                  <a:cubicBezTo>
                    <a:pt x="14153" y="8501"/>
                    <a:pt x="13214" y="10049"/>
                    <a:pt x="11714" y="10826"/>
                  </a:cubicBezTo>
                  <a:cubicBezTo>
                    <a:pt x="11401" y="10986"/>
                    <a:pt x="11362" y="11142"/>
                    <a:pt x="11344" y="11202"/>
                  </a:cubicBezTo>
                  <a:cubicBezTo>
                    <a:pt x="11141" y="11958"/>
                    <a:pt x="10458" y="12455"/>
                    <a:pt x="9710" y="12455"/>
                  </a:cubicBezTo>
                  <a:cubicBezTo>
                    <a:pt x="9569" y="12455"/>
                    <a:pt x="9426" y="12438"/>
                    <a:pt x="9284" y="12401"/>
                  </a:cubicBezTo>
                  <a:cubicBezTo>
                    <a:pt x="8383" y="12169"/>
                    <a:pt x="7841" y="11254"/>
                    <a:pt x="8064" y="10353"/>
                  </a:cubicBezTo>
                  <a:cubicBezTo>
                    <a:pt x="8338" y="9260"/>
                    <a:pt x="9061" y="8384"/>
                    <a:pt x="10154" y="7818"/>
                  </a:cubicBezTo>
                  <a:cubicBezTo>
                    <a:pt x="10832" y="7465"/>
                    <a:pt x="10973" y="6556"/>
                    <a:pt x="10434" y="6017"/>
                  </a:cubicBezTo>
                  <a:cubicBezTo>
                    <a:pt x="10219" y="5801"/>
                    <a:pt x="9934" y="5700"/>
                    <a:pt x="9650" y="5700"/>
                  </a:cubicBezTo>
                  <a:cubicBezTo>
                    <a:pt x="9078" y="5700"/>
                    <a:pt x="8507" y="6109"/>
                    <a:pt x="8507" y="6815"/>
                  </a:cubicBezTo>
                  <a:cubicBezTo>
                    <a:pt x="8507" y="7749"/>
                    <a:pt x="7748" y="8507"/>
                    <a:pt x="6812" y="8507"/>
                  </a:cubicBezTo>
                  <a:cubicBezTo>
                    <a:pt x="5875" y="8507"/>
                    <a:pt x="5119" y="7749"/>
                    <a:pt x="5119" y="6815"/>
                  </a:cubicBezTo>
                  <a:cubicBezTo>
                    <a:pt x="5119" y="4388"/>
                    <a:pt x="7028" y="2334"/>
                    <a:pt x="9636" y="2334"/>
                  </a:cubicBezTo>
                  <a:close/>
                  <a:moveTo>
                    <a:pt x="9636" y="13588"/>
                  </a:moveTo>
                  <a:cubicBezTo>
                    <a:pt x="9854" y="13588"/>
                    <a:pt x="10074" y="13630"/>
                    <a:pt x="10284" y="13717"/>
                  </a:cubicBezTo>
                  <a:cubicBezTo>
                    <a:pt x="10916" y="13979"/>
                    <a:pt x="11328" y="14596"/>
                    <a:pt x="11328" y="15283"/>
                  </a:cubicBezTo>
                  <a:cubicBezTo>
                    <a:pt x="11328" y="16219"/>
                    <a:pt x="10570" y="16975"/>
                    <a:pt x="9636" y="16978"/>
                  </a:cubicBezTo>
                  <a:cubicBezTo>
                    <a:pt x="8950" y="16978"/>
                    <a:pt x="8332" y="16562"/>
                    <a:pt x="8070" y="15930"/>
                  </a:cubicBezTo>
                  <a:cubicBezTo>
                    <a:pt x="7808" y="15298"/>
                    <a:pt x="7953" y="14569"/>
                    <a:pt x="8438" y="14084"/>
                  </a:cubicBezTo>
                  <a:cubicBezTo>
                    <a:pt x="8762" y="13760"/>
                    <a:pt x="9195" y="13588"/>
                    <a:pt x="9636" y="13588"/>
                  </a:cubicBezTo>
                  <a:close/>
                  <a:moveTo>
                    <a:pt x="9636" y="1"/>
                  </a:moveTo>
                  <a:cubicBezTo>
                    <a:pt x="4330" y="1"/>
                    <a:pt x="0" y="4331"/>
                    <a:pt x="0" y="9637"/>
                  </a:cubicBezTo>
                  <a:cubicBezTo>
                    <a:pt x="0" y="14945"/>
                    <a:pt x="4330" y="19273"/>
                    <a:pt x="9636" y="19273"/>
                  </a:cubicBezTo>
                  <a:cubicBezTo>
                    <a:pt x="14939" y="19273"/>
                    <a:pt x="19272" y="14945"/>
                    <a:pt x="19272" y="9637"/>
                  </a:cubicBezTo>
                  <a:cubicBezTo>
                    <a:pt x="19272" y="4331"/>
                    <a:pt x="14942"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4" name="Google Shape;6304;p70"/>
          <p:cNvGrpSpPr/>
          <p:nvPr/>
        </p:nvGrpSpPr>
        <p:grpSpPr>
          <a:xfrm>
            <a:off x="5461708" y="3951792"/>
            <a:ext cx="339253" cy="339253"/>
            <a:chOff x="1492675" y="4992125"/>
            <a:chExt cx="481825" cy="481825"/>
          </a:xfrm>
        </p:grpSpPr>
        <p:sp>
          <p:nvSpPr>
            <p:cNvPr id="6305" name="Google Shape;6305;p70"/>
            <p:cNvSpPr/>
            <p:nvPr/>
          </p:nvSpPr>
          <p:spPr>
            <a:xfrm>
              <a:off x="1492675" y="4992125"/>
              <a:ext cx="481825" cy="481825"/>
            </a:xfrm>
            <a:custGeom>
              <a:avLst/>
              <a:gdLst/>
              <a:ahLst/>
              <a:cxnLst/>
              <a:rect l="l" t="t" r="r" b="b"/>
              <a:pathLst>
                <a:path w="19273" h="19273" extrusionOk="0">
                  <a:moveTo>
                    <a:pt x="12728" y="5990"/>
                  </a:moveTo>
                  <a:cubicBezTo>
                    <a:pt x="13161" y="5990"/>
                    <a:pt x="13595" y="6156"/>
                    <a:pt x="13925" y="6487"/>
                  </a:cubicBezTo>
                  <a:cubicBezTo>
                    <a:pt x="14587" y="7149"/>
                    <a:pt x="14587" y="8221"/>
                    <a:pt x="13928" y="8884"/>
                  </a:cubicBezTo>
                  <a:lnTo>
                    <a:pt x="10028" y="12780"/>
                  </a:lnTo>
                  <a:cubicBezTo>
                    <a:pt x="9709" y="13100"/>
                    <a:pt x="9278" y="13280"/>
                    <a:pt x="8830" y="13280"/>
                  </a:cubicBezTo>
                  <a:lnTo>
                    <a:pt x="8815" y="13280"/>
                  </a:lnTo>
                  <a:cubicBezTo>
                    <a:pt x="8811" y="13280"/>
                    <a:pt x="8807" y="13280"/>
                    <a:pt x="8804" y="13280"/>
                  </a:cubicBezTo>
                  <a:cubicBezTo>
                    <a:pt x="8362" y="13280"/>
                    <a:pt x="7936" y="13103"/>
                    <a:pt x="7622" y="12789"/>
                  </a:cubicBezTo>
                  <a:lnTo>
                    <a:pt x="5346" y="10528"/>
                  </a:lnTo>
                  <a:cubicBezTo>
                    <a:pt x="4632" y="9877"/>
                    <a:pt x="4605" y="8760"/>
                    <a:pt x="5288" y="8077"/>
                  </a:cubicBezTo>
                  <a:cubicBezTo>
                    <a:pt x="5620" y="7745"/>
                    <a:pt x="6053" y="7581"/>
                    <a:pt x="6485" y="7581"/>
                  </a:cubicBezTo>
                  <a:cubicBezTo>
                    <a:pt x="6944" y="7581"/>
                    <a:pt x="7402" y="7766"/>
                    <a:pt x="7737" y="8134"/>
                  </a:cubicBezTo>
                  <a:lnTo>
                    <a:pt x="8812" y="9206"/>
                  </a:lnTo>
                  <a:lnTo>
                    <a:pt x="11531" y="6487"/>
                  </a:lnTo>
                  <a:cubicBezTo>
                    <a:pt x="11861" y="6156"/>
                    <a:pt x="12294" y="5990"/>
                    <a:pt x="12728" y="5990"/>
                  </a:cubicBezTo>
                  <a:close/>
                  <a:moveTo>
                    <a:pt x="9637" y="1"/>
                  </a:moveTo>
                  <a:cubicBezTo>
                    <a:pt x="7095" y="1"/>
                    <a:pt x="4686" y="1012"/>
                    <a:pt x="2849" y="2849"/>
                  </a:cubicBezTo>
                  <a:cubicBezTo>
                    <a:pt x="1013" y="4686"/>
                    <a:pt x="1" y="7098"/>
                    <a:pt x="1" y="9637"/>
                  </a:cubicBezTo>
                  <a:cubicBezTo>
                    <a:pt x="1" y="12175"/>
                    <a:pt x="1013" y="14587"/>
                    <a:pt x="2849" y="16424"/>
                  </a:cubicBezTo>
                  <a:cubicBezTo>
                    <a:pt x="4686" y="18261"/>
                    <a:pt x="7095" y="19273"/>
                    <a:pt x="9637" y="19273"/>
                  </a:cubicBezTo>
                  <a:cubicBezTo>
                    <a:pt x="12175" y="19273"/>
                    <a:pt x="14584" y="18261"/>
                    <a:pt x="16421" y="16424"/>
                  </a:cubicBezTo>
                  <a:cubicBezTo>
                    <a:pt x="18258" y="14587"/>
                    <a:pt x="19273" y="12175"/>
                    <a:pt x="19273" y="9637"/>
                  </a:cubicBezTo>
                  <a:cubicBezTo>
                    <a:pt x="19273" y="7098"/>
                    <a:pt x="18258" y="4686"/>
                    <a:pt x="16421" y="2849"/>
                  </a:cubicBezTo>
                  <a:cubicBezTo>
                    <a:pt x="14584" y="1012"/>
                    <a:pt x="12175"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6" name="Google Shape;6306;p70"/>
            <p:cNvSpPr/>
            <p:nvPr/>
          </p:nvSpPr>
          <p:spPr>
            <a:xfrm>
              <a:off x="1639625" y="5170175"/>
              <a:ext cx="190100" cy="125750"/>
            </a:xfrm>
            <a:custGeom>
              <a:avLst/>
              <a:gdLst/>
              <a:ahLst/>
              <a:cxnLst/>
              <a:rect l="l" t="t" r="r" b="b"/>
              <a:pathLst>
                <a:path w="7604" h="5030" extrusionOk="0">
                  <a:moveTo>
                    <a:pt x="6852" y="0"/>
                  </a:moveTo>
                  <a:cubicBezTo>
                    <a:pt x="6851" y="0"/>
                    <a:pt x="6850" y="0"/>
                    <a:pt x="6848" y="0"/>
                  </a:cubicBezTo>
                  <a:cubicBezTo>
                    <a:pt x="6698" y="0"/>
                    <a:pt x="6556" y="57"/>
                    <a:pt x="6451" y="163"/>
                  </a:cubicBezTo>
                  <a:lnTo>
                    <a:pt x="3334" y="3279"/>
                  </a:lnTo>
                  <a:cubicBezTo>
                    <a:pt x="3224" y="3391"/>
                    <a:pt x="3080" y="3447"/>
                    <a:pt x="2935" y="3447"/>
                  </a:cubicBezTo>
                  <a:cubicBezTo>
                    <a:pt x="2791" y="3447"/>
                    <a:pt x="2646" y="3391"/>
                    <a:pt x="2536" y="3279"/>
                  </a:cubicBezTo>
                  <a:cubicBezTo>
                    <a:pt x="2533" y="3279"/>
                    <a:pt x="2533" y="3279"/>
                    <a:pt x="2530" y="3276"/>
                  </a:cubicBezTo>
                  <a:cubicBezTo>
                    <a:pt x="2521" y="3267"/>
                    <a:pt x="2509" y="3255"/>
                    <a:pt x="2497" y="3246"/>
                  </a:cubicBezTo>
                  <a:lnTo>
                    <a:pt x="1061" y="1810"/>
                  </a:lnTo>
                  <a:cubicBezTo>
                    <a:pt x="948" y="1678"/>
                    <a:pt x="789" y="1611"/>
                    <a:pt x="629" y="1611"/>
                  </a:cubicBezTo>
                  <a:cubicBezTo>
                    <a:pt x="486" y="1611"/>
                    <a:pt x="342" y="1666"/>
                    <a:pt x="233" y="1777"/>
                  </a:cubicBezTo>
                  <a:cubicBezTo>
                    <a:pt x="1" y="2009"/>
                    <a:pt x="16" y="2391"/>
                    <a:pt x="266" y="2605"/>
                  </a:cubicBezTo>
                  <a:lnTo>
                    <a:pt x="2542" y="4869"/>
                  </a:lnTo>
                  <a:cubicBezTo>
                    <a:pt x="2645" y="4972"/>
                    <a:pt x="2782" y="5029"/>
                    <a:pt x="2926" y="5029"/>
                  </a:cubicBezTo>
                  <a:cubicBezTo>
                    <a:pt x="2929" y="5029"/>
                    <a:pt x="2933" y="5029"/>
                    <a:pt x="2937" y="5029"/>
                  </a:cubicBezTo>
                  <a:lnTo>
                    <a:pt x="2943" y="5029"/>
                  </a:lnTo>
                  <a:cubicBezTo>
                    <a:pt x="3096" y="5029"/>
                    <a:pt x="3241" y="4969"/>
                    <a:pt x="3352" y="4860"/>
                  </a:cubicBezTo>
                  <a:lnTo>
                    <a:pt x="7249" y="964"/>
                  </a:lnTo>
                  <a:cubicBezTo>
                    <a:pt x="7603" y="606"/>
                    <a:pt x="7352" y="0"/>
                    <a:pt x="6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7" name="Google Shape;6307;p70"/>
          <p:cNvGrpSpPr/>
          <p:nvPr/>
        </p:nvGrpSpPr>
        <p:grpSpPr>
          <a:xfrm>
            <a:off x="5004462" y="3951792"/>
            <a:ext cx="339253" cy="339253"/>
            <a:chOff x="2085525" y="4992125"/>
            <a:chExt cx="481825" cy="481825"/>
          </a:xfrm>
        </p:grpSpPr>
        <p:sp>
          <p:nvSpPr>
            <p:cNvPr id="6308" name="Google Shape;6308;p70"/>
            <p:cNvSpPr/>
            <p:nvPr/>
          </p:nvSpPr>
          <p:spPr>
            <a:xfrm>
              <a:off x="2244150" y="5152125"/>
              <a:ext cx="164500" cy="161825"/>
            </a:xfrm>
            <a:custGeom>
              <a:avLst/>
              <a:gdLst/>
              <a:ahLst/>
              <a:cxnLst/>
              <a:rect l="l" t="t" r="r" b="b"/>
              <a:pathLst>
                <a:path w="6580" h="6473" extrusionOk="0">
                  <a:moveTo>
                    <a:pt x="618" y="1"/>
                  </a:moveTo>
                  <a:cubicBezTo>
                    <a:pt x="474" y="1"/>
                    <a:pt x="329" y="56"/>
                    <a:pt x="220" y="165"/>
                  </a:cubicBezTo>
                  <a:cubicBezTo>
                    <a:pt x="3" y="385"/>
                    <a:pt x="0" y="737"/>
                    <a:pt x="214" y="957"/>
                  </a:cubicBezTo>
                  <a:lnTo>
                    <a:pt x="2093" y="2836"/>
                  </a:lnTo>
                  <a:cubicBezTo>
                    <a:pt x="2313" y="3059"/>
                    <a:pt x="2313" y="3414"/>
                    <a:pt x="2093" y="3637"/>
                  </a:cubicBezTo>
                  <a:lnTo>
                    <a:pt x="214" y="5516"/>
                  </a:lnTo>
                  <a:cubicBezTo>
                    <a:pt x="0" y="5736"/>
                    <a:pt x="3" y="6088"/>
                    <a:pt x="220" y="6308"/>
                  </a:cubicBezTo>
                  <a:cubicBezTo>
                    <a:pt x="329" y="6418"/>
                    <a:pt x="474" y="6473"/>
                    <a:pt x="618" y="6473"/>
                  </a:cubicBezTo>
                  <a:cubicBezTo>
                    <a:pt x="760" y="6473"/>
                    <a:pt x="902" y="6420"/>
                    <a:pt x="1012" y="6314"/>
                  </a:cubicBezTo>
                  <a:lnTo>
                    <a:pt x="1018" y="6308"/>
                  </a:lnTo>
                  <a:lnTo>
                    <a:pt x="2897" y="4495"/>
                  </a:lnTo>
                  <a:cubicBezTo>
                    <a:pt x="3007" y="4390"/>
                    <a:pt x="3148" y="4337"/>
                    <a:pt x="3290" y="4337"/>
                  </a:cubicBezTo>
                  <a:cubicBezTo>
                    <a:pt x="3431" y="4337"/>
                    <a:pt x="3573" y="4390"/>
                    <a:pt x="3683" y="4495"/>
                  </a:cubicBezTo>
                  <a:lnTo>
                    <a:pt x="5562" y="6308"/>
                  </a:lnTo>
                  <a:lnTo>
                    <a:pt x="5568" y="6314"/>
                  </a:lnTo>
                  <a:cubicBezTo>
                    <a:pt x="5678" y="6420"/>
                    <a:pt x="5820" y="6473"/>
                    <a:pt x="5962" y="6473"/>
                  </a:cubicBezTo>
                  <a:cubicBezTo>
                    <a:pt x="6106" y="6473"/>
                    <a:pt x="6250" y="6418"/>
                    <a:pt x="6360" y="6308"/>
                  </a:cubicBezTo>
                  <a:cubicBezTo>
                    <a:pt x="6577" y="6088"/>
                    <a:pt x="6580" y="5736"/>
                    <a:pt x="6366" y="5516"/>
                  </a:cubicBezTo>
                  <a:lnTo>
                    <a:pt x="4487" y="3637"/>
                  </a:lnTo>
                  <a:cubicBezTo>
                    <a:pt x="4267" y="3414"/>
                    <a:pt x="4267" y="3059"/>
                    <a:pt x="4487" y="2836"/>
                  </a:cubicBezTo>
                  <a:lnTo>
                    <a:pt x="6366" y="957"/>
                  </a:lnTo>
                  <a:cubicBezTo>
                    <a:pt x="6580" y="737"/>
                    <a:pt x="6577" y="385"/>
                    <a:pt x="6360" y="165"/>
                  </a:cubicBezTo>
                  <a:cubicBezTo>
                    <a:pt x="6250" y="56"/>
                    <a:pt x="6106" y="1"/>
                    <a:pt x="5962" y="1"/>
                  </a:cubicBezTo>
                  <a:cubicBezTo>
                    <a:pt x="5820" y="1"/>
                    <a:pt x="5678" y="53"/>
                    <a:pt x="5568" y="159"/>
                  </a:cubicBezTo>
                  <a:lnTo>
                    <a:pt x="5562" y="165"/>
                  </a:lnTo>
                  <a:lnTo>
                    <a:pt x="3683" y="1978"/>
                  </a:lnTo>
                  <a:cubicBezTo>
                    <a:pt x="3573" y="2083"/>
                    <a:pt x="3431" y="2136"/>
                    <a:pt x="3290" y="2136"/>
                  </a:cubicBezTo>
                  <a:cubicBezTo>
                    <a:pt x="3148" y="2136"/>
                    <a:pt x="3007" y="2083"/>
                    <a:pt x="2897" y="1978"/>
                  </a:cubicBezTo>
                  <a:lnTo>
                    <a:pt x="1018" y="165"/>
                  </a:lnTo>
                  <a:lnTo>
                    <a:pt x="1012" y="159"/>
                  </a:lnTo>
                  <a:cubicBezTo>
                    <a:pt x="902" y="53"/>
                    <a:pt x="760" y="1"/>
                    <a:pt x="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9" name="Google Shape;6309;p70"/>
            <p:cNvSpPr/>
            <p:nvPr/>
          </p:nvSpPr>
          <p:spPr>
            <a:xfrm>
              <a:off x="2085525" y="4992125"/>
              <a:ext cx="481825" cy="481825"/>
            </a:xfrm>
            <a:custGeom>
              <a:avLst/>
              <a:gdLst/>
              <a:ahLst/>
              <a:cxnLst/>
              <a:rect l="l" t="t" r="r" b="b"/>
              <a:pathLst>
                <a:path w="19273" h="19273" extrusionOk="0">
                  <a:moveTo>
                    <a:pt x="12313" y="5263"/>
                  </a:moveTo>
                  <a:cubicBezTo>
                    <a:pt x="12748" y="5263"/>
                    <a:pt x="13183" y="5429"/>
                    <a:pt x="13515" y="5761"/>
                  </a:cubicBezTo>
                  <a:cubicBezTo>
                    <a:pt x="14174" y="6424"/>
                    <a:pt x="14171" y="7496"/>
                    <a:pt x="13509" y="8155"/>
                  </a:cubicBezTo>
                  <a:lnTo>
                    <a:pt x="12030" y="9637"/>
                  </a:lnTo>
                  <a:lnTo>
                    <a:pt x="13512" y="11118"/>
                  </a:lnTo>
                  <a:cubicBezTo>
                    <a:pt x="14174" y="11778"/>
                    <a:pt x="14177" y="12850"/>
                    <a:pt x="13515" y="13512"/>
                  </a:cubicBezTo>
                  <a:cubicBezTo>
                    <a:pt x="13184" y="13844"/>
                    <a:pt x="12749" y="14011"/>
                    <a:pt x="12315" y="14011"/>
                  </a:cubicBezTo>
                  <a:cubicBezTo>
                    <a:pt x="11883" y="14011"/>
                    <a:pt x="11451" y="13847"/>
                    <a:pt x="11121" y="13518"/>
                  </a:cubicBezTo>
                  <a:lnTo>
                    <a:pt x="9636" y="12088"/>
                  </a:lnTo>
                  <a:lnTo>
                    <a:pt x="8152" y="13518"/>
                  </a:lnTo>
                  <a:cubicBezTo>
                    <a:pt x="7822" y="13847"/>
                    <a:pt x="7390" y="14011"/>
                    <a:pt x="6958" y="14011"/>
                  </a:cubicBezTo>
                  <a:cubicBezTo>
                    <a:pt x="6523" y="14011"/>
                    <a:pt x="6087" y="13844"/>
                    <a:pt x="5755" y="13512"/>
                  </a:cubicBezTo>
                  <a:cubicBezTo>
                    <a:pt x="5095" y="12850"/>
                    <a:pt x="5098" y="11778"/>
                    <a:pt x="5761" y="11118"/>
                  </a:cubicBezTo>
                  <a:lnTo>
                    <a:pt x="7239" y="9637"/>
                  </a:lnTo>
                  <a:lnTo>
                    <a:pt x="5758" y="8155"/>
                  </a:lnTo>
                  <a:cubicBezTo>
                    <a:pt x="5095" y="7496"/>
                    <a:pt x="5092" y="6424"/>
                    <a:pt x="5755" y="5761"/>
                  </a:cubicBezTo>
                  <a:cubicBezTo>
                    <a:pt x="6085" y="5429"/>
                    <a:pt x="6519" y="5263"/>
                    <a:pt x="6954" y="5263"/>
                  </a:cubicBezTo>
                  <a:cubicBezTo>
                    <a:pt x="7386" y="5263"/>
                    <a:pt x="7818" y="5428"/>
                    <a:pt x="8149" y="5758"/>
                  </a:cubicBezTo>
                  <a:lnTo>
                    <a:pt x="9633" y="7188"/>
                  </a:lnTo>
                  <a:lnTo>
                    <a:pt x="11118" y="5758"/>
                  </a:lnTo>
                  <a:cubicBezTo>
                    <a:pt x="11448" y="5428"/>
                    <a:pt x="11881" y="5263"/>
                    <a:pt x="12313" y="5263"/>
                  </a:cubicBezTo>
                  <a:close/>
                  <a:moveTo>
                    <a:pt x="9636" y="1"/>
                  </a:moveTo>
                  <a:cubicBezTo>
                    <a:pt x="7095" y="1"/>
                    <a:pt x="4686" y="1012"/>
                    <a:pt x="2849" y="2849"/>
                  </a:cubicBezTo>
                  <a:cubicBezTo>
                    <a:pt x="1012" y="4686"/>
                    <a:pt x="0" y="7098"/>
                    <a:pt x="0" y="9637"/>
                  </a:cubicBezTo>
                  <a:cubicBezTo>
                    <a:pt x="0" y="12175"/>
                    <a:pt x="1012" y="14587"/>
                    <a:pt x="2849" y="16424"/>
                  </a:cubicBezTo>
                  <a:cubicBezTo>
                    <a:pt x="4686" y="18261"/>
                    <a:pt x="7095" y="19273"/>
                    <a:pt x="9636" y="19273"/>
                  </a:cubicBezTo>
                  <a:cubicBezTo>
                    <a:pt x="12175" y="19273"/>
                    <a:pt x="14584" y="18261"/>
                    <a:pt x="16421" y="16424"/>
                  </a:cubicBezTo>
                  <a:cubicBezTo>
                    <a:pt x="18261" y="14587"/>
                    <a:pt x="19272" y="12175"/>
                    <a:pt x="19272" y="9637"/>
                  </a:cubicBezTo>
                  <a:cubicBezTo>
                    <a:pt x="19272" y="7098"/>
                    <a:pt x="18261" y="4686"/>
                    <a:pt x="16421" y="2849"/>
                  </a:cubicBezTo>
                  <a:cubicBezTo>
                    <a:pt x="14584" y="1012"/>
                    <a:pt x="12175"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0" name="Google Shape;6310;p70"/>
          <p:cNvGrpSpPr/>
          <p:nvPr/>
        </p:nvGrpSpPr>
        <p:grpSpPr>
          <a:xfrm>
            <a:off x="6833221" y="3951792"/>
            <a:ext cx="339253" cy="339253"/>
            <a:chOff x="2678350" y="4992125"/>
            <a:chExt cx="481825" cy="481825"/>
          </a:xfrm>
        </p:grpSpPr>
        <p:sp>
          <p:nvSpPr>
            <p:cNvPr id="6311" name="Google Shape;6311;p70"/>
            <p:cNvSpPr/>
            <p:nvPr/>
          </p:nvSpPr>
          <p:spPr>
            <a:xfrm>
              <a:off x="2975725" y="5079150"/>
              <a:ext cx="56475" cy="309125"/>
            </a:xfrm>
            <a:custGeom>
              <a:avLst/>
              <a:gdLst/>
              <a:ahLst/>
              <a:cxnLst/>
              <a:rect l="l" t="t" r="r" b="b"/>
              <a:pathLst>
                <a:path w="2259" h="12365" extrusionOk="0">
                  <a:moveTo>
                    <a:pt x="2259" y="1"/>
                  </a:moveTo>
                  <a:cubicBezTo>
                    <a:pt x="943" y="272"/>
                    <a:pt x="0" y="1428"/>
                    <a:pt x="0" y="2768"/>
                  </a:cubicBezTo>
                  <a:lnTo>
                    <a:pt x="0" y="6722"/>
                  </a:lnTo>
                  <a:lnTo>
                    <a:pt x="563" y="6722"/>
                  </a:lnTo>
                  <a:cubicBezTo>
                    <a:pt x="877" y="6722"/>
                    <a:pt x="1130" y="6972"/>
                    <a:pt x="1130" y="7285"/>
                  </a:cubicBezTo>
                  <a:lnTo>
                    <a:pt x="1130" y="11802"/>
                  </a:lnTo>
                  <a:cubicBezTo>
                    <a:pt x="1130" y="12115"/>
                    <a:pt x="1379" y="12365"/>
                    <a:pt x="1693" y="12365"/>
                  </a:cubicBezTo>
                  <a:cubicBezTo>
                    <a:pt x="2006" y="12365"/>
                    <a:pt x="2259" y="12115"/>
                    <a:pt x="2259" y="11802"/>
                  </a:cubicBezTo>
                  <a:lnTo>
                    <a:pt x="22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2" name="Google Shape;6312;p70"/>
            <p:cNvSpPr/>
            <p:nvPr/>
          </p:nvSpPr>
          <p:spPr>
            <a:xfrm>
              <a:off x="2806350" y="5162500"/>
              <a:ext cx="84700" cy="225775"/>
            </a:xfrm>
            <a:custGeom>
              <a:avLst/>
              <a:gdLst/>
              <a:ahLst/>
              <a:cxnLst/>
              <a:rect l="l" t="t" r="r" b="b"/>
              <a:pathLst>
                <a:path w="3388" h="9031" extrusionOk="0">
                  <a:moveTo>
                    <a:pt x="0" y="0"/>
                  </a:moveTo>
                  <a:lnTo>
                    <a:pt x="0" y="563"/>
                  </a:lnTo>
                  <a:cubicBezTo>
                    <a:pt x="0" y="876"/>
                    <a:pt x="250" y="1129"/>
                    <a:pt x="563" y="1129"/>
                  </a:cubicBezTo>
                  <a:cubicBezTo>
                    <a:pt x="876" y="1129"/>
                    <a:pt x="1129" y="1379"/>
                    <a:pt x="1129" y="1692"/>
                  </a:cubicBezTo>
                  <a:lnTo>
                    <a:pt x="1129" y="8468"/>
                  </a:lnTo>
                  <a:cubicBezTo>
                    <a:pt x="1129" y="8781"/>
                    <a:pt x="1379" y="9031"/>
                    <a:pt x="1692" y="9031"/>
                  </a:cubicBezTo>
                  <a:cubicBezTo>
                    <a:pt x="2006" y="9031"/>
                    <a:pt x="2258" y="8781"/>
                    <a:pt x="2258" y="8468"/>
                  </a:cubicBezTo>
                  <a:lnTo>
                    <a:pt x="2258" y="1692"/>
                  </a:lnTo>
                  <a:cubicBezTo>
                    <a:pt x="2258" y="1379"/>
                    <a:pt x="2508" y="1129"/>
                    <a:pt x="2822" y="1129"/>
                  </a:cubicBezTo>
                  <a:cubicBezTo>
                    <a:pt x="3135" y="1129"/>
                    <a:pt x="3388" y="876"/>
                    <a:pt x="3388" y="563"/>
                  </a:cubicBezTo>
                  <a:lnTo>
                    <a:pt x="33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3" name="Google Shape;6313;p70"/>
            <p:cNvSpPr/>
            <p:nvPr/>
          </p:nvSpPr>
          <p:spPr>
            <a:xfrm>
              <a:off x="2678350" y="4992125"/>
              <a:ext cx="481825" cy="481825"/>
            </a:xfrm>
            <a:custGeom>
              <a:avLst/>
              <a:gdLst/>
              <a:ahLst/>
              <a:cxnLst/>
              <a:rect l="l" t="t" r="r" b="b"/>
              <a:pathLst>
                <a:path w="19273" h="19273" extrusionOk="0">
                  <a:moveTo>
                    <a:pt x="9071" y="2298"/>
                  </a:moveTo>
                  <a:cubicBezTo>
                    <a:pt x="9384" y="2298"/>
                    <a:pt x="9637" y="2548"/>
                    <a:pt x="9637" y="2861"/>
                  </a:cubicBezTo>
                  <a:lnTo>
                    <a:pt x="9637" y="6249"/>
                  </a:lnTo>
                  <a:lnTo>
                    <a:pt x="9637" y="7378"/>
                  </a:lnTo>
                  <a:cubicBezTo>
                    <a:pt x="9634" y="8095"/>
                    <a:pt x="9182" y="8736"/>
                    <a:pt x="8508" y="8977"/>
                  </a:cubicBezTo>
                  <a:lnTo>
                    <a:pt x="8508" y="15283"/>
                  </a:lnTo>
                  <a:cubicBezTo>
                    <a:pt x="8508" y="16219"/>
                    <a:pt x="7749" y="16975"/>
                    <a:pt x="6812" y="16975"/>
                  </a:cubicBezTo>
                  <a:cubicBezTo>
                    <a:pt x="5876" y="16975"/>
                    <a:pt x="5120" y="16219"/>
                    <a:pt x="5120" y="15283"/>
                  </a:cubicBezTo>
                  <a:lnTo>
                    <a:pt x="5120" y="8977"/>
                  </a:lnTo>
                  <a:cubicBezTo>
                    <a:pt x="4443" y="8736"/>
                    <a:pt x="3991" y="8095"/>
                    <a:pt x="3991" y="7378"/>
                  </a:cubicBezTo>
                  <a:lnTo>
                    <a:pt x="3991" y="2861"/>
                  </a:lnTo>
                  <a:cubicBezTo>
                    <a:pt x="3991" y="2548"/>
                    <a:pt x="4241" y="2298"/>
                    <a:pt x="4554" y="2298"/>
                  </a:cubicBezTo>
                  <a:cubicBezTo>
                    <a:pt x="4867" y="2298"/>
                    <a:pt x="5120" y="2548"/>
                    <a:pt x="5120" y="2861"/>
                  </a:cubicBezTo>
                  <a:lnTo>
                    <a:pt x="5120" y="5686"/>
                  </a:lnTo>
                  <a:lnTo>
                    <a:pt x="6249" y="5686"/>
                  </a:lnTo>
                  <a:lnTo>
                    <a:pt x="6249" y="2861"/>
                  </a:lnTo>
                  <a:cubicBezTo>
                    <a:pt x="6249" y="2548"/>
                    <a:pt x="6499" y="2298"/>
                    <a:pt x="6812" y="2298"/>
                  </a:cubicBezTo>
                  <a:cubicBezTo>
                    <a:pt x="7126" y="2298"/>
                    <a:pt x="7378" y="2548"/>
                    <a:pt x="7378" y="2861"/>
                  </a:cubicBezTo>
                  <a:lnTo>
                    <a:pt x="7378" y="5686"/>
                  </a:lnTo>
                  <a:lnTo>
                    <a:pt x="8508" y="5686"/>
                  </a:lnTo>
                  <a:lnTo>
                    <a:pt x="8508" y="2861"/>
                  </a:lnTo>
                  <a:cubicBezTo>
                    <a:pt x="8508" y="2548"/>
                    <a:pt x="8758" y="2298"/>
                    <a:pt x="9071" y="2298"/>
                  </a:cubicBezTo>
                  <a:close/>
                  <a:moveTo>
                    <a:pt x="14717" y="2298"/>
                  </a:moveTo>
                  <a:cubicBezTo>
                    <a:pt x="15030" y="2298"/>
                    <a:pt x="15283" y="2548"/>
                    <a:pt x="15283" y="2861"/>
                  </a:cubicBezTo>
                  <a:lnTo>
                    <a:pt x="15283" y="15283"/>
                  </a:lnTo>
                  <a:cubicBezTo>
                    <a:pt x="15283" y="16219"/>
                    <a:pt x="14524" y="16975"/>
                    <a:pt x="13588" y="16975"/>
                  </a:cubicBezTo>
                  <a:cubicBezTo>
                    <a:pt x="12651" y="16975"/>
                    <a:pt x="11895" y="16219"/>
                    <a:pt x="11895" y="15283"/>
                  </a:cubicBezTo>
                  <a:lnTo>
                    <a:pt x="11895" y="11332"/>
                  </a:lnTo>
                  <a:lnTo>
                    <a:pt x="11329" y="11332"/>
                  </a:lnTo>
                  <a:cubicBezTo>
                    <a:pt x="11016" y="11332"/>
                    <a:pt x="10766" y="11079"/>
                    <a:pt x="10766" y="10766"/>
                  </a:cubicBezTo>
                  <a:lnTo>
                    <a:pt x="10766" y="6249"/>
                  </a:lnTo>
                  <a:cubicBezTo>
                    <a:pt x="10766" y="4066"/>
                    <a:pt x="12534" y="2298"/>
                    <a:pt x="14717" y="2298"/>
                  </a:cubicBezTo>
                  <a:close/>
                  <a:moveTo>
                    <a:pt x="1693" y="1"/>
                  </a:moveTo>
                  <a:cubicBezTo>
                    <a:pt x="757" y="1"/>
                    <a:pt x="1" y="759"/>
                    <a:pt x="1" y="1696"/>
                  </a:cubicBezTo>
                  <a:lnTo>
                    <a:pt x="1" y="17580"/>
                  </a:lnTo>
                  <a:cubicBezTo>
                    <a:pt x="1" y="18514"/>
                    <a:pt x="757" y="19273"/>
                    <a:pt x="1693" y="19273"/>
                  </a:cubicBezTo>
                  <a:lnTo>
                    <a:pt x="17578" y="19273"/>
                  </a:lnTo>
                  <a:cubicBezTo>
                    <a:pt x="18514" y="19273"/>
                    <a:pt x="19270" y="18514"/>
                    <a:pt x="19273" y="17580"/>
                  </a:cubicBezTo>
                  <a:lnTo>
                    <a:pt x="19273" y="1696"/>
                  </a:lnTo>
                  <a:cubicBezTo>
                    <a:pt x="19270" y="759"/>
                    <a:pt x="18514" y="1"/>
                    <a:pt x="17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4" name="Google Shape;6314;p70"/>
          <p:cNvGrpSpPr/>
          <p:nvPr/>
        </p:nvGrpSpPr>
        <p:grpSpPr>
          <a:xfrm>
            <a:off x="4628816" y="3951792"/>
            <a:ext cx="339253" cy="339253"/>
            <a:chOff x="3271200" y="4992125"/>
            <a:chExt cx="481825" cy="481825"/>
          </a:xfrm>
        </p:grpSpPr>
        <p:sp>
          <p:nvSpPr>
            <p:cNvPr id="6315" name="Google Shape;6315;p70"/>
            <p:cNvSpPr/>
            <p:nvPr/>
          </p:nvSpPr>
          <p:spPr>
            <a:xfrm>
              <a:off x="3497950" y="5106025"/>
              <a:ext cx="28250" cy="28250"/>
            </a:xfrm>
            <a:custGeom>
              <a:avLst/>
              <a:gdLst/>
              <a:ahLst/>
              <a:cxnLst/>
              <a:rect l="l" t="t" r="r" b="b"/>
              <a:pathLst>
                <a:path w="1130" h="1130" extrusionOk="0">
                  <a:moveTo>
                    <a:pt x="566" y="1"/>
                  </a:moveTo>
                  <a:cubicBezTo>
                    <a:pt x="253" y="1"/>
                    <a:pt x="0" y="251"/>
                    <a:pt x="0" y="564"/>
                  </a:cubicBezTo>
                  <a:cubicBezTo>
                    <a:pt x="0" y="877"/>
                    <a:pt x="253" y="1130"/>
                    <a:pt x="566" y="1130"/>
                  </a:cubicBezTo>
                  <a:cubicBezTo>
                    <a:pt x="877" y="1130"/>
                    <a:pt x="1130" y="877"/>
                    <a:pt x="1130" y="564"/>
                  </a:cubicBez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6" name="Google Shape;6316;p70"/>
            <p:cNvSpPr/>
            <p:nvPr/>
          </p:nvSpPr>
          <p:spPr>
            <a:xfrm>
              <a:off x="3497950" y="5218950"/>
              <a:ext cx="28250" cy="141175"/>
            </a:xfrm>
            <a:custGeom>
              <a:avLst/>
              <a:gdLst/>
              <a:ahLst/>
              <a:cxnLst/>
              <a:rect l="l" t="t" r="r" b="b"/>
              <a:pathLst>
                <a:path w="1130" h="5647" extrusionOk="0">
                  <a:moveTo>
                    <a:pt x="0" y="0"/>
                  </a:moveTo>
                  <a:lnTo>
                    <a:pt x="0" y="5647"/>
                  </a:lnTo>
                  <a:lnTo>
                    <a:pt x="1130" y="5647"/>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7" name="Google Shape;6317;p70"/>
            <p:cNvSpPr/>
            <p:nvPr/>
          </p:nvSpPr>
          <p:spPr>
            <a:xfrm>
              <a:off x="3271200" y="4992125"/>
              <a:ext cx="481825" cy="481825"/>
            </a:xfrm>
            <a:custGeom>
              <a:avLst/>
              <a:gdLst/>
              <a:ahLst/>
              <a:cxnLst/>
              <a:rect l="l" t="t" r="r" b="b"/>
              <a:pathLst>
                <a:path w="19273" h="19273" extrusionOk="0">
                  <a:moveTo>
                    <a:pt x="9636" y="3427"/>
                  </a:moveTo>
                  <a:cubicBezTo>
                    <a:pt x="10320" y="3427"/>
                    <a:pt x="10937" y="3840"/>
                    <a:pt x="11199" y="4472"/>
                  </a:cubicBezTo>
                  <a:cubicBezTo>
                    <a:pt x="11461" y="5105"/>
                    <a:pt x="11317" y="5833"/>
                    <a:pt x="10832" y="6318"/>
                  </a:cubicBezTo>
                  <a:cubicBezTo>
                    <a:pt x="10508" y="6642"/>
                    <a:pt x="10074" y="6814"/>
                    <a:pt x="9634" y="6814"/>
                  </a:cubicBezTo>
                  <a:cubicBezTo>
                    <a:pt x="9415" y="6814"/>
                    <a:pt x="9195" y="6772"/>
                    <a:pt x="8986" y="6686"/>
                  </a:cubicBezTo>
                  <a:cubicBezTo>
                    <a:pt x="8354" y="6424"/>
                    <a:pt x="7941" y="5806"/>
                    <a:pt x="7941" y="5120"/>
                  </a:cubicBezTo>
                  <a:cubicBezTo>
                    <a:pt x="7941" y="4183"/>
                    <a:pt x="8700" y="3427"/>
                    <a:pt x="9636" y="3427"/>
                  </a:cubicBezTo>
                  <a:close/>
                  <a:moveTo>
                    <a:pt x="10766" y="7944"/>
                  </a:moveTo>
                  <a:cubicBezTo>
                    <a:pt x="11076" y="7944"/>
                    <a:pt x="11329" y="8194"/>
                    <a:pt x="11329" y="8507"/>
                  </a:cubicBezTo>
                  <a:lnTo>
                    <a:pt x="11329" y="14720"/>
                  </a:lnTo>
                  <a:lnTo>
                    <a:pt x="11895" y="14720"/>
                  </a:lnTo>
                  <a:cubicBezTo>
                    <a:pt x="12205" y="14720"/>
                    <a:pt x="12458" y="14969"/>
                    <a:pt x="12458" y="15283"/>
                  </a:cubicBezTo>
                  <a:cubicBezTo>
                    <a:pt x="12458" y="15596"/>
                    <a:pt x="12205" y="15849"/>
                    <a:pt x="11895" y="15849"/>
                  </a:cubicBezTo>
                  <a:lnTo>
                    <a:pt x="7378" y="15849"/>
                  </a:lnTo>
                  <a:cubicBezTo>
                    <a:pt x="7065" y="15849"/>
                    <a:pt x="6812" y="15596"/>
                    <a:pt x="6812" y="15283"/>
                  </a:cubicBezTo>
                  <a:cubicBezTo>
                    <a:pt x="6812" y="14969"/>
                    <a:pt x="7065" y="14720"/>
                    <a:pt x="7378" y="14720"/>
                  </a:cubicBezTo>
                  <a:lnTo>
                    <a:pt x="7941" y="14720"/>
                  </a:lnTo>
                  <a:lnTo>
                    <a:pt x="7941" y="9073"/>
                  </a:lnTo>
                  <a:lnTo>
                    <a:pt x="7378" y="9073"/>
                  </a:lnTo>
                  <a:cubicBezTo>
                    <a:pt x="7065" y="9073"/>
                    <a:pt x="6812" y="8821"/>
                    <a:pt x="6812" y="8507"/>
                  </a:cubicBezTo>
                  <a:cubicBezTo>
                    <a:pt x="6812" y="8194"/>
                    <a:pt x="7065" y="7944"/>
                    <a:pt x="7378" y="7944"/>
                  </a:cubicBezTo>
                  <a:close/>
                  <a:moveTo>
                    <a:pt x="1693" y="1"/>
                  </a:moveTo>
                  <a:cubicBezTo>
                    <a:pt x="756" y="1"/>
                    <a:pt x="0" y="759"/>
                    <a:pt x="0" y="1696"/>
                  </a:cubicBezTo>
                  <a:lnTo>
                    <a:pt x="0" y="17580"/>
                  </a:lnTo>
                  <a:cubicBezTo>
                    <a:pt x="0" y="18514"/>
                    <a:pt x="756" y="19273"/>
                    <a:pt x="1693" y="19273"/>
                  </a:cubicBezTo>
                  <a:lnTo>
                    <a:pt x="17577" y="19273"/>
                  </a:lnTo>
                  <a:cubicBezTo>
                    <a:pt x="18514" y="19273"/>
                    <a:pt x="19269" y="18514"/>
                    <a:pt x="19272" y="17580"/>
                  </a:cubicBezTo>
                  <a:lnTo>
                    <a:pt x="19272" y="1696"/>
                  </a:lnTo>
                  <a:cubicBezTo>
                    <a:pt x="19269"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8" name="Google Shape;6318;p70"/>
          <p:cNvGrpSpPr/>
          <p:nvPr/>
        </p:nvGrpSpPr>
        <p:grpSpPr>
          <a:xfrm>
            <a:off x="7290263" y="3952822"/>
            <a:ext cx="339411" cy="337193"/>
            <a:chOff x="3863900" y="4993625"/>
            <a:chExt cx="482050" cy="478900"/>
          </a:xfrm>
        </p:grpSpPr>
        <p:sp>
          <p:nvSpPr>
            <p:cNvPr id="6319" name="Google Shape;6319;p70"/>
            <p:cNvSpPr/>
            <p:nvPr/>
          </p:nvSpPr>
          <p:spPr>
            <a:xfrm>
              <a:off x="3877525"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0" name="Google Shape;6320;p70"/>
            <p:cNvSpPr/>
            <p:nvPr/>
          </p:nvSpPr>
          <p:spPr>
            <a:xfrm>
              <a:off x="4113750" y="5133350"/>
              <a:ext cx="232200" cy="339175"/>
            </a:xfrm>
            <a:custGeom>
              <a:avLst/>
              <a:gdLst/>
              <a:ahLst/>
              <a:cxnLst/>
              <a:rect l="l" t="t" r="r" b="b"/>
              <a:pathLst>
                <a:path w="9288" h="13567" extrusionOk="0">
                  <a:moveTo>
                    <a:pt x="9284" y="1"/>
                  </a:moveTo>
                  <a:lnTo>
                    <a:pt x="4836" y="2202"/>
                  </a:lnTo>
                  <a:lnTo>
                    <a:pt x="4836" y="4680"/>
                  </a:lnTo>
                  <a:cubicBezTo>
                    <a:pt x="4836" y="4993"/>
                    <a:pt x="4584" y="5246"/>
                    <a:pt x="4270" y="5246"/>
                  </a:cubicBezTo>
                  <a:cubicBezTo>
                    <a:pt x="3957" y="5246"/>
                    <a:pt x="3707" y="4993"/>
                    <a:pt x="3707" y="4680"/>
                  </a:cubicBezTo>
                  <a:lnTo>
                    <a:pt x="3707" y="2762"/>
                  </a:lnTo>
                  <a:lnTo>
                    <a:pt x="0" y="4593"/>
                  </a:lnTo>
                  <a:lnTo>
                    <a:pt x="0" y="13566"/>
                  </a:lnTo>
                  <a:cubicBezTo>
                    <a:pt x="12" y="13560"/>
                    <a:pt x="24" y="13557"/>
                    <a:pt x="37" y="13551"/>
                  </a:cubicBezTo>
                  <a:lnTo>
                    <a:pt x="8552"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1" name="Google Shape;6321;p70"/>
            <p:cNvSpPr/>
            <p:nvPr/>
          </p:nvSpPr>
          <p:spPr>
            <a:xfrm>
              <a:off x="3998800" y="4993625"/>
              <a:ext cx="334125" cy="168500"/>
            </a:xfrm>
            <a:custGeom>
              <a:avLst/>
              <a:gdLst/>
              <a:ahLst/>
              <a:cxnLst/>
              <a:rect l="l" t="t" r="r" b="b"/>
              <a:pathLst>
                <a:path w="13365" h="6740" extrusionOk="0">
                  <a:moveTo>
                    <a:pt x="4045" y="1"/>
                  </a:moveTo>
                  <a:cubicBezTo>
                    <a:pt x="3833" y="1"/>
                    <a:pt x="3623" y="51"/>
                    <a:pt x="3430" y="151"/>
                  </a:cubicBezTo>
                  <a:lnTo>
                    <a:pt x="0" y="1970"/>
                  </a:lnTo>
                  <a:lnTo>
                    <a:pt x="9013" y="6740"/>
                  </a:lnTo>
                  <a:lnTo>
                    <a:pt x="13364" y="4587"/>
                  </a:lnTo>
                  <a:cubicBezTo>
                    <a:pt x="13298" y="4536"/>
                    <a:pt x="13226" y="4491"/>
                    <a:pt x="13150" y="4454"/>
                  </a:cubicBezTo>
                  <a:lnTo>
                    <a:pt x="4638" y="139"/>
                  </a:lnTo>
                  <a:lnTo>
                    <a:pt x="4635" y="139"/>
                  </a:lnTo>
                  <a:cubicBezTo>
                    <a:pt x="4448" y="47"/>
                    <a:pt x="4246"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2" name="Google Shape;6322;p70"/>
            <p:cNvSpPr/>
            <p:nvPr/>
          </p:nvSpPr>
          <p:spPr>
            <a:xfrm>
              <a:off x="3863900" y="5132450"/>
              <a:ext cx="221650" cy="339925"/>
            </a:xfrm>
            <a:custGeom>
              <a:avLst/>
              <a:gdLst/>
              <a:ahLst/>
              <a:cxnLst/>
              <a:rect l="l" t="t" r="r" b="b"/>
              <a:pathLst>
                <a:path w="8866" h="13597" extrusionOk="0">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3" name="Google Shape;6323;p70"/>
          <p:cNvGrpSpPr/>
          <p:nvPr/>
        </p:nvGrpSpPr>
        <p:grpSpPr>
          <a:xfrm>
            <a:off x="7747437" y="3952822"/>
            <a:ext cx="339411" cy="337193"/>
            <a:chOff x="4456725" y="4993625"/>
            <a:chExt cx="482050" cy="478900"/>
          </a:xfrm>
        </p:grpSpPr>
        <p:sp>
          <p:nvSpPr>
            <p:cNvPr id="6324" name="Google Shape;6324;p70"/>
            <p:cNvSpPr/>
            <p:nvPr/>
          </p:nvSpPr>
          <p:spPr>
            <a:xfrm>
              <a:off x="4470350" y="5058825"/>
              <a:ext cx="315450" cy="164750"/>
            </a:xfrm>
            <a:custGeom>
              <a:avLst/>
              <a:gdLst/>
              <a:ahLst/>
              <a:cxnLst/>
              <a:rect l="l" t="t" r="r" b="b"/>
              <a:pathLst>
                <a:path w="12618" h="6590" extrusionOk="0">
                  <a:moveTo>
                    <a:pt x="3647" y="1"/>
                  </a:moveTo>
                  <a:lnTo>
                    <a:pt x="169" y="1846"/>
                  </a:lnTo>
                  <a:cubicBezTo>
                    <a:pt x="109" y="1877"/>
                    <a:pt x="52" y="1913"/>
                    <a:pt x="1" y="1952"/>
                  </a:cubicBezTo>
                  <a:lnTo>
                    <a:pt x="8893" y="6589"/>
                  </a:lnTo>
                  <a:lnTo>
                    <a:pt x="12618"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5" name="Google Shape;6325;p70"/>
            <p:cNvSpPr/>
            <p:nvPr/>
          </p:nvSpPr>
          <p:spPr>
            <a:xfrm>
              <a:off x="4706575" y="5133350"/>
              <a:ext cx="232200" cy="339175"/>
            </a:xfrm>
            <a:custGeom>
              <a:avLst/>
              <a:gdLst/>
              <a:ahLst/>
              <a:cxnLst/>
              <a:rect l="l" t="t" r="r" b="b"/>
              <a:pathLst>
                <a:path w="9288" h="13567" extrusionOk="0">
                  <a:moveTo>
                    <a:pt x="9285" y="1"/>
                  </a:moveTo>
                  <a:lnTo>
                    <a:pt x="4837" y="2202"/>
                  </a:lnTo>
                  <a:lnTo>
                    <a:pt x="4837" y="4680"/>
                  </a:lnTo>
                  <a:cubicBezTo>
                    <a:pt x="4837" y="4993"/>
                    <a:pt x="4584" y="5246"/>
                    <a:pt x="4271" y="5246"/>
                  </a:cubicBezTo>
                  <a:cubicBezTo>
                    <a:pt x="3958" y="5246"/>
                    <a:pt x="3708" y="4993"/>
                    <a:pt x="3708" y="4680"/>
                  </a:cubicBezTo>
                  <a:lnTo>
                    <a:pt x="3708" y="2762"/>
                  </a:lnTo>
                  <a:lnTo>
                    <a:pt x="1" y="4593"/>
                  </a:lnTo>
                  <a:lnTo>
                    <a:pt x="1" y="13566"/>
                  </a:lnTo>
                  <a:cubicBezTo>
                    <a:pt x="13" y="13560"/>
                    <a:pt x="25" y="13557"/>
                    <a:pt x="37" y="13551"/>
                  </a:cubicBezTo>
                  <a:lnTo>
                    <a:pt x="8553" y="9236"/>
                  </a:lnTo>
                  <a:cubicBezTo>
                    <a:pt x="9005" y="9010"/>
                    <a:pt x="9288" y="8550"/>
                    <a:pt x="9288" y="8047"/>
                  </a:cubicBezTo>
                  <a:lnTo>
                    <a:pt x="9288" y="52"/>
                  </a:lnTo>
                  <a:cubicBezTo>
                    <a:pt x="9288" y="34"/>
                    <a:pt x="9288" y="19"/>
                    <a:pt x="9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6" name="Google Shape;6326;p70"/>
            <p:cNvSpPr/>
            <p:nvPr/>
          </p:nvSpPr>
          <p:spPr>
            <a:xfrm>
              <a:off x="4591625" y="4993625"/>
              <a:ext cx="334125" cy="168500"/>
            </a:xfrm>
            <a:custGeom>
              <a:avLst/>
              <a:gdLst/>
              <a:ahLst/>
              <a:cxnLst/>
              <a:rect l="l" t="t" r="r" b="b"/>
              <a:pathLst>
                <a:path w="13365" h="6740" extrusionOk="0">
                  <a:moveTo>
                    <a:pt x="4045" y="1"/>
                  </a:moveTo>
                  <a:cubicBezTo>
                    <a:pt x="3834" y="1"/>
                    <a:pt x="3623" y="51"/>
                    <a:pt x="3431" y="151"/>
                  </a:cubicBezTo>
                  <a:lnTo>
                    <a:pt x="1" y="1970"/>
                  </a:lnTo>
                  <a:lnTo>
                    <a:pt x="9013" y="6740"/>
                  </a:lnTo>
                  <a:lnTo>
                    <a:pt x="13365" y="4587"/>
                  </a:lnTo>
                  <a:cubicBezTo>
                    <a:pt x="13298" y="4536"/>
                    <a:pt x="13226" y="4491"/>
                    <a:pt x="13151" y="4454"/>
                  </a:cubicBezTo>
                  <a:lnTo>
                    <a:pt x="4638" y="139"/>
                  </a:lnTo>
                  <a:lnTo>
                    <a:pt x="4635" y="139"/>
                  </a:lnTo>
                  <a:cubicBezTo>
                    <a:pt x="4448" y="47"/>
                    <a:pt x="4247"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7" name="Google Shape;6327;p70"/>
            <p:cNvSpPr/>
            <p:nvPr/>
          </p:nvSpPr>
          <p:spPr>
            <a:xfrm>
              <a:off x="4456725" y="5132450"/>
              <a:ext cx="221650" cy="339925"/>
            </a:xfrm>
            <a:custGeom>
              <a:avLst/>
              <a:gdLst/>
              <a:ahLst/>
              <a:cxnLst/>
              <a:rect l="l" t="t" r="r" b="b"/>
              <a:pathLst>
                <a:path w="8866" h="13597" extrusionOk="0">
                  <a:moveTo>
                    <a:pt x="3277" y="4449"/>
                  </a:moveTo>
                  <a:cubicBezTo>
                    <a:pt x="3465" y="4449"/>
                    <a:pt x="3649" y="4542"/>
                    <a:pt x="3756" y="4713"/>
                  </a:cubicBezTo>
                  <a:lnTo>
                    <a:pt x="4632" y="6104"/>
                  </a:lnTo>
                  <a:lnTo>
                    <a:pt x="5559" y="5719"/>
                  </a:lnTo>
                  <a:cubicBezTo>
                    <a:pt x="5634" y="5686"/>
                    <a:pt x="5712" y="5670"/>
                    <a:pt x="5788" y="5670"/>
                  </a:cubicBezTo>
                  <a:cubicBezTo>
                    <a:pt x="6008" y="5670"/>
                    <a:pt x="6217" y="5800"/>
                    <a:pt x="6306" y="6017"/>
                  </a:cubicBezTo>
                  <a:cubicBezTo>
                    <a:pt x="6430" y="6309"/>
                    <a:pt x="6288" y="6643"/>
                    <a:pt x="5993" y="6761"/>
                  </a:cubicBezTo>
                  <a:lnTo>
                    <a:pt x="5243" y="7074"/>
                  </a:lnTo>
                  <a:lnTo>
                    <a:pt x="6032" y="8324"/>
                  </a:lnTo>
                  <a:cubicBezTo>
                    <a:pt x="6198" y="8586"/>
                    <a:pt x="6116" y="8935"/>
                    <a:pt x="5855" y="9101"/>
                  </a:cubicBezTo>
                  <a:cubicBezTo>
                    <a:pt x="5761" y="9160"/>
                    <a:pt x="5656" y="9189"/>
                    <a:pt x="5553" y="9189"/>
                  </a:cubicBezTo>
                  <a:cubicBezTo>
                    <a:pt x="5365" y="9189"/>
                    <a:pt x="5181" y="9095"/>
                    <a:pt x="5075" y="8926"/>
                  </a:cubicBezTo>
                  <a:lnTo>
                    <a:pt x="4186" y="7514"/>
                  </a:lnTo>
                  <a:lnTo>
                    <a:pt x="3310" y="7881"/>
                  </a:lnTo>
                  <a:cubicBezTo>
                    <a:pt x="3241" y="7908"/>
                    <a:pt x="3168" y="7923"/>
                    <a:pt x="3093" y="7923"/>
                  </a:cubicBezTo>
                  <a:cubicBezTo>
                    <a:pt x="2825" y="7923"/>
                    <a:pt x="2593" y="7733"/>
                    <a:pt x="2539" y="7471"/>
                  </a:cubicBezTo>
                  <a:cubicBezTo>
                    <a:pt x="2488" y="7206"/>
                    <a:pt x="2626" y="6941"/>
                    <a:pt x="2876" y="6839"/>
                  </a:cubicBezTo>
                  <a:lnTo>
                    <a:pt x="3575" y="6547"/>
                  </a:lnTo>
                  <a:lnTo>
                    <a:pt x="2801" y="5315"/>
                  </a:lnTo>
                  <a:cubicBezTo>
                    <a:pt x="2632" y="5050"/>
                    <a:pt x="2714" y="4701"/>
                    <a:pt x="2976" y="4535"/>
                  </a:cubicBezTo>
                  <a:cubicBezTo>
                    <a:pt x="3070" y="4477"/>
                    <a:pt x="3174" y="4449"/>
                    <a:pt x="3277" y="4449"/>
                  </a:cubicBezTo>
                  <a:close/>
                  <a:moveTo>
                    <a:pt x="7" y="1"/>
                  </a:moveTo>
                  <a:cubicBezTo>
                    <a:pt x="4" y="25"/>
                    <a:pt x="1" y="52"/>
                    <a:pt x="1" y="76"/>
                  </a:cubicBezTo>
                  <a:lnTo>
                    <a:pt x="1" y="8095"/>
                  </a:lnTo>
                  <a:cubicBezTo>
                    <a:pt x="1" y="8589"/>
                    <a:pt x="275" y="9043"/>
                    <a:pt x="714" y="9269"/>
                  </a:cubicBezTo>
                  <a:lnTo>
                    <a:pt x="8821" y="13572"/>
                  </a:lnTo>
                  <a:lnTo>
                    <a:pt x="8827" y="13575"/>
                  </a:lnTo>
                  <a:lnTo>
                    <a:pt x="8866" y="13596"/>
                  </a:lnTo>
                  <a:lnTo>
                    <a:pt x="8866" y="4620"/>
                  </a:lnTo>
                  <a:lnTo>
                    <a:pt x="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8" name="Google Shape;6328;p70"/>
          <p:cNvGrpSpPr/>
          <p:nvPr/>
        </p:nvGrpSpPr>
        <p:grpSpPr>
          <a:xfrm>
            <a:off x="6376030" y="3952813"/>
            <a:ext cx="339411" cy="337211"/>
            <a:chOff x="5049575" y="4993600"/>
            <a:chExt cx="482050" cy="478925"/>
          </a:xfrm>
        </p:grpSpPr>
        <p:sp>
          <p:nvSpPr>
            <p:cNvPr id="6329" name="Google Shape;6329;p70"/>
            <p:cNvSpPr/>
            <p:nvPr/>
          </p:nvSpPr>
          <p:spPr>
            <a:xfrm>
              <a:off x="5063200"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0" name="Google Shape;6330;p70"/>
            <p:cNvSpPr/>
            <p:nvPr/>
          </p:nvSpPr>
          <p:spPr>
            <a:xfrm>
              <a:off x="5299425" y="5133350"/>
              <a:ext cx="232200" cy="339175"/>
            </a:xfrm>
            <a:custGeom>
              <a:avLst/>
              <a:gdLst/>
              <a:ahLst/>
              <a:cxnLst/>
              <a:rect l="l" t="t" r="r" b="b"/>
              <a:pathLst>
                <a:path w="9288" h="13567" extrusionOk="0">
                  <a:moveTo>
                    <a:pt x="9284" y="1"/>
                  </a:moveTo>
                  <a:lnTo>
                    <a:pt x="4837" y="2202"/>
                  </a:lnTo>
                  <a:lnTo>
                    <a:pt x="4837" y="4680"/>
                  </a:lnTo>
                  <a:cubicBezTo>
                    <a:pt x="4837" y="4993"/>
                    <a:pt x="4584" y="5246"/>
                    <a:pt x="4271" y="5246"/>
                  </a:cubicBezTo>
                  <a:cubicBezTo>
                    <a:pt x="3957" y="5246"/>
                    <a:pt x="3707" y="4993"/>
                    <a:pt x="3707" y="4680"/>
                  </a:cubicBezTo>
                  <a:lnTo>
                    <a:pt x="3707" y="2762"/>
                  </a:lnTo>
                  <a:lnTo>
                    <a:pt x="1" y="4593"/>
                  </a:lnTo>
                  <a:lnTo>
                    <a:pt x="1" y="13566"/>
                  </a:lnTo>
                  <a:cubicBezTo>
                    <a:pt x="13" y="13560"/>
                    <a:pt x="25" y="13557"/>
                    <a:pt x="37" y="13551"/>
                  </a:cubicBezTo>
                  <a:lnTo>
                    <a:pt x="8553"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1" name="Google Shape;6331;p70"/>
            <p:cNvSpPr/>
            <p:nvPr/>
          </p:nvSpPr>
          <p:spPr>
            <a:xfrm>
              <a:off x="5184475" y="4993600"/>
              <a:ext cx="334125" cy="168525"/>
            </a:xfrm>
            <a:custGeom>
              <a:avLst/>
              <a:gdLst/>
              <a:ahLst/>
              <a:cxnLst/>
              <a:rect l="l" t="t" r="r" b="b"/>
              <a:pathLst>
                <a:path w="13365" h="6741" extrusionOk="0">
                  <a:moveTo>
                    <a:pt x="4040" y="0"/>
                  </a:moveTo>
                  <a:cubicBezTo>
                    <a:pt x="3830" y="0"/>
                    <a:pt x="3621" y="50"/>
                    <a:pt x="3430" y="149"/>
                  </a:cubicBezTo>
                  <a:lnTo>
                    <a:pt x="0" y="1971"/>
                  </a:lnTo>
                  <a:lnTo>
                    <a:pt x="9013" y="6741"/>
                  </a:lnTo>
                  <a:lnTo>
                    <a:pt x="13364" y="4588"/>
                  </a:lnTo>
                  <a:cubicBezTo>
                    <a:pt x="13298" y="4537"/>
                    <a:pt x="13226" y="4492"/>
                    <a:pt x="13151" y="4455"/>
                  </a:cubicBezTo>
                  <a:lnTo>
                    <a:pt x="4638" y="140"/>
                  </a:lnTo>
                  <a:lnTo>
                    <a:pt x="4635" y="140"/>
                  </a:lnTo>
                  <a:cubicBezTo>
                    <a:pt x="4446" y="47"/>
                    <a:pt x="4243" y="0"/>
                    <a:pt x="4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2" name="Google Shape;6332;p70"/>
            <p:cNvSpPr/>
            <p:nvPr/>
          </p:nvSpPr>
          <p:spPr>
            <a:xfrm>
              <a:off x="5049575" y="5132450"/>
              <a:ext cx="221650" cy="339925"/>
            </a:xfrm>
            <a:custGeom>
              <a:avLst/>
              <a:gdLst/>
              <a:ahLst/>
              <a:cxnLst/>
              <a:rect l="l" t="t" r="r" b="b"/>
              <a:pathLst>
                <a:path w="8866" h="13597" extrusionOk="0">
                  <a:moveTo>
                    <a:pt x="5803" y="5648"/>
                  </a:moveTo>
                  <a:cubicBezTo>
                    <a:pt x="5997" y="5648"/>
                    <a:pt x="6186" y="5748"/>
                    <a:pt x="6291" y="5927"/>
                  </a:cubicBezTo>
                  <a:cubicBezTo>
                    <a:pt x="6450" y="6195"/>
                    <a:pt x="6360" y="6541"/>
                    <a:pt x="6092" y="6701"/>
                  </a:cubicBezTo>
                  <a:lnTo>
                    <a:pt x="3843" y="8016"/>
                  </a:lnTo>
                  <a:lnTo>
                    <a:pt x="3834" y="8023"/>
                  </a:lnTo>
                  <a:lnTo>
                    <a:pt x="3831" y="8026"/>
                  </a:lnTo>
                  <a:lnTo>
                    <a:pt x="3818" y="8029"/>
                  </a:lnTo>
                  <a:cubicBezTo>
                    <a:pt x="3812" y="8032"/>
                    <a:pt x="3806" y="8035"/>
                    <a:pt x="3800" y="8038"/>
                  </a:cubicBezTo>
                  <a:lnTo>
                    <a:pt x="3785" y="8047"/>
                  </a:lnTo>
                  <a:lnTo>
                    <a:pt x="3767" y="8053"/>
                  </a:lnTo>
                  <a:lnTo>
                    <a:pt x="3752" y="8059"/>
                  </a:lnTo>
                  <a:lnTo>
                    <a:pt x="3734" y="8065"/>
                  </a:lnTo>
                  <a:lnTo>
                    <a:pt x="3716" y="8071"/>
                  </a:lnTo>
                  <a:lnTo>
                    <a:pt x="3698" y="8077"/>
                  </a:lnTo>
                  <a:cubicBezTo>
                    <a:pt x="3692" y="8077"/>
                    <a:pt x="3686" y="8080"/>
                    <a:pt x="3680" y="8080"/>
                  </a:cubicBezTo>
                  <a:cubicBezTo>
                    <a:pt x="3671" y="8083"/>
                    <a:pt x="3668" y="8083"/>
                    <a:pt x="3665" y="8083"/>
                  </a:cubicBezTo>
                  <a:lnTo>
                    <a:pt x="3641" y="8089"/>
                  </a:lnTo>
                  <a:lnTo>
                    <a:pt x="3629" y="8089"/>
                  </a:lnTo>
                  <a:cubicBezTo>
                    <a:pt x="3620" y="8089"/>
                    <a:pt x="3611" y="8092"/>
                    <a:pt x="3602" y="8092"/>
                  </a:cubicBezTo>
                  <a:lnTo>
                    <a:pt x="3484" y="8092"/>
                  </a:lnTo>
                  <a:lnTo>
                    <a:pt x="3466" y="8089"/>
                  </a:lnTo>
                  <a:cubicBezTo>
                    <a:pt x="3460" y="8089"/>
                    <a:pt x="3454" y="8086"/>
                    <a:pt x="3448" y="8086"/>
                  </a:cubicBezTo>
                  <a:cubicBezTo>
                    <a:pt x="3442" y="8083"/>
                    <a:pt x="3436" y="8083"/>
                    <a:pt x="3433" y="8080"/>
                  </a:cubicBezTo>
                  <a:lnTo>
                    <a:pt x="3412" y="8077"/>
                  </a:lnTo>
                  <a:cubicBezTo>
                    <a:pt x="3406" y="8077"/>
                    <a:pt x="3403" y="8074"/>
                    <a:pt x="3397" y="8071"/>
                  </a:cubicBezTo>
                  <a:lnTo>
                    <a:pt x="3376" y="8065"/>
                  </a:lnTo>
                  <a:lnTo>
                    <a:pt x="3361" y="8062"/>
                  </a:lnTo>
                  <a:lnTo>
                    <a:pt x="3343" y="8053"/>
                  </a:lnTo>
                  <a:lnTo>
                    <a:pt x="3328" y="8047"/>
                  </a:lnTo>
                  <a:lnTo>
                    <a:pt x="3310" y="8038"/>
                  </a:lnTo>
                  <a:lnTo>
                    <a:pt x="3295" y="8032"/>
                  </a:lnTo>
                  <a:cubicBezTo>
                    <a:pt x="3289" y="8029"/>
                    <a:pt x="3282" y="8026"/>
                    <a:pt x="3276" y="8019"/>
                  </a:cubicBezTo>
                  <a:lnTo>
                    <a:pt x="3261" y="8013"/>
                  </a:lnTo>
                  <a:lnTo>
                    <a:pt x="3246" y="8001"/>
                  </a:lnTo>
                  <a:cubicBezTo>
                    <a:pt x="3240" y="7998"/>
                    <a:pt x="3237" y="7995"/>
                    <a:pt x="3231" y="7992"/>
                  </a:cubicBezTo>
                  <a:lnTo>
                    <a:pt x="3216" y="7980"/>
                  </a:lnTo>
                  <a:cubicBezTo>
                    <a:pt x="3210" y="7977"/>
                    <a:pt x="3207" y="7974"/>
                    <a:pt x="3201" y="7968"/>
                  </a:cubicBezTo>
                  <a:cubicBezTo>
                    <a:pt x="3198" y="7965"/>
                    <a:pt x="3192" y="7962"/>
                    <a:pt x="3186" y="7956"/>
                  </a:cubicBezTo>
                  <a:lnTo>
                    <a:pt x="3174" y="7944"/>
                  </a:lnTo>
                  <a:lnTo>
                    <a:pt x="3159" y="7932"/>
                  </a:lnTo>
                  <a:lnTo>
                    <a:pt x="3147" y="7917"/>
                  </a:lnTo>
                  <a:cubicBezTo>
                    <a:pt x="3141" y="7914"/>
                    <a:pt x="3138" y="7908"/>
                    <a:pt x="3135" y="7905"/>
                  </a:cubicBezTo>
                  <a:lnTo>
                    <a:pt x="3120" y="7890"/>
                  </a:lnTo>
                  <a:lnTo>
                    <a:pt x="3111" y="7875"/>
                  </a:lnTo>
                  <a:cubicBezTo>
                    <a:pt x="3105" y="7869"/>
                    <a:pt x="3102" y="7863"/>
                    <a:pt x="3096" y="7857"/>
                  </a:cubicBezTo>
                  <a:lnTo>
                    <a:pt x="3087" y="7845"/>
                  </a:lnTo>
                  <a:lnTo>
                    <a:pt x="3075" y="7827"/>
                  </a:lnTo>
                  <a:lnTo>
                    <a:pt x="3069" y="7815"/>
                  </a:lnTo>
                  <a:lnTo>
                    <a:pt x="3069" y="7812"/>
                  </a:lnTo>
                  <a:lnTo>
                    <a:pt x="3063" y="7803"/>
                  </a:lnTo>
                  <a:lnTo>
                    <a:pt x="2415" y="6631"/>
                  </a:lnTo>
                  <a:cubicBezTo>
                    <a:pt x="2265" y="6357"/>
                    <a:pt x="2367" y="6014"/>
                    <a:pt x="2641" y="5863"/>
                  </a:cubicBezTo>
                  <a:lnTo>
                    <a:pt x="2635" y="5863"/>
                  </a:lnTo>
                  <a:cubicBezTo>
                    <a:pt x="2722" y="5816"/>
                    <a:pt x="2815" y="5793"/>
                    <a:pt x="2908" y="5793"/>
                  </a:cubicBezTo>
                  <a:cubicBezTo>
                    <a:pt x="3107" y="5793"/>
                    <a:pt x="3300" y="5899"/>
                    <a:pt x="3403" y="6086"/>
                  </a:cubicBezTo>
                  <a:lnTo>
                    <a:pt x="3770" y="6752"/>
                  </a:lnTo>
                  <a:lnTo>
                    <a:pt x="5520" y="5725"/>
                  </a:lnTo>
                  <a:cubicBezTo>
                    <a:pt x="5609" y="5673"/>
                    <a:pt x="5707" y="5648"/>
                    <a:pt x="5803" y="5648"/>
                  </a:cubicBezTo>
                  <a:close/>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333" name="Google Shape;6333;p70"/>
          <p:cNvSpPr txBox="1"/>
          <p:nvPr/>
        </p:nvSpPr>
        <p:spPr>
          <a:xfrm>
            <a:off x="828875" y="1176707"/>
            <a:ext cx="7525800" cy="761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icons without losing quality.</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You can </a:t>
            </a:r>
            <a:r>
              <a:rPr lang="en" sz="1100">
                <a:solidFill>
                  <a:srgbClr val="869FB2"/>
                </a:solidFill>
              </a:rPr>
              <a:t>change the stroke and fill color</a:t>
            </a:r>
            <a:r>
              <a:rPr lang="en" sz="1100">
                <a:solidFill>
                  <a:srgbClr val="FFFFFF"/>
                </a:solidFill>
              </a:rPr>
              <a:t>; just select the icon and click on the</a:t>
            </a:r>
            <a:r>
              <a:rPr lang="en" sz="1100">
                <a:solidFill>
                  <a:srgbClr val="435D74"/>
                </a:solidFill>
              </a:rPr>
              <a:t> </a:t>
            </a:r>
            <a:r>
              <a:rPr lang="en" sz="1100">
                <a:solidFill>
                  <a:srgbClr val="869FB2"/>
                </a:solidFill>
              </a:rPr>
              <a:t>paint bucket/pen</a:t>
            </a:r>
            <a:r>
              <a:rPr lang="en" sz="1100">
                <a:solidFill>
                  <a:srgbClr val="FFFFFF"/>
                </a:solidFill>
              </a:rPr>
              <a:t>.</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In Google Slides, you can also use </a:t>
            </a:r>
            <a:r>
              <a:rPr lang="en" sz="1100">
                <a:solidFill>
                  <a:srgbClr val="869FB2"/>
                </a:solidFill>
                <a:uFill>
                  <a:noFill/>
                </a:uFill>
                <a:hlinkClick r:id="rId3">
                  <a:extLst>
                    <a:ext uri="{A12FA001-AC4F-418D-AE19-62706E023703}">
                      <ahyp:hlinkClr xmlns:ahyp="http://schemas.microsoft.com/office/drawing/2018/hyperlinkcolor" val="tx"/>
                    </a:ext>
                  </a:extLst>
                </a:hlinkClick>
              </a:rPr>
              <a:t>Flaticon’s extension</a:t>
            </a:r>
            <a:r>
              <a:rPr lang="en" sz="1100">
                <a:solidFill>
                  <a:srgbClr val="FFFFFF"/>
                </a:solidFill>
              </a:rPr>
              <a:t>, allowing you to customize and add even more icons.</a:t>
            </a:r>
            <a:br>
              <a:rPr lang="en" sz="1100">
                <a:solidFill>
                  <a:srgbClr val="435D74"/>
                </a:solidFill>
              </a:rPr>
            </a:br>
            <a:endParaRPr sz="1100">
              <a:solidFill>
                <a:srgbClr val="435D74"/>
              </a:solidFill>
            </a:endParaRPr>
          </a:p>
        </p:txBody>
      </p:sp>
      <p:sp>
        <p:nvSpPr>
          <p:cNvPr id="6334" name="Google Shape;6334;p7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and our sets of editable icons</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338"/>
        <p:cNvGrpSpPr/>
        <p:nvPr/>
      </p:nvGrpSpPr>
      <p:grpSpPr>
        <a:xfrm>
          <a:off x="0" y="0"/>
          <a:ext cx="0" cy="0"/>
          <a:chOff x="0" y="0"/>
          <a:chExt cx="0" cy="0"/>
        </a:xfrm>
      </p:grpSpPr>
      <p:grpSp>
        <p:nvGrpSpPr>
          <p:cNvPr id="6339" name="Google Shape;6339;p71"/>
          <p:cNvGrpSpPr/>
          <p:nvPr/>
        </p:nvGrpSpPr>
        <p:grpSpPr>
          <a:xfrm>
            <a:off x="876361" y="1308054"/>
            <a:ext cx="322099" cy="370529"/>
            <a:chOff x="-42971725" y="3217825"/>
            <a:chExt cx="275675" cy="317125"/>
          </a:xfrm>
        </p:grpSpPr>
        <p:sp>
          <p:nvSpPr>
            <p:cNvPr id="6340" name="Google Shape;6340;p71"/>
            <p:cNvSpPr/>
            <p:nvPr/>
          </p:nvSpPr>
          <p:spPr>
            <a:xfrm>
              <a:off x="-42951250" y="3279250"/>
              <a:ext cx="233950" cy="152050"/>
            </a:xfrm>
            <a:custGeom>
              <a:avLst/>
              <a:gdLst/>
              <a:ahLst/>
              <a:cxnLst/>
              <a:rect l="l" t="t" r="r" b="b"/>
              <a:pathLst>
                <a:path w="9358" h="6082" extrusionOk="0">
                  <a:moveTo>
                    <a:pt x="379" y="1"/>
                  </a:moveTo>
                  <a:cubicBezTo>
                    <a:pt x="158" y="1"/>
                    <a:pt x="1" y="221"/>
                    <a:pt x="1" y="410"/>
                  </a:cubicBezTo>
                  <a:lnTo>
                    <a:pt x="1" y="6081"/>
                  </a:lnTo>
                  <a:lnTo>
                    <a:pt x="9357" y="6081"/>
                  </a:lnTo>
                  <a:lnTo>
                    <a:pt x="9357" y="410"/>
                  </a:lnTo>
                  <a:cubicBezTo>
                    <a:pt x="9357" y="158"/>
                    <a:pt x="9168" y="1"/>
                    <a:pt x="89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1"/>
            <p:cNvSpPr/>
            <p:nvPr/>
          </p:nvSpPr>
          <p:spPr>
            <a:xfrm>
              <a:off x="-42971725" y="3451750"/>
              <a:ext cx="275675" cy="83200"/>
            </a:xfrm>
            <a:custGeom>
              <a:avLst/>
              <a:gdLst/>
              <a:ahLst/>
              <a:cxnLst/>
              <a:rect l="l" t="t" r="r" b="b"/>
              <a:pathLst>
                <a:path w="11027" h="3328" extrusionOk="0">
                  <a:moveTo>
                    <a:pt x="63" y="0"/>
                  </a:moveTo>
                  <a:cubicBezTo>
                    <a:pt x="32" y="126"/>
                    <a:pt x="0" y="284"/>
                    <a:pt x="0" y="410"/>
                  </a:cubicBezTo>
                  <a:cubicBezTo>
                    <a:pt x="0" y="1103"/>
                    <a:pt x="536" y="1670"/>
                    <a:pt x="1198" y="1670"/>
                  </a:cubicBezTo>
                  <a:lnTo>
                    <a:pt x="3151" y="1670"/>
                  </a:lnTo>
                  <a:lnTo>
                    <a:pt x="2615" y="2710"/>
                  </a:lnTo>
                  <a:cubicBezTo>
                    <a:pt x="2521" y="2930"/>
                    <a:pt x="2615" y="3182"/>
                    <a:pt x="2836" y="3277"/>
                  </a:cubicBezTo>
                  <a:cubicBezTo>
                    <a:pt x="2889" y="3312"/>
                    <a:pt x="2949" y="3328"/>
                    <a:pt x="3009" y="3328"/>
                  </a:cubicBezTo>
                  <a:cubicBezTo>
                    <a:pt x="3166" y="3328"/>
                    <a:pt x="3326" y="3224"/>
                    <a:pt x="3371" y="3088"/>
                  </a:cubicBezTo>
                  <a:lnTo>
                    <a:pt x="4096" y="1639"/>
                  </a:lnTo>
                  <a:lnTo>
                    <a:pt x="5073" y="1639"/>
                  </a:lnTo>
                  <a:lnTo>
                    <a:pt x="5073" y="2867"/>
                  </a:lnTo>
                  <a:cubicBezTo>
                    <a:pt x="5073" y="3119"/>
                    <a:pt x="5262" y="3308"/>
                    <a:pt x="5514" y="3308"/>
                  </a:cubicBezTo>
                  <a:cubicBezTo>
                    <a:pt x="5734" y="3308"/>
                    <a:pt x="5892" y="3119"/>
                    <a:pt x="5892" y="2867"/>
                  </a:cubicBezTo>
                  <a:lnTo>
                    <a:pt x="5892" y="1639"/>
                  </a:lnTo>
                  <a:lnTo>
                    <a:pt x="6868" y="1639"/>
                  </a:lnTo>
                  <a:lnTo>
                    <a:pt x="7593" y="3088"/>
                  </a:lnTo>
                  <a:cubicBezTo>
                    <a:pt x="7688" y="3230"/>
                    <a:pt x="7835" y="3301"/>
                    <a:pt x="7983" y="3301"/>
                  </a:cubicBezTo>
                  <a:cubicBezTo>
                    <a:pt x="8032" y="3301"/>
                    <a:pt x="8081" y="3293"/>
                    <a:pt x="8129" y="3277"/>
                  </a:cubicBezTo>
                  <a:cubicBezTo>
                    <a:pt x="8349" y="3151"/>
                    <a:pt x="8412" y="2930"/>
                    <a:pt x="8349" y="2710"/>
                  </a:cubicBezTo>
                  <a:lnTo>
                    <a:pt x="7814" y="1670"/>
                  </a:lnTo>
                  <a:lnTo>
                    <a:pt x="9767" y="1670"/>
                  </a:lnTo>
                  <a:cubicBezTo>
                    <a:pt x="10429" y="1670"/>
                    <a:pt x="11027" y="1103"/>
                    <a:pt x="11027" y="410"/>
                  </a:cubicBezTo>
                  <a:cubicBezTo>
                    <a:pt x="11027" y="252"/>
                    <a:pt x="10964" y="126"/>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1"/>
            <p:cNvSpPr/>
            <p:nvPr/>
          </p:nvSpPr>
          <p:spPr>
            <a:xfrm>
              <a:off x="-42866975" y="3217825"/>
              <a:ext cx="63025" cy="40975"/>
            </a:xfrm>
            <a:custGeom>
              <a:avLst/>
              <a:gdLst/>
              <a:ahLst/>
              <a:cxnLst/>
              <a:rect l="l" t="t" r="r" b="b"/>
              <a:pathLst>
                <a:path w="2521" h="1639" extrusionOk="0">
                  <a:moveTo>
                    <a:pt x="442" y="0"/>
                  </a:moveTo>
                  <a:cubicBezTo>
                    <a:pt x="221" y="0"/>
                    <a:pt x="1" y="189"/>
                    <a:pt x="1" y="410"/>
                  </a:cubicBezTo>
                  <a:lnTo>
                    <a:pt x="1" y="1639"/>
                  </a:lnTo>
                  <a:lnTo>
                    <a:pt x="2489" y="1639"/>
                  </a:lnTo>
                  <a:lnTo>
                    <a:pt x="2489" y="410"/>
                  </a:lnTo>
                  <a:lnTo>
                    <a:pt x="2521" y="410"/>
                  </a:lnTo>
                  <a:cubicBezTo>
                    <a:pt x="2521" y="189"/>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3" name="Google Shape;6343;p71"/>
          <p:cNvGrpSpPr/>
          <p:nvPr/>
        </p:nvGrpSpPr>
        <p:grpSpPr>
          <a:xfrm>
            <a:off x="848276" y="1776710"/>
            <a:ext cx="378270" cy="337551"/>
            <a:chOff x="-42996150" y="3612600"/>
            <a:chExt cx="323750" cy="288900"/>
          </a:xfrm>
        </p:grpSpPr>
        <p:sp>
          <p:nvSpPr>
            <p:cNvPr id="6344" name="Google Shape;6344;p71"/>
            <p:cNvSpPr/>
            <p:nvPr/>
          </p:nvSpPr>
          <p:spPr>
            <a:xfrm>
              <a:off x="-42914225" y="3612600"/>
              <a:ext cx="241825" cy="239275"/>
            </a:xfrm>
            <a:custGeom>
              <a:avLst/>
              <a:gdLst/>
              <a:ahLst/>
              <a:cxnLst/>
              <a:rect l="l" t="t" r="r" b="b"/>
              <a:pathLst>
                <a:path w="9673" h="9571" extrusionOk="0">
                  <a:moveTo>
                    <a:pt x="5963" y="1"/>
                  </a:moveTo>
                  <a:cubicBezTo>
                    <a:pt x="5661" y="1"/>
                    <a:pt x="5365" y="127"/>
                    <a:pt x="5136" y="371"/>
                  </a:cubicBezTo>
                  <a:lnTo>
                    <a:pt x="0" y="5507"/>
                  </a:lnTo>
                  <a:lnTo>
                    <a:pt x="4064" y="9571"/>
                  </a:lnTo>
                  <a:lnTo>
                    <a:pt x="9200" y="4436"/>
                  </a:lnTo>
                  <a:cubicBezTo>
                    <a:pt x="9672" y="3963"/>
                    <a:pt x="9672" y="3207"/>
                    <a:pt x="9200" y="2734"/>
                  </a:cubicBezTo>
                  <a:lnTo>
                    <a:pt x="6868" y="434"/>
                  </a:lnTo>
                  <a:cubicBezTo>
                    <a:pt x="6609" y="143"/>
                    <a:pt x="6283" y="1"/>
                    <a:pt x="5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1"/>
            <p:cNvSpPr/>
            <p:nvPr/>
          </p:nvSpPr>
          <p:spPr>
            <a:xfrm>
              <a:off x="-42946525" y="3762850"/>
              <a:ext cx="118950" cy="118950"/>
            </a:xfrm>
            <a:custGeom>
              <a:avLst/>
              <a:gdLst/>
              <a:ahLst/>
              <a:cxnLst/>
              <a:rect l="l" t="t" r="r" b="b"/>
              <a:pathLst>
                <a:path w="4758" h="4758" extrusionOk="0">
                  <a:moveTo>
                    <a:pt x="725" y="1"/>
                  </a:moveTo>
                  <a:lnTo>
                    <a:pt x="473" y="284"/>
                  </a:lnTo>
                  <a:cubicBezTo>
                    <a:pt x="253" y="505"/>
                    <a:pt x="95" y="820"/>
                    <a:pt x="95" y="1198"/>
                  </a:cubicBezTo>
                  <a:cubicBezTo>
                    <a:pt x="95" y="1450"/>
                    <a:pt x="190" y="1765"/>
                    <a:pt x="442" y="1986"/>
                  </a:cubicBezTo>
                  <a:cubicBezTo>
                    <a:pt x="631" y="2112"/>
                    <a:pt x="599" y="2458"/>
                    <a:pt x="442" y="2616"/>
                  </a:cubicBezTo>
                  <a:lnTo>
                    <a:pt x="1" y="3025"/>
                  </a:lnTo>
                  <a:lnTo>
                    <a:pt x="1733" y="4758"/>
                  </a:lnTo>
                  <a:lnTo>
                    <a:pt x="2174" y="4348"/>
                  </a:lnTo>
                  <a:cubicBezTo>
                    <a:pt x="2253" y="4270"/>
                    <a:pt x="2363" y="4230"/>
                    <a:pt x="2478" y="4230"/>
                  </a:cubicBezTo>
                  <a:cubicBezTo>
                    <a:pt x="2592" y="4230"/>
                    <a:pt x="2710" y="4270"/>
                    <a:pt x="2804" y="4348"/>
                  </a:cubicBezTo>
                  <a:cubicBezTo>
                    <a:pt x="3025" y="4569"/>
                    <a:pt x="3340" y="4695"/>
                    <a:pt x="3655" y="4695"/>
                  </a:cubicBezTo>
                  <a:cubicBezTo>
                    <a:pt x="3970" y="4695"/>
                    <a:pt x="4254" y="4569"/>
                    <a:pt x="4506" y="4348"/>
                  </a:cubicBezTo>
                  <a:lnTo>
                    <a:pt x="4758" y="4065"/>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1"/>
            <p:cNvSpPr/>
            <p:nvPr/>
          </p:nvSpPr>
          <p:spPr>
            <a:xfrm>
              <a:off x="-42996150" y="3855800"/>
              <a:ext cx="78000" cy="45700"/>
            </a:xfrm>
            <a:custGeom>
              <a:avLst/>
              <a:gdLst/>
              <a:ahLst/>
              <a:cxnLst/>
              <a:rect l="l" t="t" r="r" b="b"/>
              <a:pathLst>
                <a:path w="3120" h="1828" extrusionOk="0">
                  <a:moveTo>
                    <a:pt x="1450" y="0"/>
                  </a:moveTo>
                  <a:lnTo>
                    <a:pt x="253" y="1166"/>
                  </a:lnTo>
                  <a:cubicBezTo>
                    <a:pt x="1" y="1355"/>
                    <a:pt x="190" y="1828"/>
                    <a:pt x="536" y="1828"/>
                  </a:cubicBezTo>
                  <a:lnTo>
                    <a:pt x="2773" y="1828"/>
                  </a:lnTo>
                  <a:cubicBezTo>
                    <a:pt x="2931" y="1828"/>
                    <a:pt x="3025" y="1765"/>
                    <a:pt x="3120" y="1670"/>
                  </a:cubicBezTo>
                  <a:lnTo>
                    <a:pt x="1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7" name="Google Shape;6347;p71"/>
          <p:cNvGrpSpPr/>
          <p:nvPr/>
        </p:nvGrpSpPr>
        <p:grpSpPr>
          <a:xfrm>
            <a:off x="851036" y="2186080"/>
            <a:ext cx="372749" cy="370909"/>
            <a:chOff x="-42994575" y="3950300"/>
            <a:chExt cx="319025" cy="317450"/>
          </a:xfrm>
        </p:grpSpPr>
        <p:sp>
          <p:nvSpPr>
            <p:cNvPr id="6348" name="Google Shape;6348;p71"/>
            <p:cNvSpPr/>
            <p:nvPr/>
          </p:nvSpPr>
          <p:spPr>
            <a:xfrm>
              <a:off x="-42930775" y="4225200"/>
              <a:ext cx="191425" cy="42550"/>
            </a:xfrm>
            <a:custGeom>
              <a:avLst/>
              <a:gdLst/>
              <a:ahLst/>
              <a:cxnLst/>
              <a:rect l="l" t="t" r="r" b="b"/>
              <a:pathLst>
                <a:path w="7657" h="1702" extrusionOk="0">
                  <a:moveTo>
                    <a:pt x="442" y="0"/>
                  </a:moveTo>
                  <a:cubicBezTo>
                    <a:pt x="190" y="0"/>
                    <a:pt x="1" y="221"/>
                    <a:pt x="1" y="441"/>
                  </a:cubicBezTo>
                  <a:lnTo>
                    <a:pt x="1" y="1292"/>
                  </a:lnTo>
                  <a:cubicBezTo>
                    <a:pt x="1" y="1512"/>
                    <a:pt x="190" y="1701"/>
                    <a:pt x="442" y="1701"/>
                  </a:cubicBezTo>
                  <a:lnTo>
                    <a:pt x="7215" y="1701"/>
                  </a:lnTo>
                  <a:cubicBezTo>
                    <a:pt x="7499" y="1701"/>
                    <a:pt x="7656" y="1512"/>
                    <a:pt x="7656" y="1292"/>
                  </a:cubicBezTo>
                  <a:lnTo>
                    <a:pt x="7656" y="441"/>
                  </a:lnTo>
                  <a:cubicBezTo>
                    <a:pt x="7656" y="221"/>
                    <a:pt x="7436" y="0"/>
                    <a:pt x="72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1"/>
            <p:cNvSpPr/>
            <p:nvPr/>
          </p:nvSpPr>
          <p:spPr>
            <a:xfrm>
              <a:off x="-42908725" y="4163750"/>
              <a:ext cx="148900" cy="42550"/>
            </a:xfrm>
            <a:custGeom>
              <a:avLst/>
              <a:gdLst/>
              <a:ahLst/>
              <a:cxnLst/>
              <a:rect l="l" t="t" r="r" b="b"/>
              <a:pathLst>
                <a:path w="5956" h="1702" extrusionOk="0">
                  <a:moveTo>
                    <a:pt x="442" y="1"/>
                  </a:moveTo>
                  <a:cubicBezTo>
                    <a:pt x="190" y="1"/>
                    <a:pt x="1" y="190"/>
                    <a:pt x="1" y="410"/>
                  </a:cubicBezTo>
                  <a:lnTo>
                    <a:pt x="1" y="1261"/>
                  </a:lnTo>
                  <a:cubicBezTo>
                    <a:pt x="1" y="1481"/>
                    <a:pt x="190" y="1702"/>
                    <a:pt x="442" y="1702"/>
                  </a:cubicBezTo>
                  <a:lnTo>
                    <a:pt x="5514" y="1702"/>
                  </a:lnTo>
                  <a:cubicBezTo>
                    <a:pt x="5735" y="1702"/>
                    <a:pt x="5955" y="1481"/>
                    <a:pt x="5955" y="1261"/>
                  </a:cubicBezTo>
                  <a:lnTo>
                    <a:pt x="5955" y="410"/>
                  </a:lnTo>
                  <a:cubicBezTo>
                    <a:pt x="5955" y="190"/>
                    <a:pt x="5735"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1"/>
            <p:cNvSpPr/>
            <p:nvPr/>
          </p:nvSpPr>
          <p:spPr>
            <a:xfrm>
              <a:off x="-42994575" y="3950300"/>
              <a:ext cx="319025" cy="211125"/>
            </a:xfrm>
            <a:custGeom>
              <a:avLst/>
              <a:gdLst/>
              <a:ahLst/>
              <a:cxnLst/>
              <a:rect l="l" t="t" r="r" b="b"/>
              <a:pathLst>
                <a:path w="12761" h="8445" extrusionOk="0">
                  <a:moveTo>
                    <a:pt x="6428" y="852"/>
                  </a:moveTo>
                  <a:cubicBezTo>
                    <a:pt x="6648" y="852"/>
                    <a:pt x="6806" y="1009"/>
                    <a:pt x="6869" y="1261"/>
                  </a:cubicBezTo>
                  <a:lnTo>
                    <a:pt x="6869" y="1324"/>
                  </a:lnTo>
                  <a:cubicBezTo>
                    <a:pt x="6806" y="1513"/>
                    <a:pt x="6648" y="1702"/>
                    <a:pt x="6428" y="1702"/>
                  </a:cubicBezTo>
                  <a:cubicBezTo>
                    <a:pt x="6176" y="1702"/>
                    <a:pt x="6018" y="1576"/>
                    <a:pt x="5987" y="1324"/>
                  </a:cubicBezTo>
                  <a:lnTo>
                    <a:pt x="5987" y="1261"/>
                  </a:lnTo>
                  <a:cubicBezTo>
                    <a:pt x="6018" y="1041"/>
                    <a:pt x="6176" y="852"/>
                    <a:pt x="6428" y="852"/>
                  </a:cubicBezTo>
                  <a:close/>
                  <a:moveTo>
                    <a:pt x="2112" y="2742"/>
                  </a:moveTo>
                  <a:lnTo>
                    <a:pt x="3340" y="6396"/>
                  </a:lnTo>
                  <a:lnTo>
                    <a:pt x="914" y="6396"/>
                  </a:lnTo>
                  <a:lnTo>
                    <a:pt x="2112" y="2742"/>
                  </a:lnTo>
                  <a:close/>
                  <a:moveTo>
                    <a:pt x="10681" y="2742"/>
                  </a:moveTo>
                  <a:lnTo>
                    <a:pt x="11878" y="6396"/>
                  </a:lnTo>
                  <a:lnTo>
                    <a:pt x="9452" y="6396"/>
                  </a:lnTo>
                  <a:lnTo>
                    <a:pt x="10681" y="2742"/>
                  </a:lnTo>
                  <a:close/>
                  <a:moveTo>
                    <a:pt x="6333" y="1"/>
                  </a:moveTo>
                  <a:cubicBezTo>
                    <a:pt x="5798" y="1"/>
                    <a:pt x="5325" y="347"/>
                    <a:pt x="5168" y="852"/>
                  </a:cubicBezTo>
                  <a:lnTo>
                    <a:pt x="1292" y="852"/>
                  </a:lnTo>
                  <a:cubicBezTo>
                    <a:pt x="1103" y="852"/>
                    <a:pt x="914" y="1009"/>
                    <a:pt x="883" y="1198"/>
                  </a:cubicBezTo>
                  <a:cubicBezTo>
                    <a:pt x="820" y="1482"/>
                    <a:pt x="1040" y="1702"/>
                    <a:pt x="1292" y="1702"/>
                  </a:cubicBezTo>
                  <a:lnTo>
                    <a:pt x="1576" y="1702"/>
                  </a:lnTo>
                  <a:cubicBezTo>
                    <a:pt x="1" y="6491"/>
                    <a:pt x="32" y="6333"/>
                    <a:pt x="32" y="6459"/>
                  </a:cubicBezTo>
                  <a:cubicBezTo>
                    <a:pt x="64" y="7562"/>
                    <a:pt x="1009" y="8444"/>
                    <a:pt x="2112" y="8444"/>
                  </a:cubicBezTo>
                  <a:cubicBezTo>
                    <a:pt x="3277" y="8444"/>
                    <a:pt x="4159" y="7562"/>
                    <a:pt x="4159" y="6459"/>
                  </a:cubicBezTo>
                  <a:cubicBezTo>
                    <a:pt x="4159" y="6333"/>
                    <a:pt x="4222" y="6491"/>
                    <a:pt x="2647" y="1702"/>
                  </a:cubicBezTo>
                  <a:lnTo>
                    <a:pt x="5105" y="1702"/>
                  </a:lnTo>
                  <a:lnTo>
                    <a:pt x="5105" y="7342"/>
                  </a:lnTo>
                  <a:cubicBezTo>
                    <a:pt x="5105" y="7594"/>
                    <a:pt x="5325" y="7783"/>
                    <a:pt x="5546" y="7783"/>
                  </a:cubicBezTo>
                  <a:lnTo>
                    <a:pt x="7247" y="7783"/>
                  </a:lnTo>
                  <a:cubicBezTo>
                    <a:pt x="7499" y="7783"/>
                    <a:pt x="7688" y="7594"/>
                    <a:pt x="7688" y="7342"/>
                  </a:cubicBezTo>
                  <a:lnTo>
                    <a:pt x="7688" y="1702"/>
                  </a:lnTo>
                  <a:lnTo>
                    <a:pt x="10177" y="1702"/>
                  </a:lnTo>
                  <a:cubicBezTo>
                    <a:pt x="8602" y="6491"/>
                    <a:pt x="8633" y="6333"/>
                    <a:pt x="8633" y="6459"/>
                  </a:cubicBezTo>
                  <a:cubicBezTo>
                    <a:pt x="8665" y="7562"/>
                    <a:pt x="9578" y="8444"/>
                    <a:pt x="10681" y="8444"/>
                  </a:cubicBezTo>
                  <a:cubicBezTo>
                    <a:pt x="11815" y="8444"/>
                    <a:pt x="12729" y="7562"/>
                    <a:pt x="12729" y="6459"/>
                  </a:cubicBezTo>
                  <a:cubicBezTo>
                    <a:pt x="12729" y="6333"/>
                    <a:pt x="12760" y="6491"/>
                    <a:pt x="11185" y="1702"/>
                  </a:cubicBezTo>
                  <a:lnTo>
                    <a:pt x="11437" y="1702"/>
                  </a:lnTo>
                  <a:cubicBezTo>
                    <a:pt x="11626" y="1702"/>
                    <a:pt x="11815" y="1576"/>
                    <a:pt x="11847" y="1356"/>
                  </a:cubicBezTo>
                  <a:cubicBezTo>
                    <a:pt x="11910" y="1104"/>
                    <a:pt x="11689" y="852"/>
                    <a:pt x="11437" y="852"/>
                  </a:cubicBezTo>
                  <a:lnTo>
                    <a:pt x="7530" y="852"/>
                  </a:lnTo>
                  <a:cubicBezTo>
                    <a:pt x="7373" y="347"/>
                    <a:pt x="690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1" name="Google Shape;6351;p71"/>
          <p:cNvGrpSpPr/>
          <p:nvPr/>
        </p:nvGrpSpPr>
        <p:grpSpPr>
          <a:xfrm>
            <a:off x="3004431" y="1332912"/>
            <a:ext cx="371785" cy="370879"/>
            <a:chOff x="-41111350" y="3239100"/>
            <a:chExt cx="318200" cy="317425"/>
          </a:xfrm>
        </p:grpSpPr>
        <p:sp>
          <p:nvSpPr>
            <p:cNvPr id="6352" name="Google Shape;6352;p71"/>
            <p:cNvSpPr/>
            <p:nvPr/>
          </p:nvSpPr>
          <p:spPr>
            <a:xfrm>
              <a:off x="-41111350" y="3239100"/>
              <a:ext cx="145725" cy="144925"/>
            </a:xfrm>
            <a:custGeom>
              <a:avLst/>
              <a:gdLst/>
              <a:ahLst/>
              <a:cxnLst/>
              <a:rect l="l" t="t" r="r" b="b"/>
              <a:pathLst>
                <a:path w="5829" h="5797" extrusionOk="0">
                  <a:moveTo>
                    <a:pt x="2930" y="1670"/>
                  </a:moveTo>
                  <a:cubicBezTo>
                    <a:pt x="3119" y="1670"/>
                    <a:pt x="3308" y="1859"/>
                    <a:pt x="3308" y="2048"/>
                  </a:cubicBezTo>
                  <a:lnTo>
                    <a:pt x="3308" y="2489"/>
                  </a:lnTo>
                  <a:lnTo>
                    <a:pt x="3749" y="2489"/>
                  </a:lnTo>
                  <a:cubicBezTo>
                    <a:pt x="4001" y="2489"/>
                    <a:pt x="4159" y="2678"/>
                    <a:pt x="4159" y="2930"/>
                  </a:cubicBezTo>
                  <a:cubicBezTo>
                    <a:pt x="4159" y="3151"/>
                    <a:pt x="3938" y="3340"/>
                    <a:pt x="3749" y="3340"/>
                  </a:cubicBezTo>
                  <a:lnTo>
                    <a:pt x="3308" y="3340"/>
                  </a:lnTo>
                  <a:lnTo>
                    <a:pt x="3308" y="3781"/>
                  </a:lnTo>
                  <a:cubicBezTo>
                    <a:pt x="3308" y="4001"/>
                    <a:pt x="3119" y="4159"/>
                    <a:pt x="2930" y="4159"/>
                  </a:cubicBezTo>
                  <a:cubicBezTo>
                    <a:pt x="2710" y="4159"/>
                    <a:pt x="2520" y="3970"/>
                    <a:pt x="2520" y="3781"/>
                  </a:cubicBezTo>
                  <a:lnTo>
                    <a:pt x="2520" y="3340"/>
                  </a:lnTo>
                  <a:lnTo>
                    <a:pt x="2079" y="3340"/>
                  </a:lnTo>
                  <a:cubicBezTo>
                    <a:pt x="1859" y="3340"/>
                    <a:pt x="1701" y="3151"/>
                    <a:pt x="1701" y="2930"/>
                  </a:cubicBezTo>
                  <a:cubicBezTo>
                    <a:pt x="1701" y="2678"/>
                    <a:pt x="1859" y="2489"/>
                    <a:pt x="2079" y="2489"/>
                  </a:cubicBezTo>
                  <a:lnTo>
                    <a:pt x="2520" y="2489"/>
                  </a:lnTo>
                  <a:lnTo>
                    <a:pt x="2520" y="2048"/>
                  </a:lnTo>
                  <a:cubicBezTo>
                    <a:pt x="2520" y="1827"/>
                    <a:pt x="2710" y="1670"/>
                    <a:pt x="2930" y="1670"/>
                  </a:cubicBezTo>
                  <a:close/>
                  <a:moveTo>
                    <a:pt x="441" y="0"/>
                  </a:moveTo>
                  <a:cubicBezTo>
                    <a:pt x="189" y="0"/>
                    <a:pt x="0" y="189"/>
                    <a:pt x="0" y="441"/>
                  </a:cubicBezTo>
                  <a:lnTo>
                    <a:pt x="0" y="5387"/>
                  </a:lnTo>
                  <a:cubicBezTo>
                    <a:pt x="32" y="5639"/>
                    <a:pt x="221" y="5797"/>
                    <a:pt x="441" y="5797"/>
                  </a:cubicBezTo>
                  <a:lnTo>
                    <a:pt x="5387" y="5797"/>
                  </a:lnTo>
                  <a:cubicBezTo>
                    <a:pt x="5639" y="5797"/>
                    <a:pt x="5829" y="5608"/>
                    <a:pt x="5829" y="5387"/>
                  </a:cubicBezTo>
                  <a:lnTo>
                    <a:pt x="5829" y="441"/>
                  </a:lnTo>
                  <a:cubicBezTo>
                    <a:pt x="5829" y="189"/>
                    <a:pt x="5639" y="0"/>
                    <a:pt x="5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1"/>
            <p:cNvSpPr/>
            <p:nvPr/>
          </p:nvSpPr>
          <p:spPr>
            <a:xfrm>
              <a:off x="-41110575" y="3412375"/>
              <a:ext cx="146525" cy="144150"/>
            </a:xfrm>
            <a:custGeom>
              <a:avLst/>
              <a:gdLst/>
              <a:ahLst/>
              <a:cxnLst/>
              <a:rect l="l" t="t" r="r" b="b"/>
              <a:pathLst>
                <a:path w="5861" h="5766" extrusionOk="0">
                  <a:moveTo>
                    <a:pt x="3450" y="1859"/>
                  </a:moveTo>
                  <a:cubicBezTo>
                    <a:pt x="3561" y="1859"/>
                    <a:pt x="3671" y="1890"/>
                    <a:pt x="3750" y="1953"/>
                  </a:cubicBezTo>
                  <a:cubicBezTo>
                    <a:pt x="3907" y="2111"/>
                    <a:pt x="3907" y="2395"/>
                    <a:pt x="3750" y="2552"/>
                  </a:cubicBezTo>
                  <a:lnTo>
                    <a:pt x="3466" y="2836"/>
                  </a:lnTo>
                  <a:lnTo>
                    <a:pt x="3750" y="3119"/>
                  </a:lnTo>
                  <a:cubicBezTo>
                    <a:pt x="3907" y="3277"/>
                    <a:pt x="3907" y="3529"/>
                    <a:pt x="3750" y="3686"/>
                  </a:cubicBezTo>
                  <a:cubicBezTo>
                    <a:pt x="3671" y="3765"/>
                    <a:pt x="3561" y="3804"/>
                    <a:pt x="3450" y="3804"/>
                  </a:cubicBezTo>
                  <a:cubicBezTo>
                    <a:pt x="3340" y="3804"/>
                    <a:pt x="3230" y="3765"/>
                    <a:pt x="3151" y="3686"/>
                  </a:cubicBezTo>
                  <a:lnTo>
                    <a:pt x="2899" y="3434"/>
                  </a:lnTo>
                  <a:lnTo>
                    <a:pt x="2616" y="3686"/>
                  </a:lnTo>
                  <a:cubicBezTo>
                    <a:pt x="2537" y="3765"/>
                    <a:pt x="2426" y="3804"/>
                    <a:pt x="2316" y="3804"/>
                  </a:cubicBezTo>
                  <a:cubicBezTo>
                    <a:pt x="2206" y="3804"/>
                    <a:pt x="2096" y="3765"/>
                    <a:pt x="2017" y="3686"/>
                  </a:cubicBezTo>
                  <a:cubicBezTo>
                    <a:pt x="1859" y="3529"/>
                    <a:pt x="1859" y="3277"/>
                    <a:pt x="2017" y="3119"/>
                  </a:cubicBezTo>
                  <a:lnTo>
                    <a:pt x="2300" y="2836"/>
                  </a:lnTo>
                  <a:lnTo>
                    <a:pt x="2017" y="2552"/>
                  </a:lnTo>
                  <a:cubicBezTo>
                    <a:pt x="1859" y="2395"/>
                    <a:pt x="1859" y="2111"/>
                    <a:pt x="2017" y="1953"/>
                  </a:cubicBezTo>
                  <a:cubicBezTo>
                    <a:pt x="2096" y="1890"/>
                    <a:pt x="2206" y="1859"/>
                    <a:pt x="2316" y="1859"/>
                  </a:cubicBezTo>
                  <a:cubicBezTo>
                    <a:pt x="2426" y="1859"/>
                    <a:pt x="2537" y="1890"/>
                    <a:pt x="2616" y="1953"/>
                  </a:cubicBezTo>
                  <a:lnTo>
                    <a:pt x="2899" y="2237"/>
                  </a:lnTo>
                  <a:lnTo>
                    <a:pt x="3151" y="1953"/>
                  </a:lnTo>
                  <a:cubicBezTo>
                    <a:pt x="3230" y="1890"/>
                    <a:pt x="3340" y="1859"/>
                    <a:pt x="3450" y="1859"/>
                  </a:cubicBezTo>
                  <a:close/>
                  <a:moveTo>
                    <a:pt x="442" y="0"/>
                  </a:moveTo>
                  <a:cubicBezTo>
                    <a:pt x="221" y="0"/>
                    <a:pt x="1" y="189"/>
                    <a:pt x="1" y="378"/>
                  </a:cubicBezTo>
                  <a:lnTo>
                    <a:pt x="1" y="5356"/>
                  </a:lnTo>
                  <a:cubicBezTo>
                    <a:pt x="1" y="5608"/>
                    <a:pt x="221" y="5766"/>
                    <a:pt x="442" y="5766"/>
                  </a:cubicBezTo>
                  <a:lnTo>
                    <a:pt x="5419" y="5766"/>
                  </a:lnTo>
                  <a:cubicBezTo>
                    <a:pt x="5640" y="5766"/>
                    <a:pt x="5861" y="5545"/>
                    <a:pt x="5861" y="5356"/>
                  </a:cubicBezTo>
                  <a:lnTo>
                    <a:pt x="5861" y="378"/>
                  </a:lnTo>
                  <a:cubicBezTo>
                    <a:pt x="5861" y="158"/>
                    <a:pt x="5640"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1"/>
            <p:cNvSpPr/>
            <p:nvPr/>
          </p:nvSpPr>
          <p:spPr>
            <a:xfrm>
              <a:off x="-40938875" y="3239100"/>
              <a:ext cx="145725" cy="144925"/>
            </a:xfrm>
            <a:custGeom>
              <a:avLst/>
              <a:gdLst/>
              <a:ahLst/>
              <a:cxnLst/>
              <a:rect l="l" t="t" r="r" b="b"/>
              <a:pathLst>
                <a:path w="5829" h="5797" extrusionOk="0">
                  <a:moveTo>
                    <a:pt x="3750" y="2457"/>
                  </a:moveTo>
                  <a:cubicBezTo>
                    <a:pt x="3970" y="2457"/>
                    <a:pt x="4128" y="2646"/>
                    <a:pt x="4128" y="2867"/>
                  </a:cubicBezTo>
                  <a:cubicBezTo>
                    <a:pt x="4159" y="3151"/>
                    <a:pt x="3970" y="3308"/>
                    <a:pt x="3750" y="3308"/>
                  </a:cubicBezTo>
                  <a:lnTo>
                    <a:pt x="2080" y="3308"/>
                  </a:lnTo>
                  <a:cubicBezTo>
                    <a:pt x="1859" y="3308"/>
                    <a:pt x="1702" y="3119"/>
                    <a:pt x="1702" y="2867"/>
                  </a:cubicBezTo>
                  <a:cubicBezTo>
                    <a:pt x="1702" y="2646"/>
                    <a:pt x="1891" y="2457"/>
                    <a:pt x="2080" y="2457"/>
                  </a:cubicBezTo>
                  <a:close/>
                  <a:moveTo>
                    <a:pt x="442" y="0"/>
                  </a:moveTo>
                  <a:cubicBezTo>
                    <a:pt x="190" y="0"/>
                    <a:pt x="1" y="189"/>
                    <a:pt x="1" y="441"/>
                  </a:cubicBezTo>
                  <a:lnTo>
                    <a:pt x="1" y="5387"/>
                  </a:lnTo>
                  <a:cubicBezTo>
                    <a:pt x="1" y="5639"/>
                    <a:pt x="190" y="5797"/>
                    <a:pt x="442" y="5797"/>
                  </a:cubicBezTo>
                  <a:lnTo>
                    <a:pt x="5388" y="5797"/>
                  </a:lnTo>
                  <a:cubicBezTo>
                    <a:pt x="5640" y="5797"/>
                    <a:pt x="5829" y="5608"/>
                    <a:pt x="5829" y="5387"/>
                  </a:cubicBezTo>
                  <a:lnTo>
                    <a:pt x="5829" y="441"/>
                  </a:lnTo>
                  <a:cubicBezTo>
                    <a:pt x="5829" y="189"/>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1"/>
            <p:cNvSpPr/>
            <p:nvPr/>
          </p:nvSpPr>
          <p:spPr>
            <a:xfrm>
              <a:off x="-40938875" y="3411575"/>
              <a:ext cx="145725" cy="144950"/>
            </a:xfrm>
            <a:custGeom>
              <a:avLst/>
              <a:gdLst/>
              <a:ahLst/>
              <a:cxnLst/>
              <a:rect l="l" t="t" r="r" b="b"/>
              <a:pathLst>
                <a:path w="5829" h="5798" extrusionOk="0">
                  <a:moveTo>
                    <a:pt x="3750" y="1639"/>
                  </a:moveTo>
                  <a:cubicBezTo>
                    <a:pt x="3970" y="1639"/>
                    <a:pt x="4128" y="1859"/>
                    <a:pt x="4128" y="2080"/>
                  </a:cubicBezTo>
                  <a:cubicBezTo>
                    <a:pt x="4159" y="2332"/>
                    <a:pt x="3970" y="2490"/>
                    <a:pt x="3750" y="2490"/>
                  </a:cubicBezTo>
                  <a:lnTo>
                    <a:pt x="2080" y="2490"/>
                  </a:lnTo>
                  <a:cubicBezTo>
                    <a:pt x="1859" y="2490"/>
                    <a:pt x="1702" y="2269"/>
                    <a:pt x="1702" y="2080"/>
                  </a:cubicBezTo>
                  <a:cubicBezTo>
                    <a:pt x="1702" y="1859"/>
                    <a:pt x="1891" y="1639"/>
                    <a:pt x="2080" y="1639"/>
                  </a:cubicBezTo>
                  <a:close/>
                  <a:moveTo>
                    <a:pt x="3750" y="3309"/>
                  </a:moveTo>
                  <a:cubicBezTo>
                    <a:pt x="3970" y="3309"/>
                    <a:pt x="4128" y="3498"/>
                    <a:pt x="4128" y="3687"/>
                  </a:cubicBezTo>
                  <a:cubicBezTo>
                    <a:pt x="4159" y="3970"/>
                    <a:pt x="3970" y="4128"/>
                    <a:pt x="3750" y="4128"/>
                  </a:cubicBezTo>
                  <a:lnTo>
                    <a:pt x="2080" y="4128"/>
                  </a:lnTo>
                  <a:cubicBezTo>
                    <a:pt x="1859" y="4128"/>
                    <a:pt x="1702" y="3939"/>
                    <a:pt x="1702" y="3687"/>
                  </a:cubicBezTo>
                  <a:cubicBezTo>
                    <a:pt x="1702" y="3466"/>
                    <a:pt x="1891" y="3309"/>
                    <a:pt x="2080" y="3309"/>
                  </a:cubicBezTo>
                  <a:close/>
                  <a:moveTo>
                    <a:pt x="442" y="1"/>
                  </a:moveTo>
                  <a:cubicBezTo>
                    <a:pt x="190" y="1"/>
                    <a:pt x="1" y="190"/>
                    <a:pt x="1" y="379"/>
                  </a:cubicBezTo>
                  <a:lnTo>
                    <a:pt x="1" y="5388"/>
                  </a:lnTo>
                  <a:cubicBezTo>
                    <a:pt x="1" y="5640"/>
                    <a:pt x="190" y="5798"/>
                    <a:pt x="442" y="5798"/>
                  </a:cubicBezTo>
                  <a:lnTo>
                    <a:pt x="5388" y="5798"/>
                  </a:lnTo>
                  <a:cubicBezTo>
                    <a:pt x="5640" y="5798"/>
                    <a:pt x="5829" y="5577"/>
                    <a:pt x="5829" y="5388"/>
                  </a:cubicBezTo>
                  <a:lnTo>
                    <a:pt x="5829" y="410"/>
                  </a:lnTo>
                  <a:cubicBezTo>
                    <a:pt x="5829" y="190"/>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6" name="Google Shape;6356;p71"/>
          <p:cNvGrpSpPr/>
          <p:nvPr/>
        </p:nvGrpSpPr>
        <p:grpSpPr>
          <a:xfrm>
            <a:off x="3000751" y="1768444"/>
            <a:ext cx="379146" cy="370967"/>
            <a:chOff x="-41117650" y="3605525"/>
            <a:chExt cx="324500" cy="317500"/>
          </a:xfrm>
        </p:grpSpPr>
        <p:sp>
          <p:nvSpPr>
            <p:cNvPr id="6357" name="Google Shape;6357;p71"/>
            <p:cNvSpPr/>
            <p:nvPr/>
          </p:nvSpPr>
          <p:spPr>
            <a:xfrm>
              <a:off x="-41016850" y="3605525"/>
              <a:ext cx="106350" cy="105375"/>
            </a:xfrm>
            <a:custGeom>
              <a:avLst/>
              <a:gdLst/>
              <a:ahLst/>
              <a:cxnLst/>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1"/>
            <p:cNvSpPr/>
            <p:nvPr/>
          </p:nvSpPr>
          <p:spPr>
            <a:xfrm>
              <a:off x="-40900275" y="3721300"/>
              <a:ext cx="107125" cy="105375"/>
            </a:xfrm>
            <a:custGeom>
              <a:avLst/>
              <a:gdLst/>
              <a:ahLst/>
              <a:cxnLst/>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1"/>
            <p:cNvSpPr/>
            <p:nvPr/>
          </p:nvSpPr>
          <p:spPr>
            <a:xfrm>
              <a:off x="-41117650" y="3668350"/>
              <a:ext cx="262300" cy="254675"/>
            </a:xfrm>
            <a:custGeom>
              <a:avLst/>
              <a:gdLst/>
              <a:ahLst/>
              <a:cxnLst/>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0" name="Google Shape;6360;p71"/>
          <p:cNvSpPr/>
          <p:nvPr/>
        </p:nvSpPr>
        <p:spPr>
          <a:xfrm>
            <a:off x="3006881" y="2218029"/>
            <a:ext cx="372720" cy="361678"/>
          </a:xfrm>
          <a:custGeom>
            <a:avLst/>
            <a:gdLst/>
            <a:ahLst/>
            <a:cxnLst/>
            <a:rect l="l" t="t" r="r" b="b"/>
            <a:pathLst>
              <a:path w="12760" h="12382" extrusionOk="0">
                <a:moveTo>
                  <a:pt x="2080" y="1"/>
                </a:moveTo>
                <a:cubicBezTo>
                  <a:pt x="946" y="1"/>
                  <a:pt x="32" y="946"/>
                  <a:pt x="1" y="2080"/>
                </a:cubicBezTo>
                <a:lnTo>
                  <a:pt x="1" y="9515"/>
                </a:lnTo>
                <a:cubicBezTo>
                  <a:pt x="1" y="11090"/>
                  <a:pt x="1261" y="12382"/>
                  <a:pt x="2899" y="12382"/>
                </a:cubicBezTo>
                <a:cubicBezTo>
                  <a:pt x="4537" y="12382"/>
                  <a:pt x="5798" y="11090"/>
                  <a:pt x="5829" y="9515"/>
                </a:cubicBezTo>
                <a:cubicBezTo>
                  <a:pt x="5829" y="9295"/>
                  <a:pt x="6144" y="9137"/>
                  <a:pt x="6365" y="9074"/>
                </a:cubicBezTo>
                <a:cubicBezTo>
                  <a:pt x="6617" y="9074"/>
                  <a:pt x="6932" y="9295"/>
                  <a:pt x="6932" y="9515"/>
                </a:cubicBezTo>
                <a:cubicBezTo>
                  <a:pt x="6932" y="11122"/>
                  <a:pt x="8223" y="12382"/>
                  <a:pt x="9830" y="12382"/>
                </a:cubicBezTo>
                <a:cubicBezTo>
                  <a:pt x="11374" y="12382"/>
                  <a:pt x="12760" y="11216"/>
                  <a:pt x="12760" y="9452"/>
                </a:cubicBezTo>
                <a:lnTo>
                  <a:pt x="12760" y="2080"/>
                </a:lnTo>
                <a:cubicBezTo>
                  <a:pt x="12760" y="946"/>
                  <a:pt x="11815" y="32"/>
                  <a:pt x="10681" y="1"/>
                </a:cubicBezTo>
                <a:cubicBezTo>
                  <a:pt x="10114" y="1"/>
                  <a:pt x="9578" y="221"/>
                  <a:pt x="9200" y="568"/>
                </a:cubicBezTo>
                <a:cubicBezTo>
                  <a:pt x="9043" y="725"/>
                  <a:pt x="9043" y="1009"/>
                  <a:pt x="9200" y="1166"/>
                </a:cubicBezTo>
                <a:cubicBezTo>
                  <a:pt x="9279" y="1245"/>
                  <a:pt x="9389" y="1284"/>
                  <a:pt x="9499" y="1284"/>
                </a:cubicBezTo>
                <a:cubicBezTo>
                  <a:pt x="9610" y="1284"/>
                  <a:pt x="9720" y="1245"/>
                  <a:pt x="9799" y="1166"/>
                </a:cubicBezTo>
                <a:cubicBezTo>
                  <a:pt x="10051" y="946"/>
                  <a:pt x="10366" y="820"/>
                  <a:pt x="10681" y="820"/>
                </a:cubicBezTo>
                <a:cubicBezTo>
                  <a:pt x="11342" y="820"/>
                  <a:pt x="11878" y="1355"/>
                  <a:pt x="11878" y="2080"/>
                </a:cubicBezTo>
                <a:lnTo>
                  <a:pt x="11878" y="7499"/>
                </a:lnTo>
                <a:cubicBezTo>
                  <a:pt x="11374" y="6963"/>
                  <a:pt x="10618" y="6648"/>
                  <a:pt x="9799" y="6648"/>
                </a:cubicBezTo>
                <a:cubicBezTo>
                  <a:pt x="8570" y="6648"/>
                  <a:pt x="7562" y="7404"/>
                  <a:pt x="7121" y="8444"/>
                </a:cubicBezTo>
                <a:cubicBezTo>
                  <a:pt x="6932" y="8349"/>
                  <a:pt x="6585" y="8286"/>
                  <a:pt x="6365" y="8286"/>
                </a:cubicBezTo>
                <a:cubicBezTo>
                  <a:pt x="6144" y="8286"/>
                  <a:pt x="5798" y="8381"/>
                  <a:pt x="5640" y="8444"/>
                </a:cubicBezTo>
                <a:cubicBezTo>
                  <a:pt x="5199" y="7404"/>
                  <a:pt x="4191" y="6648"/>
                  <a:pt x="2962" y="6648"/>
                </a:cubicBezTo>
                <a:cubicBezTo>
                  <a:pt x="2111" y="6648"/>
                  <a:pt x="1418" y="6995"/>
                  <a:pt x="851" y="7499"/>
                </a:cubicBezTo>
                <a:lnTo>
                  <a:pt x="851" y="2080"/>
                </a:lnTo>
                <a:cubicBezTo>
                  <a:pt x="851" y="1418"/>
                  <a:pt x="1418" y="851"/>
                  <a:pt x="2080" y="820"/>
                </a:cubicBezTo>
                <a:cubicBezTo>
                  <a:pt x="2426" y="820"/>
                  <a:pt x="2742" y="977"/>
                  <a:pt x="2962" y="1166"/>
                </a:cubicBezTo>
                <a:cubicBezTo>
                  <a:pt x="3041" y="1245"/>
                  <a:pt x="3151" y="1284"/>
                  <a:pt x="3257" y="1284"/>
                </a:cubicBezTo>
                <a:cubicBezTo>
                  <a:pt x="3364" y="1284"/>
                  <a:pt x="3466" y="1245"/>
                  <a:pt x="3529" y="1166"/>
                </a:cubicBezTo>
                <a:cubicBezTo>
                  <a:pt x="3687" y="1009"/>
                  <a:pt x="3687" y="725"/>
                  <a:pt x="3529" y="568"/>
                </a:cubicBezTo>
                <a:cubicBezTo>
                  <a:pt x="3183" y="221"/>
                  <a:pt x="2647"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1" name="Google Shape;6361;p71"/>
          <p:cNvGrpSpPr/>
          <p:nvPr/>
        </p:nvGrpSpPr>
        <p:grpSpPr>
          <a:xfrm>
            <a:off x="1827005" y="2659967"/>
            <a:ext cx="216271" cy="371814"/>
            <a:chOff x="-39205300" y="3220175"/>
            <a:chExt cx="185100" cy="318225"/>
          </a:xfrm>
        </p:grpSpPr>
        <p:sp>
          <p:nvSpPr>
            <p:cNvPr id="6362" name="Google Shape;6362;p71"/>
            <p:cNvSpPr/>
            <p:nvPr/>
          </p:nvSpPr>
          <p:spPr>
            <a:xfrm>
              <a:off x="-39205300" y="3220175"/>
              <a:ext cx="185100" cy="111875"/>
            </a:xfrm>
            <a:custGeom>
              <a:avLst/>
              <a:gdLst/>
              <a:ahLst/>
              <a:cxnLst/>
              <a:rect l="l" t="t" r="r" b="b"/>
              <a:pathLst>
                <a:path w="7404" h="4475" extrusionOk="0">
                  <a:moveTo>
                    <a:pt x="1229" y="1"/>
                  </a:moveTo>
                  <a:cubicBezTo>
                    <a:pt x="567" y="1"/>
                    <a:pt x="0" y="568"/>
                    <a:pt x="0" y="1261"/>
                  </a:cubicBezTo>
                  <a:cubicBezTo>
                    <a:pt x="0" y="1797"/>
                    <a:pt x="315" y="2269"/>
                    <a:pt x="819" y="2458"/>
                  </a:cubicBezTo>
                  <a:lnTo>
                    <a:pt x="819" y="4475"/>
                  </a:lnTo>
                  <a:lnTo>
                    <a:pt x="6616" y="4475"/>
                  </a:lnTo>
                  <a:lnTo>
                    <a:pt x="6616" y="2458"/>
                  </a:lnTo>
                  <a:lnTo>
                    <a:pt x="6585" y="2458"/>
                  </a:lnTo>
                  <a:cubicBezTo>
                    <a:pt x="7057" y="2301"/>
                    <a:pt x="7404" y="1828"/>
                    <a:pt x="7404" y="1261"/>
                  </a:cubicBezTo>
                  <a:cubicBezTo>
                    <a:pt x="7404" y="600"/>
                    <a:pt x="6868" y="64"/>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1"/>
            <p:cNvSpPr/>
            <p:nvPr/>
          </p:nvSpPr>
          <p:spPr>
            <a:xfrm>
              <a:off x="-39184825" y="3353300"/>
              <a:ext cx="144950" cy="185100"/>
            </a:xfrm>
            <a:custGeom>
              <a:avLst/>
              <a:gdLst/>
              <a:ahLst/>
              <a:cxnLst/>
              <a:rect l="l" t="t" r="r" b="b"/>
              <a:pathLst>
                <a:path w="5798" h="7404" extrusionOk="0">
                  <a:moveTo>
                    <a:pt x="0" y="0"/>
                  </a:moveTo>
                  <a:lnTo>
                    <a:pt x="0" y="819"/>
                  </a:lnTo>
                  <a:lnTo>
                    <a:pt x="2111" y="819"/>
                  </a:lnTo>
                  <a:cubicBezTo>
                    <a:pt x="2332" y="819"/>
                    <a:pt x="2489" y="1040"/>
                    <a:pt x="2489" y="1260"/>
                  </a:cubicBezTo>
                  <a:cubicBezTo>
                    <a:pt x="2489" y="1513"/>
                    <a:pt x="2300" y="1702"/>
                    <a:pt x="2111" y="1702"/>
                  </a:cubicBezTo>
                  <a:lnTo>
                    <a:pt x="0" y="1702"/>
                  </a:lnTo>
                  <a:lnTo>
                    <a:pt x="0" y="2521"/>
                  </a:lnTo>
                  <a:lnTo>
                    <a:pt x="2111" y="2521"/>
                  </a:lnTo>
                  <a:cubicBezTo>
                    <a:pt x="2332" y="2521"/>
                    <a:pt x="2489" y="2710"/>
                    <a:pt x="2489" y="2930"/>
                  </a:cubicBezTo>
                  <a:cubicBezTo>
                    <a:pt x="2489" y="3151"/>
                    <a:pt x="2300" y="3340"/>
                    <a:pt x="2111" y="3340"/>
                  </a:cubicBezTo>
                  <a:lnTo>
                    <a:pt x="0" y="3340"/>
                  </a:lnTo>
                  <a:lnTo>
                    <a:pt x="0" y="4190"/>
                  </a:lnTo>
                  <a:lnTo>
                    <a:pt x="2111" y="4190"/>
                  </a:lnTo>
                  <a:cubicBezTo>
                    <a:pt x="2332" y="4190"/>
                    <a:pt x="2489" y="4379"/>
                    <a:pt x="2489" y="4600"/>
                  </a:cubicBezTo>
                  <a:cubicBezTo>
                    <a:pt x="2458" y="4726"/>
                    <a:pt x="2300" y="4915"/>
                    <a:pt x="2048" y="4915"/>
                  </a:cubicBezTo>
                  <a:lnTo>
                    <a:pt x="63" y="4915"/>
                  </a:lnTo>
                  <a:cubicBezTo>
                    <a:pt x="252" y="6427"/>
                    <a:pt x="1512" y="7404"/>
                    <a:pt x="2899" y="7404"/>
                  </a:cubicBezTo>
                  <a:cubicBezTo>
                    <a:pt x="4474" y="7404"/>
                    <a:pt x="5797" y="6112"/>
                    <a:pt x="5797" y="4537"/>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4" name="Google Shape;6364;p71"/>
          <p:cNvGrpSpPr/>
          <p:nvPr/>
        </p:nvGrpSpPr>
        <p:grpSpPr>
          <a:xfrm>
            <a:off x="1792533" y="3120038"/>
            <a:ext cx="300016" cy="369273"/>
            <a:chOff x="-39248625" y="3588600"/>
            <a:chExt cx="256775" cy="316050"/>
          </a:xfrm>
        </p:grpSpPr>
        <p:sp>
          <p:nvSpPr>
            <p:cNvPr id="6365" name="Google Shape;6365;p71"/>
            <p:cNvSpPr/>
            <p:nvPr/>
          </p:nvSpPr>
          <p:spPr>
            <a:xfrm>
              <a:off x="-39248625" y="3588600"/>
              <a:ext cx="256775" cy="316050"/>
            </a:xfrm>
            <a:custGeom>
              <a:avLst/>
              <a:gdLst/>
              <a:ahLst/>
              <a:cxnLst/>
              <a:rect l="l" t="t" r="r" b="b"/>
              <a:pathLst>
                <a:path w="10271" h="12642" extrusionOk="0">
                  <a:moveTo>
                    <a:pt x="5364" y="0"/>
                  </a:moveTo>
                  <a:cubicBezTo>
                    <a:pt x="5041" y="0"/>
                    <a:pt x="4710" y="118"/>
                    <a:pt x="4443" y="355"/>
                  </a:cubicBezTo>
                  <a:lnTo>
                    <a:pt x="3277" y="1552"/>
                  </a:lnTo>
                  <a:cubicBezTo>
                    <a:pt x="2804" y="2025"/>
                    <a:pt x="2804" y="2812"/>
                    <a:pt x="3277" y="3316"/>
                  </a:cubicBezTo>
                  <a:lnTo>
                    <a:pt x="3938" y="3978"/>
                  </a:lnTo>
                  <a:lnTo>
                    <a:pt x="1702" y="6215"/>
                  </a:lnTo>
                  <a:cubicBezTo>
                    <a:pt x="1544" y="6152"/>
                    <a:pt x="1355" y="6057"/>
                    <a:pt x="1135" y="6057"/>
                  </a:cubicBezTo>
                  <a:cubicBezTo>
                    <a:pt x="1119" y="6056"/>
                    <a:pt x="1104" y="6056"/>
                    <a:pt x="1089" y="6056"/>
                  </a:cubicBezTo>
                  <a:cubicBezTo>
                    <a:pt x="538" y="6056"/>
                    <a:pt x="0" y="6611"/>
                    <a:pt x="0" y="7286"/>
                  </a:cubicBezTo>
                  <a:cubicBezTo>
                    <a:pt x="0" y="7947"/>
                    <a:pt x="567" y="8515"/>
                    <a:pt x="1229" y="8515"/>
                  </a:cubicBezTo>
                  <a:cubicBezTo>
                    <a:pt x="1418" y="8515"/>
                    <a:pt x="1576" y="8483"/>
                    <a:pt x="1733" y="8388"/>
                  </a:cubicBezTo>
                  <a:lnTo>
                    <a:pt x="3560" y="10216"/>
                  </a:lnTo>
                  <a:cubicBezTo>
                    <a:pt x="2993" y="10720"/>
                    <a:pt x="2615" y="11381"/>
                    <a:pt x="2521" y="12169"/>
                  </a:cubicBezTo>
                  <a:cubicBezTo>
                    <a:pt x="2489" y="12421"/>
                    <a:pt x="2678" y="12642"/>
                    <a:pt x="2930" y="12642"/>
                  </a:cubicBezTo>
                  <a:lnTo>
                    <a:pt x="8633" y="12642"/>
                  </a:lnTo>
                  <a:cubicBezTo>
                    <a:pt x="8853" y="12642"/>
                    <a:pt x="9074" y="12421"/>
                    <a:pt x="9011" y="12169"/>
                  </a:cubicBezTo>
                  <a:cubicBezTo>
                    <a:pt x="8790" y="10562"/>
                    <a:pt x="7404" y="9334"/>
                    <a:pt x="5766" y="9334"/>
                  </a:cubicBezTo>
                  <a:cubicBezTo>
                    <a:pt x="5199" y="9334"/>
                    <a:pt x="4695" y="9491"/>
                    <a:pt x="4222" y="9743"/>
                  </a:cubicBezTo>
                  <a:lnTo>
                    <a:pt x="2300" y="7853"/>
                  </a:lnTo>
                  <a:cubicBezTo>
                    <a:pt x="2363" y="7695"/>
                    <a:pt x="2395" y="7475"/>
                    <a:pt x="2395" y="7286"/>
                  </a:cubicBezTo>
                  <a:cubicBezTo>
                    <a:pt x="2395" y="7097"/>
                    <a:pt x="2363" y="6939"/>
                    <a:pt x="2300" y="6782"/>
                  </a:cubicBezTo>
                  <a:lnTo>
                    <a:pt x="4285" y="4797"/>
                  </a:lnTo>
                  <a:lnTo>
                    <a:pt x="4285" y="4797"/>
                  </a:lnTo>
                  <a:cubicBezTo>
                    <a:pt x="4253" y="5742"/>
                    <a:pt x="4537" y="6624"/>
                    <a:pt x="5073" y="7317"/>
                  </a:cubicBezTo>
                  <a:lnTo>
                    <a:pt x="10271" y="2119"/>
                  </a:lnTo>
                  <a:cubicBezTo>
                    <a:pt x="9636" y="1606"/>
                    <a:pt x="8888" y="1321"/>
                    <a:pt x="8026" y="1321"/>
                  </a:cubicBezTo>
                  <a:cubicBezTo>
                    <a:pt x="7776" y="1321"/>
                    <a:pt x="7516" y="1345"/>
                    <a:pt x="7246" y="1394"/>
                  </a:cubicBezTo>
                  <a:lnTo>
                    <a:pt x="6238" y="355"/>
                  </a:lnTo>
                  <a:cubicBezTo>
                    <a:pt x="6002" y="118"/>
                    <a:pt x="5687" y="0"/>
                    <a:pt x="5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1"/>
            <p:cNvSpPr/>
            <p:nvPr/>
          </p:nvSpPr>
          <p:spPr>
            <a:xfrm>
              <a:off x="-39076150" y="3684875"/>
              <a:ext cx="84300" cy="80300"/>
            </a:xfrm>
            <a:custGeom>
              <a:avLst/>
              <a:gdLst/>
              <a:ahLst/>
              <a:cxnLst/>
              <a:rect l="l" t="t" r="r" b="b"/>
              <a:pathLst>
                <a:path w="3372" h="3212" extrusionOk="0">
                  <a:moveTo>
                    <a:pt x="2868" y="1"/>
                  </a:moveTo>
                  <a:lnTo>
                    <a:pt x="1" y="2868"/>
                  </a:lnTo>
                  <a:cubicBezTo>
                    <a:pt x="353" y="3098"/>
                    <a:pt x="757" y="3212"/>
                    <a:pt x="1156" y="3212"/>
                  </a:cubicBezTo>
                  <a:cubicBezTo>
                    <a:pt x="1686" y="3212"/>
                    <a:pt x="2207" y="3011"/>
                    <a:pt x="2584" y="2616"/>
                  </a:cubicBezTo>
                  <a:cubicBezTo>
                    <a:pt x="3309" y="1891"/>
                    <a:pt x="3372" y="85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7" name="Google Shape;6367;p71"/>
          <p:cNvSpPr/>
          <p:nvPr/>
        </p:nvSpPr>
        <p:spPr>
          <a:xfrm>
            <a:off x="1763554" y="3575664"/>
            <a:ext cx="363548" cy="370909"/>
          </a:xfrm>
          <a:custGeom>
            <a:avLst/>
            <a:gdLst/>
            <a:ahLst/>
            <a:cxnLst/>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1"/>
          <p:cNvSpPr/>
          <p:nvPr/>
        </p:nvSpPr>
        <p:spPr>
          <a:xfrm>
            <a:off x="3953101" y="2647102"/>
            <a:ext cx="369974" cy="368601"/>
          </a:xfrm>
          <a:custGeom>
            <a:avLst/>
            <a:gdLst/>
            <a:ahLst/>
            <a:cxnLst/>
            <a:rect l="l" t="t" r="r" b="b"/>
            <a:pathLst>
              <a:path w="12666" h="12619" extrusionOk="0">
                <a:moveTo>
                  <a:pt x="9294" y="1"/>
                </a:moveTo>
                <a:cubicBezTo>
                  <a:pt x="9192" y="1"/>
                  <a:pt x="9089" y="40"/>
                  <a:pt x="9011" y="119"/>
                </a:cubicBezTo>
                <a:lnTo>
                  <a:pt x="7593" y="1537"/>
                </a:lnTo>
                <a:lnTo>
                  <a:pt x="9011" y="2954"/>
                </a:lnTo>
                <a:cubicBezTo>
                  <a:pt x="9168" y="3112"/>
                  <a:pt x="9168" y="3395"/>
                  <a:pt x="9011" y="3553"/>
                </a:cubicBezTo>
                <a:cubicBezTo>
                  <a:pt x="8932" y="3632"/>
                  <a:pt x="8822" y="3671"/>
                  <a:pt x="8711" y="3671"/>
                </a:cubicBezTo>
                <a:cubicBezTo>
                  <a:pt x="8601" y="3671"/>
                  <a:pt x="8491" y="3632"/>
                  <a:pt x="8412" y="3553"/>
                </a:cubicBezTo>
                <a:lnTo>
                  <a:pt x="6994" y="2135"/>
                </a:lnTo>
                <a:lnTo>
                  <a:pt x="5923" y="3206"/>
                </a:lnTo>
                <a:lnTo>
                  <a:pt x="7341" y="4624"/>
                </a:lnTo>
                <a:cubicBezTo>
                  <a:pt x="7498" y="4782"/>
                  <a:pt x="7498" y="5034"/>
                  <a:pt x="7341" y="5191"/>
                </a:cubicBezTo>
                <a:cubicBezTo>
                  <a:pt x="7262" y="5270"/>
                  <a:pt x="7160" y="5309"/>
                  <a:pt x="7053" y="5309"/>
                </a:cubicBezTo>
                <a:cubicBezTo>
                  <a:pt x="6947" y="5309"/>
                  <a:pt x="6837" y="5270"/>
                  <a:pt x="6742" y="5191"/>
                </a:cubicBezTo>
                <a:lnTo>
                  <a:pt x="5356" y="3773"/>
                </a:lnTo>
                <a:lnTo>
                  <a:pt x="4285" y="4845"/>
                </a:lnTo>
                <a:lnTo>
                  <a:pt x="5703" y="6262"/>
                </a:lnTo>
                <a:cubicBezTo>
                  <a:pt x="5860" y="6420"/>
                  <a:pt x="5860" y="6703"/>
                  <a:pt x="5703" y="6861"/>
                </a:cubicBezTo>
                <a:cubicBezTo>
                  <a:pt x="5624" y="6940"/>
                  <a:pt x="5514" y="6979"/>
                  <a:pt x="5403" y="6979"/>
                </a:cubicBezTo>
                <a:cubicBezTo>
                  <a:pt x="5293" y="6979"/>
                  <a:pt x="5183" y="6940"/>
                  <a:pt x="5104" y="6861"/>
                </a:cubicBezTo>
                <a:lnTo>
                  <a:pt x="3686" y="5443"/>
                </a:lnTo>
                <a:lnTo>
                  <a:pt x="2615" y="6514"/>
                </a:lnTo>
                <a:lnTo>
                  <a:pt x="4096" y="7932"/>
                </a:lnTo>
                <a:cubicBezTo>
                  <a:pt x="4253" y="8090"/>
                  <a:pt x="4253" y="8373"/>
                  <a:pt x="4096" y="8499"/>
                </a:cubicBezTo>
                <a:cubicBezTo>
                  <a:pt x="4017" y="8578"/>
                  <a:pt x="3907" y="8617"/>
                  <a:pt x="3797" y="8617"/>
                </a:cubicBezTo>
                <a:cubicBezTo>
                  <a:pt x="3686" y="8617"/>
                  <a:pt x="3576" y="8578"/>
                  <a:pt x="3497" y="8499"/>
                </a:cubicBezTo>
                <a:lnTo>
                  <a:pt x="2048" y="7081"/>
                </a:lnTo>
                <a:lnTo>
                  <a:pt x="158" y="8972"/>
                </a:lnTo>
                <a:cubicBezTo>
                  <a:pt x="0" y="9129"/>
                  <a:pt x="0" y="9413"/>
                  <a:pt x="158" y="9570"/>
                </a:cubicBezTo>
                <a:lnTo>
                  <a:pt x="3056" y="12500"/>
                </a:lnTo>
                <a:cubicBezTo>
                  <a:pt x="3135" y="12579"/>
                  <a:pt x="3245" y="12618"/>
                  <a:pt x="3356" y="12618"/>
                </a:cubicBezTo>
                <a:cubicBezTo>
                  <a:pt x="3466" y="12618"/>
                  <a:pt x="3576" y="12579"/>
                  <a:pt x="3655" y="12500"/>
                </a:cubicBezTo>
                <a:lnTo>
                  <a:pt x="12508" y="3616"/>
                </a:lnTo>
                <a:cubicBezTo>
                  <a:pt x="12665" y="3458"/>
                  <a:pt x="12665" y="3206"/>
                  <a:pt x="12508" y="3049"/>
                </a:cubicBezTo>
                <a:lnTo>
                  <a:pt x="9578" y="119"/>
                </a:lnTo>
                <a:cubicBezTo>
                  <a:pt x="9499" y="40"/>
                  <a:pt x="9397" y="1"/>
                  <a:pt x="9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9" name="Google Shape;6369;p71"/>
          <p:cNvGrpSpPr/>
          <p:nvPr/>
        </p:nvGrpSpPr>
        <p:grpSpPr>
          <a:xfrm>
            <a:off x="1243246" y="1308054"/>
            <a:ext cx="429504" cy="370879"/>
            <a:chOff x="-42651700" y="3217825"/>
            <a:chExt cx="367600" cy="317425"/>
          </a:xfrm>
        </p:grpSpPr>
        <p:sp>
          <p:nvSpPr>
            <p:cNvPr id="6370" name="Google Shape;6370;p71"/>
            <p:cNvSpPr/>
            <p:nvPr/>
          </p:nvSpPr>
          <p:spPr>
            <a:xfrm>
              <a:off x="-42651700" y="3239075"/>
              <a:ext cx="367600" cy="296175"/>
            </a:xfrm>
            <a:custGeom>
              <a:avLst/>
              <a:gdLst/>
              <a:ahLst/>
              <a:cxnLst/>
              <a:rect l="l" t="t" r="r" b="b"/>
              <a:pathLst>
                <a:path w="14704" h="11847" extrusionOk="0">
                  <a:moveTo>
                    <a:pt x="7370" y="797"/>
                  </a:moveTo>
                  <a:cubicBezTo>
                    <a:pt x="8536" y="797"/>
                    <a:pt x="9694" y="1246"/>
                    <a:pt x="10576" y="2143"/>
                  </a:cubicBezTo>
                  <a:cubicBezTo>
                    <a:pt x="12340" y="3908"/>
                    <a:pt x="12340" y="6775"/>
                    <a:pt x="10576" y="8539"/>
                  </a:cubicBezTo>
                  <a:cubicBezTo>
                    <a:pt x="9757" y="9390"/>
                    <a:pt x="8623" y="9894"/>
                    <a:pt x="7363" y="9894"/>
                  </a:cubicBezTo>
                  <a:cubicBezTo>
                    <a:pt x="6102" y="9894"/>
                    <a:pt x="4937" y="9358"/>
                    <a:pt x="4118" y="8539"/>
                  </a:cubicBezTo>
                  <a:cubicBezTo>
                    <a:pt x="2353" y="6775"/>
                    <a:pt x="2353" y="3908"/>
                    <a:pt x="4118" y="2143"/>
                  </a:cubicBezTo>
                  <a:cubicBezTo>
                    <a:pt x="5031" y="1246"/>
                    <a:pt x="6205" y="797"/>
                    <a:pt x="7370" y="797"/>
                  </a:cubicBezTo>
                  <a:close/>
                  <a:moveTo>
                    <a:pt x="7326" y="1"/>
                  </a:moveTo>
                  <a:cubicBezTo>
                    <a:pt x="2091" y="1"/>
                    <a:pt x="0" y="6750"/>
                    <a:pt x="4275" y="9768"/>
                  </a:cubicBezTo>
                  <a:lnTo>
                    <a:pt x="3424" y="11280"/>
                  </a:lnTo>
                  <a:cubicBezTo>
                    <a:pt x="3298" y="11532"/>
                    <a:pt x="3487" y="11847"/>
                    <a:pt x="3771" y="11847"/>
                  </a:cubicBezTo>
                  <a:cubicBezTo>
                    <a:pt x="3929" y="11847"/>
                    <a:pt x="4086" y="11784"/>
                    <a:pt x="4118" y="11626"/>
                  </a:cubicBezTo>
                  <a:lnTo>
                    <a:pt x="5000" y="10209"/>
                  </a:lnTo>
                  <a:cubicBezTo>
                    <a:pt x="5740" y="10571"/>
                    <a:pt x="6543" y="10752"/>
                    <a:pt x="7351" y="10752"/>
                  </a:cubicBezTo>
                  <a:cubicBezTo>
                    <a:pt x="8158" y="10752"/>
                    <a:pt x="8969" y="10571"/>
                    <a:pt x="9725" y="10209"/>
                  </a:cubicBezTo>
                  <a:lnTo>
                    <a:pt x="10576" y="11626"/>
                  </a:lnTo>
                  <a:cubicBezTo>
                    <a:pt x="10671" y="11784"/>
                    <a:pt x="10828" y="11847"/>
                    <a:pt x="10923" y="11847"/>
                  </a:cubicBezTo>
                  <a:cubicBezTo>
                    <a:pt x="11238" y="11847"/>
                    <a:pt x="11458" y="11532"/>
                    <a:pt x="11301" y="11280"/>
                  </a:cubicBezTo>
                  <a:lnTo>
                    <a:pt x="10419" y="9768"/>
                  </a:lnTo>
                  <a:cubicBezTo>
                    <a:pt x="14703" y="6775"/>
                    <a:pt x="12592" y="1"/>
                    <a:pt x="7363" y="1"/>
                  </a:cubicBezTo>
                  <a:cubicBezTo>
                    <a:pt x="7350" y="1"/>
                    <a:pt x="7338" y="1"/>
                    <a:pt x="73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1"/>
            <p:cNvSpPr/>
            <p:nvPr/>
          </p:nvSpPr>
          <p:spPr>
            <a:xfrm>
              <a:off x="-42419600" y="3217825"/>
              <a:ext cx="106350" cy="106350"/>
            </a:xfrm>
            <a:custGeom>
              <a:avLst/>
              <a:gdLst/>
              <a:ahLst/>
              <a:cxnLst/>
              <a:rect l="l" t="t" r="r" b="b"/>
              <a:pathLst>
                <a:path w="4254" h="4254" extrusionOk="0">
                  <a:moveTo>
                    <a:pt x="1355" y="0"/>
                  </a:moveTo>
                  <a:cubicBezTo>
                    <a:pt x="882" y="0"/>
                    <a:pt x="410" y="95"/>
                    <a:pt x="0" y="315"/>
                  </a:cubicBezTo>
                  <a:cubicBezTo>
                    <a:pt x="1891" y="946"/>
                    <a:pt x="3340" y="2395"/>
                    <a:pt x="3938" y="4254"/>
                  </a:cubicBezTo>
                  <a:cubicBezTo>
                    <a:pt x="4128" y="3844"/>
                    <a:pt x="4254" y="3371"/>
                    <a:pt x="4254" y="2899"/>
                  </a:cubicBezTo>
                  <a:cubicBezTo>
                    <a:pt x="4254" y="1292"/>
                    <a:pt x="2962"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1"/>
            <p:cNvSpPr/>
            <p:nvPr/>
          </p:nvSpPr>
          <p:spPr>
            <a:xfrm>
              <a:off x="-42623600" y="3218600"/>
              <a:ext cx="106350" cy="106375"/>
            </a:xfrm>
            <a:custGeom>
              <a:avLst/>
              <a:gdLst/>
              <a:ahLst/>
              <a:cxnLst/>
              <a:rect l="l" t="t" r="r" b="b"/>
              <a:pathLst>
                <a:path w="4254" h="4255" extrusionOk="0">
                  <a:moveTo>
                    <a:pt x="2931" y="1"/>
                  </a:moveTo>
                  <a:cubicBezTo>
                    <a:pt x="1292" y="1"/>
                    <a:pt x="1" y="1293"/>
                    <a:pt x="1" y="2899"/>
                  </a:cubicBezTo>
                  <a:cubicBezTo>
                    <a:pt x="1" y="3372"/>
                    <a:pt x="127" y="3845"/>
                    <a:pt x="316" y="4254"/>
                  </a:cubicBezTo>
                  <a:cubicBezTo>
                    <a:pt x="977" y="2364"/>
                    <a:pt x="2426" y="915"/>
                    <a:pt x="4254" y="316"/>
                  </a:cubicBezTo>
                  <a:cubicBezTo>
                    <a:pt x="3876" y="127"/>
                    <a:pt x="3403"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1"/>
            <p:cNvSpPr/>
            <p:nvPr/>
          </p:nvSpPr>
          <p:spPr>
            <a:xfrm>
              <a:off x="-42561375" y="3279250"/>
              <a:ext cx="185900" cy="186700"/>
            </a:xfrm>
            <a:custGeom>
              <a:avLst/>
              <a:gdLst/>
              <a:ahLst/>
              <a:cxnLst/>
              <a:rect l="l" t="t" r="r" b="b"/>
              <a:pathLst>
                <a:path w="7436" h="7468" extrusionOk="0">
                  <a:moveTo>
                    <a:pt x="3781" y="1671"/>
                  </a:moveTo>
                  <a:cubicBezTo>
                    <a:pt x="4033" y="1671"/>
                    <a:pt x="4191" y="1860"/>
                    <a:pt x="4191" y="2112"/>
                  </a:cubicBezTo>
                  <a:lnTo>
                    <a:pt x="4191" y="3340"/>
                  </a:lnTo>
                  <a:lnTo>
                    <a:pt x="5388" y="3340"/>
                  </a:lnTo>
                  <a:cubicBezTo>
                    <a:pt x="5640" y="3340"/>
                    <a:pt x="5829" y="3529"/>
                    <a:pt x="5829" y="3750"/>
                  </a:cubicBezTo>
                  <a:cubicBezTo>
                    <a:pt x="5829" y="4002"/>
                    <a:pt x="5640" y="4128"/>
                    <a:pt x="5388" y="4128"/>
                  </a:cubicBezTo>
                  <a:lnTo>
                    <a:pt x="3750" y="4128"/>
                  </a:lnTo>
                  <a:cubicBezTo>
                    <a:pt x="3498" y="4128"/>
                    <a:pt x="3308" y="3939"/>
                    <a:pt x="3308" y="3750"/>
                  </a:cubicBezTo>
                  <a:lnTo>
                    <a:pt x="3308" y="2112"/>
                  </a:lnTo>
                  <a:lnTo>
                    <a:pt x="3340" y="2112"/>
                  </a:lnTo>
                  <a:cubicBezTo>
                    <a:pt x="3340" y="1860"/>
                    <a:pt x="3529" y="1671"/>
                    <a:pt x="3781" y="1671"/>
                  </a:cubicBezTo>
                  <a:close/>
                  <a:moveTo>
                    <a:pt x="3750" y="1"/>
                  </a:moveTo>
                  <a:cubicBezTo>
                    <a:pt x="1702" y="1"/>
                    <a:pt x="32" y="1671"/>
                    <a:pt x="0" y="3750"/>
                  </a:cubicBezTo>
                  <a:cubicBezTo>
                    <a:pt x="32" y="5798"/>
                    <a:pt x="1702" y="7467"/>
                    <a:pt x="3750" y="7467"/>
                  </a:cubicBezTo>
                  <a:cubicBezTo>
                    <a:pt x="5797" y="7467"/>
                    <a:pt x="7436" y="5798"/>
                    <a:pt x="7436" y="3750"/>
                  </a:cubicBezTo>
                  <a:cubicBezTo>
                    <a:pt x="7436" y="1702"/>
                    <a:pt x="5797" y="64"/>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74" name="Google Shape;6374;p71"/>
          <p:cNvGrpSpPr/>
          <p:nvPr/>
        </p:nvGrpSpPr>
        <p:grpSpPr>
          <a:xfrm>
            <a:off x="1278678" y="1747704"/>
            <a:ext cx="358640" cy="363226"/>
            <a:chOff x="-42617300" y="3587775"/>
            <a:chExt cx="306950" cy="310875"/>
          </a:xfrm>
        </p:grpSpPr>
        <p:sp>
          <p:nvSpPr>
            <p:cNvPr id="6375" name="Google Shape;6375;p71"/>
            <p:cNvSpPr/>
            <p:nvPr/>
          </p:nvSpPr>
          <p:spPr>
            <a:xfrm>
              <a:off x="-42617300" y="3587775"/>
              <a:ext cx="306950" cy="310875"/>
            </a:xfrm>
            <a:custGeom>
              <a:avLst/>
              <a:gdLst/>
              <a:ahLst/>
              <a:cxnLst/>
              <a:rect l="l" t="t" r="r" b="b"/>
              <a:pathLst>
                <a:path w="12278" h="12435" extrusionOk="0">
                  <a:moveTo>
                    <a:pt x="5905" y="860"/>
                  </a:moveTo>
                  <a:cubicBezTo>
                    <a:pt x="6421" y="860"/>
                    <a:pt x="6926" y="1412"/>
                    <a:pt x="7341" y="2467"/>
                  </a:cubicBezTo>
                  <a:cubicBezTo>
                    <a:pt x="6837" y="2593"/>
                    <a:pt x="6365" y="2782"/>
                    <a:pt x="5892" y="3003"/>
                  </a:cubicBezTo>
                  <a:cubicBezTo>
                    <a:pt x="5419" y="2782"/>
                    <a:pt x="4947" y="2593"/>
                    <a:pt x="4443" y="2467"/>
                  </a:cubicBezTo>
                  <a:cubicBezTo>
                    <a:pt x="4893" y="1381"/>
                    <a:pt x="5404" y="860"/>
                    <a:pt x="5905" y="860"/>
                  </a:cubicBezTo>
                  <a:close/>
                  <a:moveTo>
                    <a:pt x="4191" y="3255"/>
                  </a:moveTo>
                  <a:cubicBezTo>
                    <a:pt x="4443" y="3349"/>
                    <a:pt x="4632" y="3381"/>
                    <a:pt x="4884" y="3475"/>
                  </a:cubicBezTo>
                  <a:cubicBezTo>
                    <a:pt x="4726" y="3538"/>
                    <a:pt x="4600" y="3601"/>
                    <a:pt x="4443" y="3696"/>
                  </a:cubicBezTo>
                  <a:cubicBezTo>
                    <a:pt x="4285" y="3790"/>
                    <a:pt x="4159" y="3853"/>
                    <a:pt x="4002" y="3948"/>
                  </a:cubicBezTo>
                  <a:cubicBezTo>
                    <a:pt x="4096" y="3727"/>
                    <a:pt x="4159" y="3507"/>
                    <a:pt x="4191" y="3255"/>
                  </a:cubicBezTo>
                  <a:close/>
                  <a:moveTo>
                    <a:pt x="7625" y="3318"/>
                  </a:moveTo>
                  <a:cubicBezTo>
                    <a:pt x="7688" y="3507"/>
                    <a:pt x="7751" y="3727"/>
                    <a:pt x="7782" y="3979"/>
                  </a:cubicBezTo>
                  <a:cubicBezTo>
                    <a:pt x="7499" y="3790"/>
                    <a:pt x="7247" y="3633"/>
                    <a:pt x="6963" y="3507"/>
                  </a:cubicBezTo>
                  <a:cubicBezTo>
                    <a:pt x="7184" y="3412"/>
                    <a:pt x="7404" y="3349"/>
                    <a:pt x="7625" y="3318"/>
                  </a:cubicBezTo>
                  <a:close/>
                  <a:moveTo>
                    <a:pt x="2611" y="3034"/>
                  </a:moveTo>
                  <a:cubicBezTo>
                    <a:pt x="2846" y="3034"/>
                    <a:pt x="3110" y="3054"/>
                    <a:pt x="3403" y="3097"/>
                  </a:cubicBezTo>
                  <a:cubicBezTo>
                    <a:pt x="3309" y="3570"/>
                    <a:pt x="3183" y="4042"/>
                    <a:pt x="3151" y="4609"/>
                  </a:cubicBezTo>
                  <a:cubicBezTo>
                    <a:pt x="2742" y="4924"/>
                    <a:pt x="2363" y="5240"/>
                    <a:pt x="1954" y="5586"/>
                  </a:cubicBezTo>
                  <a:cubicBezTo>
                    <a:pt x="712" y="4068"/>
                    <a:pt x="945" y="3034"/>
                    <a:pt x="2611" y="3034"/>
                  </a:cubicBezTo>
                  <a:close/>
                  <a:moveTo>
                    <a:pt x="9301" y="3075"/>
                  </a:moveTo>
                  <a:cubicBezTo>
                    <a:pt x="10879" y="3075"/>
                    <a:pt x="11079" y="4102"/>
                    <a:pt x="9862" y="5618"/>
                  </a:cubicBezTo>
                  <a:cubicBezTo>
                    <a:pt x="9515" y="5271"/>
                    <a:pt x="9137" y="4924"/>
                    <a:pt x="8696" y="4641"/>
                  </a:cubicBezTo>
                  <a:cubicBezTo>
                    <a:pt x="8601" y="4137"/>
                    <a:pt x="8538" y="3601"/>
                    <a:pt x="8412" y="3160"/>
                  </a:cubicBezTo>
                  <a:cubicBezTo>
                    <a:pt x="8746" y="3102"/>
                    <a:pt x="9042" y="3075"/>
                    <a:pt x="9301" y="3075"/>
                  </a:cubicBezTo>
                  <a:close/>
                  <a:moveTo>
                    <a:pt x="8822" y="5744"/>
                  </a:moveTo>
                  <a:cubicBezTo>
                    <a:pt x="9011" y="5901"/>
                    <a:pt x="9169" y="6059"/>
                    <a:pt x="9326" y="6216"/>
                  </a:cubicBezTo>
                  <a:cubicBezTo>
                    <a:pt x="9169" y="6374"/>
                    <a:pt x="8980" y="6531"/>
                    <a:pt x="8822" y="6689"/>
                  </a:cubicBezTo>
                  <a:lnTo>
                    <a:pt x="8822" y="5744"/>
                  </a:lnTo>
                  <a:close/>
                  <a:moveTo>
                    <a:pt x="3025" y="5775"/>
                  </a:moveTo>
                  <a:lnTo>
                    <a:pt x="3025" y="6720"/>
                  </a:lnTo>
                  <a:cubicBezTo>
                    <a:pt x="2836" y="6563"/>
                    <a:pt x="2679" y="6405"/>
                    <a:pt x="2521" y="6248"/>
                  </a:cubicBezTo>
                  <a:cubicBezTo>
                    <a:pt x="2679" y="6090"/>
                    <a:pt x="2868" y="5933"/>
                    <a:pt x="3025" y="5775"/>
                  </a:cubicBezTo>
                  <a:close/>
                  <a:moveTo>
                    <a:pt x="5892" y="3885"/>
                  </a:moveTo>
                  <a:cubicBezTo>
                    <a:pt x="6617" y="4200"/>
                    <a:pt x="7278" y="4609"/>
                    <a:pt x="7908" y="5082"/>
                  </a:cubicBezTo>
                  <a:cubicBezTo>
                    <a:pt x="8003" y="5838"/>
                    <a:pt x="8003" y="6626"/>
                    <a:pt x="7908" y="7413"/>
                  </a:cubicBezTo>
                  <a:cubicBezTo>
                    <a:pt x="7278" y="7823"/>
                    <a:pt x="6585" y="8232"/>
                    <a:pt x="5892" y="8579"/>
                  </a:cubicBezTo>
                  <a:cubicBezTo>
                    <a:pt x="5545" y="8421"/>
                    <a:pt x="5230" y="8232"/>
                    <a:pt x="4884" y="8043"/>
                  </a:cubicBezTo>
                  <a:cubicBezTo>
                    <a:pt x="4537" y="7823"/>
                    <a:pt x="4191" y="7634"/>
                    <a:pt x="3876" y="7413"/>
                  </a:cubicBezTo>
                  <a:cubicBezTo>
                    <a:pt x="3844" y="6657"/>
                    <a:pt x="3844" y="5870"/>
                    <a:pt x="3876" y="5082"/>
                  </a:cubicBezTo>
                  <a:cubicBezTo>
                    <a:pt x="4191" y="4830"/>
                    <a:pt x="4537" y="4641"/>
                    <a:pt x="4884" y="4452"/>
                  </a:cubicBezTo>
                  <a:cubicBezTo>
                    <a:pt x="5230" y="4263"/>
                    <a:pt x="5577" y="4042"/>
                    <a:pt x="5892" y="3885"/>
                  </a:cubicBezTo>
                  <a:close/>
                  <a:moveTo>
                    <a:pt x="4033" y="8516"/>
                  </a:moveTo>
                  <a:cubicBezTo>
                    <a:pt x="4159" y="8579"/>
                    <a:pt x="4317" y="8674"/>
                    <a:pt x="4474" y="8737"/>
                  </a:cubicBezTo>
                  <a:cubicBezTo>
                    <a:pt x="4632" y="8831"/>
                    <a:pt x="4758" y="8894"/>
                    <a:pt x="4915" y="8989"/>
                  </a:cubicBezTo>
                  <a:cubicBezTo>
                    <a:pt x="4663" y="9052"/>
                    <a:pt x="4474" y="9146"/>
                    <a:pt x="4254" y="9178"/>
                  </a:cubicBezTo>
                  <a:cubicBezTo>
                    <a:pt x="4159" y="8926"/>
                    <a:pt x="4096" y="8737"/>
                    <a:pt x="4033" y="8516"/>
                  </a:cubicBezTo>
                  <a:close/>
                  <a:moveTo>
                    <a:pt x="7782" y="8516"/>
                  </a:moveTo>
                  <a:cubicBezTo>
                    <a:pt x="7751" y="8737"/>
                    <a:pt x="7688" y="8989"/>
                    <a:pt x="7625" y="9178"/>
                  </a:cubicBezTo>
                  <a:cubicBezTo>
                    <a:pt x="7404" y="9083"/>
                    <a:pt x="7184" y="9052"/>
                    <a:pt x="6963" y="8989"/>
                  </a:cubicBezTo>
                  <a:cubicBezTo>
                    <a:pt x="7278" y="8831"/>
                    <a:pt x="7499" y="8674"/>
                    <a:pt x="7782" y="8516"/>
                  </a:cubicBezTo>
                  <a:close/>
                  <a:moveTo>
                    <a:pt x="1954" y="6846"/>
                  </a:moveTo>
                  <a:cubicBezTo>
                    <a:pt x="2300" y="7193"/>
                    <a:pt x="2710" y="7571"/>
                    <a:pt x="3151" y="7823"/>
                  </a:cubicBezTo>
                  <a:cubicBezTo>
                    <a:pt x="3214" y="8358"/>
                    <a:pt x="3309" y="8863"/>
                    <a:pt x="3403" y="9335"/>
                  </a:cubicBezTo>
                  <a:cubicBezTo>
                    <a:pt x="3090" y="9388"/>
                    <a:pt x="2806" y="9414"/>
                    <a:pt x="2555" y="9414"/>
                  </a:cubicBezTo>
                  <a:cubicBezTo>
                    <a:pt x="1015" y="9414"/>
                    <a:pt x="681" y="8445"/>
                    <a:pt x="1954" y="6846"/>
                  </a:cubicBezTo>
                  <a:close/>
                  <a:moveTo>
                    <a:pt x="9925" y="6846"/>
                  </a:moveTo>
                  <a:lnTo>
                    <a:pt x="9925" y="6846"/>
                  </a:lnTo>
                  <a:cubicBezTo>
                    <a:pt x="11167" y="8392"/>
                    <a:pt x="10934" y="9430"/>
                    <a:pt x="9267" y="9430"/>
                  </a:cubicBezTo>
                  <a:cubicBezTo>
                    <a:pt x="9032" y="9430"/>
                    <a:pt x="8768" y="9410"/>
                    <a:pt x="8475" y="9367"/>
                  </a:cubicBezTo>
                  <a:cubicBezTo>
                    <a:pt x="8538" y="8894"/>
                    <a:pt x="8664" y="8390"/>
                    <a:pt x="8727" y="7823"/>
                  </a:cubicBezTo>
                  <a:cubicBezTo>
                    <a:pt x="9137" y="7508"/>
                    <a:pt x="9515" y="7193"/>
                    <a:pt x="9925" y="6846"/>
                  </a:cubicBezTo>
                  <a:close/>
                  <a:moveTo>
                    <a:pt x="5924" y="9461"/>
                  </a:moveTo>
                  <a:cubicBezTo>
                    <a:pt x="6396" y="9650"/>
                    <a:pt x="6869" y="9839"/>
                    <a:pt x="7404" y="9965"/>
                  </a:cubicBezTo>
                  <a:cubicBezTo>
                    <a:pt x="6962" y="11056"/>
                    <a:pt x="6440" y="11607"/>
                    <a:pt x="5922" y="11607"/>
                  </a:cubicBezTo>
                  <a:cubicBezTo>
                    <a:pt x="5408" y="11607"/>
                    <a:pt x="4898" y="11064"/>
                    <a:pt x="4474" y="9965"/>
                  </a:cubicBezTo>
                  <a:cubicBezTo>
                    <a:pt x="4978" y="9839"/>
                    <a:pt x="5451" y="9650"/>
                    <a:pt x="5924" y="9461"/>
                  </a:cubicBezTo>
                  <a:close/>
                  <a:moveTo>
                    <a:pt x="5931" y="1"/>
                  </a:moveTo>
                  <a:cubicBezTo>
                    <a:pt x="5817" y="1"/>
                    <a:pt x="5699" y="14"/>
                    <a:pt x="5577" y="41"/>
                  </a:cubicBezTo>
                  <a:cubicBezTo>
                    <a:pt x="4632" y="262"/>
                    <a:pt x="4002" y="1333"/>
                    <a:pt x="3655" y="2278"/>
                  </a:cubicBezTo>
                  <a:cubicBezTo>
                    <a:pt x="3326" y="2223"/>
                    <a:pt x="2973" y="2187"/>
                    <a:pt x="2624" y="2187"/>
                  </a:cubicBezTo>
                  <a:cubicBezTo>
                    <a:pt x="1770" y="2187"/>
                    <a:pt x="939" y="2404"/>
                    <a:pt x="536" y="3097"/>
                  </a:cubicBezTo>
                  <a:cubicBezTo>
                    <a:pt x="1" y="4074"/>
                    <a:pt x="662" y="5334"/>
                    <a:pt x="1387" y="6216"/>
                  </a:cubicBezTo>
                  <a:cubicBezTo>
                    <a:pt x="788" y="6972"/>
                    <a:pt x="158" y="8043"/>
                    <a:pt x="379" y="8926"/>
                  </a:cubicBezTo>
                  <a:cubicBezTo>
                    <a:pt x="599" y="9650"/>
                    <a:pt x="1166" y="10028"/>
                    <a:pt x="1922" y="10186"/>
                  </a:cubicBezTo>
                  <a:cubicBezTo>
                    <a:pt x="2157" y="10241"/>
                    <a:pt x="2410" y="10266"/>
                    <a:pt x="2668" y="10266"/>
                  </a:cubicBezTo>
                  <a:cubicBezTo>
                    <a:pt x="2998" y="10266"/>
                    <a:pt x="3337" y="10225"/>
                    <a:pt x="3655" y="10154"/>
                  </a:cubicBezTo>
                  <a:cubicBezTo>
                    <a:pt x="4221" y="11678"/>
                    <a:pt x="5076" y="12434"/>
                    <a:pt x="5929" y="12434"/>
                  </a:cubicBezTo>
                  <a:cubicBezTo>
                    <a:pt x="6786" y="12434"/>
                    <a:pt x="7639" y="11670"/>
                    <a:pt x="8192" y="10154"/>
                  </a:cubicBezTo>
                  <a:cubicBezTo>
                    <a:pt x="8550" y="10215"/>
                    <a:pt x="8882" y="10243"/>
                    <a:pt x="9186" y="10243"/>
                  </a:cubicBezTo>
                  <a:cubicBezTo>
                    <a:pt x="11589" y="10243"/>
                    <a:pt x="12278" y="8453"/>
                    <a:pt x="10460" y="6216"/>
                  </a:cubicBezTo>
                  <a:cubicBezTo>
                    <a:pt x="12272" y="4014"/>
                    <a:pt x="11618" y="2182"/>
                    <a:pt x="9217" y="2182"/>
                  </a:cubicBezTo>
                  <a:cubicBezTo>
                    <a:pt x="8904" y="2182"/>
                    <a:pt x="8562" y="2213"/>
                    <a:pt x="8192" y="2278"/>
                  </a:cubicBezTo>
                  <a:cubicBezTo>
                    <a:pt x="7765" y="1139"/>
                    <a:pt x="7004" y="1"/>
                    <a:pt x="5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1"/>
            <p:cNvSpPr/>
            <p:nvPr/>
          </p:nvSpPr>
          <p:spPr>
            <a:xfrm>
              <a:off x="-42500725" y="3712425"/>
              <a:ext cx="63025" cy="62275"/>
            </a:xfrm>
            <a:custGeom>
              <a:avLst/>
              <a:gdLst/>
              <a:ahLst/>
              <a:cxnLst/>
              <a:rect l="l" t="t" r="r" b="b"/>
              <a:pathLst>
                <a:path w="2521" h="2491" extrusionOk="0">
                  <a:moveTo>
                    <a:pt x="1313" y="0"/>
                  </a:moveTo>
                  <a:cubicBezTo>
                    <a:pt x="1295" y="0"/>
                    <a:pt x="1278" y="1"/>
                    <a:pt x="1261" y="1"/>
                  </a:cubicBezTo>
                  <a:cubicBezTo>
                    <a:pt x="599" y="1"/>
                    <a:pt x="0" y="569"/>
                    <a:pt x="63" y="1230"/>
                  </a:cubicBezTo>
                  <a:cubicBezTo>
                    <a:pt x="0" y="1955"/>
                    <a:pt x="567" y="2490"/>
                    <a:pt x="1261" y="2490"/>
                  </a:cubicBezTo>
                  <a:cubicBezTo>
                    <a:pt x="1954" y="2490"/>
                    <a:pt x="2521" y="1955"/>
                    <a:pt x="2489" y="1230"/>
                  </a:cubicBezTo>
                  <a:cubicBezTo>
                    <a:pt x="2489" y="585"/>
                    <a:pt x="1980" y="0"/>
                    <a:pt x="13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77" name="Google Shape;6377;p71"/>
          <p:cNvSpPr/>
          <p:nvPr/>
        </p:nvSpPr>
        <p:spPr>
          <a:xfrm>
            <a:off x="1275131" y="2186747"/>
            <a:ext cx="371785" cy="369974"/>
          </a:xfrm>
          <a:custGeom>
            <a:avLst/>
            <a:gdLst/>
            <a:ahLst/>
            <a:cxnLst/>
            <a:rect l="l" t="t" r="r" b="b"/>
            <a:pathLst>
              <a:path w="12728" h="12666" extrusionOk="0">
                <a:moveTo>
                  <a:pt x="1859" y="3308"/>
                </a:moveTo>
                <a:lnTo>
                  <a:pt x="1859" y="5230"/>
                </a:lnTo>
                <a:lnTo>
                  <a:pt x="882" y="5230"/>
                </a:lnTo>
                <a:lnTo>
                  <a:pt x="882" y="3308"/>
                </a:lnTo>
                <a:close/>
                <a:moveTo>
                  <a:pt x="5765" y="2458"/>
                </a:moveTo>
                <a:cubicBezTo>
                  <a:pt x="5860" y="2458"/>
                  <a:pt x="5986" y="2584"/>
                  <a:pt x="5986" y="2710"/>
                </a:cubicBezTo>
                <a:lnTo>
                  <a:pt x="5986" y="5230"/>
                </a:lnTo>
                <a:lnTo>
                  <a:pt x="2678" y="5230"/>
                </a:lnTo>
                <a:lnTo>
                  <a:pt x="2678" y="2710"/>
                </a:lnTo>
                <a:cubicBezTo>
                  <a:pt x="2678" y="2584"/>
                  <a:pt x="2772" y="2458"/>
                  <a:pt x="2930" y="2458"/>
                </a:cubicBezTo>
                <a:close/>
                <a:moveTo>
                  <a:pt x="9893" y="2458"/>
                </a:moveTo>
                <a:cubicBezTo>
                  <a:pt x="10019" y="2458"/>
                  <a:pt x="10113" y="2584"/>
                  <a:pt x="10113" y="2710"/>
                </a:cubicBezTo>
                <a:lnTo>
                  <a:pt x="10113" y="5230"/>
                </a:lnTo>
                <a:lnTo>
                  <a:pt x="6837" y="5230"/>
                </a:lnTo>
                <a:lnTo>
                  <a:pt x="6837" y="2710"/>
                </a:lnTo>
                <a:cubicBezTo>
                  <a:pt x="6805" y="2584"/>
                  <a:pt x="6900" y="2458"/>
                  <a:pt x="7057" y="2458"/>
                </a:cubicBezTo>
                <a:close/>
                <a:moveTo>
                  <a:pt x="11940" y="3308"/>
                </a:moveTo>
                <a:lnTo>
                  <a:pt x="11940" y="5230"/>
                </a:lnTo>
                <a:lnTo>
                  <a:pt x="10964" y="5230"/>
                </a:lnTo>
                <a:lnTo>
                  <a:pt x="10964" y="3308"/>
                </a:lnTo>
                <a:close/>
                <a:moveTo>
                  <a:pt x="7215" y="6900"/>
                </a:moveTo>
                <a:cubicBezTo>
                  <a:pt x="7435" y="6900"/>
                  <a:pt x="7656" y="7089"/>
                  <a:pt x="7656" y="7278"/>
                </a:cubicBezTo>
                <a:cubicBezTo>
                  <a:pt x="7656" y="7530"/>
                  <a:pt x="7435" y="7719"/>
                  <a:pt x="7215" y="7719"/>
                </a:cubicBezTo>
                <a:lnTo>
                  <a:pt x="5545" y="7719"/>
                </a:lnTo>
                <a:cubicBezTo>
                  <a:pt x="5324" y="7719"/>
                  <a:pt x="5135" y="7530"/>
                  <a:pt x="5135" y="7278"/>
                </a:cubicBezTo>
                <a:cubicBezTo>
                  <a:pt x="5135" y="7026"/>
                  <a:pt x="5324" y="6900"/>
                  <a:pt x="5545" y="6900"/>
                </a:cubicBezTo>
                <a:close/>
                <a:moveTo>
                  <a:pt x="3088" y="6900"/>
                </a:moveTo>
                <a:cubicBezTo>
                  <a:pt x="3749" y="6900"/>
                  <a:pt x="4285" y="7436"/>
                  <a:pt x="4348" y="8097"/>
                </a:cubicBezTo>
                <a:cubicBezTo>
                  <a:pt x="4348" y="8790"/>
                  <a:pt x="3781" y="9326"/>
                  <a:pt x="3088" y="9326"/>
                </a:cubicBezTo>
                <a:cubicBezTo>
                  <a:pt x="2394" y="9326"/>
                  <a:pt x="1859" y="8790"/>
                  <a:pt x="1859" y="8097"/>
                </a:cubicBezTo>
                <a:cubicBezTo>
                  <a:pt x="1859" y="7436"/>
                  <a:pt x="2394" y="6900"/>
                  <a:pt x="3088" y="6900"/>
                </a:cubicBezTo>
                <a:close/>
                <a:moveTo>
                  <a:pt x="7215" y="8570"/>
                </a:moveTo>
                <a:cubicBezTo>
                  <a:pt x="7435" y="8570"/>
                  <a:pt x="7656" y="8790"/>
                  <a:pt x="7656" y="8979"/>
                </a:cubicBezTo>
                <a:cubicBezTo>
                  <a:pt x="7656" y="9168"/>
                  <a:pt x="7435" y="9357"/>
                  <a:pt x="7215" y="9357"/>
                </a:cubicBezTo>
                <a:lnTo>
                  <a:pt x="5545" y="9357"/>
                </a:lnTo>
                <a:cubicBezTo>
                  <a:pt x="5324" y="9357"/>
                  <a:pt x="5135" y="9168"/>
                  <a:pt x="5135" y="8979"/>
                </a:cubicBezTo>
                <a:cubicBezTo>
                  <a:pt x="5135" y="8727"/>
                  <a:pt x="5324" y="8570"/>
                  <a:pt x="5545" y="8570"/>
                </a:cubicBezTo>
                <a:close/>
                <a:moveTo>
                  <a:pt x="9790" y="6930"/>
                </a:moveTo>
                <a:cubicBezTo>
                  <a:pt x="10428" y="6930"/>
                  <a:pt x="10964" y="7456"/>
                  <a:pt x="10964" y="8160"/>
                </a:cubicBezTo>
                <a:cubicBezTo>
                  <a:pt x="10964" y="8822"/>
                  <a:pt x="10397" y="9357"/>
                  <a:pt x="9735" y="9357"/>
                </a:cubicBezTo>
                <a:cubicBezTo>
                  <a:pt x="9073" y="9357"/>
                  <a:pt x="8506" y="8822"/>
                  <a:pt x="8506" y="8160"/>
                </a:cubicBezTo>
                <a:cubicBezTo>
                  <a:pt x="8506" y="7467"/>
                  <a:pt x="9073" y="6931"/>
                  <a:pt x="9735" y="6931"/>
                </a:cubicBezTo>
                <a:cubicBezTo>
                  <a:pt x="9754" y="6931"/>
                  <a:pt x="9772" y="6930"/>
                  <a:pt x="9790" y="6930"/>
                </a:cubicBezTo>
                <a:close/>
                <a:moveTo>
                  <a:pt x="3875" y="0"/>
                </a:moveTo>
                <a:cubicBezTo>
                  <a:pt x="2709" y="0"/>
                  <a:pt x="1827" y="946"/>
                  <a:pt x="1764" y="2080"/>
                </a:cubicBezTo>
                <a:lnTo>
                  <a:pt x="1764" y="2458"/>
                </a:lnTo>
                <a:lnTo>
                  <a:pt x="410" y="2458"/>
                </a:lnTo>
                <a:cubicBezTo>
                  <a:pt x="158" y="2458"/>
                  <a:pt x="0" y="2678"/>
                  <a:pt x="0" y="2899"/>
                </a:cubicBezTo>
                <a:lnTo>
                  <a:pt x="0" y="5671"/>
                </a:lnTo>
                <a:cubicBezTo>
                  <a:pt x="32" y="5860"/>
                  <a:pt x="252" y="6049"/>
                  <a:pt x="473" y="6049"/>
                </a:cubicBezTo>
                <a:lnTo>
                  <a:pt x="1449" y="6049"/>
                </a:lnTo>
                <a:cubicBezTo>
                  <a:pt x="1197" y="6427"/>
                  <a:pt x="1040" y="6837"/>
                  <a:pt x="1040" y="7278"/>
                </a:cubicBezTo>
                <a:lnTo>
                  <a:pt x="1040" y="9767"/>
                </a:lnTo>
                <a:cubicBezTo>
                  <a:pt x="1040" y="10302"/>
                  <a:pt x="1386" y="10744"/>
                  <a:pt x="1859" y="10933"/>
                </a:cubicBezTo>
                <a:lnTo>
                  <a:pt x="1859" y="12256"/>
                </a:lnTo>
                <a:cubicBezTo>
                  <a:pt x="1859" y="12476"/>
                  <a:pt x="2048" y="12665"/>
                  <a:pt x="2300" y="12665"/>
                </a:cubicBezTo>
                <a:lnTo>
                  <a:pt x="3938" y="12665"/>
                </a:lnTo>
                <a:cubicBezTo>
                  <a:pt x="4190" y="12665"/>
                  <a:pt x="4348" y="12476"/>
                  <a:pt x="4348" y="12256"/>
                </a:cubicBezTo>
                <a:lnTo>
                  <a:pt x="4348" y="10996"/>
                </a:lnTo>
                <a:lnTo>
                  <a:pt x="8475" y="10996"/>
                </a:lnTo>
                <a:lnTo>
                  <a:pt x="8475" y="12256"/>
                </a:lnTo>
                <a:cubicBezTo>
                  <a:pt x="8475" y="12476"/>
                  <a:pt x="8664" y="12665"/>
                  <a:pt x="8884" y="12665"/>
                </a:cubicBezTo>
                <a:lnTo>
                  <a:pt x="10523" y="12665"/>
                </a:lnTo>
                <a:cubicBezTo>
                  <a:pt x="10775" y="12665"/>
                  <a:pt x="10901" y="12476"/>
                  <a:pt x="10901" y="12256"/>
                </a:cubicBezTo>
                <a:lnTo>
                  <a:pt x="10901" y="10933"/>
                </a:lnTo>
                <a:cubicBezTo>
                  <a:pt x="11373" y="10775"/>
                  <a:pt x="11751" y="10302"/>
                  <a:pt x="11751" y="9767"/>
                </a:cubicBezTo>
                <a:lnTo>
                  <a:pt x="11751" y="7278"/>
                </a:lnTo>
                <a:cubicBezTo>
                  <a:pt x="11751" y="6805"/>
                  <a:pt x="11594" y="6364"/>
                  <a:pt x="11310" y="6049"/>
                </a:cubicBezTo>
                <a:lnTo>
                  <a:pt x="12287" y="6049"/>
                </a:lnTo>
                <a:cubicBezTo>
                  <a:pt x="12539" y="6049"/>
                  <a:pt x="12728" y="5860"/>
                  <a:pt x="12728" y="5671"/>
                </a:cubicBezTo>
                <a:lnTo>
                  <a:pt x="12728" y="2899"/>
                </a:lnTo>
                <a:cubicBezTo>
                  <a:pt x="12728" y="2678"/>
                  <a:pt x="12539" y="2458"/>
                  <a:pt x="12287" y="2458"/>
                </a:cubicBezTo>
                <a:lnTo>
                  <a:pt x="10901" y="2458"/>
                </a:lnTo>
                <a:lnTo>
                  <a:pt x="10901" y="2080"/>
                </a:lnTo>
                <a:cubicBezTo>
                  <a:pt x="10901" y="946"/>
                  <a:pt x="9987" y="32"/>
                  <a:pt x="8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78" name="Google Shape;6378;p71"/>
          <p:cNvGrpSpPr/>
          <p:nvPr/>
        </p:nvGrpSpPr>
        <p:grpSpPr>
          <a:xfrm>
            <a:off x="3450506" y="1332445"/>
            <a:ext cx="376926" cy="370324"/>
            <a:chOff x="-40748275" y="3238700"/>
            <a:chExt cx="322600" cy="316950"/>
          </a:xfrm>
        </p:grpSpPr>
        <p:sp>
          <p:nvSpPr>
            <p:cNvPr id="6379" name="Google Shape;6379;p71"/>
            <p:cNvSpPr/>
            <p:nvPr/>
          </p:nvSpPr>
          <p:spPr>
            <a:xfrm>
              <a:off x="-40709675" y="3273750"/>
              <a:ext cx="84300" cy="84300"/>
            </a:xfrm>
            <a:custGeom>
              <a:avLst/>
              <a:gdLst/>
              <a:ahLst/>
              <a:cxnLst/>
              <a:rect l="l" t="t" r="r" b="b"/>
              <a:pathLst>
                <a:path w="3372" h="3372" extrusionOk="0">
                  <a:moveTo>
                    <a:pt x="2710" y="0"/>
                  </a:moveTo>
                  <a:lnTo>
                    <a:pt x="1" y="2710"/>
                  </a:lnTo>
                  <a:lnTo>
                    <a:pt x="694" y="3371"/>
                  </a:lnTo>
                  <a:lnTo>
                    <a:pt x="3372" y="662"/>
                  </a:lnTo>
                  <a:lnTo>
                    <a:pt x="27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1"/>
            <p:cNvSpPr/>
            <p:nvPr/>
          </p:nvSpPr>
          <p:spPr>
            <a:xfrm>
              <a:off x="-40578925" y="3247175"/>
              <a:ext cx="151250" cy="149475"/>
            </a:xfrm>
            <a:custGeom>
              <a:avLst/>
              <a:gdLst/>
              <a:ahLst/>
              <a:cxnLst/>
              <a:rect l="l" t="t" r="r" b="b"/>
              <a:pathLst>
                <a:path w="6050" h="5979" extrusionOk="0">
                  <a:moveTo>
                    <a:pt x="2663" y="0"/>
                  </a:moveTo>
                  <a:cubicBezTo>
                    <a:pt x="2552" y="0"/>
                    <a:pt x="2442" y="39"/>
                    <a:pt x="2363" y="118"/>
                  </a:cubicBezTo>
                  <a:lnTo>
                    <a:pt x="1261" y="1221"/>
                  </a:lnTo>
                  <a:lnTo>
                    <a:pt x="2678" y="2639"/>
                  </a:lnTo>
                  <a:cubicBezTo>
                    <a:pt x="2836" y="2796"/>
                    <a:pt x="2836" y="3080"/>
                    <a:pt x="2678" y="3237"/>
                  </a:cubicBezTo>
                  <a:cubicBezTo>
                    <a:pt x="2637" y="3278"/>
                    <a:pt x="2560" y="3302"/>
                    <a:pt x="2473" y="3302"/>
                  </a:cubicBezTo>
                  <a:cubicBezTo>
                    <a:pt x="2360" y="3302"/>
                    <a:pt x="2232" y="3263"/>
                    <a:pt x="2143" y="3174"/>
                  </a:cubicBezTo>
                  <a:lnTo>
                    <a:pt x="725" y="1756"/>
                  </a:lnTo>
                  <a:lnTo>
                    <a:pt x="0" y="2481"/>
                  </a:lnTo>
                  <a:lnTo>
                    <a:pt x="3529" y="5978"/>
                  </a:lnTo>
                  <a:lnTo>
                    <a:pt x="5892" y="3615"/>
                  </a:lnTo>
                  <a:cubicBezTo>
                    <a:pt x="6049" y="3458"/>
                    <a:pt x="6049" y="3174"/>
                    <a:pt x="5892" y="3017"/>
                  </a:cubicBezTo>
                  <a:lnTo>
                    <a:pt x="2962" y="118"/>
                  </a:lnTo>
                  <a:cubicBezTo>
                    <a:pt x="2883" y="39"/>
                    <a:pt x="2773" y="0"/>
                    <a:pt x="2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1"/>
            <p:cNvSpPr/>
            <p:nvPr/>
          </p:nvSpPr>
          <p:spPr>
            <a:xfrm>
              <a:off x="-40678175" y="3305250"/>
              <a:ext cx="213475" cy="213475"/>
            </a:xfrm>
            <a:custGeom>
              <a:avLst/>
              <a:gdLst/>
              <a:ahLst/>
              <a:cxnLst/>
              <a:rect l="l" t="t" r="r" b="b"/>
              <a:pathLst>
                <a:path w="8539" h="8539" extrusionOk="0">
                  <a:moveTo>
                    <a:pt x="2679" y="0"/>
                  </a:moveTo>
                  <a:lnTo>
                    <a:pt x="1" y="2678"/>
                  </a:lnTo>
                  <a:lnTo>
                    <a:pt x="5861" y="8538"/>
                  </a:lnTo>
                  <a:lnTo>
                    <a:pt x="8539" y="5860"/>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1"/>
            <p:cNvSpPr/>
            <p:nvPr/>
          </p:nvSpPr>
          <p:spPr>
            <a:xfrm>
              <a:off x="-40513550" y="3469850"/>
              <a:ext cx="87875" cy="85800"/>
            </a:xfrm>
            <a:custGeom>
              <a:avLst/>
              <a:gdLst/>
              <a:ahLst/>
              <a:cxnLst/>
              <a:rect l="l" t="t" r="r" b="b"/>
              <a:pathLst>
                <a:path w="3515" h="3432" extrusionOk="0">
                  <a:moveTo>
                    <a:pt x="2426" y="1"/>
                  </a:moveTo>
                  <a:lnTo>
                    <a:pt x="0" y="2427"/>
                  </a:lnTo>
                  <a:lnTo>
                    <a:pt x="2899" y="3404"/>
                  </a:lnTo>
                  <a:cubicBezTo>
                    <a:pt x="2948" y="3423"/>
                    <a:pt x="2996" y="3432"/>
                    <a:pt x="3044" y="3432"/>
                  </a:cubicBezTo>
                  <a:cubicBezTo>
                    <a:pt x="3302" y="3432"/>
                    <a:pt x="3514" y="3166"/>
                    <a:pt x="3434" y="2899"/>
                  </a:cubicBez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1"/>
            <p:cNvSpPr/>
            <p:nvPr/>
          </p:nvSpPr>
          <p:spPr>
            <a:xfrm>
              <a:off x="-40738025" y="3404500"/>
              <a:ext cx="150450" cy="149475"/>
            </a:xfrm>
            <a:custGeom>
              <a:avLst/>
              <a:gdLst/>
              <a:ahLst/>
              <a:cxnLst/>
              <a:rect l="l" t="t" r="r" b="b"/>
              <a:pathLst>
                <a:path w="6018" h="5979" extrusionOk="0">
                  <a:moveTo>
                    <a:pt x="2521" y="0"/>
                  </a:moveTo>
                  <a:lnTo>
                    <a:pt x="1796" y="725"/>
                  </a:lnTo>
                  <a:lnTo>
                    <a:pt x="3308" y="2205"/>
                  </a:lnTo>
                  <a:cubicBezTo>
                    <a:pt x="3466" y="2363"/>
                    <a:pt x="3466" y="2646"/>
                    <a:pt x="3308" y="2804"/>
                  </a:cubicBezTo>
                  <a:cubicBezTo>
                    <a:pt x="3230" y="2883"/>
                    <a:pt x="3119" y="2922"/>
                    <a:pt x="3009" y="2922"/>
                  </a:cubicBezTo>
                  <a:cubicBezTo>
                    <a:pt x="2899" y="2922"/>
                    <a:pt x="2789" y="2883"/>
                    <a:pt x="2710" y="2804"/>
                  </a:cubicBezTo>
                  <a:lnTo>
                    <a:pt x="1229" y="1292"/>
                  </a:lnTo>
                  <a:lnTo>
                    <a:pt x="158" y="2363"/>
                  </a:lnTo>
                  <a:cubicBezTo>
                    <a:pt x="0" y="2520"/>
                    <a:pt x="0" y="2804"/>
                    <a:pt x="158" y="2962"/>
                  </a:cubicBezTo>
                  <a:lnTo>
                    <a:pt x="3056" y="5860"/>
                  </a:lnTo>
                  <a:cubicBezTo>
                    <a:pt x="3135" y="5939"/>
                    <a:pt x="3245" y="5978"/>
                    <a:pt x="3356" y="5978"/>
                  </a:cubicBezTo>
                  <a:cubicBezTo>
                    <a:pt x="3466" y="5978"/>
                    <a:pt x="3576" y="5939"/>
                    <a:pt x="3655" y="5860"/>
                  </a:cubicBezTo>
                  <a:lnTo>
                    <a:pt x="6018" y="3497"/>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1"/>
            <p:cNvSpPr/>
            <p:nvPr/>
          </p:nvSpPr>
          <p:spPr>
            <a:xfrm>
              <a:off x="-40748275" y="3238700"/>
              <a:ext cx="92175" cy="87850"/>
            </a:xfrm>
            <a:custGeom>
              <a:avLst/>
              <a:gdLst/>
              <a:ahLst/>
              <a:cxnLst/>
              <a:rect l="l" t="t" r="r" b="b"/>
              <a:pathLst>
                <a:path w="3687" h="3514" extrusionOk="0">
                  <a:moveTo>
                    <a:pt x="2281" y="0"/>
                  </a:moveTo>
                  <a:cubicBezTo>
                    <a:pt x="1915" y="0"/>
                    <a:pt x="1545" y="142"/>
                    <a:pt x="1261" y="426"/>
                  </a:cubicBezTo>
                  <a:lnTo>
                    <a:pt x="568" y="1119"/>
                  </a:lnTo>
                  <a:cubicBezTo>
                    <a:pt x="1" y="1686"/>
                    <a:pt x="1" y="2568"/>
                    <a:pt x="568" y="3135"/>
                  </a:cubicBezTo>
                  <a:lnTo>
                    <a:pt x="946" y="3513"/>
                  </a:lnTo>
                  <a:lnTo>
                    <a:pt x="3687" y="804"/>
                  </a:lnTo>
                  <a:lnTo>
                    <a:pt x="3277" y="426"/>
                  </a:lnTo>
                  <a:cubicBezTo>
                    <a:pt x="3010" y="142"/>
                    <a:pt x="2647" y="0"/>
                    <a:pt x="22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85" name="Google Shape;6385;p71"/>
          <p:cNvGrpSpPr/>
          <p:nvPr/>
        </p:nvGrpSpPr>
        <p:grpSpPr>
          <a:xfrm>
            <a:off x="3453062" y="1800429"/>
            <a:ext cx="371814" cy="338690"/>
            <a:chOff x="-40745125" y="3632900"/>
            <a:chExt cx="318225" cy="289875"/>
          </a:xfrm>
        </p:grpSpPr>
        <p:sp>
          <p:nvSpPr>
            <p:cNvPr id="6386" name="Google Shape;6386;p71"/>
            <p:cNvSpPr/>
            <p:nvPr/>
          </p:nvSpPr>
          <p:spPr>
            <a:xfrm>
              <a:off x="-40745125" y="3632900"/>
              <a:ext cx="300125" cy="82725"/>
            </a:xfrm>
            <a:custGeom>
              <a:avLst/>
              <a:gdLst/>
              <a:ahLst/>
              <a:cxnLst/>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1"/>
            <p:cNvSpPr/>
            <p:nvPr/>
          </p:nvSpPr>
          <p:spPr>
            <a:xfrm>
              <a:off x="-40508050" y="3736075"/>
              <a:ext cx="21300" cy="82725"/>
            </a:xfrm>
            <a:custGeom>
              <a:avLst/>
              <a:gdLst/>
              <a:ahLst/>
              <a:cxnLst/>
              <a:rect l="l" t="t" r="r" b="b"/>
              <a:pathLst>
                <a:path w="852" h="3309" extrusionOk="0">
                  <a:moveTo>
                    <a:pt x="1" y="1"/>
                  </a:moveTo>
                  <a:lnTo>
                    <a:pt x="1" y="3309"/>
                  </a:lnTo>
                  <a:lnTo>
                    <a:pt x="852" y="3309"/>
                  </a:lnTo>
                  <a:lnTo>
                    <a:pt x="85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1"/>
            <p:cNvSpPr/>
            <p:nvPr/>
          </p:nvSpPr>
          <p:spPr>
            <a:xfrm>
              <a:off x="-40466300" y="3736875"/>
              <a:ext cx="39400" cy="82725"/>
            </a:xfrm>
            <a:custGeom>
              <a:avLst/>
              <a:gdLst/>
              <a:ahLst/>
              <a:cxnLst/>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1"/>
            <p:cNvSpPr/>
            <p:nvPr/>
          </p:nvSpPr>
          <p:spPr>
            <a:xfrm>
              <a:off x="-40723050" y="3736075"/>
              <a:ext cx="194550" cy="82725"/>
            </a:xfrm>
            <a:custGeom>
              <a:avLst/>
              <a:gdLst/>
              <a:ahLst/>
              <a:cxnLst/>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1"/>
            <p:cNvSpPr/>
            <p:nvPr/>
          </p:nvSpPr>
          <p:spPr>
            <a:xfrm>
              <a:off x="-40681325" y="3839250"/>
              <a:ext cx="21300" cy="82725"/>
            </a:xfrm>
            <a:custGeom>
              <a:avLst/>
              <a:gdLst/>
              <a:ahLst/>
              <a:cxnLst/>
              <a:rect l="l" t="t" r="r" b="b"/>
              <a:pathLst>
                <a:path w="852" h="3309" extrusionOk="0">
                  <a:moveTo>
                    <a:pt x="1" y="1"/>
                  </a:moveTo>
                  <a:lnTo>
                    <a:pt x="1" y="3309"/>
                  </a:lnTo>
                  <a:lnTo>
                    <a:pt x="851" y="3309"/>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1"/>
            <p:cNvSpPr/>
            <p:nvPr/>
          </p:nvSpPr>
          <p:spPr>
            <a:xfrm>
              <a:off x="-40639575" y="3840825"/>
              <a:ext cx="190625" cy="81950"/>
            </a:xfrm>
            <a:custGeom>
              <a:avLst/>
              <a:gdLst/>
              <a:ahLst/>
              <a:cxnLst/>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1"/>
            <p:cNvSpPr/>
            <p:nvPr/>
          </p:nvSpPr>
          <p:spPr>
            <a:xfrm>
              <a:off x="-40745125" y="3840050"/>
              <a:ext cx="43350" cy="82725"/>
            </a:xfrm>
            <a:custGeom>
              <a:avLst/>
              <a:gdLst/>
              <a:ahLst/>
              <a:cxnLst/>
              <a:rect l="l" t="t" r="r" b="b"/>
              <a:pathLst>
                <a:path w="1734"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3" name="Google Shape;6393;p71"/>
          <p:cNvGrpSpPr/>
          <p:nvPr/>
        </p:nvGrpSpPr>
        <p:grpSpPr>
          <a:xfrm>
            <a:off x="3457209" y="2211639"/>
            <a:ext cx="363518" cy="370178"/>
            <a:chOff x="-40742750" y="3972175"/>
            <a:chExt cx="311125" cy="316825"/>
          </a:xfrm>
        </p:grpSpPr>
        <p:sp>
          <p:nvSpPr>
            <p:cNvPr id="6394" name="Google Shape;6394;p71"/>
            <p:cNvSpPr/>
            <p:nvPr/>
          </p:nvSpPr>
          <p:spPr>
            <a:xfrm>
              <a:off x="-40699425" y="4118075"/>
              <a:ext cx="226850" cy="101625"/>
            </a:xfrm>
            <a:custGeom>
              <a:avLst/>
              <a:gdLst/>
              <a:ahLst/>
              <a:cxnLst/>
              <a:rect l="l" t="t" r="r" b="b"/>
              <a:pathLst>
                <a:path w="9074" h="4065" extrusionOk="0">
                  <a:moveTo>
                    <a:pt x="0" y="0"/>
                  </a:moveTo>
                  <a:lnTo>
                    <a:pt x="0" y="2017"/>
                  </a:lnTo>
                  <a:cubicBezTo>
                    <a:pt x="0" y="3529"/>
                    <a:pt x="2741" y="4065"/>
                    <a:pt x="4505" y="4065"/>
                  </a:cubicBezTo>
                  <a:cubicBezTo>
                    <a:pt x="6774" y="4065"/>
                    <a:pt x="9074" y="3371"/>
                    <a:pt x="9074" y="2017"/>
                  </a:cubicBezTo>
                  <a:lnTo>
                    <a:pt x="9074" y="0"/>
                  </a:lnTo>
                  <a:lnTo>
                    <a:pt x="5135" y="2237"/>
                  </a:lnTo>
                  <a:cubicBezTo>
                    <a:pt x="4953" y="2359"/>
                    <a:pt x="4748" y="2415"/>
                    <a:pt x="4546" y="2415"/>
                  </a:cubicBezTo>
                  <a:cubicBezTo>
                    <a:pt x="4330" y="2415"/>
                    <a:pt x="4117" y="2351"/>
                    <a:pt x="3938" y="2237"/>
                  </a:cubicBezTo>
                  <a:cubicBezTo>
                    <a:pt x="3623" y="2048"/>
                    <a:pt x="315"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1"/>
            <p:cNvSpPr/>
            <p:nvPr/>
          </p:nvSpPr>
          <p:spPr>
            <a:xfrm>
              <a:off x="-40742750" y="3972175"/>
              <a:ext cx="311125" cy="316825"/>
            </a:xfrm>
            <a:custGeom>
              <a:avLst/>
              <a:gdLst/>
              <a:ahLst/>
              <a:cxnLst/>
              <a:rect l="l" t="t" r="r" b="b"/>
              <a:pathLst>
                <a:path w="12445" h="12673" extrusionOk="0">
                  <a:moveTo>
                    <a:pt x="6254" y="0"/>
                  </a:moveTo>
                  <a:cubicBezTo>
                    <a:pt x="6183" y="0"/>
                    <a:pt x="6112" y="24"/>
                    <a:pt x="6049" y="71"/>
                  </a:cubicBezTo>
                  <a:lnTo>
                    <a:pt x="284" y="3379"/>
                  </a:lnTo>
                  <a:cubicBezTo>
                    <a:pt x="0" y="3537"/>
                    <a:pt x="0" y="3915"/>
                    <a:pt x="284" y="4072"/>
                  </a:cubicBezTo>
                  <a:lnTo>
                    <a:pt x="6049" y="7380"/>
                  </a:lnTo>
                  <a:cubicBezTo>
                    <a:pt x="6112" y="7427"/>
                    <a:pt x="6183" y="7451"/>
                    <a:pt x="6254" y="7451"/>
                  </a:cubicBezTo>
                  <a:cubicBezTo>
                    <a:pt x="6325" y="7451"/>
                    <a:pt x="6396" y="7427"/>
                    <a:pt x="6459" y="7380"/>
                  </a:cubicBezTo>
                  <a:cubicBezTo>
                    <a:pt x="11374" y="4545"/>
                    <a:pt x="11626" y="4419"/>
                    <a:pt x="11626" y="4419"/>
                  </a:cubicBezTo>
                  <a:lnTo>
                    <a:pt x="11626" y="12263"/>
                  </a:lnTo>
                  <a:cubicBezTo>
                    <a:pt x="11657" y="12515"/>
                    <a:pt x="11846" y="12673"/>
                    <a:pt x="12035" y="12673"/>
                  </a:cubicBezTo>
                  <a:cubicBezTo>
                    <a:pt x="12287" y="12673"/>
                    <a:pt x="12445" y="12452"/>
                    <a:pt x="12445" y="12263"/>
                  </a:cubicBezTo>
                  <a:lnTo>
                    <a:pt x="12445" y="3726"/>
                  </a:lnTo>
                  <a:cubicBezTo>
                    <a:pt x="12445" y="3568"/>
                    <a:pt x="12319" y="3411"/>
                    <a:pt x="12256" y="3379"/>
                  </a:cubicBezTo>
                  <a:lnTo>
                    <a:pt x="6459" y="71"/>
                  </a:lnTo>
                  <a:cubicBezTo>
                    <a:pt x="6396" y="24"/>
                    <a:pt x="6325" y="0"/>
                    <a:pt x="6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6" name="Google Shape;6396;p71"/>
          <p:cNvGrpSpPr/>
          <p:nvPr/>
        </p:nvGrpSpPr>
        <p:grpSpPr>
          <a:xfrm>
            <a:off x="2239871" y="2661807"/>
            <a:ext cx="266892" cy="369974"/>
            <a:chOff x="-38860325" y="3221750"/>
            <a:chExt cx="228425" cy="316650"/>
          </a:xfrm>
        </p:grpSpPr>
        <p:sp>
          <p:nvSpPr>
            <p:cNvPr id="6397" name="Google Shape;6397;p71"/>
            <p:cNvSpPr/>
            <p:nvPr/>
          </p:nvSpPr>
          <p:spPr>
            <a:xfrm>
              <a:off x="-38735875" y="3222550"/>
              <a:ext cx="103975" cy="123675"/>
            </a:xfrm>
            <a:custGeom>
              <a:avLst/>
              <a:gdLst/>
              <a:ahLst/>
              <a:cxnLst/>
              <a:rect l="l" t="t" r="r" b="b"/>
              <a:pathLst>
                <a:path w="4159" h="4947" extrusionOk="0">
                  <a:moveTo>
                    <a:pt x="0" y="0"/>
                  </a:moveTo>
                  <a:lnTo>
                    <a:pt x="0" y="2552"/>
                  </a:lnTo>
                  <a:cubicBezTo>
                    <a:pt x="473" y="2710"/>
                    <a:pt x="851" y="3182"/>
                    <a:pt x="851" y="3750"/>
                  </a:cubicBezTo>
                  <a:lnTo>
                    <a:pt x="851" y="4947"/>
                  </a:lnTo>
                  <a:lnTo>
                    <a:pt x="4159" y="4947"/>
                  </a:lnTo>
                  <a:lnTo>
                    <a:pt x="4159" y="3687"/>
                  </a:lnTo>
                  <a:cubicBezTo>
                    <a:pt x="4159" y="1639"/>
                    <a:pt x="2489"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1"/>
            <p:cNvSpPr/>
            <p:nvPr/>
          </p:nvSpPr>
          <p:spPr>
            <a:xfrm>
              <a:off x="-38756375" y="3302875"/>
              <a:ext cx="22075" cy="63050"/>
            </a:xfrm>
            <a:custGeom>
              <a:avLst/>
              <a:gdLst/>
              <a:ahLst/>
              <a:cxnLst/>
              <a:rect l="l" t="t" r="r" b="b"/>
              <a:pathLst>
                <a:path w="883" h="2522" extrusionOk="0">
                  <a:moveTo>
                    <a:pt x="474" y="1"/>
                  </a:moveTo>
                  <a:cubicBezTo>
                    <a:pt x="253" y="1"/>
                    <a:pt x="95" y="222"/>
                    <a:pt x="95" y="442"/>
                  </a:cubicBezTo>
                  <a:lnTo>
                    <a:pt x="95" y="2112"/>
                  </a:lnTo>
                  <a:cubicBezTo>
                    <a:pt x="1" y="2332"/>
                    <a:pt x="190" y="2521"/>
                    <a:pt x="442" y="2521"/>
                  </a:cubicBezTo>
                  <a:cubicBezTo>
                    <a:pt x="663" y="2521"/>
                    <a:pt x="820" y="2332"/>
                    <a:pt x="883" y="2112"/>
                  </a:cubicBezTo>
                  <a:lnTo>
                    <a:pt x="883" y="442"/>
                  </a:lnTo>
                  <a:cubicBezTo>
                    <a:pt x="883" y="222"/>
                    <a:pt x="663" y="64"/>
                    <a:pt x="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1"/>
            <p:cNvSpPr/>
            <p:nvPr/>
          </p:nvSpPr>
          <p:spPr>
            <a:xfrm>
              <a:off x="-38859550" y="3221750"/>
              <a:ext cx="103200" cy="122900"/>
            </a:xfrm>
            <a:custGeom>
              <a:avLst/>
              <a:gdLst/>
              <a:ahLst/>
              <a:cxnLst/>
              <a:rect l="l" t="t" r="r" b="b"/>
              <a:pathLst>
                <a:path w="4128" h="4916" extrusionOk="0">
                  <a:moveTo>
                    <a:pt x="3687" y="1"/>
                  </a:moveTo>
                  <a:cubicBezTo>
                    <a:pt x="1671" y="1"/>
                    <a:pt x="1" y="1639"/>
                    <a:pt x="1" y="3687"/>
                  </a:cubicBezTo>
                  <a:lnTo>
                    <a:pt x="1" y="4916"/>
                  </a:lnTo>
                  <a:lnTo>
                    <a:pt x="3309" y="4916"/>
                  </a:lnTo>
                  <a:lnTo>
                    <a:pt x="3309" y="3687"/>
                  </a:lnTo>
                  <a:cubicBezTo>
                    <a:pt x="3309" y="3151"/>
                    <a:pt x="3655" y="2710"/>
                    <a:pt x="4128" y="2521"/>
                  </a:cubicBezTo>
                  <a:lnTo>
                    <a:pt x="41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1"/>
            <p:cNvSpPr/>
            <p:nvPr/>
          </p:nvSpPr>
          <p:spPr>
            <a:xfrm>
              <a:off x="-38860325" y="3367475"/>
              <a:ext cx="228425" cy="170925"/>
            </a:xfrm>
            <a:custGeom>
              <a:avLst/>
              <a:gdLst/>
              <a:ahLst/>
              <a:cxnLst/>
              <a:rect l="l" t="t" r="r" b="b"/>
              <a:pathLst>
                <a:path w="9137" h="6837" extrusionOk="0">
                  <a:moveTo>
                    <a:pt x="0" y="0"/>
                  </a:moveTo>
                  <a:lnTo>
                    <a:pt x="0" y="3151"/>
                  </a:lnTo>
                  <a:cubicBezTo>
                    <a:pt x="0" y="5199"/>
                    <a:pt x="1639" y="6837"/>
                    <a:pt x="3686" y="6837"/>
                  </a:cubicBezTo>
                  <a:lnTo>
                    <a:pt x="5356" y="6837"/>
                  </a:lnTo>
                  <a:cubicBezTo>
                    <a:pt x="7467" y="6837"/>
                    <a:pt x="9137" y="5199"/>
                    <a:pt x="9137" y="3151"/>
                  </a:cubicBezTo>
                  <a:lnTo>
                    <a:pt x="9137" y="0"/>
                  </a:lnTo>
                  <a:lnTo>
                    <a:pt x="5734" y="0"/>
                  </a:lnTo>
                  <a:cubicBezTo>
                    <a:pt x="5577" y="473"/>
                    <a:pt x="5104" y="819"/>
                    <a:pt x="4568" y="819"/>
                  </a:cubicBezTo>
                  <a:cubicBezTo>
                    <a:pt x="4001" y="819"/>
                    <a:pt x="3560" y="473"/>
                    <a:pt x="3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01" name="Google Shape;6401;p71"/>
          <p:cNvGrpSpPr/>
          <p:nvPr/>
        </p:nvGrpSpPr>
        <p:grpSpPr>
          <a:xfrm>
            <a:off x="2190678" y="3123864"/>
            <a:ext cx="380081" cy="367111"/>
            <a:chOff x="-38905225" y="3591875"/>
            <a:chExt cx="325300" cy="314200"/>
          </a:xfrm>
        </p:grpSpPr>
        <p:sp>
          <p:nvSpPr>
            <p:cNvPr id="6402" name="Google Shape;6402;p71"/>
            <p:cNvSpPr/>
            <p:nvPr/>
          </p:nvSpPr>
          <p:spPr>
            <a:xfrm>
              <a:off x="-38716975" y="3591875"/>
              <a:ext cx="137050" cy="131625"/>
            </a:xfrm>
            <a:custGeom>
              <a:avLst/>
              <a:gdLst/>
              <a:ahLst/>
              <a:cxnLst/>
              <a:rect l="l" t="t" r="r" b="b"/>
              <a:pathLst>
                <a:path w="5482" h="5265" extrusionOk="0">
                  <a:moveTo>
                    <a:pt x="1543" y="1"/>
                  </a:moveTo>
                  <a:cubicBezTo>
                    <a:pt x="987" y="1"/>
                    <a:pt x="447" y="38"/>
                    <a:pt x="0" y="98"/>
                  </a:cubicBezTo>
                  <a:lnTo>
                    <a:pt x="5167" y="5265"/>
                  </a:lnTo>
                  <a:cubicBezTo>
                    <a:pt x="5482" y="3311"/>
                    <a:pt x="5198" y="1326"/>
                    <a:pt x="4568" y="696"/>
                  </a:cubicBezTo>
                  <a:cubicBezTo>
                    <a:pt x="4029" y="178"/>
                    <a:pt x="2751" y="1"/>
                    <a:pt x="15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1"/>
            <p:cNvSpPr/>
            <p:nvPr/>
          </p:nvSpPr>
          <p:spPr>
            <a:xfrm>
              <a:off x="-38905225" y="3774675"/>
              <a:ext cx="137075" cy="131400"/>
            </a:xfrm>
            <a:custGeom>
              <a:avLst/>
              <a:gdLst/>
              <a:ahLst/>
              <a:cxnLst/>
              <a:rect l="l" t="t" r="r" b="b"/>
              <a:pathLst>
                <a:path w="5483" h="5256" extrusionOk="0">
                  <a:moveTo>
                    <a:pt x="316" y="0"/>
                  </a:moveTo>
                  <a:lnTo>
                    <a:pt x="316" y="0"/>
                  </a:lnTo>
                  <a:cubicBezTo>
                    <a:pt x="0" y="1922"/>
                    <a:pt x="253" y="3907"/>
                    <a:pt x="914" y="4569"/>
                  </a:cubicBezTo>
                  <a:cubicBezTo>
                    <a:pt x="1376" y="5031"/>
                    <a:pt x="2601" y="5256"/>
                    <a:pt x="3967" y="5256"/>
                  </a:cubicBezTo>
                  <a:cubicBezTo>
                    <a:pt x="4464" y="5256"/>
                    <a:pt x="4979" y="5226"/>
                    <a:pt x="5482" y="5167"/>
                  </a:cubicBezTo>
                  <a:lnTo>
                    <a:pt x="3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1"/>
            <p:cNvSpPr/>
            <p:nvPr/>
          </p:nvSpPr>
          <p:spPr>
            <a:xfrm>
              <a:off x="-38891050" y="3599025"/>
              <a:ext cx="298525" cy="300900"/>
            </a:xfrm>
            <a:custGeom>
              <a:avLst/>
              <a:gdLst/>
              <a:ahLst/>
              <a:cxnLst/>
              <a:rect l="l" t="t" r="r" b="b"/>
              <a:pathLst>
                <a:path w="11941" h="12036" extrusionOk="0">
                  <a:moveTo>
                    <a:pt x="6349" y="2687"/>
                  </a:moveTo>
                  <a:cubicBezTo>
                    <a:pt x="6459" y="2687"/>
                    <a:pt x="6569" y="2726"/>
                    <a:pt x="6648" y="2805"/>
                  </a:cubicBezTo>
                  <a:lnTo>
                    <a:pt x="7593" y="3750"/>
                  </a:lnTo>
                  <a:lnTo>
                    <a:pt x="7719" y="3655"/>
                  </a:lnTo>
                  <a:cubicBezTo>
                    <a:pt x="7798" y="3577"/>
                    <a:pt x="7908" y="3537"/>
                    <a:pt x="8019" y="3537"/>
                  </a:cubicBezTo>
                  <a:cubicBezTo>
                    <a:pt x="8129" y="3537"/>
                    <a:pt x="8239" y="3577"/>
                    <a:pt x="8318" y="3655"/>
                  </a:cubicBezTo>
                  <a:cubicBezTo>
                    <a:pt x="8475" y="3813"/>
                    <a:pt x="8475" y="4065"/>
                    <a:pt x="8318" y="4222"/>
                  </a:cubicBezTo>
                  <a:lnTo>
                    <a:pt x="8192" y="4348"/>
                  </a:lnTo>
                  <a:lnTo>
                    <a:pt x="9137" y="5294"/>
                  </a:lnTo>
                  <a:cubicBezTo>
                    <a:pt x="9295" y="5451"/>
                    <a:pt x="9295" y="5735"/>
                    <a:pt x="9137" y="5892"/>
                  </a:cubicBezTo>
                  <a:cubicBezTo>
                    <a:pt x="9058" y="5971"/>
                    <a:pt x="8948" y="6010"/>
                    <a:pt x="8838" y="6010"/>
                  </a:cubicBezTo>
                  <a:cubicBezTo>
                    <a:pt x="8727" y="6010"/>
                    <a:pt x="8617" y="5971"/>
                    <a:pt x="8538" y="5892"/>
                  </a:cubicBezTo>
                  <a:lnTo>
                    <a:pt x="7593" y="4947"/>
                  </a:lnTo>
                  <a:lnTo>
                    <a:pt x="6522" y="6018"/>
                  </a:lnTo>
                  <a:lnTo>
                    <a:pt x="7467" y="6963"/>
                  </a:lnTo>
                  <a:cubicBezTo>
                    <a:pt x="7625" y="7089"/>
                    <a:pt x="7625" y="7373"/>
                    <a:pt x="7467" y="7530"/>
                  </a:cubicBezTo>
                  <a:cubicBezTo>
                    <a:pt x="7388" y="7609"/>
                    <a:pt x="7286" y="7649"/>
                    <a:pt x="7184" y="7649"/>
                  </a:cubicBezTo>
                  <a:cubicBezTo>
                    <a:pt x="7081" y="7649"/>
                    <a:pt x="6979" y="7609"/>
                    <a:pt x="6900" y="7530"/>
                  </a:cubicBezTo>
                  <a:lnTo>
                    <a:pt x="5955" y="6585"/>
                  </a:lnTo>
                  <a:lnTo>
                    <a:pt x="4884" y="7656"/>
                  </a:lnTo>
                  <a:lnTo>
                    <a:pt x="5829" y="8602"/>
                  </a:lnTo>
                  <a:cubicBezTo>
                    <a:pt x="5987" y="8759"/>
                    <a:pt x="5987" y="9043"/>
                    <a:pt x="5829" y="9200"/>
                  </a:cubicBezTo>
                  <a:cubicBezTo>
                    <a:pt x="5750" y="9279"/>
                    <a:pt x="5640" y="9318"/>
                    <a:pt x="5530" y="9318"/>
                  </a:cubicBezTo>
                  <a:cubicBezTo>
                    <a:pt x="5419" y="9318"/>
                    <a:pt x="5309" y="9279"/>
                    <a:pt x="5230" y="9200"/>
                  </a:cubicBezTo>
                  <a:lnTo>
                    <a:pt x="4285" y="8255"/>
                  </a:lnTo>
                  <a:lnTo>
                    <a:pt x="4159" y="8381"/>
                  </a:lnTo>
                  <a:cubicBezTo>
                    <a:pt x="4080" y="8460"/>
                    <a:pt x="3978" y="8499"/>
                    <a:pt x="3876" y="8499"/>
                  </a:cubicBezTo>
                  <a:cubicBezTo>
                    <a:pt x="3773" y="8499"/>
                    <a:pt x="3671" y="8460"/>
                    <a:pt x="3592" y="8381"/>
                  </a:cubicBezTo>
                  <a:cubicBezTo>
                    <a:pt x="3435" y="8224"/>
                    <a:pt x="3435" y="7940"/>
                    <a:pt x="3592" y="7782"/>
                  </a:cubicBezTo>
                  <a:lnTo>
                    <a:pt x="3687" y="7656"/>
                  </a:lnTo>
                  <a:lnTo>
                    <a:pt x="2742" y="6711"/>
                  </a:lnTo>
                  <a:cubicBezTo>
                    <a:pt x="2584" y="6554"/>
                    <a:pt x="2584" y="6270"/>
                    <a:pt x="2742" y="6113"/>
                  </a:cubicBezTo>
                  <a:cubicBezTo>
                    <a:pt x="2820" y="6034"/>
                    <a:pt x="2931" y="5995"/>
                    <a:pt x="3041" y="5995"/>
                  </a:cubicBezTo>
                  <a:cubicBezTo>
                    <a:pt x="3151" y="5995"/>
                    <a:pt x="3261" y="6034"/>
                    <a:pt x="3340" y="6113"/>
                  </a:cubicBezTo>
                  <a:lnTo>
                    <a:pt x="4285" y="7058"/>
                  </a:lnTo>
                  <a:lnTo>
                    <a:pt x="5356" y="6018"/>
                  </a:lnTo>
                  <a:lnTo>
                    <a:pt x="4411" y="5073"/>
                  </a:lnTo>
                  <a:cubicBezTo>
                    <a:pt x="4254" y="4916"/>
                    <a:pt x="4254" y="4632"/>
                    <a:pt x="4411" y="4474"/>
                  </a:cubicBezTo>
                  <a:cubicBezTo>
                    <a:pt x="4490" y="4396"/>
                    <a:pt x="4600" y="4356"/>
                    <a:pt x="4711" y="4356"/>
                  </a:cubicBezTo>
                  <a:cubicBezTo>
                    <a:pt x="4821" y="4356"/>
                    <a:pt x="4931" y="4396"/>
                    <a:pt x="5010" y="4474"/>
                  </a:cubicBezTo>
                  <a:lnTo>
                    <a:pt x="5955" y="5420"/>
                  </a:lnTo>
                  <a:lnTo>
                    <a:pt x="6995" y="4348"/>
                  </a:lnTo>
                  <a:lnTo>
                    <a:pt x="6050" y="3403"/>
                  </a:lnTo>
                  <a:cubicBezTo>
                    <a:pt x="5892" y="3246"/>
                    <a:pt x="5892" y="2962"/>
                    <a:pt x="6050" y="2805"/>
                  </a:cubicBezTo>
                  <a:cubicBezTo>
                    <a:pt x="6128" y="2726"/>
                    <a:pt x="6239" y="2687"/>
                    <a:pt x="6349" y="2687"/>
                  </a:cubicBezTo>
                  <a:close/>
                  <a:moveTo>
                    <a:pt x="5987" y="1"/>
                  </a:moveTo>
                  <a:cubicBezTo>
                    <a:pt x="2805" y="757"/>
                    <a:pt x="788" y="3025"/>
                    <a:pt x="1" y="6081"/>
                  </a:cubicBezTo>
                  <a:lnTo>
                    <a:pt x="5955" y="12036"/>
                  </a:lnTo>
                  <a:cubicBezTo>
                    <a:pt x="9106" y="11248"/>
                    <a:pt x="11153" y="9043"/>
                    <a:pt x="11941" y="5955"/>
                  </a:cubicBezTo>
                  <a:lnTo>
                    <a:pt x="59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5" name="Google Shape;6405;p71"/>
          <p:cNvSpPr/>
          <p:nvPr/>
        </p:nvSpPr>
        <p:spPr>
          <a:xfrm>
            <a:off x="2198491" y="3633642"/>
            <a:ext cx="369974" cy="312927"/>
          </a:xfrm>
          <a:custGeom>
            <a:avLst/>
            <a:gdLst/>
            <a:ahLst/>
            <a:cxnLst/>
            <a:rect l="l" t="t" r="r" b="b"/>
            <a:pathLst>
              <a:path w="12666" h="10713" extrusionOk="0">
                <a:moveTo>
                  <a:pt x="1765" y="3309"/>
                </a:moveTo>
                <a:lnTo>
                  <a:pt x="1765" y="7058"/>
                </a:lnTo>
                <a:cubicBezTo>
                  <a:pt x="1765" y="7278"/>
                  <a:pt x="1954" y="7436"/>
                  <a:pt x="2206" y="7436"/>
                </a:cubicBezTo>
                <a:lnTo>
                  <a:pt x="2615" y="7436"/>
                </a:lnTo>
                <a:lnTo>
                  <a:pt x="2615" y="9925"/>
                </a:lnTo>
                <a:lnTo>
                  <a:pt x="788" y="9925"/>
                </a:lnTo>
                <a:lnTo>
                  <a:pt x="788" y="3309"/>
                </a:lnTo>
                <a:close/>
                <a:moveTo>
                  <a:pt x="5073" y="3309"/>
                </a:moveTo>
                <a:lnTo>
                  <a:pt x="5073" y="7058"/>
                </a:lnTo>
                <a:cubicBezTo>
                  <a:pt x="5073" y="7278"/>
                  <a:pt x="5262" y="7436"/>
                  <a:pt x="5514" y="7436"/>
                </a:cubicBezTo>
                <a:lnTo>
                  <a:pt x="5892" y="7436"/>
                </a:lnTo>
                <a:lnTo>
                  <a:pt x="5892" y="9925"/>
                </a:lnTo>
                <a:lnTo>
                  <a:pt x="3403" y="9925"/>
                </a:lnTo>
                <a:lnTo>
                  <a:pt x="3403" y="7436"/>
                </a:lnTo>
                <a:lnTo>
                  <a:pt x="3813" y="7436"/>
                </a:lnTo>
                <a:cubicBezTo>
                  <a:pt x="4033" y="7436"/>
                  <a:pt x="4254" y="7247"/>
                  <a:pt x="4254" y="7058"/>
                </a:cubicBezTo>
                <a:lnTo>
                  <a:pt x="4254" y="3309"/>
                </a:lnTo>
                <a:close/>
                <a:moveTo>
                  <a:pt x="8412" y="3309"/>
                </a:moveTo>
                <a:lnTo>
                  <a:pt x="8412" y="7058"/>
                </a:lnTo>
                <a:cubicBezTo>
                  <a:pt x="8412" y="7278"/>
                  <a:pt x="8601" y="7436"/>
                  <a:pt x="8853" y="7436"/>
                </a:cubicBezTo>
                <a:lnTo>
                  <a:pt x="9294" y="7436"/>
                </a:lnTo>
                <a:lnTo>
                  <a:pt x="9294" y="9925"/>
                </a:lnTo>
                <a:lnTo>
                  <a:pt x="6711" y="9925"/>
                </a:lnTo>
                <a:lnTo>
                  <a:pt x="6711" y="7436"/>
                </a:lnTo>
                <a:lnTo>
                  <a:pt x="7152" y="7436"/>
                </a:lnTo>
                <a:cubicBezTo>
                  <a:pt x="7404" y="7436"/>
                  <a:pt x="7593" y="7247"/>
                  <a:pt x="7593" y="7058"/>
                </a:cubicBezTo>
                <a:lnTo>
                  <a:pt x="7593" y="3309"/>
                </a:lnTo>
                <a:close/>
                <a:moveTo>
                  <a:pt x="11815" y="3309"/>
                </a:moveTo>
                <a:lnTo>
                  <a:pt x="11815" y="9925"/>
                </a:lnTo>
                <a:lnTo>
                  <a:pt x="9988" y="9925"/>
                </a:lnTo>
                <a:lnTo>
                  <a:pt x="9988" y="7436"/>
                </a:lnTo>
                <a:lnTo>
                  <a:pt x="10429" y="7436"/>
                </a:lnTo>
                <a:cubicBezTo>
                  <a:pt x="10649" y="7436"/>
                  <a:pt x="10870" y="7247"/>
                  <a:pt x="10870" y="7058"/>
                </a:cubicBezTo>
                <a:lnTo>
                  <a:pt x="10870" y="3309"/>
                </a:lnTo>
                <a:close/>
                <a:moveTo>
                  <a:pt x="379" y="1"/>
                </a:moveTo>
                <a:cubicBezTo>
                  <a:pt x="158" y="1"/>
                  <a:pt x="1" y="190"/>
                  <a:pt x="1" y="379"/>
                </a:cubicBezTo>
                <a:lnTo>
                  <a:pt x="1" y="10334"/>
                </a:lnTo>
                <a:cubicBezTo>
                  <a:pt x="1" y="10555"/>
                  <a:pt x="190" y="10712"/>
                  <a:pt x="379" y="10712"/>
                </a:cubicBezTo>
                <a:lnTo>
                  <a:pt x="12224" y="10712"/>
                </a:lnTo>
                <a:cubicBezTo>
                  <a:pt x="12476" y="10712"/>
                  <a:pt x="12665" y="10523"/>
                  <a:pt x="12665" y="10334"/>
                </a:cubicBezTo>
                <a:lnTo>
                  <a:pt x="12665" y="379"/>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06" name="Google Shape;6406;p71"/>
          <p:cNvGrpSpPr/>
          <p:nvPr/>
        </p:nvGrpSpPr>
        <p:grpSpPr>
          <a:xfrm>
            <a:off x="3997427" y="3108944"/>
            <a:ext cx="290815" cy="369740"/>
            <a:chOff x="-37370925" y="3579105"/>
            <a:chExt cx="248900" cy="316450"/>
          </a:xfrm>
        </p:grpSpPr>
        <p:sp>
          <p:nvSpPr>
            <p:cNvPr id="6407" name="Google Shape;6407;p71"/>
            <p:cNvSpPr/>
            <p:nvPr/>
          </p:nvSpPr>
          <p:spPr>
            <a:xfrm>
              <a:off x="-37268550" y="3671055"/>
              <a:ext cx="83525" cy="82525"/>
            </a:xfrm>
            <a:custGeom>
              <a:avLst/>
              <a:gdLst/>
              <a:ahLst/>
              <a:cxnLst/>
              <a:rect l="l" t="t" r="r" b="b"/>
              <a:pathLst>
                <a:path w="3341" h="3301" extrusionOk="0">
                  <a:moveTo>
                    <a:pt x="2238" y="1"/>
                  </a:moveTo>
                  <a:lnTo>
                    <a:pt x="1" y="2237"/>
                  </a:lnTo>
                  <a:lnTo>
                    <a:pt x="946" y="3183"/>
                  </a:lnTo>
                  <a:cubicBezTo>
                    <a:pt x="1040" y="3261"/>
                    <a:pt x="1151" y="3301"/>
                    <a:pt x="1257" y="3301"/>
                  </a:cubicBezTo>
                  <a:cubicBezTo>
                    <a:pt x="1363" y="3301"/>
                    <a:pt x="1466" y="3261"/>
                    <a:pt x="1545" y="3183"/>
                  </a:cubicBezTo>
                  <a:lnTo>
                    <a:pt x="3183" y="1544"/>
                  </a:lnTo>
                  <a:cubicBezTo>
                    <a:pt x="3340" y="1387"/>
                    <a:pt x="3340" y="1103"/>
                    <a:pt x="3183" y="94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1"/>
            <p:cNvSpPr/>
            <p:nvPr/>
          </p:nvSpPr>
          <p:spPr>
            <a:xfrm>
              <a:off x="-37370925" y="3579105"/>
              <a:ext cx="248900" cy="316450"/>
            </a:xfrm>
            <a:custGeom>
              <a:avLst/>
              <a:gdLst/>
              <a:ahLst/>
              <a:cxnLst/>
              <a:rect l="l" t="t" r="r" b="b"/>
              <a:pathLst>
                <a:path w="9956" h="12658" extrusionOk="0">
                  <a:moveTo>
                    <a:pt x="4537" y="8625"/>
                  </a:moveTo>
                  <a:cubicBezTo>
                    <a:pt x="4757" y="8625"/>
                    <a:pt x="4946" y="8845"/>
                    <a:pt x="4946" y="9066"/>
                  </a:cubicBezTo>
                  <a:cubicBezTo>
                    <a:pt x="4915" y="9255"/>
                    <a:pt x="4757" y="9475"/>
                    <a:pt x="4537" y="9475"/>
                  </a:cubicBezTo>
                  <a:cubicBezTo>
                    <a:pt x="4285" y="9475"/>
                    <a:pt x="4096" y="9255"/>
                    <a:pt x="4096" y="9066"/>
                  </a:cubicBezTo>
                  <a:cubicBezTo>
                    <a:pt x="4096" y="8845"/>
                    <a:pt x="4285" y="8625"/>
                    <a:pt x="4537" y="8625"/>
                  </a:cubicBezTo>
                  <a:close/>
                  <a:moveTo>
                    <a:pt x="2615" y="0"/>
                  </a:moveTo>
                  <a:cubicBezTo>
                    <a:pt x="2513" y="0"/>
                    <a:pt x="2410" y="40"/>
                    <a:pt x="2332" y="119"/>
                  </a:cubicBezTo>
                  <a:lnTo>
                    <a:pt x="662" y="1788"/>
                  </a:lnTo>
                  <a:cubicBezTo>
                    <a:pt x="504" y="1946"/>
                    <a:pt x="504" y="2229"/>
                    <a:pt x="662" y="2355"/>
                  </a:cubicBezTo>
                  <a:lnTo>
                    <a:pt x="1764" y="3458"/>
                  </a:lnTo>
                  <a:cubicBezTo>
                    <a:pt x="1166" y="4183"/>
                    <a:pt x="819" y="5096"/>
                    <a:pt x="819" y="6073"/>
                  </a:cubicBezTo>
                  <a:cubicBezTo>
                    <a:pt x="819" y="7774"/>
                    <a:pt x="1859" y="9223"/>
                    <a:pt x="3308" y="9853"/>
                  </a:cubicBezTo>
                  <a:lnTo>
                    <a:pt x="3308" y="10200"/>
                  </a:lnTo>
                  <a:lnTo>
                    <a:pt x="1229" y="10200"/>
                  </a:lnTo>
                  <a:cubicBezTo>
                    <a:pt x="536" y="10200"/>
                    <a:pt x="0" y="10767"/>
                    <a:pt x="0" y="11429"/>
                  </a:cubicBezTo>
                  <a:lnTo>
                    <a:pt x="0" y="12248"/>
                  </a:lnTo>
                  <a:cubicBezTo>
                    <a:pt x="0" y="12500"/>
                    <a:pt x="189" y="12657"/>
                    <a:pt x="441" y="12657"/>
                  </a:cubicBezTo>
                  <a:lnTo>
                    <a:pt x="8696" y="12657"/>
                  </a:lnTo>
                  <a:cubicBezTo>
                    <a:pt x="8948" y="12657"/>
                    <a:pt x="9137" y="12468"/>
                    <a:pt x="9137" y="12248"/>
                  </a:cubicBezTo>
                  <a:lnTo>
                    <a:pt x="9137" y="11429"/>
                  </a:lnTo>
                  <a:cubicBezTo>
                    <a:pt x="9137" y="10767"/>
                    <a:pt x="8570" y="10200"/>
                    <a:pt x="7876" y="10200"/>
                  </a:cubicBezTo>
                  <a:lnTo>
                    <a:pt x="5797" y="10200"/>
                  </a:lnTo>
                  <a:lnTo>
                    <a:pt x="5797" y="10137"/>
                  </a:lnTo>
                  <a:cubicBezTo>
                    <a:pt x="7120" y="9853"/>
                    <a:pt x="8223" y="8940"/>
                    <a:pt x="8790" y="7743"/>
                  </a:cubicBezTo>
                  <a:lnTo>
                    <a:pt x="9515" y="7743"/>
                  </a:lnTo>
                  <a:cubicBezTo>
                    <a:pt x="9767" y="7743"/>
                    <a:pt x="9956" y="7522"/>
                    <a:pt x="9956" y="7333"/>
                  </a:cubicBezTo>
                  <a:cubicBezTo>
                    <a:pt x="9893" y="7176"/>
                    <a:pt x="9735" y="6987"/>
                    <a:pt x="9483" y="6987"/>
                  </a:cubicBezTo>
                  <a:lnTo>
                    <a:pt x="6994" y="6987"/>
                  </a:lnTo>
                  <a:cubicBezTo>
                    <a:pt x="6774" y="6987"/>
                    <a:pt x="6585" y="7176"/>
                    <a:pt x="6585" y="7365"/>
                  </a:cubicBezTo>
                  <a:cubicBezTo>
                    <a:pt x="6585" y="7617"/>
                    <a:pt x="6774" y="7774"/>
                    <a:pt x="6994" y="7774"/>
                  </a:cubicBezTo>
                  <a:lnTo>
                    <a:pt x="7845" y="7774"/>
                  </a:lnTo>
                  <a:cubicBezTo>
                    <a:pt x="7404" y="8530"/>
                    <a:pt x="6648" y="9097"/>
                    <a:pt x="5734" y="9318"/>
                  </a:cubicBezTo>
                  <a:lnTo>
                    <a:pt x="5734" y="8971"/>
                  </a:lnTo>
                  <a:cubicBezTo>
                    <a:pt x="5734" y="8310"/>
                    <a:pt x="5198" y="7774"/>
                    <a:pt x="4537" y="7743"/>
                  </a:cubicBezTo>
                  <a:cubicBezTo>
                    <a:pt x="3844" y="7743"/>
                    <a:pt x="3308" y="8278"/>
                    <a:pt x="3308" y="8940"/>
                  </a:cubicBezTo>
                  <a:cubicBezTo>
                    <a:pt x="2332" y="8373"/>
                    <a:pt x="1638" y="7302"/>
                    <a:pt x="1638" y="6073"/>
                  </a:cubicBezTo>
                  <a:cubicBezTo>
                    <a:pt x="1638" y="5285"/>
                    <a:pt x="1922" y="4624"/>
                    <a:pt x="2363" y="4057"/>
                  </a:cubicBezTo>
                  <a:lnTo>
                    <a:pt x="3529" y="5254"/>
                  </a:lnTo>
                  <a:lnTo>
                    <a:pt x="5797" y="3017"/>
                  </a:lnTo>
                  <a:lnTo>
                    <a:pt x="2899" y="119"/>
                  </a:lnTo>
                  <a:cubicBezTo>
                    <a:pt x="2820" y="40"/>
                    <a:pt x="2717"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9" name="Google Shape;6409;p71"/>
          <p:cNvSpPr/>
          <p:nvPr/>
        </p:nvSpPr>
        <p:spPr>
          <a:xfrm>
            <a:off x="1697481" y="1308742"/>
            <a:ext cx="364453" cy="369419"/>
          </a:xfrm>
          <a:custGeom>
            <a:avLst/>
            <a:gdLst/>
            <a:ahLst/>
            <a:cxnLst/>
            <a:rect l="l" t="t" r="r" b="b"/>
            <a:pathLst>
              <a:path w="12477" h="12647" extrusionOk="0">
                <a:moveTo>
                  <a:pt x="3750" y="4538"/>
                </a:moveTo>
                <a:cubicBezTo>
                  <a:pt x="4223" y="4538"/>
                  <a:pt x="4601" y="4884"/>
                  <a:pt x="4601" y="5357"/>
                </a:cubicBezTo>
                <a:cubicBezTo>
                  <a:pt x="4601" y="5829"/>
                  <a:pt x="4223" y="6176"/>
                  <a:pt x="3750" y="6176"/>
                </a:cubicBezTo>
                <a:cubicBezTo>
                  <a:pt x="3277" y="6176"/>
                  <a:pt x="2931" y="5829"/>
                  <a:pt x="2931" y="5357"/>
                </a:cubicBezTo>
                <a:cubicBezTo>
                  <a:pt x="2931" y="4884"/>
                  <a:pt x="3277" y="4538"/>
                  <a:pt x="3750" y="4538"/>
                </a:cubicBezTo>
                <a:close/>
                <a:moveTo>
                  <a:pt x="6239" y="4538"/>
                </a:moveTo>
                <a:cubicBezTo>
                  <a:pt x="6711" y="4538"/>
                  <a:pt x="7058" y="4884"/>
                  <a:pt x="7058" y="5357"/>
                </a:cubicBezTo>
                <a:cubicBezTo>
                  <a:pt x="7058" y="5829"/>
                  <a:pt x="6711" y="6176"/>
                  <a:pt x="6239" y="6176"/>
                </a:cubicBezTo>
                <a:cubicBezTo>
                  <a:pt x="5766" y="6176"/>
                  <a:pt x="5420" y="5829"/>
                  <a:pt x="5420" y="5357"/>
                </a:cubicBezTo>
                <a:cubicBezTo>
                  <a:pt x="5420" y="4884"/>
                  <a:pt x="5766" y="4538"/>
                  <a:pt x="6239" y="4538"/>
                </a:cubicBezTo>
                <a:close/>
                <a:moveTo>
                  <a:pt x="8728" y="4538"/>
                </a:moveTo>
                <a:cubicBezTo>
                  <a:pt x="9200" y="4538"/>
                  <a:pt x="9547" y="4884"/>
                  <a:pt x="9547" y="5357"/>
                </a:cubicBezTo>
                <a:cubicBezTo>
                  <a:pt x="9547" y="5829"/>
                  <a:pt x="9200" y="6176"/>
                  <a:pt x="8728" y="6176"/>
                </a:cubicBezTo>
                <a:cubicBezTo>
                  <a:pt x="8255" y="6176"/>
                  <a:pt x="7877" y="5829"/>
                  <a:pt x="7877" y="5357"/>
                </a:cubicBezTo>
                <a:cubicBezTo>
                  <a:pt x="7877" y="4884"/>
                  <a:pt x="8255" y="4538"/>
                  <a:pt x="8728" y="4538"/>
                </a:cubicBezTo>
                <a:close/>
                <a:moveTo>
                  <a:pt x="6239" y="1"/>
                </a:moveTo>
                <a:cubicBezTo>
                  <a:pt x="2805" y="1"/>
                  <a:pt x="1" y="2395"/>
                  <a:pt x="1" y="5357"/>
                </a:cubicBezTo>
                <a:cubicBezTo>
                  <a:pt x="1" y="7436"/>
                  <a:pt x="1387" y="9200"/>
                  <a:pt x="3309" y="10082"/>
                </a:cubicBezTo>
                <a:lnTo>
                  <a:pt x="3309" y="12256"/>
                </a:lnTo>
                <a:cubicBezTo>
                  <a:pt x="3309" y="12486"/>
                  <a:pt x="3502" y="12646"/>
                  <a:pt x="3715" y="12646"/>
                </a:cubicBezTo>
                <a:cubicBezTo>
                  <a:pt x="3824" y="12646"/>
                  <a:pt x="3938" y="12604"/>
                  <a:pt x="4034" y="12508"/>
                </a:cubicBezTo>
                <a:lnTo>
                  <a:pt x="5609" y="10681"/>
                </a:lnTo>
                <a:cubicBezTo>
                  <a:pt x="5798" y="10681"/>
                  <a:pt x="5987" y="10713"/>
                  <a:pt x="6239" y="10713"/>
                </a:cubicBezTo>
                <a:cubicBezTo>
                  <a:pt x="9641" y="10713"/>
                  <a:pt x="12477" y="8350"/>
                  <a:pt x="12477" y="5357"/>
                </a:cubicBezTo>
                <a:cubicBezTo>
                  <a:pt x="12477" y="2395"/>
                  <a:pt x="9704" y="1"/>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1"/>
          <p:cNvSpPr/>
          <p:nvPr/>
        </p:nvSpPr>
        <p:spPr>
          <a:xfrm>
            <a:off x="1722323" y="1744044"/>
            <a:ext cx="314767" cy="371814"/>
          </a:xfrm>
          <a:custGeom>
            <a:avLst/>
            <a:gdLst/>
            <a:ahLst/>
            <a:cxnLst/>
            <a:rect l="l" t="t" r="r" b="b"/>
            <a:pathLst>
              <a:path w="10776" h="12729" extrusionOk="0">
                <a:moveTo>
                  <a:pt x="1670" y="851"/>
                </a:moveTo>
                <a:lnTo>
                  <a:pt x="1670" y="9326"/>
                </a:lnTo>
                <a:cubicBezTo>
                  <a:pt x="1355" y="9326"/>
                  <a:pt x="1072" y="9421"/>
                  <a:pt x="851" y="9578"/>
                </a:cubicBezTo>
                <a:lnTo>
                  <a:pt x="851" y="2049"/>
                </a:lnTo>
                <a:cubicBezTo>
                  <a:pt x="851" y="1481"/>
                  <a:pt x="1198" y="1072"/>
                  <a:pt x="1670" y="851"/>
                </a:cubicBezTo>
                <a:close/>
                <a:moveTo>
                  <a:pt x="9925" y="10177"/>
                </a:moveTo>
                <a:lnTo>
                  <a:pt x="9925" y="10208"/>
                </a:lnTo>
                <a:lnTo>
                  <a:pt x="9925" y="11846"/>
                </a:lnTo>
                <a:lnTo>
                  <a:pt x="1670" y="11846"/>
                </a:lnTo>
                <a:cubicBezTo>
                  <a:pt x="1229" y="11846"/>
                  <a:pt x="851" y="11468"/>
                  <a:pt x="851" y="11027"/>
                </a:cubicBezTo>
                <a:cubicBezTo>
                  <a:pt x="851" y="10586"/>
                  <a:pt x="1229" y="10177"/>
                  <a:pt x="1670" y="10177"/>
                </a:cubicBezTo>
                <a:close/>
                <a:moveTo>
                  <a:pt x="2111" y="1"/>
                </a:moveTo>
                <a:cubicBezTo>
                  <a:pt x="914" y="1"/>
                  <a:pt x="1" y="946"/>
                  <a:pt x="1" y="2080"/>
                </a:cubicBezTo>
                <a:lnTo>
                  <a:pt x="1" y="11059"/>
                </a:lnTo>
                <a:cubicBezTo>
                  <a:pt x="1" y="11973"/>
                  <a:pt x="757" y="12729"/>
                  <a:pt x="1670" y="12729"/>
                </a:cubicBezTo>
                <a:lnTo>
                  <a:pt x="10334" y="12729"/>
                </a:lnTo>
                <a:cubicBezTo>
                  <a:pt x="10586" y="12729"/>
                  <a:pt x="10775" y="12508"/>
                  <a:pt x="10775" y="12319"/>
                </a:cubicBezTo>
                <a:lnTo>
                  <a:pt x="10775" y="473"/>
                </a:lnTo>
                <a:cubicBezTo>
                  <a:pt x="10775" y="221"/>
                  <a:pt x="10586" y="64"/>
                  <a:pt x="10334" y="64"/>
                </a:cubicBezTo>
                <a:lnTo>
                  <a:pt x="9105" y="64"/>
                </a:lnTo>
                <a:lnTo>
                  <a:pt x="9105" y="3781"/>
                </a:lnTo>
                <a:cubicBezTo>
                  <a:pt x="9105" y="4011"/>
                  <a:pt x="8912" y="4171"/>
                  <a:pt x="8708" y="4171"/>
                </a:cubicBezTo>
                <a:cubicBezTo>
                  <a:pt x="8604" y="4171"/>
                  <a:pt x="8498" y="4129"/>
                  <a:pt x="8412" y="4033"/>
                </a:cubicBezTo>
                <a:lnTo>
                  <a:pt x="7845" y="3498"/>
                </a:lnTo>
                <a:lnTo>
                  <a:pt x="7310" y="4033"/>
                </a:lnTo>
                <a:cubicBezTo>
                  <a:pt x="7214" y="4129"/>
                  <a:pt x="7100" y="4171"/>
                  <a:pt x="6991" y="4171"/>
                </a:cubicBezTo>
                <a:cubicBezTo>
                  <a:pt x="6778" y="4171"/>
                  <a:pt x="6585" y="4011"/>
                  <a:pt x="6585" y="3781"/>
                </a:cubicBezTo>
                <a:lnTo>
                  <a:pt x="6585" y="64"/>
                </a:lnTo>
                <a:lnTo>
                  <a:pt x="2111" y="64"/>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11" name="Google Shape;6411;p71"/>
          <p:cNvGrpSpPr/>
          <p:nvPr/>
        </p:nvGrpSpPr>
        <p:grpSpPr>
          <a:xfrm>
            <a:off x="1690803" y="2187015"/>
            <a:ext cx="371814" cy="369974"/>
            <a:chOff x="-42259725" y="3951100"/>
            <a:chExt cx="318225" cy="316650"/>
          </a:xfrm>
        </p:grpSpPr>
        <p:sp>
          <p:nvSpPr>
            <p:cNvPr id="6412" name="Google Shape;6412;p71"/>
            <p:cNvSpPr/>
            <p:nvPr/>
          </p:nvSpPr>
          <p:spPr>
            <a:xfrm>
              <a:off x="-42258150" y="3951100"/>
              <a:ext cx="316650" cy="123675"/>
            </a:xfrm>
            <a:custGeom>
              <a:avLst/>
              <a:gdLst/>
              <a:ahLst/>
              <a:cxnLst/>
              <a:rect l="l" t="t" r="r" b="b"/>
              <a:pathLst>
                <a:path w="12666" h="4947" extrusionOk="0">
                  <a:moveTo>
                    <a:pt x="2868" y="820"/>
                  </a:moveTo>
                  <a:cubicBezTo>
                    <a:pt x="3120" y="820"/>
                    <a:pt x="3277" y="1009"/>
                    <a:pt x="3277" y="1261"/>
                  </a:cubicBezTo>
                  <a:lnTo>
                    <a:pt x="3277" y="2899"/>
                  </a:lnTo>
                  <a:cubicBezTo>
                    <a:pt x="3277" y="3151"/>
                    <a:pt x="3057" y="3308"/>
                    <a:pt x="2868" y="3308"/>
                  </a:cubicBezTo>
                  <a:cubicBezTo>
                    <a:pt x="2647" y="3308"/>
                    <a:pt x="2490" y="3119"/>
                    <a:pt x="2427" y="2899"/>
                  </a:cubicBezTo>
                  <a:lnTo>
                    <a:pt x="2427" y="1261"/>
                  </a:lnTo>
                  <a:cubicBezTo>
                    <a:pt x="2427" y="1009"/>
                    <a:pt x="2647" y="851"/>
                    <a:pt x="2868" y="820"/>
                  </a:cubicBezTo>
                  <a:close/>
                  <a:moveTo>
                    <a:pt x="9767" y="820"/>
                  </a:moveTo>
                  <a:cubicBezTo>
                    <a:pt x="9988" y="820"/>
                    <a:pt x="10145" y="1009"/>
                    <a:pt x="10145" y="1261"/>
                  </a:cubicBezTo>
                  <a:lnTo>
                    <a:pt x="10145" y="2899"/>
                  </a:lnTo>
                  <a:cubicBezTo>
                    <a:pt x="10145" y="3151"/>
                    <a:pt x="9956" y="3308"/>
                    <a:pt x="9767" y="3308"/>
                  </a:cubicBezTo>
                  <a:cubicBezTo>
                    <a:pt x="9515" y="3308"/>
                    <a:pt x="9358" y="3119"/>
                    <a:pt x="9326" y="2899"/>
                  </a:cubicBezTo>
                  <a:lnTo>
                    <a:pt x="9326" y="1261"/>
                  </a:lnTo>
                  <a:cubicBezTo>
                    <a:pt x="9326" y="1009"/>
                    <a:pt x="9515" y="851"/>
                    <a:pt x="9767" y="820"/>
                  </a:cubicBezTo>
                  <a:close/>
                  <a:moveTo>
                    <a:pt x="2868" y="0"/>
                  </a:moveTo>
                  <a:cubicBezTo>
                    <a:pt x="2206" y="0"/>
                    <a:pt x="1639" y="536"/>
                    <a:pt x="1608" y="1229"/>
                  </a:cubicBezTo>
                  <a:lnTo>
                    <a:pt x="1608" y="1639"/>
                  </a:lnTo>
                  <a:lnTo>
                    <a:pt x="1230" y="1639"/>
                  </a:lnTo>
                  <a:cubicBezTo>
                    <a:pt x="536" y="1639"/>
                    <a:pt x="1" y="2206"/>
                    <a:pt x="1" y="2867"/>
                  </a:cubicBezTo>
                  <a:lnTo>
                    <a:pt x="1" y="4947"/>
                  </a:lnTo>
                  <a:lnTo>
                    <a:pt x="12666" y="4947"/>
                  </a:lnTo>
                  <a:lnTo>
                    <a:pt x="12666" y="2867"/>
                  </a:lnTo>
                  <a:cubicBezTo>
                    <a:pt x="12634" y="2206"/>
                    <a:pt x="12036" y="1639"/>
                    <a:pt x="11374" y="1639"/>
                  </a:cubicBezTo>
                  <a:lnTo>
                    <a:pt x="10996" y="1639"/>
                  </a:lnTo>
                  <a:lnTo>
                    <a:pt x="10996" y="1229"/>
                  </a:lnTo>
                  <a:cubicBezTo>
                    <a:pt x="10996" y="536"/>
                    <a:pt x="10429" y="0"/>
                    <a:pt x="9767" y="0"/>
                  </a:cubicBezTo>
                  <a:cubicBezTo>
                    <a:pt x="9106" y="0"/>
                    <a:pt x="8539" y="536"/>
                    <a:pt x="8507" y="1229"/>
                  </a:cubicBezTo>
                  <a:lnTo>
                    <a:pt x="8507" y="1639"/>
                  </a:lnTo>
                  <a:lnTo>
                    <a:pt x="4097" y="1639"/>
                  </a:lnTo>
                  <a:lnTo>
                    <a:pt x="4097" y="1229"/>
                  </a:lnTo>
                  <a:cubicBezTo>
                    <a:pt x="4097" y="536"/>
                    <a:pt x="3561" y="0"/>
                    <a:pt x="2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1"/>
            <p:cNvSpPr/>
            <p:nvPr/>
          </p:nvSpPr>
          <p:spPr>
            <a:xfrm>
              <a:off x="-42259725" y="4096800"/>
              <a:ext cx="316650" cy="170950"/>
            </a:xfrm>
            <a:custGeom>
              <a:avLst/>
              <a:gdLst/>
              <a:ahLst/>
              <a:cxnLst/>
              <a:rect l="l" t="t" r="r" b="b"/>
              <a:pathLst>
                <a:path w="12666" h="6838" extrusionOk="0">
                  <a:moveTo>
                    <a:pt x="1" y="1"/>
                  </a:moveTo>
                  <a:lnTo>
                    <a:pt x="1" y="5640"/>
                  </a:lnTo>
                  <a:lnTo>
                    <a:pt x="32" y="5640"/>
                  </a:lnTo>
                  <a:cubicBezTo>
                    <a:pt x="32" y="6302"/>
                    <a:pt x="568" y="6837"/>
                    <a:pt x="1261" y="6837"/>
                  </a:cubicBezTo>
                  <a:lnTo>
                    <a:pt x="11437" y="6837"/>
                  </a:lnTo>
                  <a:cubicBezTo>
                    <a:pt x="12099" y="6837"/>
                    <a:pt x="12666" y="6302"/>
                    <a:pt x="12666" y="5640"/>
                  </a:cubicBezTo>
                  <a:lnTo>
                    <a:pt x="126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4" name="Google Shape;6414;p71"/>
          <p:cNvGrpSpPr/>
          <p:nvPr/>
        </p:nvGrpSpPr>
        <p:grpSpPr>
          <a:xfrm>
            <a:off x="3889164" y="1366036"/>
            <a:ext cx="370879" cy="337755"/>
            <a:chOff x="-40378075" y="3267450"/>
            <a:chExt cx="317425" cy="289075"/>
          </a:xfrm>
        </p:grpSpPr>
        <p:sp>
          <p:nvSpPr>
            <p:cNvPr id="6415" name="Google Shape;6415;p71"/>
            <p:cNvSpPr/>
            <p:nvPr/>
          </p:nvSpPr>
          <p:spPr>
            <a:xfrm>
              <a:off x="-40218975" y="3308400"/>
              <a:ext cx="158325" cy="248125"/>
            </a:xfrm>
            <a:custGeom>
              <a:avLst/>
              <a:gdLst/>
              <a:ahLst/>
              <a:cxnLst/>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1"/>
            <p:cNvSpPr/>
            <p:nvPr/>
          </p:nvSpPr>
          <p:spPr>
            <a:xfrm>
              <a:off x="-40316650" y="3267450"/>
              <a:ext cx="86675" cy="257575"/>
            </a:xfrm>
            <a:custGeom>
              <a:avLst/>
              <a:gdLst/>
              <a:ahLst/>
              <a:cxnLst/>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1"/>
            <p:cNvSpPr/>
            <p:nvPr/>
          </p:nvSpPr>
          <p:spPr>
            <a:xfrm>
              <a:off x="-40209525" y="3267450"/>
              <a:ext cx="86650" cy="257575"/>
            </a:xfrm>
            <a:custGeom>
              <a:avLst/>
              <a:gdLst/>
              <a:ahLst/>
              <a:cxnLst/>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1"/>
            <p:cNvSpPr/>
            <p:nvPr/>
          </p:nvSpPr>
          <p:spPr>
            <a:xfrm>
              <a:off x="-40378075" y="3308400"/>
              <a:ext cx="157550" cy="248125"/>
            </a:xfrm>
            <a:custGeom>
              <a:avLst/>
              <a:gdLst/>
              <a:ahLst/>
              <a:cxnLst/>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9" name="Google Shape;6419;p71"/>
          <p:cNvGrpSpPr/>
          <p:nvPr/>
        </p:nvGrpSpPr>
        <p:grpSpPr>
          <a:xfrm>
            <a:off x="3892830" y="1767304"/>
            <a:ext cx="363548" cy="369974"/>
            <a:chOff x="-40372575" y="3604550"/>
            <a:chExt cx="311150" cy="316650"/>
          </a:xfrm>
        </p:grpSpPr>
        <p:sp>
          <p:nvSpPr>
            <p:cNvPr id="6420" name="Google Shape;6420;p71"/>
            <p:cNvSpPr/>
            <p:nvPr/>
          </p:nvSpPr>
          <p:spPr>
            <a:xfrm>
              <a:off x="-40372575" y="3604550"/>
              <a:ext cx="311150" cy="134475"/>
            </a:xfrm>
            <a:custGeom>
              <a:avLst/>
              <a:gdLst/>
              <a:ahLst/>
              <a:cxnLst/>
              <a:rect l="l" t="t" r="r" b="b"/>
              <a:pathLst>
                <a:path w="12446" h="5379" extrusionOk="0">
                  <a:moveTo>
                    <a:pt x="3088" y="0"/>
                  </a:moveTo>
                  <a:cubicBezTo>
                    <a:pt x="1639" y="0"/>
                    <a:pt x="316" y="1008"/>
                    <a:pt x="95" y="2489"/>
                  </a:cubicBezTo>
                  <a:cubicBezTo>
                    <a:pt x="1" y="3214"/>
                    <a:pt x="190" y="3938"/>
                    <a:pt x="568" y="4506"/>
                  </a:cubicBezTo>
                  <a:cubicBezTo>
                    <a:pt x="962" y="5071"/>
                    <a:pt x="1607" y="5366"/>
                    <a:pt x="2240" y="5366"/>
                  </a:cubicBezTo>
                  <a:cubicBezTo>
                    <a:pt x="2772" y="5366"/>
                    <a:pt x="3296" y="5157"/>
                    <a:pt x="3655" y="4726"/>
                  </a:cubicBezTo>
                  <a:cubicBezTo>
                    <a:pt x="4569" y="3655"/>
                    <a:pt x="3844" y="2489"/>
                    <a:pt x="2836" y="2489"/>
                  </a:cubicBezTo>
                  <a:cubicBezTo>
                    <a:pt x="2584" y="2489"/>
                    <a:pt x="2427" y="2678"/>
                    <a:pt x="2427" y="2899"/>
                  </a:cubicBezTo>
                  <a:cubicBezTo>
                    <a:pt x="2427" y="3151"/>
                    <a:pt x="2616" y="3308"/>
                    <a:pt x="2836" y="3340"/>
                  </a:cubicBezTo>
                  <a:cubicBezTo>
                    <a:pt x="3057" y="3340"/>
                    <a:pt x="3214" y="3529"/>
                    <a:pt x="3214" y="3749"/>
                  </a:cubicBezTo>
                  <a:cubicBezTo>
                    <a:pt x="3214" y="3970"/>
                    <a:pt x="3025" y="4127"/>
                    <a:pt x="2836" y="4127"/>
                  </a:cubicBezTo>
                  <a:cubicBezTo>
                    <a:pt x="2049" y="4127"/>
                    <a:pt x="1450" y="3434"/>
                    <a:pt x="1608" y="2584"/>
                  </a:cubicBezTo>
                  <a:cubicBezTo>
                    <a:pt x="1754" y="1999"/>
                    <a:pt x="2279" y="1632"/>
                    <a:pt x="2882" y="1632"/>
                  </a:cubicBezTo>
                  <a:cubicBezTo>
                    <a:pt x="2930" y="1632"/>
                    <a:pt x="2977" y="1634"/>
                    <a:pt x="3025" y="1639"/>
                  </a:cubicBezTo>
                  <a:cubicBezTo>
                    <a:pt x="3624" y="1733"/>
                    <a:pt x="4128" y="2048"/>
                    <a:pt x="4474" y="2489"/>
                  </a:cubicBezTo>
                  <a:lnTo>
                    <a:pt x="7908" y="2489"/>
                  </a:lnTo>
                  <a:cubicBezTo>
                    <a:pt x="8255" y="2017"/>
                    <a:pt x="8759" y="1702"/>
                    <a:pt x="9358" y="1639"/>
                  </a:cubicBezTo>
                  <a:cubicBezTo>
                    <a:pt x="9406" y="1634"/>
                    <a:pt x="9453" y="1632"/>
                    <a:pt x="9501" y="1632"/>
                  </a:cubicBezTo>
                  <a:cubicBezTo>
                    <a:pt x="10104" y="1632"/>
                    <a:pt x="10629" y="1999"/>
                    <a:pt x="10775" y="2584"/>
                  </a:cubicBezTo>
                  <a:cubicBezTo>
                    <a:pt x="10964" y="3434"/>
                    <a:pt x="10334" y="4127"/>
                    <a:pt x="9547" y="4127"/>
                  </a:cubicBezTo>
                  <a:cubicBezTo>
                    <a:pt x="9326" y="4127"/>
                    <a:pt x="9137" y="3938"/>
                    <a:pt x="9137" y="3749"/>
                  </a:cubicBezTo>
                  <a:cubicBezTo>
                    <a:pt x="9137" y="3497"/>
                    <a:pt x="9326" y="3340"/>
                    <a:pt x="9547" y="3340"/>
                  </a:cubicBezTo>
                  <a:cubicBezTo>
                    <a:pt x="9799" y="3340"/>
                    <a:pt x="9956" y="3151"/>
                    <a:pt x="9956" y="2899"/>
                  </a:cubicBezTo>
                  <a:cubicBezTo>
                    <a:pt x="9956" y="2678"/>
                    <a:pt x="9767" y="2521"/>
                    <a:pt x="9547" y="2489"/>
                  </a:cubicBezTo>
                  <a:cubicBezTo>
                    <a:pt x="8539" y="2489"/>
                    <a:pt x="7814" y="3686"/>
                    <a:pt x="8728" y="4726"/>
                  </a:cubicBezTo>
                  <a:cubicBezTo>
                    <a:pt x="9099" y="5169"/>
                    <a:pt x="9626" y="5379"/>
                    <a:pt x="10158" y="5379"/>
                  </a:cubicBezTo>
                  <a:cubicBezTo>
                    <a:pt x="10800" y="5379"/>
                    <a:pt x="11451" y="5074"/>
                    <a:pt x="11847" y="4506"/>
                  </a:cubicBezTo>
                  <a:cubicBezTo>
                    <a:pt x="12225" y="3970"/>
                    <a:pt x="12445" y="3277"/>
                    <a:pt x="12319" y="2489"/>
                  </a:cubicBezTo>
                  <a:cubicBezTo>
                    <a:pt x="12130" y="1008"/>
                    <a:pt x="10775" y="0"/>
                    <a:pt x="93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1"/>
            <p:cNvSpPr/>
            <p:nvPr/>
          </p:nvSpPr>
          <p:spPr>
            <a:xfrm>
              <a:off x="-40312700" y="3730575"/>
              <a:ext cx="185100" cy="190625"/>
            </a:xfrm>
            <a:custGeom>
              <a:avLst/>
              <a:gdLst/>
              <a:ahLst/>
              <a:cxnLst/>
              <a:rect l="l" t="t" r="r" b="b"/>
              <a:pathLst>
                <a:path w="7404" h="7625" extrusionOk="0">
                  <a:moveTo>
                    <a:pt x="2426" y="0"/>
                  </a:moveTo>
                  <a:lnTo>
                    <a:pt x="2426" y="5639"/>
                  </a:lnTo>
                  <a:cubicBezTo>
                    <a:pt x="2426" y="5860"/>
                    <a:pt x="2237" y="6017"/>
                    <a:pt x="2048" y="6017"/>
                  </a:cubicBezTo>
                  <a:cubicBezTo>
                    <a:pt x="1796" y="6017"/>
                    <a:pt x="1638" y="5828"/>
                    <a:pt x="1638" y="5639"/>
                  </a:cubicBezTo>
                  <a:lnTo>
                    <a:pt x="1638" y="473"/>
                  </a:lnTo>
                  <a:cubicBezTo>
                    <a:pt x="1229" y="851"/>
                    <a:pt x="630" y="1103"/>
                    <a:pt x="0" y="1134"/>
                  </a:cubicBezTo>
                  <a:lnTo>
                    <a:pt x="0" y="7246"/>
                  </a:lnTo>
                  <a:cubicBezTo>
                    <a:pt x="0" y="7467"/>
                    <a:pt x="189" y="7624"/>
                    <a:pt x="378" y="7624"/>
                  </a:cubicBezTo>
                  <a:lnTo>
                    <a:pt x="6994" y="7624"/>
                  </a:lnTo>
                  <a:cubicBezTo>
                    <a:pt x="7246" y="7624"/>
                    <a:pt x="7404" y="7435"/>
                    <a:pt x="7404" y="7246"/>
                  </a:cubicBezTo>
                  <a:lnTo>
                    <a:pt x="7404" y="1134"/>
                  </a:lnTo>
                  <a:cubicBezTo>
                    <a:pt x="6774" y="1071"/>
                    <a:pt x="6175" y="788"/>
                    <a:pt x="5734" y="315"/>
                  </a:cubicBezTo>
                  <a:lnTo>
                    <a:pt x="5734" y="5639"/>
                  </a:lnTo>
                  <a:cubicBezTo>
                    <a:pt x="5734" y="5860"/>
                    <a:pt x="5545" y="6017"/>
                    <a:pt x="5324" y="6017"/>
                  </a:cubicBezTo>
                  <a:cubicBezTo>
                    <a:pt x="5072" y="6017"/>
                    <a:pt x="4915" y="5828"/>
                    <a:pt x="4915" y="5639"/>
                  </a:cubicBezTo>
                  <a:lnTo>
                    <a:pt x="4915" y="0"/>
                  </a:lnTo>
                  <a:lnTo>
                    <a:pt x="4096" y="0"/>
                  </a:lnTo>
                  <a:lnTo>
                    <a:pt x="4096" y="5639"/>
                  </a:lnTo>
                  <a:cubicBezTo>
                    <a:pt x="4096" y="5860"/>
                    <a:pt x="3907" y="6017"/>
                    <a:pt x="3686" y="6017"/>
                  </a:cubicBezTo>
                  <a:cubicBezTo>
                    <a:pt x="3466" y="6017"/>
                    <a:pt x="3277" y="5828"/>
                    <a:pt x="3277" y="5639"/>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1"/>
            <p:cNvSpPr/>
            <p:nvPr/>
          </p:nvSpPr>
          <p:spPr>
            <a:xfrm>
              <a:off x="-40250475" y="3688025"/>
              <a:ext cx="66950" cy="20500"/>
            </a:xfrm>
            <a:custGeom>
              <a:avLst/>
              <a:gdLst/>
              <a:ahLst/>
              <a:cxnLst/>
              <a:rect l="l" t="t" r="r" b="b"/>
              <a:pathLst>
                <a:path w="2678" h="820" extrusionOk="0">
                  <a:moveTo>
                    <a:pt x="0" y="1"/>
                  </a:moveTo>
                  <a:cubicBezTo>
                    <a:pt x="32" y="127"/>
                    <a:pt x="32" y="284"/>
                    <a:pt x="32" y="379"/>
                  </a:cubicBezTo>
                  <a:cubicBezTo>
                    <a:pt x="32" y="536"/>
                    <a:pt x="32" y="662"/>
                    <a:pt x="0" y="788"/>
                  </a:cubicBezTo>
                  <a:lnTo>
                    <a:pt x="2666" y="788"/>
                  </a:lnTo>
                  <a:cubicBezTo>
                    <a:pt x="2615" y="649"/>
                    <a:pt x="2615" y="555"/>
                    <a:pt x="2615" y="379"/>
                  </a:cubicBezTo>
                  <a:cubicBezTo>
                    <a:pt x="2615" y="284"/>
                    <a:pt x="2615" y="127"/>
                    <a:pt x="2678" y="1"/>
                  </a:cubicBezTo>
                  <a:close/>
                  <a:moveTo>
                    <a:pt x="2666" y="788"/>
                  </a:moveTo>
                  <a:cubicBezTo>
                    <a:pt x="2670" y="799"/>
                    <a:pt x="2674" y="809"/>
                    <a:pt x="2678" y="820"/>
                  </a:cubicBezTo>
                  <a:lnTo>
                    <a:pt x="2678" y="788"/>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23" name="Google Shape;6423;p71"/>
          <p:cNvSpPr/>
          <p:nvPr/>
        </p:nvSpPr>
        <p:spPr>
          <a:xfrm>
            <a:off x="3896162" y="2210581"/>
            <a:ext cx="362613" cy="371902"/>
          </a:xfrm>
          <a:custGeom>
            <a:avLst/>
            <a:gdLst/>
            <a:ahLst/>
            <a:cxnLst/>
            <a:rect l="l" t="t" r="r" b="b"/>
            <a:pathLst>
              <a:path w="12414" h="12732" extrusionOk="0">
                <a:moveTo>
                  <a:pt x="11965" y="0"/>
                </a:moveTo>
                <a:cubicBezTo>
                  <a:pt x="11946" y="0"/>
                  <a:pt x="11928" y="1"/>
                  <a:pt x="11910" y="4"/>
                </a:cubicBezTo>
                <a:lnTo>
                  <a:pt x="4474" y="1642"/>
                </a:lnTo>
                <a:cubicBezTo>
                  <a:pt x="4254" y="1705"/>
                  <a:pt x="4128" y="1862"/>
                  <a:pt x="4128" y="2051"/>
                </a:cubicBezTo>
                <a:lnTo>
                  <a:pt x="4128" y="9108"/>
                </a:lnTo>
                <a:cubicBezTo>
                  <a:pt x="3718" y="8793"/>
                  <a:pt x="3120" y="8541"/>
                  <a:pt x="2490" y="8541"/>
                </a:cubicBezTo>
                <a:cubicBezTo>
                  <a:pt x="1103" y="8541"/>
                  <a:pt x="1" y="9486"/>
                  <a:pt x="1" y="10652"/>
                </a:cubicBezTo>
                <a:cubicBezTo>
                  <a:pt x="1" y="11786"/>
                  <a:pt x="1103" y="12731"/>
                  <a:pt x="2490" y="12731"/>
                </a:cubicBezTo>
                <a:cubicBezTo>
                  <a:pt x="3876" y="12731"/>
                  <a:pt x="4979" y="11786"/>
                  <a:pt x="4979" y="10652"/>
                </a:cubicBezTo>
                <a:lnTo>
                  <a:pt x="4979" y="4887"/>
                </a:lnTo>
                <a:lnTo>
                  <a:pt x="11595" y="3438"/>
                </a:lnTo>
                <a:lnTo>
                  <a:pt x="11595" y="7502"/>
                </a:lnTo>
                <a:cubicBezTo>
                  <a:pt x="11154" y="7187"/>
                  <a:pt x="10555" y="6935"/>
                  <a:pt x="9925" y="6935"/>
                </a:cubicBezTo>
                <a:cubicBezTo>
                  <a:pt x="8570" y="6935"/>
                  <a:pt x="7467" y="7880"/>
                  <a:pt x="7467" y="9014"/>
                </a:cubicBezTo>
                <a:cubicBezTo>
                  <a:pt x="7467" y="10180"/>
                  <a:pt x="8570" y="11125"/>
                  <a:pt x="9925" y="11125"/>
                </a:cubicBezTo>
                <a:cubicBezTo>
                  <a:pt x="11311" y="11125"/>
                  <a:pt x="12414" y="10180"/>
                  <a:pt x="12414" y="9014"/>
                </a:cubicBezTo>
                <a:lnTo>
                  <a:pt x="12414" y="445"/>
                </a:lnTo>
                <a:cubicBezTo>
                  <a:pt x="12414" y="182"/>
                  <a:pt x="12197" y="0"/>
                  <a:pt x="11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24" name="Google Shape;6424;p71"/>
          <p:cNvGrpSpPr/>
          <p:nvPr/>
        </p:nvGrpSpPr>
        <p:grpSpPr>
          <a:xfrm>
            <a:off x="2616780" y="2659967"/>
            <a:ext cx="399038" cy="372165"/>
            <a:chOff x="-38542250" y="3220175"/>
            <a:chExt cx="341525" cy="318525"/>
          </a:xfrm>
        </p:grpSpPr>
        <p:sp>
          <p:nvSpPr>
            <p:cNvPr id="6425" name="Google Shape;6425;p71"/>
            <p:cNvSpPr/>
            <p:nvPr/>
          </p:nvSpPr>
          <p:spPr>
            <a:xfrm>
              <a:off x="-38542250" y="3440725"/>
              <a:ext cx="101750" cy="97975"/>
            </a:xfrm>
            <a:custGeom>
              <a:avLst/>
              <a:gdLst/>
              <a:ahLst/>
              <a:cxnLst/>
              <a:rect l="l" t="t" r="r" b="b"/>
              <a:pathLst>
                <a:path w="4070" h="3919" extrusionOk="0">
                  <a:moveTo>
                    <a:pt x="1455" y="0"/>
                  </a:moveTo>
                  <a:lnTo>
                    <a:pt x="1013" y="2489"/>
                  </a:lnTo>
                  <a:lnTo>
                    <a:pt x="289" y="3214"/>
                  </a:lnTo>
                  <a:cubicBezTo>
                    <a:pt x="1" y="3502"/>
                    <a:pt x="280" y="3919"/>
                    <a:pt x="597" y="3919"/>
                  </a:cubicBezTo>
                  <a:cubicBezTo>
                    <a:pt x="695" y="3919"/>
                    <a:pt x="798" y="3878"/>
                    <a:pt x="887" y="3781"/>
                  </a:cubicBezTo>
                  <a:lnTo>
                    <a:pt x="1612" y="3088"/>
                  </a:lnTo>
                  <a:lnTo>
                    <a:pt x="4069" y="2647"/>
                  </a:lnTo>
                  <a:lnTo>
                    <a:pt x="14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1"/>
            <p:cNvSpPr/>
            <p:nvPr/>
          </p:nvSpPr>
          <p:spPr>
            <a:xfrm>
              <a:off x="-38494875" y="3354075"/>
              <a:ext cx="141800" cy="141025"/>
            </a:xfrm>
            <a:custGeom>
              <a:avLst/>
              <a:gdLst/>
              <a:ahLst/>
              <a:cxnLst/>
              <a:rect l="l" t="t" r="r" b="b"/>
              <a:pathLst>
                <a:path w="5672" h="5641" extrusionOk="0">
                  <a:moveTo>
                    <a:pt x="2742" y="1"/>
                  </a:moveTo>
                  <a:lnTo>
                    <a:pt x="1" y="2710"/>
                  </a:lnTo>
                  <a:lnTo>
                    <a:pt x="2931" y="5640"/>
                  </a:lnTo>
                  <a:lnTo>
                    <a:pt x="5671" y="2899"/>
                  </a:lnTo>
                  <a:lnTo>
                    <a:pt x="27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1"/>
            <p:cNvSpPr/>
            <p:nvPr/>
          </p:nvSpPr>
          <p:spPr>
            <a:xfrm>
              <a:off x="-38432050" y="3220175"/>
              <a:ext cx="231325" cy="192225"/>
            </a:xfrm>
            <a:custGeom>
              <a:avLst/>
              <a:gdLst/>
              <a:ahLst/>
              <a:cxnLst/>
              <a:rect l="l" t="t" r="r" b="b"/>
              <a:pathLst>
                <a:path w="9253" h="7689" extrusionOk="0">
                  <a:moveTo>
                    <a:pt x="3442" y="1"/>
                  </a:moveTo>
                  <a:cubicBezTo>
                    <a:pt x="3127" y="1"/>
                    <a:pt x="2812" y="127"/>
                    <a:pt x="2591" y="379"/>
                  </a:cubicBezTo>
                  <a:lnTo>
                    <a:pt x="292" y="2647"/>
                  </a:lnTo>
                  <a:cubicBezTo>
                    <a:pt x="1" y="2962"/>
                    <a:pt x="287" y="3370"/>
                    <a:pt x="607" y="3370"/>
                  </a:cubicBezTo>
                  <a:cubicBezTo>
                    <a:pt x="704" y="3370"/>
                    <a:pt x="803" y="3333"/>
                    <a:pt x="890" y="3246"/>
                  </a:cubicBezTo>
                  <a:lnTo>
                    <a:pt x="3190" y="946"/>
                  </a:lnTo>
                  <a:cubicBezTo>
                    <a:pt x="3269" y="867"/>
                    <a:pt x="3371" y="828"/>
                    <a:pt x="3474" y="828"/>
                  </a:cubicBezTo>
                  <a:cubicBezTo>
                    <a:pt x="3576" y="828"/>
                    <a:pt x="3678" y="867"/>
                    <a:pt x="3757" y="946"/>
                  </a:cubicBezTo>
                  <a:lnTo>
                    <a:pt x="4198" y="1387"/>
                  </a:lnTo>
                  <a:lnTo>
                    <a:pt x="827" y="4758"/>
                  </a:lnTo>
                  <a:lnTo>
                    <a:pt x="3726" y="7688"/>
                  </a:lnTo>
                  <a:lnTo>
                    <a:pt x="7821" y="3593"/>
                  </a:lnTo>
                  <a:cubicBezTo>
                    <a:pt x="9253" y="2161"/>
                    <a:pt x="8028" y="43"/>
                    <a:pt x="6392" y="43"/>
                  </a:cubicBezTo>
                  <a:cubicBezTo>
                    <a:pt x="5868" y="43"/>
                    <a:pt x="5301" y="261"/>
                    <a:pt x="4765" y="789"/>
                  </a:cubicBezTo>
                  <a:cubicBezTo>
                    <a:pt x="4324" y="379"/>
                    <a:pt x="4041" y="1"/>
                    <a:pt x="3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8" name="Google Shape;6428;p71"/>
          <p:cNvGrpSpPr/>
          <p:nvPr/>
        </p:nvGrpSpPr>
        <p:grpSpPr>
          <a:xfrm>
            <a:off x="2638712" y="3119337"/>
            <a:ext cx="369974" cy="369068"/>
            <a:chOff x="-38537400" y="3588000"/>
            <a:chExt cx="316650" cy="315875"/>
          </a:xfrm>
        </p:grpSpPr>
        <p:sp>
          <p:nvSpPr>
            <p:cNvPr id="6429" name="Google Shape;6429;p71"/>
            <p:cNvSpPr/>
            <p:nvPr/>
          </p:nvSpPr>
          <p:spPr>
            <a:xfrm>
              <a:off x="-38327900" y="3719550"/>
              <a:ext cx="20500" cy="41750"/>
            </a:xfrm>
            <a:custGeom>
              <a:avLst/>
              <a:gdLst/>
              <a:ahLst/>
              <a:cxnLst/>
              <a:rect l="l" t="t" r="r" b="b"/>
              <a:pathLst>
                <a:path w="820" h="1670" extrusionOk="0">
                  <a:moveTo>
                    <a:pt x="1" y="0"/>
                  </a:moveTo>
                  <a:lnTo>
                    <a:pt x="1" y="1229"/>
                  </a:lnTo>
                  <a:cubicBezTo>
                    <a:pt x="1" y="1449"/>
                    <a:pt x="190" y="1607"/>
                    <a:pt x="442" y="1670"/>
                  </a:cubicBezTo>
                  <a:cubicBezTo>
                    <a:pt x="631" y="1607"/>
                    <a:pt x="820" y="1449"/>
                    <a:pt x="820" y="1229"/>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1"/>
            <p:cNvSpPr/>
            <p:nvPr/>
          </p:nvSpPr>
          <p:spPr>
            <a:xfrm>
              <a:off x="-38452350" y="3719550"/>
              <a:ext cx="21300" cy="41750"/>
            </a:xfrm>
            <a:custGeom>
              <a:avLst/>
              <a:gdLst/>
              <a:ahLst/>
              <a:cxnLst/>
              <a:rect l="l" t="t" r="r" b="b"/>
              <a:pathLst>
                <a:path w="852" h="1670" extrusionOk="0">
                  <a:moveTo>
                    <a:pt x="1" y="0"/>
                  </a:moveTo>
                  <a:lnTo>
                    <a:pt x="1" y="1229"/>
                  </a:lnTo>
                  <a:cubicBezTo>
                    <a:pt x="1" y="1449"/>
                    <a:pt x="221" y="1607"/>
                    <a:pt x="410" y="1670"/>
                  </a:cubicBezTo>
                  <a:cubicBezTo>
                    <a:pt x="631" y="1607"/>
                    <a:pt x="851" y="1449"/>
                    <a:pt x="851" y="1229"/>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1"/>
            <p:cNvSpPr/>
            <p:nvPr/>
          </p:nvSpPr>
          <p:spPr>
            <a:xfrm>
              <a:off x="-38516925" y="3759700"/>
              <a:ext cx="275700" cy="144175"/>
            </a:xfrm>
            <a:custGeom>
              <a:avLst/>
              <a:gdLst/>
              <a:ahLst/>
              <a:cxnLst/>
              <a:rect l="l" t="t" r="r" b="b"/>
              <a:pathLst>
                <a:path w="11028" h="5767" extrusionOk="0">
                  <a:moveTo>
                    <a:pt x="7152" y="1671"/>
                  </a:moveTo>
                  <a:cubicBezTo>
                    <a:pt x="7404" y="1671"/>
                    <a:pt x="7593" y="1860"/>
                    <a:pt x="7593" y="2112"/>
                  </a:cubicBezTo>
                  <a:lnTo>
                    <a:pt x="7593" y="3750"/>
                  </a:lnTo>
                  <a:cubicBezTo>
                    <a:pt x="7593" y="4002"/>
                    <a:pt x="7404" y="4159"/>
                    <a:pt x="7152" y="4159"/>
                  </a:cubicBezTo>
                  <a:lnTo>
                    <a:pt x="3844" y="4159"/>
                  </a:lnTo>
                  <a:cubicBezTo>
                    <a:pt x="3624" y="4159"/>
                    <a:pt x="3434" y="3939"/>
                    <a:pt x="3434" y="3750"/>
                  </a:cubicBezTo>
                  <a:lnTo>
                    <a:pt x="3434" y="2112"/>
                  </a:lnTo>
                  <a:cubicBezTo>
                    <a:pt x="3434" y="1860"/>
                    <a:pt x="3624" y="1671"/>
                    <a:pt x="3844" y="1671"/>
                  </a:cubicBezTo>
                  <a:close/>
                  <a:moveTo>
                    <a:pt x="0" y="1"/>
                  </a:moveTo>
                  <a:lnTo>
                    <a:pt x="0" y="4537"/>
                  </a:lnTo>
                  <a:cubicBezTo>
                    <a:pt x="0" y="5199"/>
                    <a:pt x="568" y="5766"/>
                    <a:pt x="1261" y="5766"/>
                  </a:cubicBezTo>
                  <a:lnTo>
                    <a:pt x="9798" y="5766"/>
                  </a:lnTo>
                  <a:cubicBezTo>
                    <a:pt x="10460" y="5766"/>
                    <a:pt x="11027" y="5199"/>
                    <a:pt x="11027" y="4537"/>
                  </a:cubicBezTo>
                  <a:lnTo>
                    <a:pt x="11027" y="1"/>
                  </a:lnTo>
                  <a:lnTo>
                    <a:pt x="9168" y="1"/>
                  </a:lnTo>
                  <a:cubicBezTo>
                    <a:pt x="9011" y="473"/>
                    <a:pt x="8538" y="851"/>
                    <a:pt x="8003" y="851"/>
                  </a:cubicBezTo>
                  <a:cubicBezTo>
                    <a:pt x="7436" y="851"/>
                    <a:pt x="6995" y="473"/>
                    <a:pt x="6806" y="1"/>
                  </a:cubicBezTo>
                  <a:lnTo>
                    <a:pt x="4159" y="1"/>
                  </a:lnTo>
                  <a:cubicBezTo>
                    <a:pt x="4002" y="473"/>
                    <a:pt x="3560" y="851"/>
                    <a:pt x="2993" y="851"/>
                  </a:cubicBezTo>
                  <a:cubicBezTo>
                    <a:pt x="2489" y="851"/>
                    <a:pt x="2017" y="536"/>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1"/>
            <p:cNvSpPr/>
            <p:nvPr/>
          </p:nvSpPr>
          <p:spPr>
            <a:xfrm>
              <a:off x="-38537400" y="3588000"/>
              <a:ext cx="316650" cy="151250"/>
            </a:xfrm>
            <a:custGeom>
              <a:avLst/>
              <a:gdLst/>
              <a:ahLst/>
              <a:cxnLst/>
              <a:rect l="l" t="t" r="r" b="b"/>
              <a:pathLst>
                <a:path w="12666" h="6050" extrusionOk="0">
                  <a:moveTo>
                    <a:pt x="7971" y="820"/>
                  </a:moveTo>
                  <a:cubicBezTo>
                    <a:pt x="8223" y="820"/>
                    <a:pt x="8381" y="1009"/>
                    <a:pt x="8412" y="1229"/>
                  </a:cubicBezTo>
                  <a:lnTo>
                    <a:pt x="8412" y="1639"/>
                  </a:lnTo>
                  <a:lnTo>
                    <a:pt x="4253" y="1639"/>
                  </a:lnTo>
                  <a:lnTo>
                    <a:pt x="4253" y="1229"/>
                  </a:lnTo>
                  <a:cubicBezTo>
                    <a:pt x="4253" y="1009"/>
                    <a:pt x="4443" y="851"/>
                    <a:pt x="4663" y="820"/>
                  </a:cubicBezTo>
                  <a:close/>
                  <a:moveTo>
                    <a:pt x="4632" y="1"/>
                  </a:moveTo>
                  <a:cubicBezTo>
                    <a:pt x="3970" y="1"/>
                    <a:pt x="3403" y="536"/>
                    <a:pt x="3403" y="1229"/>
                  </a:cubicBezTo>
                  <a:lnTo>
                    <a:pt x="3403" y="1639"/>
                  </a:lnTo>
                  <a:lnTo>
                    <a:pt x="1229" y="1639"/>
                  </a:lnTo>
                  <a:cubicBezTo>
                    <a:pt x="536" y="1639"/>
                    <a:pt x="0" y="2175"/>
                    <a:pt x="0" y="2868"/>
                  </a:cubicBezTo>
                  <a:lnTo>
                    <a:pt x="0" y="5609"/>
                  </a:lnTo>
                  <a:cubicBezTo>
                    <a:pt x="0" y="5861"/>
                    <a:pt x="189" y="6050"/>
                    <a:pt x="378" y="6050"/>
                  </a:cubicBezTo>
                  <a:lnTo>
                    <a:pt x="2584" y="6050"/>
                  </a:lnTo>
                  <a:lnTo>
                    <a:pt x="2584" y="4821"/>
                  </a:lnTo>
                  <a:cubicBezTo>
                    <a:pt x="2584" y="4600"/>
                    <a:pt x="2804" y="4380"/>
                    <a:pt x="3025" y="4380"/>
                  </a:cubicBezTo>
                  <a:lnTo>
                    <a:pt x="4663" y="4380"/>
                  </a:lnTo>
                  <a:cubicBezTo>
                    <a:pt x="4915" y="4380"/>
                    <a:pt x="5104" y="4600"/>
                    <a:pt x="5104" y="4821"/>
                  </a:cubicBezTo>
                  <a:lnTo>
                    <a:pt x="5104" y="6050"/>
                  </a:lnTo>
                  <a:lnTo>
                    <a:pt x="7593" y="6050"/>
                  </a:lnTo>
                  <a:lnTo>
                    <a:pt x="7593" y="4821"/>
                  </a:lnTo>
                  <a:cubicBezTo>
                    <a:pt x="7593" y="4600"/>
                    <a:pt x="7782" y="4380"/>
                    <a:pt x="7971" y="4380"/>
                  </a:cubicBezTo>
                  <a:lnTo>
                    <a:pt x="9641" y="4380"/>
                  </a:lnTo>
                  <a:cubicBezTo>
                    <a:pt x="9861" y="4380"/>
                    <a:pt x="10019" y="4600"/>
                    <a:pt x="10019" y="4821"/>
                  </a:cubicBezTo>
                  <a:lnTo>
                    <a:pt x="10019" y="6050"/>
                  </a:lnTo>
                  <a:lnTo>
                    <a:pt x="12224" y="6050"/>
                  </a:lnTo>
                  <a:cubicBezTo>
                    <a:pt x="12476" y="6050"/>
                    <a:pt x="12665" y="5861"/>
                    <a:pt x="12665" y="5609"/>
                  </a:cubicBezTo>
                  <a:lnTo>
                    <a:pt x="12665" y="2868"/>
                  </a:lnTo>
                  <a:cubicBezTo>
                    <a:pt x="12665" y="2238"/>
                    <a:pt x="12067" y="1639"/>
                    <a:pt x="11405" y="1639"/>
                  </a:cubicBezTo>
                  <a:lnTo>
                    <a:pt x="9200" y="1639"/>
                  </a:lnTo>
                  <a:lnTo>
                    <a:pt x="9200" y="1229"/>
                  </a:lnTo>
                  <a:cubicBezTo>
                    <a:pt x="9200" y="568"/>
                    <a:pt x="8664" y="32"/>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3" name="Google Shape;6433;p71"/>
          <p:cNvGrpSpPr/>
          <p:nvPr/>
        </p:nvGrpSpPr>
        <p:grpSpPr>
          <a:xfrm>
            <a:off x="2637792" y="3576866"/>
            <a:ext cx="371814" cy="369974"/>
            <a:chOff x="-38538975" y="3954250"/>
            <a:chExt cx="318225" cy="316650"/>
          </a:xfrm>
        </p:grpSpPr>
        <p:sp>
          <p:nvSpPr>
            <p:cNvPr id="6434" name="Google Shape;6434;p71"/>
            <p:cNvSpPr/>
            <p:nvPr/>
          </p:nvSpPr>
          <p:spPr>
            <a:xfrm>
              <a:off x="-38538975" y="3954250"/>
              <a:ext cx="254425" cy="253625"/>
            </a:xfrm>
            <a:custGeom>
              <a:avLst/>
              <a:gdLst/>
              <a:ahLst/>
              <a:cxnLst/>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1"/>
            <p:cNvSpPr/>
            <p:nvPr/>
          </p:nvSpPr>
          <p:spPr>
            <a:xfrm>
              <a:off x="-38496450" y="4081725"/>
              <a:ext cx="275700" cy="189175"/>
            </a:xfrm>
            <a:custGeom>
              <a:avLst/>
              <a:gdLst/>
              <a:ahLst/>
              <a:cxnLst/>
              <a:rect l="l" t="t" r="r" b="b"/>
              <a:pathLst>
                <a:path w="11028" h="7567"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6" name="Google Shape;6436;p71"/>
          <p:cNvGrpSpPr/>
          <p:nvPr/>
        </p:nvGrpSpPr>
        <p:grpSpPr>
          <a:xfrm>
            <a:off x="3955104" y="3571793"/>
            <a:ext cx="375465" cy="371814"/>
            <a:chOff x="-37385100" y="3949908"/>
            <a:chExt cx="321350" cy="318225"/>
          </a:xfrm>
        </p:grpSpPr>
        <p:sp>
          <p:nvSpPr>
            <p:cNvPr id="6437" name="Google Shape;6437;p71"/>
            <p:cNvSpPr/>
            <p:nvPr/>
          </p:nvSpPr>
          <p:spPr>
            <a:xfrm>
              <a:off x="-37190575" y="4145233"/>
              <a:ext cx="126825" cy="122900"/>
            </a:xfrm>
            <a:custGeom>
              <a:avLst/>
              <a:gdLst/>
              <a:ahLst/>
              <a:cxnLst/>
              <a:rect l="l" t="t" r="r" b="b"/>
              <a:pathLst>
                <a:path w="5073" h="4916" extrusionOk="0">
                  <a:moveTo>
                    <a:pt x="2238" y="1"/>
                  </a:moveTo>
                  <a:cubicBezTo>
                    <a:pt x="1986" y="442"/>
                    <a:pt x="1671" y="820"/>
                    <a:pt x="1324" y="1229"/>
                  </a:cubicBezTo>
                  <a:cubicBezTo>
                    <a:pt x="946" y="1671"/>
                    <a:pt x="473" y="1986"/>
                    <a:pt x="1" y="2238"/>
                  </a:cubicBezTo>
                  <a:lnTo>
                    <a:pt x="2206" y="4443"/>
                  </a:lnTo>
                  <a:cubicBezTo>
                    <a:pt x="2521" y="4758"/>
                    <a:pt x="2923" y="4916"/>
                    <a:pt x="3325" y="4916"/>
                  </a:cubicBezTo>
                  <a:cubicBezTo>
                    <a:pt x="3726" y="4916"/>
                    <a:pt x="4128" y="4758"/>
                    <a:pt x="4443" y="4443"/>
                  </a:cubicBezTo>
                  <a:cubicBezTo>
                    <a:pt x="5073" y="3813"/>
                    <a:pt x="5073" y="2836"/>
                    <a:pt x="4443" y="220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1"/>
            <p:cNvSpPr/>
            <p:nvPr/>
          </p:nvSpPr>
          <p:spPr>
            <a:xfrm>
              <a:off x="-37385100" y="3949908"/>
              <a:ext cx="248125" cy="248950"/>
            </a:xfrm>
            <a:custGeom>
              <a:avLst/>
              <a:gdLst/>
              <a:ahLst/>
              <a:cxnLst/>
              <a:rect l="l" t="t" r="r" b="b"/>
              <a:pathLst>
                <a:path w="9925" h="9958" extrusionOk="0">
                  <a:moveTo>
                    <a:pt x="4978" y="1702"/>
                  </a:moveTo>
                  <a:cubicBezTo>
                    <a:pt x="6774" y="1702"/>
                    <a:pt x="8286" y="3214"/>
                    <a:pt x="8286" y="5010"/>
                  </a:cubicBezTo>
                  <a:cubicBezTo>
                    <a:pt x="8254" y="5892"/>
                    <a:pt x="7939" y="6711"/>
                    <a:pt x="7341" y="7310"/>
                  </a:cubicBezTo>
                  <a:cubicBezTo>
                    <a:pt x="6742" y="7908"/>
                    <a:pt x="5923" y="8318"/>
                    <a:pt x="4978" y="8318"/>
                  </a:cubicBezTo>
                  <a:cubicBezTo>
                    <a:pt x="3151" y="8318"/>
                    <a:pt x="1670" y="6837"/>
                    <a:pt x="1670" y="5010"/>
                  </a:cubicBezTo>
                  <a:cubicBezTo>
                    <a:pt x="1670" y="3214"/>
                    <a:pt x="3151" y="1702"/>
                    <a:pt x="4978" y="1702"/>
                  </a:cubicBezTo>
                  <a:close/>
                  <a:moveTo>
                    <a:pt x="4978" y="1"/>
                  </a:moveTo>
                  <a:cubicBezTo>
                    <a:pt x="2268" y="1"/>
                    <a:pt x="0" y="2269"/>
                    <a:pt x="0" y="4978"/>
                  </a:cubicBezTo>
                  <a:cubicBezTo>
                    <a:pt x="0" y="7688"/>
                    <a:pt x="2268" y="9956"/>
                    <a:pt x="4978" y="9956"/>
                  </a:cubicBezTo>
                  <a:cubicBezTo>
                    <a:pt x="5013" y="9957"/>
                    <a:pt x="5048" y="9957"/>
                    <a:pt x="5083" y="9957"/>
                  </a:cubicBezTo>
                  <a:cubicBezTo>
                    <a:pt x="6367" y="9957"/>
                    <a:pt x="7586" y="9395"/>
                    <a:pt x="8506" y="8444"/>
                  </a:cubicBezTo>
                  <a:cubicBezTo>
                    <a:pt x="9420" y="7499"/>
                    <a:pt x="9924" y="6270"/>
                    <a:pt x="9924" y="4978"/>
                  </a:cubicBezTo>
                  <a:cubicBezTo>
                    <a:pt x="9924" y="2269"/>
                    <a:pt x="7687" y="1"/>
                    <a:pt x="49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9" name="Google Shape;6439;p71"/>
          <p:cNvGrpSpPr/>
          <p:nvPr/>
        </p:nvGrpSpPr>
        <p:grpSpPr>
          <a:xfrm>
            <a:off x="2130763" y="1307353"/>
            <a:ext cx="370909" cy="370675"/>
            <a:chOff x="-41895050" y="3217225"/>
            <a:chExt cx="317450" cy="317250"/>
          </a:xfrm>
        </p:grpSpPr>
        <p:sp>
          <p:nvSpPr>
            <p:cNvPr id="6440" name="Google Shape;6440;p71"/>
            <p:cNvSpPr/>
            <p:nvPr/>
          </p:nvSpPr>
          <p:spPr>
            <a:xfrm>
              <a:off x="-41895050" y="3273750"/>
              <a:ext cx="41775" cy="245750"/>
            </a:xfrm>
            <a:custGeom>
              <a:avLst/>
              <a:gdLst/>
              <a:ahLst/>
              <a:cxnLst/>
              <a:rect l="l" t="t" r="r" b="b"/>
              <a:pathLst>
                <a:path w="1671" h="9830" extrusionOk="0">
                  <a:moveTo>
                    <a:pt x="1" y="0"/>
                  </a:moveTo>
                  <a:lnTo>
                    <a:pt x="1" y="9830"/>
                  </a:lnTo>
                  <a:lnTo>
                    <a:pt x="1670" y="8192"/>
                  </a:lnTo>
                  <a:lnTo>
                    <a:pt x="1670" y="1639"/>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1"/>
            <p:cNvSpPr/>
            <p:nvPr/>
          </p:nvSpPr>
          <p:spPr>
            <a:xfrm>
              <a:off x="-41619375" y="3273750"/>
              <a:ext cx="41775" cy="245750"/>
            </a:xfrm>
            <a:custGeom>
              <a:avLst/>
              <a:gdLst/>
              <a:ahLst/>
              <a:cxnLst/>
              <a:rect l="l" t="t" r="r" b="b"/>
              <a:pathLst>
                <a:path w="1671" h="9830" extrusionOk="0">
                  <a:moveTo>
                    <a:pt x="1670" y="0"/>
                  </a:moveTo>
                  <a:lnTo>
                    <a:pt x="0" y="1639"/>
                  </a:lnTo>
                  <a:lnTo>
                    <a:pt x="0" y="8192"/>
                  </a:lnTo>
                  <a:lnTo>
                    <a:pt x="1670" y="9830"/>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1"/>
            <p:cNvSpPr/>
            <p:nvPr/>
          </p:nvSpPr>
          <p:spPr>
            <a:xfrm>
              <a:off x="-41832825" y="3321000"/>
              <a:ext cx="193000" cy="151250"/>
            </a:xfrm>
            <a:custGeom>
              <a:avLst/>
              <a:gdLst/>
              <a:ahLst/>
              <a:cxnLst/>
              <a:rect l="l" t="t" r="r" b="b"/>
              <a:pathLst>
                <a:path w="7720" h="6050" extrusionOk="0">
                  <a:moveTo>
                    <a:pt x="1" y="1"/>
                  </a:moveTo>
                  <a:lnTo>
                    <a:pt x="1" y="6050"/>
                  </a:lnTo>
                  <a:lnTo>
                    <a:pt x="3592" y="6050"/>
                  </a:lnTo>
                  <a:lnTo>
                    <a:pt x="3592" y="4821"/>
                  </a:lnTo>
                  <a:cubicBezTo>
                    <a:pt x="3592" y="4600"/>
                    <a:pt x="3781" y="4411"/>
                    <a:pt x="4002" y="4411"/>
                  </a:cubicBezTo>
                  <a:lnTo>
                    <a:pt x="6491" y="4411"/>
                  </a:lnTo>
                  <a:cubicBezTo>
                    <a:pt x="6743" y="4411"/>
                    <a:pt x="6932" y="4600"/>
                    <a:pt x="6932" y="4821"/>
                  </a:cubicBezTo>
                  <a:lnTo>
                    <a:pt x="6932" y="6050"/>
                  </a:lnTo>
                  <a:lnTo>
                    <a:pt x="7719" y="6050"/>
                  </a:ln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1"/>
            <p:cNvSpPr/>
            <p:nvPr/>
          </p:nvSpPr>
          <p:spPr>
            <a:xfrm>
              <a:off x="-41880075" y="3493500"/>
              <a:ext cx="287500" cy="40975"/>
            </a:xfrm>
            <a:custGeom>
              <a:avLst/>
              <a:gdLst/>
              <a:ahLst/>
              <a:cxnLst/>
              <a:rect l="l" t="t" r="r" b="b"/>
              <a:pathLst>
                <a:path w="11500" h="1639" extrusionOk="0">
                  <a:moveTo>
                    <a:pt x="1639" y="0"/>
                  </a:moveTo>
                  <a:lnTo>
                    <a:pt x="0" y="1638"/>
                  </a:lnTo>
                  <a:lnTo>
                    <a:pt x="11500" y="1638"/>
                  </a:lnTo>
                  <a:lnTo>
                    <a:pt x="98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1"/>
            <p:cNvSpPr/>
            <p:nvPr/>
          </p:nvSpPr>
          <p:spPr>
            <a:xfrm>
              <a:off x="-41880875" y="3217225"/>
              <a:ext cx="288300" cy="83325"/>
            </a:xfrm>
            <a:custGeom>
              <a:avLst/>
              <a:gdLst/>
              <a:ahLst/>
              <a:cxnLst/>
              <a:rect l="l" t="t" r="r" b="b"/>
              <a:pathLst>
                <a:path w="11532" h="3333" extrusionOk="0">
                  <a:moveTo>
                    <a:pt x="5798" y="1033"/>
                  </a:moveTo>
                  <a:lnTo>
                    <a:pt x="6459" y="1694"/>
                  </a:lnTo>
                  <a:lnTo>
                    <a:pt x="5136" y="1694"/>
                  </a:lnTo>
                  <a:lnTo>
                    <a:pt x="5798" y="1033"/>
                  </a:lnTo>
                  <a:close/>
                  <a:moveTo>
                    <a:pt x="5750" y="1"/>
                  </a:moveTo>
                  <a:cubicBezTo>
                    <a:pt x="5640" y="1"/>
                    <a:pt x="5530" y="40"/>
                    <a:pt x="5451" y="119"/>
                  </a:cubicBezTo>
                  <a:lnTo>
                    <a:pt x="3939" y="1663"/>
                  </a:lnTo>
                  <a:lnTo>
                    <a:pt x="1" y="1663"/>
                  </a:lnTo>
                  <a:lnTo>
                    <a:pt x="1639" y="3332"/>
                  </a:lnTo>
                  <a:lnTo>
                    <a:pt x="9862" y="3332"/>
                  </a:lnTo>
                  <a:lnTo>
                    <a:pt x="11532" y="1663"/>
                  </a:lnTo>
                  <a:lnTo>
                    <a:pt x="7593" y="1663"/>
                  </a:lnTo>
                  <a:lnTo>
                    <a:pt x="6050" y="119"/>
                  </a:lnTo>
                  <a:cubicBezTo>
                    <a:pt x="5971" y="40"/>
                    <a:pt x="5861" y="1"/>
                    <a:pt x="5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45" name="Google Shape;6445;p71"/>
          <p:cNvGrpSpPr/>
          <p:nvPr/>
        </p:nvGrpSpPr>
        <p:grpSpPr>
          <a:xfrm>
            <a:off x="2130310" y="1744287"/>
            <a:ext cx="371814" cy="369974"/>
            <a:chOff x="-41893475" y="3584850"/>
            <a:chExt cx="318225" cy="316650"/>
          </a:xfrm>
        </p:grpSpPr>
        <p:sp>
          <p:nvSpPr>
            <p:cNvPr id="6446" name="Google Shape;6446;p71"/>
            <p:cNvSpPr/>
            <p:nvPr/>
          </p:nvSpPr>
          <p:spPr>
            <a:xfrm>
              <a:off x="-41827300" y="3715600"/>
              <a:ext cx="186675" cy="185900"/>
            </a:xfrm>
            <a:custGeom>
              <a:avLst/>
              <a:gdLst/>
              <a:ahLst/>
              <a:cxnLst/>
              <a:rect l="l" t="t" r="r" b="b"/>
              <a:pathLst>
                <a:path w="7467" h="7436" extrusionOk="0">
                  <a:moveTo>
                    <a:pt x="3686" y="1465"/>
                  </a:moveTo>
                  <a:cubicBezTo>
                    <a:pt x="3836" y="1465"/>
                    <a:pt x="3985" y="1544"/>
                    <a:pt x="4064" y="1702"/>
                  </a:cubicBezTo>
                  <a:lnTo>
                    <a:pt x="4537" y="2678"/>
                  </a:lnTo>
                  <a:lnTo>
                    <a:pt x="5608" y="2836"/>
                  </a:lnTo>
                  <a:cubicBezTo>
                    <a:pt x="5955" y="2867"/>
                    <a:pt x="6081" y="3308"/>
                    <a:pt x="5829" y="3561"/>
                  </a:cubicBezTo>
                  <a:lnTo>
                    <a:pt x="5041" y="4285"/>
                  </a:lnTo>
                  <a:lnTo>
                    <a:pt x="5261" y="5356"/>
                  </a:lnTo>
                  <a:cubicBezTo>
                    <a:pt x="5286" y="5630"/>
                    <a:pt x="5075" y="5845"/>
                    <a:pt x="4845" y="5845"/>
                  </a:cubicBezTo>
                  <a:cubicBezTo>
                    <a:pt x="4784" y="5845"/>
                    <a:pt x="4722" y="5830"/>
                    <a:pt x="4663" y="5797"/>
                  </a:cubicBezTo>
                  <a:lnTo>
                    <a:pt x="3686" y="5262"/>
                  </a:lnTo>
                  <a:lnTo>
                    <a:pt x="2678" y="5797"/>
                  </a:lnTo>
                  <a:cubicBezTo>
                    <a:pt x="2616" y="5828"/>
                    <a:pt x="2553" y="5842"/>
                    <a:pt x="2492" y="5842"/>
                  </a:cubicBezTo>
                  <a:cubicBezTo>
                    <a:pt x="2244" y="5842"/>
                    <a:pt x="2035" y="5609"/>
                    <a:pt x="2111" y="5356"/>
                  </a:cubicBezTo>
                  <a:lnTo>
                    <a:pt x="2300" y="4285"/>
                  </a:lnTo>
                  <a:lnTo>
                    <a:pt x="1512" y="3561"/>
                  </a:lnTo>
                  <a:cubicBezTo>
                    <a:pt x="1323" y="3308"/>
                    <a:pt x="1418" y="2867"/>
                    <a:pt x="1796" y="2836"/>
                  </a:cubicBezTo>
                  <a:lnTo>
                    <a:pt x="2836" y="2678"/>
                  </a:lnTo>
                  <a:lnTo>
                    <a:pt x="3308" y="1702"/>
                  </a:lnTo>
                  <a:cubicBezTo>
                    <a:pt x="3387" y="1544"/>
                    <a:pt x="3537" y="1465"/>
                    <a:pt x="3686" y="1465"/>
                  </a:cubicBezTo>
                  <a:close/>
                  <a:moveTo>
                    <a:pt x="3718" y="0"/>
                  </a:moveTo>
                  <a:cubicBezTo>
                    <a:pt x="1670" y="0"/>
                    <a:pt x="32" y="1670"/>
                    <a:pt x="32" y="3750"/>
                  </a:cubicBezTo>
                  <a:cubicBezTo>
                    <a:pt x="0" y="5766"/>
                    <a:pt x="1670" y="7436"/>
                    <a:pt x="3718" y="7436"/>
                  </a:cubicBezTo>
                  <a:cubicBezTo>
                    <a:pt x="5765" y="7436"/>
                    <a:pt x="7404" y="5797"/>
                    <a:pt x="7467" y="3750"/>
                  </a:cubicBezTo>
                  <a:cubicBezTo>
                    <a:pt x="7467" y="1702"/>
                    <a:pt x="5797" y="32"/>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1"/>
            <p:cNvSpPr/>
            <p:nvPr/>
          </p:nvSpPr>
          <p:spPr>
            <a:xfrm>
              <a:off x="-41726500" y="3586725"/>
              <a:ext cx="151250" cy="147800"/>
            </a:xfrm>
            <a:custGeom>
              <a:avLst/>
              <a:gdLst/>
              <a:ahLst/>
              <a:cxnLst/>
              <a:rect l="l" t="t" r="r" b="b"/>
              <a:pathLst>
                <a:path w="6050" h="5912" extrusionOk="0">
                  <a:moveTo>
                    <a:pt x="3829" y="0"/>
                  </a:moveTo>
                  <a:cubicBezTo>
                    <a:pt x="3706" y="0"/>
                    <a:pt x="3580" y="47"/>
                    <a:pt x="3498" y="146"/>
                  </a:cubicBezTo>
                  <a:lnTo>
                    <a:pt x="1" y="4336"/>
                  </a:lnTo>
                  <a:cubicBezTo>
                    <a:pt x="1229" y="4399"/>
                    <a:pt x="2332" y="4998"/>
                    <a:pt x="3088" y="5912"/>
                  </a:cubicBezTo>
                  <a:lnTo>
                    <a:pt x="5861" y="2446"/>
                  </a:lnTo>
                  <a:cubicBezTo>
                    <a:pt x="6050" y="2289"/>
                    <a:pt x="6050" y="2037"/>
                    <a:pt x="5924" y="1879"/>
                  </a:cubicBezTo>
                  <a:lnTo>
                    <a:pt x="4128" y="115"/>
                  </a:lnTo>
                  <a:cubicBezTo>
                    <a:pt x="4053" y="40"/>
                    <a:pt x="3942" y="0"/>
                    <a:pt x="3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1"/>
            <p:cNvSpPr/>
            <p:nvPr/>
          </p:nvSpPr>
          <p:spPr>
            <a:xfrm>
              <a:off x="-41808400" y="3584850"/>
              <a:ext cx="148100" cy="89825"/>
            </a:xfrm>
            <a:custGeom>
              <a:avLst/>
              <a:gdLst/>
              <a:ahLst/>
              <a:cxnLst/>
              <a:rect l="l" t="t" r="r" b="b"/>
              <a:pathLst>
                <a:path w="5924" h="3593" extrusionOk="0">
                  <a:moveTo>
                    <a:pt x="0" y="1"/>
                  </a:moveTo>
                  <a:lnTo>
                    <a:pt x="2962" y="3592"/>
                  </a:lnTo>
                  <a:lnTo>
                    <a:pt x="5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1"/>
            <p:cNvSpPr/>
            <p:nvPr/>
          </p:nvSpPr>
          <p:spPr>
            <a:xfrm>
              <a:off x="-41893475" y="3586725"/>
              <a:ext cx="148875" cy="147025"/>
            </a:xfrm>
            <a:custGeom>
              <a:avLst/>
              <a:gdLst/>
              <a:ahLst/>
              <a:cxnLst/>
              <a:rect l="l" t="t" r="r" b="b"/>
              <a:pathLst>
                <a:path w="5955" h="5881" extrusionOk="0">
                  <a:moveTo>
                    <a:pt x="2194" y="0"/>
                  </a:moveTo>
                  <a:cubicBezTo>
                    <a:pt x="2084" y="0"/>
                    <a:pt x="1965" y="40"/>
                    <a:pt x="1859" y="115"/>
                  </a:cubicBezTo>
                  <a:lnTo>
                    <a:pt x="95" y="1879"/>
                  </a:lnTo>
                  <a:cubicBezTo>
                    <a:pt x="1" y="2037"/>
                    <a:pt x="1" y="2289"/>
                    <a:pt x="95" y="2446"/>
                  </a:cubicBezTo>
                  <a:lnTo>
                    <a:pt x="2899" y="5880"/>
                  </a:lnTo>
                  <a:cubicBezTo>
                    <a:pt x="3655" y="4998"/>
                    <a:pt x="4758" y="4399"/>
                    <a:pt x="5955" y="4305"/>
                  </a:cubicBezTo>
                  <a:lnTo>
                    <a:pt x="2490" y="146"/>
                  </a:lnTo>
                  <a:cubicBezTo>
                    <a:pt x="2424" y="47"/>
                    <a:pt x="2315" y="0"/>
                    <a:pt x="21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50" name="Google Shape;6450;p71"/>
          <p:cNvSpPr/>
          <p:nvPr/>
        </p:nvSpPr>
        <p:spPr>
          <a:xfrm>
            <a:off x="2133283" y="2188587"/>
            <a:ext cx="371814" cy="369302"/>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1"/>
          <p:cNvSpPr/>
          <p:nvPr/>
        </p:nvSpPr>
        <p:spPr>
          <a:xfrm>
            <a:off x="845041" y="2680925"/>
            <a:ext cx="438997" cy="369039"/>
          </a:xfrm>
          <a:custGeom>
            <a:avLst/>
            <a:gdLst/>
            <a:ahLst/>
            <a:cxnLst/>
            <a:rect l="l" t="t" r="r" b="b"/>
            <a:pathLst>
              <a:path w="15029" h="12634" extrusionOk="0">
                <a:moveTo>
                  <a:pt x="10155" y="885"/>
                </a:moveTo>
                <a:cubicBezTo>
                  <a:pt x="10393" y="885"/>
                  <a:pt x="10643" y="915"/>
                  <a:pt x="10901" y="977"/>
                </a:cubicBezTo>
                <a:cubicBezTo>
                  <a:pt x="10586" y="2332"/>
                  <a:pt x="9546" y="2994"/>
                  <a:pt x="8475" y="3025"/>
                </a:cubicBezTo>
                <a:lnTo>
                  <a:pt x="8444" y="3025"/>
                </a:lnTo>
                <a:cubicBezTo>
                  <a:pt x="8192" y="3025"/>
                  <a:pt x="7971" y="2994"/>
                  <a:pt x="7719" y="2899"/>
                </a:cubicBezTo>
                <a:cubicBezTo>
                  <a:pt x="8009" y="1661"/>
                  <a:pt x="8937" y="885"/>
                  <a:pt x="10155" y="885"/>
                </a:cubicBezTo>
                <a:close/>
                <a:moveTo>
                  <a:pt x="9924" y="4348"/>
                </a:moveTo>
                <a:cubicBezTo>
                  <a:pt x="10271" y="4443"/>
                  <a:pt x="11122" y="5262"/>
                  <a:pt x="11122" y="6648"/>
                </a:cubicBezTo>
                <a:cubicBezTo>
                  <a:pt x="11122" y="7247"/>
                  <a:pt x="10996" y="7845"/>
                  <a:pt x="10807" y="8381"/>
                </a:cubicBezTo>
                <a:cubicBezTo>
                  <a:pt x="10744" y="8538"/>
                  <a:pt x="10555" y="8664"/>
                  <a:pt x="10397" y="8664"/>
                </a:cubicBezTo>
                <a:cubicBezTo>
                  <a:pt x="10176" y="8664"/>
                  <a:pt x="9956" y="8475"/>
                  <a:pt x="9956" y="8223"/>
                </a:cubicBezTo>
                <a:cubicBezTo>
                  <a:pt x="9956" y="8066"/>
                  <a:pt x="10807" y="6050"/>
                  <a:pt x="9641" y="5136"/>
                </a:cubicBezTo>
                <a:cubicBezTo>
                  <a:pt x="9546" y="5073"/>
                  <a:pt x="9483" y="4947"/>
                  <a:pt x="9483" y="4789"/>
                </a:cubicBezTo>
                <a:cubicBezTo>
                  <a:pt x="9483" y="4569"/>
                  <a:pt x="9704" y="4348"/>
                  <a:pt x="9924" y="4348"/>
                </a:cubicBezTo>
                <a:close/>
                <a:moveTo>
                  <a:pt x="10176" y="1"/>
                </a:moveTo>
                <a:cubicBezTo>
                  <a:pt x="8948" y="1"/>
                  <a:pt x="7688" y="631"/>
                  <a:pt x="7089" y="2048"/>
                </a:cubicBezTo>
                <a:cubicBezTo>
                  <a:pt x="6711" y="1450"/>
                  <a:pt x="6270" y="1166"/>
                  <a:pt x="5734" y="914"/>
                </a:cubicBezTo>
                <a:cubicBezTo>
                  <a:pt x="5659" y="879"/>
                  <a:pt x="5588" y="863"/>
                  <a:pt x="5522" y="863"/>
                </a:cubicBezTo>
                <a:cubicBezTo>
                  <a:pt x="5118" y="863"/>
                  <a:pt x="4923" y="1449"/>
                  <a:pt x="5356" y="1639"/>
                </a:cubicBezTo>
                <a:cubicBezTo>
                  <a:pt x="5986" y="1954"/>
                  <a:pt x="6459" y="2363"/>
                  <a:pt x="6711" y="3151"/>
                </a:cubicBezTo>
                <a:cubicBezTo>
                  <a:pt x="6207" y="2836"/>
                  <a:pt x="5797" y="2489"/>
                  <a:pt x="5199" y="2489"/>
                </a:cubicBezTo>
                <a:cubicBezTo>
                  <a:pt x="4537" y="2521"/>
                  <a:pt x="3718" y="2868"/>
                  <a:pt x="2993" y="3529"/>
                </a:cubicBezTo>
                <a:cubicBezTo>
                  <a:pt x="0" y="6491"/>
                  <a:pt x="3182" y="12634"/>
                  <a:pt x="5514" y="12634"/>
                </a:cubicBezTo>
                <a:cubicBezTo>
                  <a:pt x="5829" y="12634"/>
                  <a:pt x="6144" y="12571"/>
                  <a:pt x="6427" y="12350"/>
                </a:cubicBezTo>
                <a:cubicBezTo>
                  <a:pt x="6821" y="12098"/>
                  <a:pt x="7050" y="11972"/>
                  <a:pt x="7278" y="11972"/>
                </a:cubicBezTo>
                <a:cubicBezTo>
                  <a:pt x="7506" y="11972"/>
                  <a:pt x="7735" y="12098"/>
                  <a:pt x="8129" y="12350"/>
                </a:cubicBezTo>
                <a:cubicBezTo>
                  <a:pt x="8412" y="12571"/>
                  <a:pt x="8727" y="12634"/>
                  <a:pt x="9042" y="12634"/>
                </a:cubicBezTo>
                <a:cubicBezTo>
                  <a:pt x="11594" y="12634"/>
                  <a:pt x="15028" y="5325"/>
                  <a:pt x="10712" y="2899"/>
                </a:cubicBezTo>
                <a:cubicBezTo>
                  <a:pt x="11405" y="2237"/>
                  <a:pt x="11815" y="1261"/>
                  <a:pt x="11815" y="662"/>
                </a:cubicBezTo>
                <a:cubicBezTo>
                  <a:pt x="11815" y="505"/>
                  <a:pt x="11720" y="347"/>
                  <a:pt x="11563" y="284"/>
                </a:cubicBezTo>
                <a:cubicBezTo>
                  <a:pt x="11090" y="127"/>
                  <a:pt x="10649" y="1"/>
                  <a:pt x="101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52" name="Google Shape;6452;p71"/>
          <p:cNvGrpSpPr/>
          <p:nvPr/>
        </p:nvGrpSpPr>
        <p:grpSpPr>
          <a:xfrm>
            <a:off x="900338" y="3139579"/>
            <a:ext cx="337522" cy="370909"/>
            <a:chOff x="-39998250" y="3605325"/>
            <a:chExt cx="288875" cy="317450"/>
          </a:xfrm>
        </p:grpSpPr>
        <p:sp>
          <p:nvSpPr>
            <p:cNvPr id="6453" name="Google Shape;6453;p71"/>
            <p:cNvSpPr/>
            <p:nvPr/>
          </p:nvSpPr>
          <p:spPr>
            <a:xfrm>
              <a:off x="-39998250" y="3799600"/>
              <a:ext cx="288875" cy="123175"/>
            </a:xfrm>
            <a:custGeom>
              <a:avLst/>
              <a:gdLst/>
              <a:ahLst/>
              <a:cxnLst/>
              <a:rect l="l" t="t" r="r" b="b"/>
              <a:pathLst>
                <a:path w="11555" h="4927" extrusionOk="0">
                  <a:moveTo>
                    <a:pt x="3679" y="2028"/>
                  </a:moveTo>
                  <a:cubicBezTo>
                    <a:pt x="3931" y="2028"/>
                    <a:pt x="4088" y="2217"/>
                    <a:pt x="4088" y="2469"/>
                  </a:cubicBezTo>
                  <a:cubicBezTo>
                    <a:pt x="4088" y="2721"/>
                    <a:pt x="3868" y="2878"/>
                    <a:pt x="3679" y="2878"/>
                  </a:cubicBezTo>
                  <a:cubicBezTo>
                    <a:pt x="3458" y="2878"/>
                    <a:pt x="3238" y="2658"/>
                    <a:pt x="3238" y="2469"/>
                  </a:cubicBezTo>
                  <a:cubicBezTo>
                    <a:pt x="3238" y="2185"/>
                    <a:pt x="3458" y="2028"/>
                    <a:pt x="3679" y="2028"/>
                  </a:cubicBezTo>
                  <a:close/>
                  <a:moveTo>
                    <a:pt x="7806" y="1618"/>
                  </a:moveTo>
                  <a:cubicBezTo>
                    <a:pt x="8278" y="1618"/>
                    <a:pt x="8656" y="1965"/>
                    <a:pt x="8656" y="2437"/>
                  </a:cubicBezTo>
                  <a:cubicBezTo>
                    <a:pt x="8656" y="2910"/>
                    <a:pt x="8278" y="3256"/>
                    <a:pt x="7806" y="3256"/>
                  </a:cubicBezTo>
                  <a:cubicBezTo>
                    <a:pt x="7333" y="3256"/>
                    <a:pt x="6987" y="2910"/>
                    <a:pt x="6987" y="2437"/>
                  </a:cubicBezTo>
                  <a:cubicBezTo>
                    <a:pt x="6987" y="1965"/>
                    <a:pt x="7333" y="1618"/>
                    <a:pt x="7806" y="1618"/>
                  </a:cubicBezTo>
                  <a:close/>
                  <a:moveTo>
                    <a:pt x="5348" y="2878"/>
                  </a:moveTo>
                  <a:cubicBezTo>
                    <a:pt x="5569" y="2878"/>
                    <a:pt x="5758" y="3067"/>
                    <a:pt x="5758" y="3256"/>
                  </a:cubicBezTo>
                  <a:cubicBezTo>
                    <a:pt x="5758" y="3509"/>
                    <a:pt x="5569" y="3698"/>
                    <a:pt x="5348" y="3698"/>
                  </a:cubicBezTo>
                  <a:cubicBezTo>
                    <a:pt x="5096" y="3698"/>
                    <a:pt x="4907" y="3509"/>
                    <a:pt x="4907" y="3256"/>
                  </a:cubicBezTo>
                  <a:cubicBezTo>
                    <a:pt x="4907" y="3004"/>
                    <a:pt x="5096" y="2878"/>
                    <a:pt x="5348" y="2878"/>
                  </a:cubicBezTo>
                  <a:close/>
                  <a:moveTo>
                    <a:pt x="8249" y="1"/>
                  </a:moveTo>
                  <a:cubicBezTo>
                    <a:pt x="6319" y="1"/>
                    <a:pt x="5400" y="1530"/>
                    <a:pt x="3381" y="1530"/>
                  </a:cubicBezTo>
                  <a:cubicBezTo>
                    <a:pt x="2909" y="1530"/>
                    <a:pt x="2377" y="1447"/>
                    <a:pt x="1757" y="1240"/>
                  </a:cubicBezTo>
                  <a:lnTo>
                    <a:pt x="560" y="2973"/>
                  </a:lnTo>
                  <a:cubicBezTo>
                    <a:pt x="0" y="3812"/>
                    <a:pt x="544" y="4927"/>
                    <a:pt x="1557" y="4927"/>
                  </a:cubicBezTo>
                  <a:cubicBezTo>
                    <a:pt x="1571" y="4927"/>
                    <a:pt x="1585" y="4927"/>
                    <a:pt x="1599" y="4926"/>
                  </a:cubicBezTo>
                  <a:lnTo>
                    <a:pt x="9980" y="4926"/>
                  </a:lnTo>
                  <a:cubicBezTo>
                    <a:pt x="10956" y="4926"/>
                    <a:pt x="11555" y="3761"/>
                    <a:pt x="11019" y="2941"/>
                  </a:cubicBezTo>
                  <a:lnTo>
                    <a:pt x="9003" y="75"/>
                  </a:lnTo>
                  <a:cubicBezTo>
                    <a:pt x="8734" y="24"/>
                    <a:pt x="8484" y="1"/>
                    <a:pt x="8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1"/>
            <p:cNvSpPr/>
            <p:nvPr/>
          </p:nvSpPr>
          <p:spPr>
            <a:xfrm>
              <a:off x="-39940950" y="3605325"/>
              <a:ext cx="160700" cy="212050"/>
            </a:xfrm>
            <a:custGeom>
              <a:avLst/>
              <a:gdLst/>
              <a:ahLst/>
              <a:cxnLst/>
              <a:rect l="l" t="t" r="r" b="b"/>
              <a:pathLst>
                <a:path w="6428" h="8482" extrusionOk="0">
                  <a:moveTo>
                    <a:pt x="1891" y="1"/>
                  </a:moveTo>
                  <a:cubicBezTo>
                    <a:pt x="1229" y="1"/>
                    <a:pt x="694" y="568"/>
                    <a:pt x="694" y="1261"/>
                  </a:cubicBezTo>
                  <a:cubicBezTo>
                    <a:pt x="694" y="1828"/>
                    <a:pt x="1040" y="2238"/>
                    <a:pt x="1513" y="2395"/>
                  </a:cubicBezTo>
                  <a:lnTo>
                    <a:pt x="1513" y="5829"/>
                  </a:lnTo>
                  <a:cubicBezTo>
                    <a:pt x="1481" y="6459"/>
                    <a:pt x="1072" y="6774"/>
                    <a:pt x="0" y="8318"/>
                  </a:cubicBezTo>
                  <a:cubicBezTo>
                    <a:pt x="441" y="8433"/>
                    <a:pt x="822" y="8482"/>
                    <a:pt x="1162" y="8482"/>
                  </a:cubicBezTo>
                  <a:cubicBezTo>
                    <a:pt x="3061" y="8482"/>
                    <a:pt x="3671" y="6963"/>
                    <a:pt x="6049" y="6963"/>
                  </a:cubicBezTo>
                  <a:lnTo>
                    <a:pt x="6112" y="6963"/>
                  </a:lnTo>
                  <a:cubicBezTo>
                    <a:pt x="5829" y="6585"/>
                    <a:pt x="5608" y="6333"/>
                    <a:pt x="5608" y="5861"/>
                  </a:cubicBezTo>
                  <a:lnTo>
                    <a:pt x="5608" y="2458"/>
                  </a:lnTo>
                  <a:cubicBezTo>
                    <a:pt x="6081" y="2301"/>
                    <a:pt x="6427" y="1828"/>
                    <a:pt x="6427" y="1261"/>
                  </a:cubicBezTo>
                  <a:cubicBezTo>
                    <a:pt x="6427" y="599"/>
                    <a:pt x="5892" y="1"/>
                    <a:pt x="51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5" name="Google Shape;6455;p71"/>
          <p:cNvGrpSpPr/>
          <p:nvPr/>
        </p:nvGrpSpPr>
        <p:grpSpPr>
          <a:xfrm>
            <a:off x="884112" y="3598043"/>
            <a:ext cx="369974" cy="369945"/>
            <a:chOff x="-40011050" y="3972375"/>
            <a:chExt cx="316650" cy="316625"/>
          </a:xfrm>
        </p:grpSpPr>
        <p:sp>
          <p:nvSpPr>
            <p:cNvPr id="6456" name="Google Shape;6456;p71"/>
            <p:cNvSpPr/>
            <p:nvPr/>
          </p:nvSpPr>
          <p:spPr>
            <a:xfrm>
              <a:off x="-40011050" y="3972375"/>
              <a:ext cx="316650" cy="232350"/>
            </a:xfrm>
            <a:custGeom>
              <a:avLst/>
              <a:gdLst/>
              <a:ahLst/>
              <a:cxnLst/>
              <a:rect l="l" t="t" r="r" b="b"/>
              <a:pathLst>
                <a:path w="12666" h="9294" extrusionOk="0">
                  <a:moveTo>
                    <a:pt x="11405" y="1701"/>
                  </a:moveTo>
                  <a:cubicBezTo>
                    <a:pt x="11626" y="1701"/>
                    <a:pt x="11846" y="1890"/>
                    <a:pt x="11846" y="2142"/>
                  </a:cubicBezTo>
                  <a:cubicBezTo>
                    <a:pt x="11846" y="3749"/>
                    <a:pt x="11090" y="4663"/>
                    <a:pt x="9956" y="4978"/>
                  </a:cubicBezTo>
                  <a:cubicBezTo>
                    <a:pt x="10051" y="4631"/>
                    <a:pt x="10145" y="4222"/>
                    <a:pt x="10145" y="3844"/>
                  </a:cubicBezTo>
                  <a:lnTo>
                    <a:pt x="10145" y="1701"/>
                  </a:lnTo>
                  <a:close/>
                  <a:moveTo>
                    <a:pt x="2584" y="1701"/>
                  </a:moveTo>
                  <a:lnTo>
                    <a:pt x="2584" y="3812"/>
                  </a:lnTo>
                  <a:cubicBezTo>
                    <a:pt x="2584" y="4222"/>
                    <a:pt x="2647" y="4600"/>
                    <a:pt x="2773" y="5009"/>
                  </a:cubicBezTo>
                  <a:cubicBezTo>
                    <a:pt x="1639" y="4694"/>
                    <a:pt x="851" y="3781"/>
                    <a:pt x="851" y="2142"/>
                  </a:cubicBezTo>
                  <a:cubicBezTo>
                    <a:pt x="851" y="1890"/>
                    <a:pt x="1040" y="1701"/>
                    <a:pt x="1292" y="1701"/>
                  </a:cubicBezTo>
                  <a:close/>
                  <a:moveTo>
                    <a:pt x="4065" y="3655"/>
                  </a:moveTo>
                  <a:cubicBezTo>
                    <a:pt x="4317" y="3655"/>
                    <a:pt x="4506" y="3875"/>
                    <a:pt x="4506" y="4096"/>
                  </a:cubicBezTo>
                  <a:cubicBezTo>
                    <a:pt x="4506" y="4631"/>
                    <a:pt x="4821" y="5041"/>
                    <a:pt x="5262" y="5261"/>
                  </a:cubicBezTo>
                  <a:cubicBezTo>
                    <a:pt x="5451" y="5324"/>
                    <a:pt x="5577" y="5608"/>
                    <a:pt x="5482" y="5797"/>
                  </a:cubicBezTo>
                  <a:cubicBezTo>
                    <a:pt x="5431" y="5952"/>
                    <a:pt x="5229" y="6065"/>
                    <a:pt x="5054" y="6065"/>
                  </a:cubicBezTo>
                  <a:cubicBezTo>
                    <a:pt x="5017" y="6065"/>
                    <a:pt x="4980" y="6060"/>
                    <a:pt x="4947" y="6049"/>
                  </a:cubicBezTo>
                  <a:cubicBezTo>
                    <a:pt x="4128" y="5734"/>
                    <a:pt x="3655" y="4946"/>
                    <a:pt x="3655" y="4096"/>
                  </a:cubicBezTo>
                  <a:cubicBezTo>
                    <a:pt x="3655" y="3875"/>
                    <a:pt x="3844" y="3655"/>
                    <a:pt x="4065" y="3655"/>
                  </a:cubicBezTo>
                  <a:close/>
                  <a:moveTo>
                    <a:pt x="2993" y="0"/>
                  </a:moveTo>
                  <a:cubicBezTo>
                    <a:pt x="2741" y="0"/>
                    <a:pt x="2552" y="189"/>
                    <a:pt x="2552" y="441"/>
                  </a:cubicBezTo>
                  <a:lnTo>
                    <a:pt x="2552" y="882"/>
                  </a:lnTo>
                  <a:lnTo>
                    <a:pt x="1261" y="882"/>
                  </a:lnTo>
                  <a:cubicBezTo>
                    <a:pt x="536" y="882"/>
                    <a:pt x="1" y="1418"/>
                    <a:pt x="1" y="2142"/>
                  </a:cubicBezTo>
                  <a:cubicBezTo>
                    <a:pt x="1" y="4568"/>
                    <a:pt x="1513" y="5797"/>
                    <a:pt x="3183" y="5923"/>
                  </a:cubicBezTo>
                  <a:cubicBezTo>
                    <a:pt x="4159" y="7372"/>
                    <a:pt x="5073" y="7089"/>
                    <a:pt x="5073" y="7687"/>
                  </a:cubicBezTo>
                  <a:cubicBezTo>
                    <a:pt x="5073" y="8286"/>
                    <a:pt x="4821" y="8884"/>
                    <a:pt x="4443" y="9294"/>
                  </a:cubicBezTo>
                  <a:lnTo>
                    <a:pt x="8192" y="9294"/>
                  </a:lnTo>
                  <a:cubicBezTo>
                    <a:pt x="7782" y="8884"/>
                    <a:pt x="7562" y="8286"/>
                    <a:pt x="7562" y="7687"/>
                  </a:cubicBezTo>
                  <a:cubicBezTo>
                    <a:pt x="7562" y="7089"/>
                    <a:pt x="8507" y="7372"/>
                    <a:pt x="9484" y="5923"/>
                  </a:cubicBezTo>
                  <a:cubicBezTo>
                    <a:pt x="11216" y="5797"/>
                    <a:pt x="12666" y="4537"/>
                    <a:pt x="12666" y="2142"/>
                  </a:cubicBezTo>
                  <a:cubicBezTo>
                    <a:pt x="12666" y="1418"/>
                    <a:pt x="12098" y="882"/>
                    <a:pt x="11405" y="882"/>
                  </a:cubicBezTo>
                  <a:lnTo>
                    <a:pt x="10145" y="882"/>
                  </a:lnTo>
                  <a:lnTo>
                    <a:pt x="10145" y="441"/>
                  </a:lnTo>
                  <a:cubicBezTo>
                    <a:pt x="10145" y="189"/>
                    <a:pt x="9956"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1"/>
            <p:cNvSpPr/>
            <p:nvPr/>
          </p:nvSpPr>
          <p:spPr>
            <a:xfrm>
              <a:off x="-39950400" y="4225975"/>
              <a:ext cx="194575" cy="63025"/>
            </a:xfrm>
            <a:custGeom>
              <a:avLst/>
              <a:gdLst/>
              <a:ahLst/>
              <a:cxnLst/>
              <a:rect l="l" t="t" r="r" b="b"/>
              <a:pathLst>
                <a:path w="7783" h="2521" extrusionOk="0">
                  <a:moveTo>
                    <a:pt x="757" y="1"/>
                  </a:moveTo>
                  <a:lnTo>
                    <a:pt x="63" y="1954"/>
                  </a:lnTo>
                  <a:cubicBezTo>
                    <a:pt x="0" y="2237"/>
                    <a:pt x="158" y="2521"/>
                    <a:pt x="473" y="2521"/>
                  </a:cubicBezTo>
                  <a:lnTo>
                    <a:pt x="7278" y="2521"/>
                  </a:lnTo>
                  <a:cubicBezTo>
                    <a:pt x="7593" y="2521"/>
                    <a:pt x="7782" y="2237"/>
                    <a:pt x="7688" y="1954"/>
                  </a:cubicBezTo>
                  <a:lnTo>
                    <a:pt x="699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8" name="Google Shape;6458;p71"/>
          <p:cNvGrpSpPr/>
          <p:nvPr/>
        </p:nvGrpSpPr>
        <p:grpSpPr>
          <a:xfrm>
            <a:off x="3116043" y="2662742"/>
            <a:ext cx="266921" cy="369039"/>
            <a:chOff x="-38129425" y="3222550"/>
            <a:chExt cx="228450" cy="315850"/>
          </a:xfrm>
        </p:grpSpPr>
        <p:sp>
          <p:nvSpPr>
            <p:cNvPr id="6459" name="Google Shape;6459;p71"/>
            <p:cNvSpPr/>
            <p:nvPr/>
          </p:nvSpPr>
          <p:spPr>
            <a:xfrm>
              <a:off x="-38129425" y="3222550"/>
              <a:ext cx="228450" cy="227650"/>
            </a:xfrm>
            <a:custGeom>
              <a:avLst/>
              <a:gdLst/>
              <a:ahLst/>
              <a:cxnLst/>
              <a:rect l="l" t="t" r="r" b="b"/>
              <a:pathLst>
                <a:path w="9138" h="9106" extrusionOk="0">
                  <a:moveTo>
                    <a:pt x="4097" y="1292"/>
                  </a:moveTo>
                  <a:cubicBezTo>
                    <a:pt x="4349" y="1292"/>
                    <a:pt x="4538" y="1450"/>
                    <a:pt x="4538" y="1702"/>
                  </a:cubicBezTo>
                  <a:cubicBezTo>
                    <a:pt x="4538" y="1922"/>
                    <a:pt x="4349" y="2111"/>
                    <a:pt x="4160" y="2111"/>
                  </a:cubicBezTo>
                  <a:cubicBezTo>
                    <a:pt x="2994" y="2111"/>
                    <a:pt x="2112" y="3056"/>
                    <a:pt x="2049" y="4222"/>
                  </a:cubicBezTo>
                  <a:cubicBezTo>
                    <a:pt x="2049" y="4443"/>
                    <a:pt x="1860" y="4600"/>
                    <a:pt x="1639" y="4600"/>
                  </a:cubicBezTo>
                  <a:cubicBezTo>
                    <a:pt x="1387" y="4600"/>
                    <a:pt x="1198" y="4411"/>
                    <a:pt x="1198" y="4222"/>
                  </a:cubicBezTo>
                  <a:cubicBezTo>
                    <a:pt x="1198" y="2584"/>
                    <a:pt x="2490" y="1324"/>
                    <a:pt x="4097" y="1292"/>
                  </a:cubicBezTo>
                  <a:close/>
                  <a:moveTo>
                    <a:pt x="4569" y="0"/>
                  </a:moveTo>
                  <a:cubicBezTo>
                    <a:pt x="2049" y="0"/>
                    <a:pt x="1" y="2048"/>
                    <a:pt x="1" y="4569"/>
                  </a:cubicBezTo>
                  <a:cubicBezTo>
                    <a:pt x="1" y="6207"/>
                    <a:pt x="946" y="7688"/>
                    <a:pt x="2332" y="8475"/>
                  </a:cubicBezTo>
                  <a:cubicBezTo>
                    <a:pt x="2458" y="8507"/>
                    <a:pt x="2521" y="8664"/>
                    <a:pt x="2521" y="8822"/>
                  </a:cubicBezTo>
                  <a:lnTo>
                    <a:pt x="2521" y="9105"/>
                  </a:lnTo>
                  <a:lnTo>
                    <a:pt x="6680" y="9105"/>
                  </a:lnTo>
                  <a:lnTo>
                    <a:pt x="6680" y="8822"/>
                  </a:lnTo>
                  <a:cubicBezTo>
                    <a:pt x="6680" y="8696"/>
                    <a:pt x="6743" y="8570"/>
                    <a:pt x="6900" y="8507"/>
                  </a:cubicBezTo>
                  <a:cubicBezTo>
                    <a:pt x="8255" y="7719"/>
                    <a:pt x="9137" y="6270"/>
                    <a:pt x="9137" y="4569"/>
                  </a:cubicBezTo>
                  <a:cubicBezTo>
                    <a:pt x="9137" y="2048"/>
                    <a:pt x="7089" y="32"/>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1"/>
            <p:cNvSpPr/>
            <p:nvPr/>
          </p:nvSpPr>
          <p:spPr>
            <a:xfrm>
              <a:off x="-38067200" y="3470650"/>
              <a:ext cx="103200" cy="67750"/>
            </a:xfrm>
            <a:custGeom>
              <a:avLst/>
              <a:gdLst/>
              <a:ahLst/>
              <a:cxnLst/>
              <a:rect l="l" t="t" r="r" b="b"/>
              <a:pathLst>
                <a:path w="4128" h="2710" extrusionOk="0">
                  <a:moveTo>
                    <a:pt x="1" y="0"/>
                  </a:moveTo>
                  <a:lnTo>
                    <a:pt x="1" y="662"/>
                  </a:lnTo>
                  <a:cubicBezTo>
                    <a:pt x="1" y="1198"/>
                    <a:pt x="410" y="1702"/>
                    <a:pt x="883" y="1859"/>
                  </a:cubicBezTo>
                  <a:cubicBezTo>
                    <a:pt x="1040" y="2363"/>
                    <a:pt x="1513" y="2710"/>
                    <a:pt x="2049" y="2710"/>
                  </a:cubicBezTo>
                  <a:cubicBezTo>
                    <a:pt x="2647" y="2710"/>
                    <a:pt x="3120" y="2363"/>
                    <a:pt x="3277" y="1859"/>
                  </a:cubicBezTo>
                  <a:cubicBezTo>
                    <a:pt x="3781" y="1702"/>
                    <a:pt x="4128" y="1198"/>
                    <a:pt x="4128" y="662"/>
                  </a:cubicBez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1" name="Google Shape;6461;p71"/>
          <p:cNvGrpSpPr/>
          <p:nvPr/>
        </p:nvGrpSpPr>
        <p:grpSpPr>
          <a:xfrm>
            <a:off x="3071012" y="3119337"/>
            <a:ext cx="371785" cy="369974"/>
            <a:chOff x="-38172725" y="3588000"/>
            <a:chExt cx="318200" cy="316650"/>
          </a:xfrm>
        </p:grpSpPr>
        <p:sp>
          <p:nvSpPr>
            <p:cNvPr id="6462" name="Google Shape;6462;p71"/>
            <p:cNvSpPr/>
            <p:nvPr/>
          </p:nvSpPr>
          <p:spPr>
            <a:xfrm>
              <a:off x="-38171150" y="3760050"/>
              <a:ext cx="98475" cy="91050"/>
            </a:xfrm>
            <a:custGeom>
              <a:avLst/>
              <a:gdLst/>
              <a:ahLst/>
              <a:cxnLst/>
              <a:rect l="l" t="t" r="r" b="b"/>
              <a:pathLst>
                <a:path w="3939" h="3642" extrusionOk="0">
                  <a:moveTo>
                    <a:pt x="739" y="1"/>
                  </a:moveTo>
                  <a:cubicBezTo>
                    <a:pt x="480" y="1"/>
                    <a:pt x="232" y="12"/>
                    <a:pt x="0" y="18"/>
                  </a:cubicBezTo>
                  <a:cubicBezTo>
                    <a:pt x="95" y="1341"/>
                    <a:pt x="630" y="2602"/>
                    <a:pt x="1512" y="3641"/>
                  </a:cubicBezTo>
                  <a:lnTo>
                    <a:pt x="3938" y="1247"/>
                  </a:lnTo>
                  <a:cubicBezTo>
                    <a:pt x="2844" y="153"/>
                    <a:pt x="1711" y="1"/>
                    <a:pt x="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1"/>
            <p:cNvSpPr/>
            <p:nvPr/>
          </p:nvSpPr>
          <p:spPr>
            <a:xfrm>
              <a:off x="-38172725" y="3641575"/>
              <a:ext cx="144150" cy="133900"/>
            </a:xfrm>
            <a:custGeom>
              <a:avLst/>
              <a:gdLst/>
              <a:ahLst/>
              <a:cxnLst/>
              <a:rect l="l" t="t" r="r" b="b"/>
              <a:pathLst>
                <a:path w="5766" h="5356" extrusionOk="0">
                  <a:moveTo>
                    <a:pt x="1575" y="0"/>
                  </a:moveTo>
                  <a:cubicBezTo>
                    <a:pt x="599" y="1103"/>
                    <a:pt x="95" y="2520"/>
                    <a:pt x="0" y="3907"/>
                  </a:cubicBezTo>
                  <a:cubicBezTo>
                    <a:pt x="213" y="3901"/>
                    <a:pt x="452" y="3891"/>
                    <a:pt x="712" y="3891"/>
                  </a:cubicBezTo>
                  <a:cubicBezTo>
                    <a:pt x="1801" y="3891"/>
                    <a:pt x="3246" y="4059"/>
                    <a:pt x="4568" y="5356"/>
                  </a:cubicBezTo>
                  <a:lnTo>
                    <a:pt x="5766" y="4190"/>
                  </a:ln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1"/>
            <p:cNvSpPr/>
            <p:nvPr/>
          </p:nvSpPr>
          <p:spPr>
            <a:xfrm>
              <a:off x="-38117600" y="3806975"/>
              <a:ext cx="77200" cy="94525"/>
            </a:xfrm>
            <a:custGeom>
              <a:avLst/>
              <a:gdLst/>
              <a:ahLst/>
              <a:cxnLst/>
              <a:rect l="l" t="t" r="r" b="b"/>
              <a:pathLst>
                <a:path w="3088" h="3781" extrusionOk="0">
                  <a:moveTo>
                    <a:pt x="2332" y="0"/>
                  </a:moveTo>
                  <a:lnTo>
                    <a:pt x="0" y="2331"/>
                  </a:lnTo>
                  <a:cubicBezTo>
                    <a:pt x="883" y="3088"/>
                    <a:pt x="1891" y="3592"/>
                    <a:pt x="2962" y="3781"/>
                  </a:cubicBezTo>
                  <a:cubicBezTo>
                    <a:pt x="3088" y="2363"/>
                    <a:pt x="3088" y="1197"/>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1"/>
            <p:cNvSpPr/>
            <p:nvPr/>
          </p:nvSpPr>
          <p:spPr>
            <a:xfrm>
              <a:off x="-37997875" y="3716375"/>
              <a:ext cx="143350" cy="135500"/>
            </a:xfrm>
            <a:custGeom>
              <a:avLst/>
              <a:gdLst/>
              <a:ahLst/>
              <a:cxnLst/>
              <a:rect l="l" t="t" r="r" b="b"/>
              <a:pathLst>
                <a:path w="5734" h="5420" extrusionOk="0">
                  <a:moveTo>
                    <a:pt x="1197" y="1"/>
                  </a:moveTo>
                  <a:lnTo>
                    <a:pt x="0" y="1230"/>
                  </a:lnTo>
                  <a:lnTo>
                    <a:pt x="4159" y="5420"/>
                  </a:lnTo>
                  <a:cubicBezTo>
                    <a:pt x="5199" y="4191"/>
                    <a:pt x="5703" y="2773"/>
                    <a:pt x="5734" y="1324"/>
                  </a:cubicBezTo>
                  <a:cubicBezTo>
                    <a:pt x="5557" y="1324"/>
                    <a:pt x="5356" y="1329"/>
                    <a:pt x="5135" y="1329"/>
                  </a:cubicBezTo>
                  <a:cubicBezTo>
                    <a:pt x="4098" y="1329"/>
                    <a:pt x="2626" y="1222"/>
                    <a:pt x="1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1"/>
            <p:cNvSpPr/>
            <p:nvPr/>
          </p:nvSpPr>
          <p:spPr>
            <a:xfrm>
              <a:off x="-38044350" y="3761275"/>
              <a:ext cx="135500" cy="143375"/>
            </a:xfrm>
            <a:custGeom>
              <a:avLst/>
              <a:gdLst/>
              <a:ahLst/>
              <a:cxnLst/>
              <a:rect l="l" t="t" r="r" b="b"/>
              <a:pathLst>
                <a:path w="5420" h="5735" extrusionOk="0">
                  <a:moveTo>
                    <a:pt x="1261" y="1"/>
                  </a:moveTo>
                  <a:lnTo>
                    <a:pt x="0" y="1261"/>
                  </a:lnTo>
                  <a:cubicBezTo>
                    <a:pt x="1009" y="2679"/>
                    <a:pt x="1009" y="4002"/>
                    <a:pt x="851" y="5735"/>
                  </a:cubicBezTo>
                  <a:lnTo>
                    <a:pt x="1261" y="5735"/>
                  </a:lnTo>
                  <a:cubicBezTo>
                    <a:pt x="2773" y="5735"/>
                    <a:pt x="4254" y="5231"/>
                    <a:pt x="5419" y="4159"/>
                  </a:cubicBez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1"/>
            <p:cNvSpPr/>
            <p:nvPr/>
          </p:nvSpPr>
          <p:spPr>
            <a:xfrm>
              <a:off x="-37997875" y="3588800"/>
              <a:ext cx="89025" cy="97675"/>
            </a:xfrm>
            <a:custGeom>
              <a:avLst/>
              <a:gdLst/>
              <a:ahLst/>
              <a:cxnLst/>
              <a:rect l="l" t="t" r="r" b="b"/>
              <a:pathLst>
                <a:path w="3561" h="3907" extrusionOk="0">
                  <a:moveTo>
                    <a:pt x="158" y="0"/>
                  </a:moveTo>
                  <a:lnTo>
                    <a:pt x="158" y="0"/>
                  </a:lnTo>
                  <a:cubicBezTo>
                    <a:pt x="126" y="977"/>
                    <a:pt x="0" y="2395"/>
                    <a:pt x="1260" y="3907"/>
                  </a:cubicBezTo>
                  <a:lnTo>
                    <a:pt x="3560" y="1544"/>
                  </a:lnTo>
                  <a:cubicBezTo>
                    <a:pt x="2584" y="662"/>
                    <a:pt x="1355" y="158"/>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1"/>
            <p:cNvSpPr/>
            <p:nvPr/>
          </p:nvSpPr>
          <p:spPr>
            <a:xfrm>
              <a:off x="-38117600" y="3588000"/>
              <a:ext cx="135500" cy="143375"/>
            </a:xfrm>
            <a:custGeom>
              <a:avLst/>
              <a:gdLst/>
              <a:ahLst/>
              <a:cxnLst/>
              <a:rect l="l" t="t" r="r" b="b"/>
              <a:pathLst>
                <a:path w="5420" h="5735" extrusionOk="0">
                  <a:moveTo>
                    <a:pt x="4096" y="1"/>
                  </a:moveTo>
                  <a:lnTo>
                    <a:pt x="4096" y="1"/>
                  </a:lnTo>
                  <a:cubicBezTo>
                    <a:pt x="2647" y="32"/>
                    <a:pt x="1198" y="536"/>
                    <a:pt x="0" y="1576"/>
                  </a:cubicBezTo>
                  <a:lnTo>
                    <a:pt x="4191" y="5735"/>
                  </a:lnTo>
                  <a:lnTo>
                    <a:pt x="5419" y="4506"/>
                  </a:lnTo>
                  <a:cubicBezTo>
                    <a:pt x="3939" y="2805"/>
                    <a:pt x="4065" y="1135"/>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1"/>
            <p:cNvSpPr/>
            <p:nvPr/>
          </p:nvSpPr>
          <p:spPr>
            <a:xfrm>
              <a:off x="-37953000" y="3641575"/>
              <a:ext cx="97700" cy="86350"/>
            </a:xfrm>
            <a:custGeom>
              <a:avLst/>
              <a:gdLst/>
              <a:ahLst/>
              <a:cxnLst/>
              <a:rect l="l" t="t" r="r" b="b"/>
              <a:pathLst>
                <a:path w="3908" h="3454" extrusionOk="0">
                  <a:moveTo>
                    <a:pt x="2364" y="0"/>
                  </a:moveTo>
                  <a:lnTo>
                    <a:pt x="1" y="2363"/>
                  </a:lnTo>
                  <a:cubicBezTo>
                    <a:pt x="1171" y="3313"/>
                    <a:pt x="2246" y="3453"/>
                    <a:pt x="3155" y="3453"/>
                  </a:cubicBezTo>
                  <a:cubicBezTo>
                    <a:pt x="3421" y="3453"/>
                    <a:pt x="3672" y="3441"/>
                    <a:pt x="3908" y="3434"/>
                  </a:cubicBezTo>
                  <a:cubicBezTo>
                    <a:pt x="3750" y="2205"/>
                    <a:pt x="3246" y="1008"/>
                    <a:pt x="2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0" name="Google Shape;6470;p71"/>
          <p:cNvGrpSpPr/>
          <p:nvPr/>
        </p:nvGrpSpPr>
        <p:grpSpPr>
          <a:xfrm>
            <a:off x="3146914" y="3577772"/>
            <a:ext cx="219981" cy="369974"/>
            <a:chOff x="-38109725" y="3955025"/>
            <a:chExt cx="188275" cy="316650"/>
          </a:xfrm>
        </p:grpSpPr>
        <p:sp>
          <p:nvSpPr>
            <p:cNvPr id="6471" name="Google Shape;6471;p71"/>
            <p:cNvSpPr/>
            <p:nvPr/>
          </p:nvSpPr>
          <p:spPr>
            <a:xfrm>
              <a:off x="-38109725" y="3955025"/>
              <a:ext cx="188275" cy="220575"/>
            </a:xfrm>
            <a:custGeom>
              <a:avLst/>
              <a:gdLst/>
              <a:ahLst/>
              <a:cxnLst/>
              <a:rect l="l" t="t" r="r" b="b"/>
              <a:pathLst>
                <a:path w="7531" h="8823" extrusionOk="0">
                  <a:moveTo>
                    <a:pt x="3372" y="1"/>
                  </a:moveTo>
                  <a:lnTo>
                    <a:pt x="95" y="5703"/>
                  </a:lnTo>
                  <a:cubicBezTo>
                    <a:pt x="1" y="5829"/>
                    <a:pt x="1" y="5987"/>
                    <a:pt x="95" y="6113"/>
                  </a:cubicBezTo>
                  <a:lnTo>
                    <a:pt x="1418" y="8822"/>
                  </a:lnTo>
                  <a:lnTo>
                    <a:pt x="6081" y="8822"/>
                  </a:lnTo>
                  <a:lnTo>
                    <a:pt x="7467" y="6113"/>
                  </a:lnTo>
                  <a:cubicBezTo>
                    <a:pt x="7530" y="5987"/>
                    <a:pt x="7499" y="5829"/>
                    <a:pt x="7467" y="5703"/>
                  </a:cubicBezTo>
                  <a:lnTo>
                    <a:pt x="4191" y="1"/>
                  </a:lnTo>
                  <a:lnTo>
                    <a:pt x="4191" y="4727"/>
                  </a:lnTo>
                  <a:cubicBezTo>
                    <a:pt x="4663" y="4884"/>
                    <a:pt x="5010" y="5357"/>
                    <a:pt x="5010" y="5892"/>
                  </a:cubicBezTo>
                  <a:cubicBezTo>
                    <a:pt x="5010" y="6585"/>
                    <a:pt x="4474" y="7121"/>
                    <a:pt x="3750" y="7121"/>
                  </a:cubicBezTo>
                  <a:cubicBezTo>
                    <a:pt x="3088" y="7121"/>
                    <a:pt x="2521" y="6585"/>
                    <a:pt x="2521" y="5892"/>
                  </a:cubicBezTo>
                  <a:cubicBezTo>
                    <a:pt x="2521" y="5357"/>
                    <a:pt x="2899" y="4916"/>
                    <a:pt x="3372" y="4727"/>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1"/>
            <p:cNvSpPr/>
            <p:nvPr/>
          </p:nvSpPr>
          <p:spPr>
            <a:xfrm>
              <a:off x="-38067200" y="4196050"/>
              <a:ext cx="104775" cy="75625"/>
            </a:xfrm>
            <a:custGeom>
              <a:avLst/>
              <a:gdLst/>
              <a:ahLst/>
              <a:cxnLst/>
              <a:rect l="l" t="t" r="r" b="b"/>
              <a:pathLst>
                <a:path w="4191" h="3025" extrusionOk="0">
                  <a:moveTo>
                    <a:pt x="32" y="0"/>
                  </a:moveTo>
                  <a:lnTo>
                    <a:pt x="32" y="2615"/>
                  </a:lnTo>
                  <a:cubicBezTo>
                    <a:pt x="1" y="2836"/>
                    <a:pt x="190" y="3025"/>
                    <a:pt x="442" y="3025"/>
                  </a:cubicBezTo>
                  <a:lnTo>
                    <a:pt x="3750" y="3025"/>
                  </a:lnTo>
                  <a:cubicBezTo>
                    <a:pt x="3970" y="3025"/>
                    <a:pt x="4191" y="2836"/>
                    <a:pt x="4191" y="2615"/>
                  </a:cubicBezTo>
                  <a:lnTo>
                    <a:pt x="41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73" name="Google Shape;6473;p71"/>
          <p:cNvSpPr/>
          <p:nvPr/>
        </p:nvSpPr>
        <p:spPr>
          <a:xfrm>
            <a:off x="2248517" y="4037533"/>
            <a:ext cx="383790" cy="370266"/>
          </a:xfrm>
          <a:custGeom>
            <a:avLst/>
            <a:gdLst/>
            <a:ahLst/>
            <a:cxnLst/>
            <a:rect l="l" t="t" r="r" b="b"/>
            <a:pathLst>
              <a:path w="13139" h="12676" extrusionOk="0">
                <a:moveTo>
                  <a:pt x="7184" y="1702"/>
                </a:moveTo>
                <a:cubicBezTo>
                  <a:pt x="7909" y="1702"/>
                  <a:pt x="8444" y="2237"/>
                  <a:pt x="8444" y="2962"/>
                </a:cubicBezTo>
                <a:cubicBezTo>
                  <a:pt x="8444" y="3623"/>
                  <a:pt x="7877" y="4222"/>
                  <a:pt x="7184" y="4222"/>
                </a:cubicBezTo>
                <a:cubicBezTo>
                  <a:pt x="6491" y="4222"/>
                  <a:pt x="5955" y="3655"/>
                  <a:pt x="5955" y="2962"/>
                </a:cubicBezTo>
                <a:cubicBezTo>
                  <a:pt x="5955" y="2237"/>
                  <a:pt x="6491" y="1702"/>
                  <a:pt x="7184" y="1702"/>
                </a:cubicBezTo>
                <a:close/>
                <a:moveTo>
                  <a:pt x="3813" y="2521"/>
                </a:moveTo>
                <a:cubicBezTo>
                  <a:pt x="4506" y="2521"/>
                  <a:pt x="5073" y="3056"/>
                  <a:pt x="5073" y="3781"/>
                </a:cubicBezTo>
                <a:cubicBezTo>
                  <a:pt x="5073" y="4474"/>
                  <a:pt x="4506" y="5041"/>
                  <a:pt x="3813" y="5041"/>
                </a:cubicBezTo>
                <a:cubicBezTo>
                  <a:pt x="3088" y="5041"/>
                  <a:pt x="2553" y="4474"/>
                  <a:pt x="2553" y="3781"/>
                </a:cubicBezTo>
                <a:cubicBezTo>
                  <a:pt x="2521" y="3056"/>
                  <a:pt x="3088" y="2521"/>
                  <a:pt x="3813" y="2521"/>
                </a:cubicBezTo>
                <a:close/>
                <a:moveTo>
                  <a:pt x="2931" y="5892"/>
                </a:moveTo>
                <a:cubicBezTo>
                  <a:pt x="3656" y="5892"/>
                  <a:pt x="4191" y="6459"/>
                  <a:pt x="4191" y="7152"/>
                </a:cubicBezTo>
                <a:cubicBezTo>
                  <a:pt x="4191" y="7877"/>
                  <a:pt x="3656" y="8412"/>
                  <a:pt x="2931" y="8412"/>
                </a:cubicBezTo>
                <a:cubicBezTo>
                  <a:pt x="2238" y="8412"/>
                  <a:pt x="1671" y="7877"/>
                  <a:pt x="1671" y="7152"/>
                </a:cubicBezTo>
                <a:cubicBezTo>
                  <a:pt x="1671" y="6459"/>
                  <a:pt x="2238" y="5892"/>
                  <a:pt x="2931" y="5892"/>
                </a:cubicBezTo>
                <a:close/>
                <a:moveTo>
                  <a:pt x="5514" y="8475"/>
                </a:moveTo>
                <a:cubicBezTo>
                  <a:pt x="6207" y="8475"/>
                  <a:pt x="6775" y="9011"/>
                  <a:pt x="6775" y="9735"/>
                </a:cubicBezTo>
                <a:cubicBezTo>
                  <a:pt x="6775" y="10397"/>
                  <a:pt x="6176" y="10996"/>
                  <a:pt x="5514" y="10996"/>
                </a:cubicBezTo>
                <a:cubicBezTo>
                  <a:pt x="4790" y="10996"/>
                  <a:pt x="4254" y="10429"/>
                  <a:pt x="4254" y="9735"/>
                </a:cubicBezTo>
                <a:cubicBezTo>
                  <a:pt x="4254" y="9011"/>
                  <a:pt x="4790" y="8475"/>
                  <a:pt x="5514" y="8475"/>
                </a:cubicBezTo>
                <a:close/>
                <a:moveTo>
                  <a:pt x="6333" y="0"/>
                </a:moveTo>
                <a:cubicBezTo>
                  <a:pt x="2836" y="0"/>
                  <a:pt x="1" y="2836"/>
                  <a:pt x="1" y="6333"/>
                </a:cubicBezTo>
                <a:cubicBezTo>
                  <a:pt x="1" y="9420"/>
                  <a:pt x="2143" y="11878"/>
                  <a:pt x="4916" y="12508"/>
                </a:cubicBezTo>
                <a:cubicBezTo>
                  <a:pt x="5408" y="12621"/>
                  <a:pt x="5838" y="12675"/>
                  <a:pt x="6211" y="12675"/>
                </a:cubicBezTo>
                <a:cubicBezTo>
                  <a:pt x="7914" y="12675"/>
                  <a:pt x="8444" y="11545"/>
                  <a:pt x="8444" y="9735"/>
                </a:cubicBezTo>
                <a:cubicBezTo>
                  <a:pt x="8444" y="9011"/>
                  <a:pt x="9011" y="8475"/>
                  <a:pt x="9705" y="8475"/>
                </a:cubicBezTo>
                <a:cubicBezTo>
                  <a:pt x="11878" y="8475"/>
                  <a:pt x="13139" y="7719"/>
                  <a:pt x="12508" y="4915"/>
                </a:cubicBezTo>
                <a:cubicBezTo>
                  <a:pt x="11878" y="2206"/>
                  <a:pt x="9452"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74" name="Google Shape;6474;p71"/>
          <p:cNvGrpSpPr/>
          <p:nvPr/>
        </p:nvGrpSpPr>
        <p:grpSpPr>
          <a:xfrm>
            <a:off x="2562313" y="1309193"/>
            <a:ext cx="373654" cy="369068"/>
            <a:chOff x="-41530375" y="3218800"/>
            <a:chExt cx="319800" cy="315875"/>
          </a:xfrm>
        </p:grpSpPr>
        <p:sp>
          <p:nvSpPr>
            <p:cNvPr id="6475" name="Google Shape;6475;p71"/>
            <p:cNvSpPr/>
            <p:nvPr/>
          </p:nvSpPr>
          <p:spPr>
            <a:xfrm>
              <a:off x="-41530375" y="3337550"/>
              <a:ext cx="199300" cy="197125"/>
            </a:xfrm>
            <a:custGeom>
              <a:avLst/>
              <a:gdLst/>
              <a:ahLst/>
              <a:cxnLst/>
              <a:rect l="l" t="t" r="r" b="b"/>
              <a:pathLst>
                <a:path w="7972" h="7885" extrusionOk="0">
                  <a:moveTo>
                    <a:pt x="3245" y="0"/>
                  </a:moveTo>
                  <a:lnTo>
                    <a:pt x="473" y="2804"/>
                  </a:lnTo>
                  <a:cubicBezTo>
                    <a:pt x="0" y="3277"/>
                    <a:pt x="0" y="4064"/>
                    <a:pt x="473" y="4568"/>
                  </a:cubicBezTo>
                  <a:lnTo>
                    <a:pt x="3403" y="7530"/>
                  </a:lnTo>
                  <a:cubicBezTo>
                    <a:pt x="3639" y="7766"/>
                    <a:pt x="3954" y="7884"/>
                    <a:pt x="4277" y="7884"/>
                  </a:cubicBezTo>
                  <a:cubicBezTo>
                    <a:pt x="4600" y="7884"/>
                    <a:pt x="4931" y="7766"/>
                    <a:pt x="5199" y="7530"/>
                  </a:cubicBezTo>
                  <a:lnTo>
                    <a:pt x="7971" y="4726"/>
                  </a:lnTo>
                  <a:lnTo>
                    <a:pt x="32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1"/>
            <p:cNvSpPr/>
            <p:nvPr/>
          </p:nvSpPr>
          <p:spPr>
            <a:xfrm>
              <a:off x="-41435075" y="3218800"/>
              <a:ext cx="224500" cy="221950"/>
            </a:xfrm>
            <a:custGeom>
              <a:avLst/>
              <a:gdLst/>
              <a:ahLst/>
              <a:cxnLst/>
              <a:rect l="l" t="t" r="r" b="b"/>
              <a:pathLst>
                <a:path w="8980" h="8878" extrusionOk="0">
                  <a:moveTo>
                    <a:pt x="4395" y="1"/>
                  </a:moveTo>
                  <a:cubicBezTo>
                    <a:pt x="4285" y="1"/>
                    <a:pt x="4175" y="40"/>
                    <a:pt x="4096" y="119"/>
                  </a:cubicBezTo>
                  <a:lnTo>
                    <a:pt x="1" y="4152"/>
                  </a:lnTo>
                  <a:lnTo>
                    <a:pt x="4726" y="8877"/>
                  </a:lnTo>
                  <a:lnTo>
                    <a:pt x="8822" y="4845"/>
                  </a:lnTo>
                  <a:cubicBezTo>
                    <a:pt x="8979" y="4687"/>
                    <a:pt x="8979" y="4404"/>
                    <a:pt x="8822" y="4246"/>
                  </a:cubicBezTo>
                  <a:lnTo>
                    <a:pt x="4695" y="119"/>
                  </a:lnTo>
                  <a:cubicBezTo>
                    <a:pt x="4616" y="40"/>
                    <a:pt x="4506" y="1"/>
                    <a:pt x="4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7" name="Google Shape;6477;p71"/>
          <p:cNvGrpSpPr/>
          <p:nvPr/>
        </p:nvGrpSpPr>
        <p:grpSpPr>
          <a:xfrm>
            <a:off x="2564607" y="1824351"/>
            <a:ext cx="369068" cy="289004"/>
            <a:chOff x="-41526450" y="3653375"/>
            <a:chExt cx="315875" cy="247350"/>
          </a:xfrm>
        </p:grpSpPr>
        <p:sp>
          <p:nvSpPr>
            <p:cNvPr id="6478" name="Google Shape;6478;p71"/>
            <p:cNvSpPr/>
            <p:nvPr/>
          </p:nvSpPr>
          <p:spPr>
            <a:xfrm>
              <a:off x="-41526450" y="3860525"/>
              <a:ext cx="315875" cy="40200"/>
            </a:xfrm>
            <a:custGeom>
              <a:avLst/>
              <a:gdLst/>
              <a:ahLst/>
              <a:cxnLst/>
              <a:rect l="l" t="t" r="r" b="b"/>
              <a:pathLst>
                <a:path w="12635" h="1608" extrusionOk="0">
                  <a:moveTo>
                    <a:pt x="379" y="0"/>
                  </a:moveTo>
                  <a:cubicBezTo>
                    <a:pt x="159" y="0"/>
                    <a:pt x="1" y="189"/>
                    <a:pt x="1" y="378"/>
                  </a:cubicBezTo>
                  <a:cubicBezTo>
                    <a:pt x="1" y="1040"/>
                    <a:pt x="537" y="1607"/>
                    <a:pt x="1198" y="1607"/>
                  </a:cubicBezTo>
                  <a:lnTo>
                    <a:pt x="11406" y="1607"/>
                  </a:lnTo>
                  <a:cubicBezTo>
                    <a:pt x="12067" y="1607"/>
                    <a:pt x="12634" y="1072"/>
                    <a:pt x="12634" y="378"/>
                  </a:cubicBezTo>
                  <a:cubicBezTo>
                    <a:pt x="12603" y="158"/>
                    <a:pt x="12445" y="0"/>
                    <a:pt x="12193" y="0"/>
                  </a:cubicBezTo>
                  <a:lnTo>
                    <a:pt x="10965" y="0"/>
                  </a:lnTo>
                  <a:lnTo>
                    <a:pt x="10965" y="378"/>
                  </a:lnTo>
                  <a:cubicBezTo>
                    <a:pt x="10965" y="630"/>
                    <a:pt x="10776" y="819"/>
                    <a:pt x="10555" y="819"/>
                  </a:cubicBezTo>
                  <a:cubicBezTo>
                    <a:pt x="10303" y="819"/>
                    <a:pt x="10146" y="630"/>
                    <a:pt x="10146" y="378"/>
                  </a:cubicBezTo>
                  <a:lnTo>
                    <a:pt x="10146" y="0"/>
                  </a:lnTo>
                  <a:lnTo>
                    <a:pt x="9326" y="0"/>
                  </a:lnTo>
                  <a:lnTo>
                    <a:pt x="9326" y="378"/>
                  </a:lnTo>
                  <a:cubicBezTo>
                    <a:pt x="9326" y="630"/>
                    <a:pt x="9137" y="819"/>
                    <a:pt x="8917" y="819"/>
                  </a:cubicBezTo>
                  <a:cubicBezTo>
                    <a:pt x="8696" y="819"/>
                    <a:pt x="8507" y="630"/>
                    <a:pt x="8507" y="378"/>
                  </a:cubicBez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1"/>
            <p:cNvSpPr/>
            <p:nvPr/>
          </p:nvSpPr>
          <p:spPr>
            <a:xfrm>
              <a:off x="-41506750" y="3653375"/>
              <a:ext cx="275700" cy="186700"/>
            </a:xfrm>
            <a:custGeom>
              <a:avLst/>
              <a:gdLst/>
              <a:ahLst/>
              <a:cxnLst/>
              <a:rect l="l" t="t" r="r" b="b"/>
              <a:pathLst>
                <a:path w="11028" h="7468" extrusionOk="0">
                  <a:moveTo>
                    <a:pt x="3794" y="1673"/>
                  </a:moveTo>
                  <a:cubicBezTo>
                    <a:pt x="3841" y="1673"/>
                    <a:pt x="3890" y="1682"/>
                    <a:pt x="3939" y="1702"/>
                  </a:cubicBezTo>
                  <a:lnTo>
                    <a:pt x="6428" y="2521"/>
                  </a:lnTo>
                  <a:cubicBezTo>
                    <a:pt x="6680" y="2616"/>
                    <a:pt x="6806" y="2994"/>
                    <a:pt x="6585" y="3214"/>
                  </a:cubicBezTo>
                  <a:lnTo>
                    <a:pt x="6018" y="3750"/>
                  </a:lnTo>
                  <a:lnTo>
                    <a:pt x="7404" y="5136"/>
                  </a:lnTo>
                  <a:cubicBezTo>
                    <a:pt x="7593" y="5262"/>
                    <a:pt x="7593" y="5514"/>
                    <a:pt x="7436" y="5671"/>
                  </a:cubicBezTo>
                  <a:cubicBezTo>
                    <a:pt x="7357" y="5750"/>
                    <a:pt x="7247" y="5790"/>
                    <a:pt x="7136" y="5790"/>
                  </a:cubicBezTo>
                  <a:cubicBezTo>
                    <a:pt x="7026" y="5790"/>
                    <a:pt x="6916" y="5750"/>
                    <a:pt x="6837" y="5671"/>
                  </a:cubicBezTo>
                  <a:lnTo>
                    <a:pt x="5451" y="4317"/>
                  </a:lnTo>
                  <a:lnTo>
                    <a:pt x="4915" y="4852"/>
                  </a:lnTo>
                  <a:cubicBezTo>
                    <a:pt x="4821" y="4947"/>
                    <a:pt x="4714" y="4988"/>
                    <a:pt x="4613" y="4988"/>
                  </a:cubicBezTo>
                  <a:cubicBezTo>
                    <a:pt x="4444" y="4988"/>
                    <a:pt x="4293" y="4872"/>
                    <a:pt x="4254" y="4695"/>
                  </a:cubicBezTo>
                  <a:lnTo>
                    <a:pt x="3435" y="2206"/>
                  </a:lnTo>
                  <a:cubicBezTo>
                    <a:pt x="3328" y="1940"/>
                    <a:pt x="3537" y="1673"/>
                    <a:pt x="3794" y="1673"/>
                  </a:cubicBezTo>
                  <a:close/>
                  <a:moveTo>
                    <a:pt x="1198" y="1"/>
                  </a:moveTo>
                  <a:cubicBezTo>
                    <a:pt x="536" y="1"/>
                    <a:pt x="1" y="568"/>
                    <a:pt x="1" y="1229"/>
                  </a:cubicBezTo>
                  <a:lnTo>
                    <a:pt x="1" y="7467"/>
                  </a:lnTo>
                  <a:lnTo>
                    <a:pt x="11027" y="7467"/>
                  </a:lnTo>
                  <a:lnTo>
                    <a:pt x="11027" y="1229"/>
                  </a:lnTo>
                  <a:cubicBezTo>
                    <a:pt x="11027" y="568"/>
                    <a:pt x="10460" y="1"/>
                    <a:pt x="97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0" name="Google Shape;6480;p71"/>
          <p:cNvGrpSpPr/>
          <p:nvPr/>
        </p:nvGrpSpPr>
        <p:grpSpPr>
          <a:xfrm>
            <a:off x="2565994" y="2187015"/>
            <a:ext cx="366293" cy="369974"/>
            <a:chOff x="-41526450" y="3951100"/>
            <a:chExt cx="313500" cy="316650"/>
          </a:xfrm>
        </p:grpSpPr>
        <p:sp>
          <p:nvSpPr>
            <p:cNvPr id="6481" name="Google Shape;6481;p71"/>
            <p:cNvSpPr/>
            <p:nvPr/>
          </p:nvSpPr>
          <p:spPr>
            <a:xfrm>
              <a:off x="-41483125" y="4041675"/>
              <a:ext cx="226075" cy="226075"/>
            </a:xfrm>
            <a:custGeom>
              <a:avLst/>
              <a:gdLst/>
              <a:ahLst/>
              <a:cxnLst/>
              <a:rect l="l" t="t" r="r" b="b"/>
              <a:pathLst>
                <a:path w="9043" h="9043" extrusionOk="0">
                  <a:moveTo>
                    <a:pt x="4506" y="2174"/>
                  </a:moveTo>
                  <a:cubicBezTo>
                    <a:pt x="6144" y="2174"/>
                    <a:pt x="7404" y="3466"/>
                    <a:pt x="7436" y="5041"/>
                  </a:cubicBezTo>
                  <a:cubicBezTo>
                    <a:pt x="7436" y="6648"/>
                    <a:pt x="6144" y="7908"/>
                    <a:pt x="4506" y="7908"/>
                  </a:cubicBezTo>
                  <a:cubicBezTo>
                    <a:pt x="2899" y="7908"/>
                    <a:pt x="1639" y="6616"/>
                    <a:pt x="1639" y="5041"/>
                  </a:cubicBezTo>
                  <a:cubicBezTo>
                    <a:pt x="1639" y="3466"/>
                    <a:pt x="2931" y="2174"/>
                    <a:pt x="4506" y="2174"/>
                  </a:cubicBezTo>
                  <a:close/>
                  <a:moveTo>
                    <a:pt x="4506" y="0"/>
                  </a:moveTo>
                  <a:lnTo>
                    <a:pt x="1" y="3214"/>
                  </a:lnTo>
                  <a:lnTo>
                    <a:pt x="1" y="8664"/>
                  </a:lnTo>
                  <a:cubicBezTo>
                    <a:pt x="1" y="8885"/>
                    <a:pt x="190" y="9042"/>
                    <a:pt x="379" y="9042"/>
                  </a:cubicBezTo>
                  <a:lnTo>
                    <a:pt x="8665" y="9042"/>
                  </a:lnTo>
                  <a:cubicBezTo>
                    <a:pt x="8885" y="9042"/>
                    <a:pt x="9043" y="8853"/>
                    <a:pt x="9043" y="8664"/>
                  </a:cubicBezTo>
                  <a:lnTo>
                    <a:pt x="9043" y="3214"/>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1"/>
            <p:cNvSpPr/>
            <p:nvPr/>
          </p:nvSpPr>
          <p:spPr>
            <a:xfrm>
              <a:off x="-41422475" y="4114925"/>
              <a:ext cx="104775" cy="104775"/>
            </a:xfrm>
            <a:custGeom>
              <a:avLst/>
              <a:gdLst/>
              <a:ahLst/>
              <a:cxnLst/>
              <a:rect l="l" t="t" r="r" b="b"/>
              <a:pathLst>
                <a:path w="4191" h="4191" extrusionOk="0">
                  <a:moveTo>
                    <a:pt x="2080" y="1040"/>
                  </a:moveTo>
                  <a:cubicBezTo>
                    <a:pt x="2332" y="1040"/>
                    <a:pt x="2521" y="1229"/>
                    <a:pt x="2521" y="1450"/>
                  </a:cubicBezTo>
                  <a:lnTo>
                    <a:pt x="2521" y="1859"/>
                  </a:lnTo>
                  <a:lnTo>
                    <a:pt x="2931" y="1859"/>
                  </a:lnTo>
                  <a:cubicBezTo>
                    <a:pt x="3151" y="1859"/>
                    <a:pt x="3372" y="2080"/>
                    <a:pt x="3372" y="2269"/>
                  </a:cubicBezTo>
                  <a:cubicBezTo>
                    <a:pt x="3372" y="2489"/>
                    <a:pt x="3151" y="2710"/>
                    <a:pt x="2931" y="2710"/>
                  </a:cubicBezTo>
                  <a:lnTo>
                    <a:pt x="2080" y="2710"/>
                  </a:lnTo>
                  <a:cubicBezTo>
                    <a:pt x="1859" y="2710"/>
                    <a:pt x="1702" y="2489"/>
                    <a:pt x="1702" y="2269"/>
                  </a:cubicBezTo>
                  <a:lnTo>
                    <a:pt x="1702" y="1450"/>
                  </a:lnTo>
                  <a:cubicBezTo>
                    <a:pt x="1702" y="1198"/>
                    <a:pt x="1891" y="1040"/>
                    <a:pt x="2080" y="1040"/>
                  </a:cubicBezTo>
                  <a:close/>
                  <a:moveTo>
                    <a:pt x="2080" y="0"/>
                  </a:moveTo>
                  <a:cubicBezTo>
                    <a:pt x="946" y="0"/>
                    <a:pt x="64" y="946"/>
                    <a:pt x="1" y="2111"/>
                  </a:cubicBezTo>
                  <a:cubicBezTo>
                    <a:pt x="64" y="3277"/>
                    <a:pt x="946" y="4191"/>
                    <a:pt x="2080" y="4191"/>
                  </a:cubicBezTo>
                  <a:cubicBezTo>
                    <a:pt x="3246" y="4191"/>
                    <a:pt x="4128" y="3245"/>
                    <a:pt x="4191" y="2111"/>
                  </a:cubicBezTo>
                  <a:cubicBezTo>
                    <a:pt x="4191" y="977"/>
                    <a:pt x="3246" y="63"/>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1"/>
            <p:cNvSpPr/>
            <p:nvPr/>
          </p:nvSpPr>
          <p:spPr>
            <a:xfrm>
              <a:off x="-41526450" y="3951100"/>
              <a:ext cx="313500" cy="165575"/>
            </a:xfrm>
            <a:custGeom>
              <a:avLst/>
              <a:gdLst/>
              <a:ahLst/>
              <a:cxnLst/>
              <a:rect l="l" t="t" r="r" b="b"/>
              <a:pathLst>
                <a:path w="12540" h="6623" extrusionOk="0">
                  <a:moveTo>
                    <a:pt x="6239" y="0"/>
                  </a:moveTo>
                  <a:cubicBezTo>
                    <a:pt x="6018" y="0"/>
                    <a:pt x="5861" y="189"/>
                    <a:pt x="5861" y="378"/>
                  </a:cubicBezTo>
                  <a:lnTo>
                    <a:pt x="5861" y="1859"/>
                  </a:lnTo>
                  <a:lnTo>
                    <a:pt x="1891" y="4695"/>
                  </a:lnTo>
                  <a:lnTo>
                    <a:pt x="222" y="5860"/>
                  </a:lnTo>
                  <a:cubicBezTo>
                    <a:pt x="32" y="5986"/>
                    <a:pt x="1" y="6270"/>
                    <a:pt x="159" y="6459"/>
                  </a:cubicBezTo>
                  <a:cubicBezTo>
                    <a:pt x="230" y="6566"/>
                    <a:pt x="342" y="6623"/>
                    <a:pt x="460" y="6623"/>
                  </a:cubicBezTo>
                  <a:cubicBezTo>
                    <a:pt x="550" y="6623"/>
                    <a:pt x="644" y="6590"/>
                    <a:pt x="726" y="6522"/>
                  </a:cubicBezTo>
                  <a:lnTo>
                    <a:pt x="6050" y="2741"/>
                  </a:lnTo>
                  <a:cubicBezTo>
                    <a:pt x="6129" y="2678"/>
                    <a:pt x="6215" y="2647"/>
                    <a:pt x="6298" y="2647"/>
                  </a:cubicBezTo>
                  <a:cubicBezTo>
                    <a:pt x="6381" y="2647"/>
                    <a:pt x="6459" y="2678"/>
                    <a:pt x="6523" y="2741"/>
                  </a:cubicBezTo>
                  <a:lnTo>
                    <a:pt x="11847" y="6522"/>
                  </a:lnTo>
                  <a:cubicBezTo>
                    <a:pt x="11926" y="6575"/>
                    <a:pt x="12016" y="6600"/>
                    <a:pt x="12105" y="6600"/>
                  </a:cubicBezTo>
                  <a:cubicBezTo>
                    <a:pt x="12230" y="6600"/>
                    <a:pt x="12354" y="6551"/>
                    <a:pt x="12445" y="6459"/>
                  </a:cubicBezTo>
                  <a:cubicBezTo>
                    <a:pt x="12540" y="6270"/>
                    <a:pt x="12508" y="6018"/>
                    <a:pt x="12351" y="5860"/>
                  </a:cubicBezTo>
                  <a:lnTo>
                    <a:pt x="10713" y="4695"/>
                  </a:lnTo>
                  <a:lnTo>
                    <a:pt x="6712" y="1859"/>
                  </a:lnTo>
                  <a:lnTo>
                    <a:pt x="6712" y="378"/>
                  </a:lnTo>
                  <a:cubicBezTo>
                    <a:pt x="6680" y="189"/>
                    <a:pt x="6491" y="0"/>
                    <a:pt x="6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4" name="Google Shape;6484;p71"/>
          <p:cNvGrpSpPr/>
          <p:nvPr/>
        </p:nvGrpSpPr>
        <p:grpSpPr>
          <a:xfrm>
            <a:off x="1331249" y="2681144"/>
            <a:ext cx="339595" cy="371814"/>
            <a:chOff x="-39625900" y="3238300"/>
            <a:chExt cx="290650" cy="318225"/>
          </a:xfrm>
        </p:grpSpPr>
        <p:sp>
          <p:nvSpPr>
            <p:cNvPr id="6485" name="Google Shape;6485;p71"/>
            <p:cNvSpPr/>
            <p:nvPr/>
          </p:nvSpPr>
          <p:spPr>
            <a:xfrm>
              <a:off x="-39625900" y="3238300"/>
              <a:ext cx="290650" cy="318225"/>
            </a:xfrm>
            <a:custGeom>
              <a:avLst/>
              <a:gdLst/>
              <a:ahLst/>
              <a:cxnLst/>
              <a:rect l="l" t="t" r="r" b="b"/>
              <a:pathLst>
                <a:path w="11626" h="12729" extrusionOk="0">
                  <a:moveTo>
                    <a:pt x="442" y="1"/>
                  </a:moveTo>
                  <a:cubicBezTo>
                    <a:pt x="221" y="1"/>
                    <a:pt x="32" y="190"/>
                    <a:pt x="32" y="442"/>
                  </a:cubicBezTo>
                  <a:lnTo>
                    <a:pt x="32" y="4159"/>
                  </a:lnTo>
                  <a:cubicBezTo>
                    <a:pt x="32" y="4317"/>
                    <a:pt x="126" y="4474"/>
                    <a:pt x="284" y="4569"/>
                  </a:cubicBezTo>
                  <a:cubicBezTo>
                    <a:pt x="1072" y="4821"/>
                    <a:pt x="1670" y="5640"/>
                    <a:pt x="1670" y="6491"/>
                  </a:cubicBezTo>
                  <a:cubicBezTo>
                    <a:pt x="1670" y="7404"/>
                    <a:pt x="1103" y="8129"/>
                    <a:pt x="284" y="8475"/>
                  </a:cubicBezTo>
                  <a:cubicBezTo>
                    <a:pt x="126" y="8507"/>
                    <a:pt x="0" y="8664"/>
                    <a:pt x="0" y="8853"/>
                  </a:cubicBezTo>
                  <a:lnTo>
                    <a:pt x="0" y="12319"/>
                  </a:lnTo>
                  <a:cubicBezTo>
                    <a:pt x="0" y="12571"/>
                    <a:pt x="221" y="12729"/>
                    <a:pt x="442" y="12729"/>
                  </a:cubicBezTo>
                  <a:lnTo>
                    <a:pt x="3308" y="12729"/>
                  </a:lnTo>
                  <a:lnTo>
                    <a:pt x="3308" y="4852"/>
                  </a:lnTo>
                  <a:cubicBezTo>
                    <a:pt x="3308" y="3687"/>
                    <a:pt x="4254" y="2805"/>
                    <a:pt x="5419" y="2741"/>
                  </a:cubicBezTo>
                  <a:lnTo>
                    <a:pt x="6238" y="2741"/>
                  </a:lnTo>
                  <a:cubicBezTo>
                    <a:pt x="7373" y="2741"/>
                    <a:pt x="8286" y="3687"/>
                    <a:pt x="8318" y="4852"/>
                  </a:cubicBezTo>
                  <a:lnTo>
                    <a:pt x="8318" y="12729"/>
                  </a:lnTo>
                  <a:lnTo>
                    <a:pt x="11216" y="12729"/>
                  </a:lnTo>
                  <a:cubicBezTo>
                    <a:pt x="11437" y="12729"/>
                    <a:pt x="11594" y="12508"/>
                    <a:pt x="11626" y="12319"/>
                  </a:cubicBezTo>
                  <a:lnTo>
                    <a:pt x="11626" y="8853"/>
                  </a:lnTo>
                  <a:cubicBezTo>
                    <a:pt x="11626" y="8696"/>
                    <a:pt x="11500" y="8538"/>
                    <a:pt x="11374" y="8475"/>
                  </a:cubicBezTo>
                  <a:cubicBezTo>
                    <a:pt x="10586" y="8192"/>
                    <a:pt x="9988" y="7404"/>
                    <a:pt x="9988" y="6491"/>
                  </a:cubicBezTo>
                  <a:cubicBezTo>
                    <a:pt x="9988" y="5577"/>
                    <a:pt x="10586" y="4852"/>
                    <a:pt x="11374" y="4569"/>
                  </a:cubicBezTo>
                  <a:cubicBezTo>
                    <a:pt x="11531" y="4537"/>
                    <a:pt x="11626" y="4380"/>
                    <a:pt x="11626" y="4159"/>
                  </a:cubicBezTo>
                  <a:lnTo>
                    <a:pt x="11626" y="442"/>
                  </a:lnTo>
                  <a:cubicBezTo>
                    <a:pt x="11626" y="190"/>
                    <a:pt x="11437" y="1"/>
                    <a:pt x="11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1"/>
            <p:cNvSpPr/>
            <p:nvPr/>
          </p:nvSpPr>
          <p:spPr>
            <a:xfrm>
              <a:off x="-39521150" y="3328875"/>
              <a:ext cx="82725" cy="227650"/>
            </a:xfrm>
            <a:custGeom>
              <a:avLst/>
              <a:gdLst/>
              <a:ahLst/>
              <a:cxnLst/>
              <a:rect l="l" t="t" r="r" b="b"/>
              <a:pathLst>
                <a:path w="3309" h="9106" extrusionOk="0">
                  <a:moveTo>
                    <a:pt x="1607" y="3309"/>
                  </a:moveTo>
                  <a:cubicBezTo>
                    <a:pt x="2080" y="3309"/>
                    <a:pt x="2426" y="3655"/>
                    <a:pt x="2426" y="4128"/>
                  </a:cubicBezTo>
                  <a:cubicBezTo>
                    <a:pt x="2426" y="4600"/>
                    <a:pt x="2080" y="4947"/>
                    <a:pt x="1607" y="4947"/>
                  </a:cubicBezTo>
                  <a:cubicBezTo>
                    <a:pt x="1135" y="4947"/>
                    <a:pt x="788" y="4600"/>
                    <a:pt x="788" y="4128"/>
                  </a:cubicBezTo>
                  <a:cubicBezTo>
                    <a:pt x="788" y="3655"/>
                    <a:pt x="1135" y="3309"/>
                    <a:pt x="1607" y="3309"/>
                  </a:cubicBezTo>
                  <a:close/>
                  <a:moveTo>
                    <a:pt x="1229" y="1"/>
                  </a:moveTo>
                  <a:cubicBezTo>
                    <a:pt x="536" y="1"/>
                    <a:pt x="1" y="536"/>
                    <a:pt x="1" y="1261"/>
                  </a:cubicBezTo>
                  <a:lnTo>
                    <a:pt x="1" y="9106"/>
                  </a:lnTo>
                  <a:lnTo>
                    <a:pt x="3309" y="9106"/>
                  </a:lnTo>
                  <a:lnTo>
                    <a:pt x="3309" y="1229"/>
                  </a:lnTo>
                  <a:cubicBezTo>
                    <a:pt x="3309" y="536"/>
                    <a:pt x="274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87" name="Google Shape;6487;p71"/>
          <p:cNvSpPr/>
          <p:nvPr/>
        </p:nvSpPr>
        <p:spPr>
          <a:xfrm>
            <a:off x="1353422" y="3140270"/>
            <a:ext cx="315672" cy="369974"/>
          </a:xfrm>
          <a:custGeom>
            <a:avLst/>
            <a:gdLst/>
            <a:ahLst/>
            <a:cxnLst/>
            <a:rect l="l" t="t" r="r" b="b"/>
            <a:pathLst>
              <a:path w="10807" h="12666" extrusionOk="0">
                <a:moveTo>
                  <a:pt x="5419" y="851"/>
                </a:moveTo>
                <a:cubicBezTo>
                  <a:pt x="5640" y="851"/>
                  <a:pt x="5797" y="1040"/>
                  <a:pt x="5829" y="1261"/>
                </a:cubicBezTo>
                <a:cubicBezTo>
                  <a:pt x="5829" y="1513"/>
                  <a:pt x="6049" y="1670"/>
                  <a:pt x="6270" y="1670"/>
                </a:cubicBezTo>
                <a:lnTo>
                  <a:pt x="7940" y="1670"/>
                </a:lnTo>
                <a:cubicBezTo>
                  <a:pt x="8160" y="1670"/>
                  <a:pt x="8318" y="1859"/>
                  <a:pt x="8349" y="2048"/>
                </a:cubicBezTo>
                <a:lnTo>
                  <a:pt x="8349" y="2489"/>
                </a:lnTo>
                <a:lnTo>
                  <a:pt x="2615" y="2489"/>
                </a:lnTo>
                <a:lnTo>
                  <a:pt x="2615" y="2048"/>
                </a:lnTo>
                <a:lnTo>
                  <a:pt x="2521" y="2048"/>
                </a:lnTo>
                <a:cubicBezTo>
                  <a:pt x="2521" y="1828"/>
                  <a:pt x="2741" y="1670"/>
                  <a:pt x="2962" y="1670"/>
                </a:cubicBezTo>
                <a:lnTo>
                  <a:pt x="4569" y="1670"/>
                </a:lnTo>
                <a:cubicBezTo>
                  <a:pt x="4821" y="1670"/>
                  <a:pt x="5010" y="1481"/>
                  <a:pt x="5010" y="1261"/>
                </a:cubicBezTo>
                <a:cubicBezTo>
                  <a:pt x="5010" y="1040"/>
                  <a:pt x="5199" y="882"/>
                  <a:pt x="5419" y="851"/>
                </a:cubicBezTo>
                <a:close/>
                <a:moveTo>
                  <a:pt x="8203" y="5651"/>
                </a:moveTo>
                <a:cubicBezTo>
                  <a:pt x="8417" y="5651"/>
                  <a:pt x="8629" y="5730"/>
                  <a:pt x="8790" y="5892"/>
                </a:cubicBezTo>
                <a:lnTo>
                  <a:pt x="8885" y="5955"/>
                </a:lnTo>
                <a:cubicBezTo>
                  <a:pt x="9200" y="6270"/>
                  <a:pt x="9200" y="6805"/>
                  <a:pt x="8885" y="7152"/>
                </a:cubicBezTo>
                <a:lnTo>
                  <a:pt x="5577" y="10428"/>
                </a:lnTo>
                <a:cubicBezTo>
                  <a:pt x="5419" y="10586"/>
                  <a:pt x="5199" y="10665"/>
                  <a:pt x="4978" y="10665"/>
                </a:cubicBezTo>
                <a:cubicBezTo>
                  <a:pt x="4758" y="10665"/>
                  <a:pt x="4537" y="10586"/>
                  <a:pt x="4380" y="10428"/>
                </a:cubicBezTo>
                <a:lnTo>
                  <a:pt x="2773" y="8822"/>
                </a:lnTo>
                <a:cubicBezTo>
                  <a:pt x="2458" y="8507"/>
                  <a:pt x="2458" y="7971"/>
                  <a:pt x="2773" y="7656"/>
                </a:cubicBezTo>
                <a:lnTo>
                  <a:pt x="2836" y="7561"/>
                </a:lnTo>
                <a:cubicBezTo>
                  <a:pt x="2993" y="7404"/>
                  <a:pt x="3214" y="7325"/>
                  <a:pt x="3434" y="7325"/>
                </a:cubicBezTo>
                <a:cubicBezTo>
                  <a:pt x="3655" y="7325"/>
                  <a:pt x="3876" y="7404"/>
                  <a:pt x="4033" y="7561"/>
                </a:cubicBezTo>
                <a:lnTo>
                  <a:pt x="4978" y="8507"/>
                </a:lnTo>
                <a:lnTo>
                  <a:pt x="7625" y="5860"/>
                </a:lnTo>
                <a:cubicBezTo>
                  <a:pt x="7793" y="5722"/>
                  <a:pt x="7999" y="5651"/>
                  <a:pt x="8203" y="5651"/>
                </a:cubicBezTo>
                <a:close/>
                <a:moveTo>
                  <a:pt x="5419" y="0"/>
                </a:moveTo>
                <a:cubicBezTo>
                  <a:pt x="4852" y="0"/>
                  <a:pt x="4411" y="347"/>
                  <a:pt x="4222" y="851"/>
                </a:cubicBezTo>
                <a:lnTo>
                  <a:pt x="2930" y="851"/>
                </a:lnTo>
                <a:cubicBezTo>
                  <a:pt x="2363" y="851"/>
                  <a:pt x="1954" y="1198"/>
                  <a:pt x="1733" y="1670"/>
                </a:cubicBezTo>
                <a:lnTo>
                  <a:pt x="442" y="1670"/>
                </a:lnTo>
                <a:cubicBezTo>
                  <a:pt x="221" y="1670"/>
                  <a:pt x="0" y="1859"/>
                  <a:pt x="0" y="2048"/>
                </a:cubicBezTo>
                <a:lnTo>
                  <a:pt x="0" y="12256"/>
                </a:lnTo>
                <a:cubicBezTo>
                  <a:pt x="0" y="12508"/>
                  <a:pt x="221" y="12665"/>
                  <a:pt x="442" y="12665"/>
                </a:cubicBezTo>
                <a:lnTo>
                  <a:pt x="10366" y="12665"/>
                </a:lnTo>
                <a:cubicBezTo>
                  <a:pt x="10618" y="12665"/>
                  <a:pt x="10807" y="12445"/>
                  <a:pt x="10807" y="12256"/>
                </a:cubicBezTo>
                <a:lnTo>
                  <a:pt x="10807" y="2048"/>
                </a:lnTo>
                <a:cubicBezTo>
                  <a:pt x="10807" y="1828"/>
                  <a:pt x="10618" y="1670"/>
                  <a:pt x="10366" y="1670"/>
                </a:cubicBezTo>
                <a:lnTo>
                  <a:pt x="9074" y="1670"/>
                </a:lnTo>
                <a:cubicBezTo>
                  <a:pt x="8916" y="1198"/>
                  <a:pt x="8444" y="851"/>
                  <a:pt x="7877" y="851"/>
                </a:cubicBezTo>
                <a:lnTo>
                  <a:pt x="6585" y="851"/>
                </a:lnTo>
                <a:cubicBezTo>
                  <a:pt x="6427" y="378"/>
                  <a:pt x="5955"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88" name="Google Shape;6488;p71"/>
          <p:cNvGrpSpPr/>
          <p:nvPr/>
        </p:nvGrpSpPr>
        <p:grpSpPr>
          <a:xfrm>
            <a:off x="1325300" y="3597605"/>
            <a:ext cx="366293" cy="370441"/>
            <a:chOff x="-39647175" y="3972000"/>
            <a:chExt cx="313500" cy="317050"/>
          </a:xfrm>
        </p:grpSpPr>
        <p:sp>
          <p:nvSpPr>
            <p:cNvPr id="6489" name="Google Shape;6489;p71"/>
            <p:cNvSpPr/>
            <p:nvPr/>
          </p:nvSpPr>
          <p:spPr>
            <a:xfrm>
              <a:off x="-39647175" y="3972000"/>
              <a:ext cx="95325" cy="153975"/>
            </a:xfrm>
            <a:custGeom>
              <a:avLst/>
              <a:gdLst/>
              <a:ahLst/>
              <a:cxnLst/>
              <a:rect l="l" t="t" r="r" b="b"/>
              <a:pathLst>
                <a:path w="3813"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1"/>
            <p:cNvSpPr/>
            <p:nvPr/>
          </p:nvSpPr>
          <p:spPr>
            <a:xfrm>
              <a:off x="-39588875" y="4011750"/>
              <a:ext cx="216600" cy="277300"/>
            </a:xfrm>
            <a:custGeom>
              <a:avLst/>
              <a:gdLst/>
              <a:ahLst/>
              <a:cxnLst/>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1"/>
            <p:cNvSpPr/>
            <p:nvPr/>
          </p:nvSpPr>
          <p:spPr>
            <a:xfrm>
              <a:off x="-39398275" y="4073975"/>
              <a:ext cx="64600" cy="71600"/>
            </a:xfrm>
            <a:custGeom>
              <a:avLst/>
              <a:gdLst/>
              <a:ahLst/>
              <a:cxnLst/>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2" name="Google Shape;6492;p71"/>
          <p:cNvGrpSpPr/>
          <p:nvPr/>
        </p:nvGrpSpPr>
        <p:grpSpPr>
          <a:xfrm>
            <a:off x="3494427" y="2661603"/>
            <a:ext cx="375495" cy="370879"/>
            <a:chOff x="-37808850" y="3221575"/>
            <a:chExt cx="321375" cy="317425"/>
          </a:xfrm>
        </p:grpSpPr>
        <p:sp>
          <p:nvSpPr>
            <p:cNvPr id="6493" name="Google Shape;6493;p71"/>
            <p:cNvSpPr/>
            <p:nvPr/>
          </p:nvSpPr>
          <p:spPr>
            <a:xfrm>
              <a:off x="-37808850" y="3294050"/>
              <a:ext cx="261500" cy="244950"/>
            </a:xfrm>
            <a:custGeom>
              <a:avLst/>
              <a:gdLst/>
              <a:ahLst/>
              <a:cxnLst/>
              <a:rect l="l" t="t" r="r" b="b"/>
              <a:pathLst>
                <a:path w="10460" h="9798" extrusionOk="0">
                  <a:moveTo>
                    <a:pt x="6091" y="980"/>
                  </a:moveTo>
                  <a:cubicBezTo>
                    <a:pt x="6596" y="980"/>
                    <a:pt x="7119" y="1154"/>
                    <a:pt x="7562" y="1520"/>
                  </a:cubicBezTo>
                  <a:cubicBezTo>
                    <a:pt x="7719" y="1677"/>
                    <a:pt x="7751" y="1898"/>
                    <a:pt x="7593" y="2087"/>
                  </a:cubicBezTo>
                  <a:cubicBezTo>
                    <a:pt x="7518" y="2181"/>
                    <a:pt x="7387" y="2241"/>
                    <a:pt x="7260" y="2241"/>
                  </a:cubicBezTo>
                  <a:cubicBezTo>
                    <a:pt x="7174" y="2241"/>
                    <a:pt x="7090" y="2213"/>
                    <a:pt x="7026" y="2150"/>
                  </a:cubicBezTo>
                  <a:cubicBezTo>
                    <a:pt x="6747" y="1918"/>
                    <a:pt x="6415" y="1807"/>
                    <a:pt x="6101" y="1807"/>
                  </a:cubicBezTo>
                  <a:cubicBezTo>
                    <a:pt x="5776" y="1807"/>
                    <a:pt x="5470" y="1925"/>
                    <a:pt x="5262" y="2150"/>
                  </a:cubicBezTo>
                  <a:cubicBezTo>
                    <a:pt x="5183" y="2229"/>
                    <a:pt x="5073" y="2268"/>
                    <a:pt x="4962" y="2268"/>
                  </a:cubicBezTo>
                  <a:cubicBezTo>
                    <a:pt x="4852" y="2268"/>
                    <a:pt x="4742" y="2229"/>
                    <a:pt x="4663" y="2150"/>
                  </a:cubicBezTo>
                  <a:cubicBezTo>
                    <a:pt x="4506" y="1992"/>
                    <a:pt x="4506" y="1709"/>
                    <a:pt x="4663" y="1551"/>
                  </a:cubicBezTo>
                  <a:cubicBezTo>
                    <a:pt x="5037" y="1177"/>
                    <a:pt x="5553" y="980"/>
                    <a:pt x="6091" y="980"/>
                  </a:cubicBezTo>
                  <a:close/>
                  <a:moveTo>
                    <a:pt x="3781" y="7852"/>
                  </a:moveTo>
                  <a:lnTo>
                    <a:pt x="4348" y="8451"/>
                  </a:lnTo>
                  <a:lnTo>
                    <a:pt x="4002" y="8797"/>
                  </a:lnTo>
                  <a:cubicBezTo>
                    <a:pt x="3923" y="8876"/>
                    <a:pt x="3812" y="8915"/>
                    <a:pt x="3702" y="8915"/>
                  </a:cubicBezTo>
                  <a:cubicBezTo>
                    <a:pt x="3592" y="8915"/>
                    <a:pt x="3482" y="8876"/>
                    <a:pt x="3403" y="8797"/>
                  </a:cubicBezTo>
                  <a:cubicBezTo>
                    <a:pt x="3214" y="8640"/>
                    <a:pt x="3214" y="8356"/>
                    <a:pt x="3403" y="8199"/>
                  </a:cubicBezTo>
                  <a:lnTo>
                    <a:pt x="3781" y="7852"/>
                  </a:lnTo>
                  <a:close/>
                  <a:moveTo>
                    <a:pt x="6201" y="1"/>
                  </a:moveTo>
                  <a:cubicBezTo>
                    <a:pt x="5236" y="1"/>
                    <a:pt x="4264" y="375"/>
                    <a:pt x="3529" y="1110"/>
                  </a:cubicBezTo>
                  <a:lnTo>
                    <a:pt x="2363" y="2307"/>
                  </a:lnTo>
                  <a:cubicBezTo>
                    <a:pt x="2269" y="2370"/>
                    <a:pt x="2206" y="2402"/>
                    <a:pt x="2048" y="2402"/>
                  </a:cubicBezTo>
                  <a:cubicBezTo>
                    <a:pt x="1450" y="2465"/>
                    <a:pt x="851" y="2622"/>
                    <a:pt x="378" y="3095"/>
                  </a:cubicBezTo>
                  <a:cubicBezTo>
                    <a:pt x="0" y="3441"/>
                    <a:pt x="0" y="4040"/>
                    <a:pt x="347" y="4418"/>
                  </a:cubicBezTo>
                  <a:lnTo>
                    <a:pt x="3182" y="7254"/>
                  </a:lnTo>
                  <a:lnTo>
                    <a:pt x="2773" y="7663"/>
                  </a:lnTo>
                  <a:cubicBezTo>
                    <a:pt x="2300" y="8136"/>
                    <a:pt x="2300" y="8923"/>
                    <a:pt x="2773" y="9427"/>
                  </a:cubicBezTo>
                  <a:cubicBezTo>
                    <a:pt x="3009" y="9664"/>
                    <a:pt x="3324" y="9782"/>
                    <a:pt x="3647" y="9782"/>
                  </a:cubicBezTo>
                  <a:cubicBezTo>
                    <a:pt x="3970" y="9782"/>
                    <a:pt x="4301" y="9664"/>
                    <a:pt x="4569" y="9427"/>
                  </a:cubicBezTo>
                  <a:lnTo>
                    <a:pt x="4947" y="9018"/>
                  </a:lnTo>
                  <a:lnTo>
                    <a:pt x="5419" y="9490"/>
                  </a:lnTo>
                  <a:cubicBezTo>
                    <a:pt x="5624" y="9695"/>
                    <a:pt x="5868" y="9798"/>
                    <a:pt x="6112" y="9798"/>
                  </a:cubicBezTo>
                  <a:cubicBezTo>
                    <a:pt x="6357" y="9798"/>
                    <a:pt x="6601" y="9695"/>
                    <a:pt x="6805" y="9490"/>
                  </a:cubicBezTo>
                  <a:cubicBezTo>
                    <a:pt x="7278" y="9018"/>
                    <a:pt x="7436" y="8388"/>
                    <a:pt x="7467" y="7852"/>
                  </a:cubicBezTo>
                  <a:cubicBezTo>
                    <a:pt x="7467" y="7726"/>
                    <a:pt x="7499" y="7663"/>
                    <a:pt x="7593" y="7569"/>
                  </a:cubicBezTo>
                  <a:lnTo>
                    <a:pt x="8696" y="6466"/>
                  </a:lnTo>
                  <a:cubicBezTo>
                    <a:pt x="10460" y="4702"/>
                    <a:pt x="10145" y="1740"/>
                    <a:pt x="8066" y="511"/>
                  </a:cubicBezTo>
                  <a:cubicBezTo>
                    <a:pt x="7496" y="170"/>
                    <a:pt x="6850" y="1"/>
                    <a:pt x="62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1"/>
            <p:cNvSpPr/>
            <p:nvPr/>
          </p:nvSpPr>
          <p:spPr>
            <a:xfrm>
              <a:off x="-37601700" y="3221575"/>
              <a:ext cx="114225" cy="111275"/>
            </a:xfrm>
            <a:custGeom>
              <a:avLst/>
              <a:gdLst/>
              <a:ahLst/>
              <a:cxnLst/>
              <a:rect l="l" t="t" r="r" b="b"/>
              <a:pathLst>
                <a:path w="4569" h="4451" extrusionOk="0">
                  <a:moveTo>
                    <a:pt x="3226" y="0"/>
                  </a:moveTo>
                  <a:cubicBezTo>
                    <a:pt x="2907" y="0"/>
                    <a:pt x="2584" y="118"/>
                    <a:pt x="2332" y="355"/>
                  </a:cubicBezTo>
                  <a:lnTo>
                    <a:pt x="0" y="2686"/>
                  </a:lnTo>
                  <a:cubicBezTo>
                    <a:pt x="788" y="3095"/>
                    <a:pt x="1355" y="3631"/>
                    <a:pt x="1796" y="4450"/>
                  </a:cubicBezTo>
                  <a:lnTo>
                    <a:pt x="4096" y="2119"/>
                  </a:lnTo>
                  <a:cubicBezTo>
                    <a:pt x="4568" y="1646"/>
                    <a:pt x="4568" y="859"/>
                    <a:pt x="4096" y="355"/>
                  </a:cubicBezTo>
                  <a:cubicBezTo>
                    <a:pt x="3860" y="118"/>
                    <a:pt x="3545" y="0"/>
                    <a:pt x="3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5" name="Google Shape;6495;p71"/>
          <p:cNvGrpSpPr/>
          <p:nvPr/>
        </p:nvGrpSpPr>
        <p:grpSpPr>
          <a:xfrm>
            <a:off x="3503201" y="3183634"/>
            <a:ext cx="372749" cy="241158"/>
            <a:chOff x="-37806500" y="3643030"/>
            <a:chExt cx="319025" cy="206400"/>
          </a:xfrm>
        </p:grpSpPr>
        <p:sp>
          <p:nvSpPr>
            <p:cNvPr id="6496" name="Google Shape;6496;p71"/>
            <p:cNvSpPr/>
            <p:nvPr/>
          </p:nvSpPr>
          <p:spPr>
            <a:xfrm>
              <a:off x="-37615100" y="3759700"/>
              <a:ext cx="62250" cy="62250"/>
            </a:xfrm>
            <a:custGeom>
              <a:avLst/>
              <a:gdLst/>
              <a:ahLst/>
              <a:cxnLst/>
              <a:rect l="l" t="t" r="r" b="b"/>
              <a:pathLst>
                <a:path w="2490" h="2490" extrusionOk="0">
                  <a:moveTo>
                    <a:pt x="1229" y="1"/>
                  </a:moveTo>
                  <a:cubicBezTo>
                    <a:pt x="568" y="1"/>
                    <a:pt x="1" y="568"/>
                    <a:pt x="1" y="1261"/>
                  </a:cubicBezTo>
                  <a:cubicBezTo>
                    <a:pt x="1" y="1923"/>
                    <a:pt x="568" y="2490"/>
                    <a:pt x="1229" y="2490"/>
                  </a:cubicBezTo>
                  <a:cubicBezTo>
                    <a:pt x="1891" y="2490"/>
                    <a:pt x="2426" y="1954"/>
                    <a:pt x="2490" y="1261"/>
                  </a:cubicBezTo>
                  <a:cubicBezTo>
                    <a:pt x="2490" y="599"/>
                    <a:pt x="1922"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1"/>
            <p:cNvSpPr/>
            <p:nvPr/>
          </p:nvSpPr>
          <p:spPr>
            <a:xfrm>
              <a:off x="-37806500" y="3643030"/>
              <a:ext cx="319025" cy="206400"/>
            </a:xfrm>
            <a:custGeom>
              <a:avLst/>
              <a:gdLst/>
              <a:ahLst/>
              <a:cxnLst/>
              <a:rect l="l" t="t" r="r" b="b"/>
              <a:pathLst>
                <a:path w="12761" h="8256" extrusionOk="0">
                  <a:moveTo>
                    <a:pt x="5357" y="1702"/>
                  </a:moveTo>
                  <a:cubicBezTo>
                    <a:pt x="5609" y="1702"/>
                    <a:pt x="5798" y="1923"/>
                    <a:pt x="5798" y="2112"/>
                  </a:cubicBezTo>
                  <a:cubicBezTo>
                    <a:pt x="5766" y="2332"/>
                    <a:pt x="5609" y="2490"/>
                    <a:pt x="5357" y="2490"/>
                  </a:cubicBezTo>
                  <a:lnTo>
                    <a:pt x="2049" y="2490"/>
                  </a:lnTo>
                  <a:cubicBezTo>
                    <a:pt x="1828" y="2490"/>
                    <a:pt x="1639" y="2301"/>
                    <a:pt x="1639" y="2112"/>
                  </a:cubicBezTo>
                  <a:cubicBezTo>
                    <a:pt x="1639" y="1860"/>
                    <a:pt x="1828" y="1702"/>
                    <a:pt x="2049" y="1702"/>
                  </a:cubicBezTo>
                  <a:close/>
                  <a:moveTo>
                    <a:pt x="5357" y="3309"/>
                  </a:moveTo>
                  <a:cubicBezTo>
                    <a:pt x="5609" y="3309"/>
                    <a:pt x="5798" y="3529"/>
                    <a:pt x="5798" y="3750"/>
                  </a:cubicBezTo>
                  <a:cubicBezTo>
                    <a:pt x="5766" y="4002"/>
                    <a:pt x="5609" y="4160"/>
                    <a:pt x="5357" y="4160"/>
                  </a:cubicBezTo>
                  <a:lnTo>
                    <a:pt x="2049" y="4160"/>
                  </a:lnTo>
                  <a:cubicBezTo>
                    <a:pt x="1828" y="4160"/>
                    <a:pt x="1639" y="3939"/>
                    <a:pt x="1639" y="3750"/>
                  </a:cubicBezTo>
                  <a:cubicBezTo>
                    <a:pt x="1639" y="3529"/>
                    <a:pt x="1828" y="3309"/>
                    <a:pt x="2049" y="3309"/>
                  </a:cubicBezTo>
                  <a:close/>
                  <a:moveTo>
                    <a:pt x="5357" y="4979"/>
                  </a:moveTo>
                  <a:cubicBezTo>
                    <a:pt x="5609" y="4979"/>
                    <a:pt x="5798" y="5168"/>
                    <a:pt x="5798" y="5388"/>
                  </a:cubicBezTo>
                  <a:cubicBezTo>
                    <a:pt x="5766" y="5640"/>
                    <a:pt x="5609" y="5798"/>
                    <a:pt x="5357" y="5798"/>
                  </a:cubicBezTo>
                  <a:lnTo>
                    <a:pt x="2049" y="5798"/>
                  </a:lnTo>
                  <a:cubicBezTo>
                    <a:pt x="1828" y="5798"/>
                    <a:pt x="1639" y="5609"/>
                    <a:pt x="1639" y="5388"/>
                  </a:cubicBezTo>
                  <a:cubicBezTo>
                    <a:pt x="1639" y="5136"/>
                    <a:pt x="1828" y="4979"/>
                    <a:pt x="2049" y="4979"/>
                  </a:cubicBezTo>
                  <a:close/>
                  <a:moveTo>
                    <a:pt x="8948" y="1671"/>
                  </a:moveTo>
                  <a:cubicBezTo>
                    <a:pt x="10082" y="1671"/>
                    <a:pt x="10996" y="2584"/>
                    <a:pt x="11028" y="3750"/>
                  </a:cubicBezTo>
                  <a:cubicBezTo>
                    <a:pt x="10996" y="4916"/>
                    <a:pt x="10082" y="5798"/>
                    <a:pt x="8948" y="5798"/>
                  </a:cubicBezTo>
                  <a:cubicBezTo>
                    <a:pt x="7814" y="5798"/>
                    <a:pt x="6900" y="4853"/>
                    <a:pt x="6869" y="3750"/>
                  </a:cubicBezTo>
                  <a:cubicBezTo>
                    <a:pt x="6869" y="2616"/>
                    <a:pt x="7814" y="1702"/>
                    <a:pt x="8948" y="1671"/>
                  </a:cubicBezTo>
                  <a:close/>
                  <a:moveTo>
                    <a:pt x="1230" y="1"/>
                  </a:moveTo>
                  <a:cubicBezTo>
                    <a:pt x="568" y="1"/>
                    <a:pt x="1" y="568"/>
                    <a:pt x="1" y="1230"/>
                  </a:cubicBezTo>
                  <a:lnTo>
                    <a:pt x="1" y="6207"/>
                  </a:lnTo>
                  <a:cubicBezTo>
                    <a:pt x="1" y="6743"/>
                    <a:pt x="379" y="7184"/>
                    <a:pt x="852" y="7373"/>
                  </a:cubicBezTo>
                  <a:lnTo>
                    <a:pt x="852" y="7846"/>
                  </a:lnTo>
                  <a:cubicBezTo>
                    <a:pt x="852" y="8098"/>
                    <a:pt x="1041" y="8255"/>
                    <a:pt x="1261" y="8255"/>
                  </a:cubicBezTo>
                  <a:lnTo>
                    <a:pt x="2931" y="8255"/>
                  </a:lnTo>
                  <a:cubicBezTo>
                    <a:pt x="3151" y="8255"/>
                    <a:pt x="3372" y="8066"/>
                    <a:pt x="3372" y="7846"/>
                  </a:cubicBezTo>
                  <a:lnTo>
                    <a:pt x="3372" y="7436"/>
                  </a:lnTo>
                  <a:lnTo>
                    <a:pt x="9421" y="7436"/>
                  </a:lnTo>
                  <a:lnTo>
                    <a:pt x="9421" y="7846"/>
                  </a:lnTo>
                  <a:cubicBezTo>
                    <a:pt x="9421" y="8098"/>
                    <a:pt x="9610" y="8255"/>
                    <a:pt x="9862" y="8255"/>
                  </a:cubicBezTo>
                  <a:lnTo>
                    <a:pt x="11500" y="8255"/>
                  </a:lnTo>
                  <a:cubicBezTo>
                    <a:pt x="11752" y="8255"/>
                    <a:pt x="11941" y="8066"/>
                    <a:pt x="11941" y="7846"/>
                  </a:cubicBezTo>
                  <a:lnTo>
                    <a:pt x="11941" y="7373"/>
                  </a:lnTo>
                  <a:cubicBezTo>
                    <a:pt x="12414" y="7215"/>
                    <a:pt x="12760" y="6743"/>
                    <a:pt x="12760" y="6207"/>
                  </a:cubicBezTo>
                  <a:lnTo>
                    <a:pt x="12760" y="1230"/>
                  </a:lnTo>
                  <a:cubicBezTo>
                    <a:pt x="12666" y="599"/>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8" name="Google Shape;6498;p71"/>
          <p:cNvGrpSpPr/>
          <p:nvPr/>
        </p:nvGrpSpPr>
        <p:grpSpPr>
          <a:xfrm>
            <a:off x="3505508" y="3575931"/>
            <a:ext cx="368134" cy="371814"/>
            <a:chOff x="-37804925" y="3953450"/>
            <a:chExt cx="315075" cy="318225"/>
          </a:xfrm>
        </p:grpSpPr>
        <p:sp>
          <p:nvSpPr>
            <p:cNvPr id="6499" name="Google Shape;6499;p71"/>
            <p:cNvSpPr/>
            <p:nvPr/>
          </p:nvSpPr>
          <p:spPr>
            <a:xfrm>
              <a:off x="-37614300" y="3955025"/>
              <a:ext cx="124450" cy="186200"/>
            </a:xfrm>
            <a:custGeom>
              <a:avLst/>
              <a:gdLst/>
              <a:ahLst/>
              <a:cxnLst/>
              <a:rect l="l" t="t" r="r" b="b"/>
              <a:pathLst>
                <a:path w="4978" h="7448" extrusionOk="0">
                  <a:moveTo>
                    <a:pt x="2489" y="820"/>
                  </a:moveTo>
                  <a:cubicBezTo>
                    <a:pt x="3403" y="820"/>
                    <a:pt x="4127" y="1576"/>
                    <a:pt x="4127" y="2490"/>
                  </a:cubicBezTo>
                  <a:cubicBezTo>
                    <a:pt x="4127" y="3372"/>
                    <a:pt x="3403" y="4128"/>
                    <a:pt x="2489" y="4128"/>
                  </a:cubicBezTo>
                  <a:cubicBezTo>
                    <a:pt x="1575" y="4128"/>
                    <a:pt x="819" y="3372"/>
                    <a:pt x="819" y="2490"/>
                  </a:cubicBezTo>
                  <a:cubicBezTo>
                    <a:pt x="819" y="1576"/>
                    <a:pt x="1575" y="820"/>
                    <a:pt x="2489" y="820"/>
                  </a:cubicBezTo>
                  <a:close/>
                  <a:moveTo>
                    <a:pt x="2489" y="1"/>
                  </a:moveTo>
                  <a:cubicBezTo>
                    <a:pt x="1103" y="1"/>
                    <a:pt x="0" y="1104"/>
                    <a:pt x="0" y="2490"/>
                  </a:cubicBezTo>
                  <a:cubicBezTo>
                    <a:pt x="0" y="3214"/>
                    <a:pt x="315" y="3845"/>
                    <a:pt x="819" y="4317"/>
                  </a:cubicBezTo>
                  <a:lnTo>
                    <a:pt x="819" y="7058"/>
                  </a:lnTo>
                  <a:cubicBezTo>
                    <a:pt x="819" y="7287"/>
                    <a:pt x="1012" y="7448"/>
                    <a:pt x="1225" y="7448"/>
                  </a:cubicBezTo>
                  <a:cubicBezTo>
                    <a:pt x="1334" y="7448"/>
                    <a:pt x="1448" y="7406"/>
                    <a:pt x="1544" y="7310"/>
                  </a:cubicBezTo>
                  <a:lnTo>
                    <a:pt x="2489" y="6365"/>
                  </a:lnTo>
                  <a:lnTo>
                    <a:pt x="3434" y="7310"/>
                  </a:lnTo>
                  <a:cubicBezTo>
                    <a:pt x="3530" y="7406"/>
                    <a:pt x="3640" y="7448"/>
                    <a:pt x="3744" y="7448"/>
                  </a:cubicBezTo>
                  <a:cubicBezTo>
                    <a:pt x="3948" y="7448"/>
                    <a:pt x="4127" y="7287"/>
                    <a:pt x="4127" y="7058"/>
                  </a:cubicBezTo>
                  <a:lnTo>
                    <a:pt x="4127" y="4317"/>
                  </a:lnTo>
                  <a:cubicBezTo>
                    <a:pt x="4663" y="3845"/>
                    <a:pt x="4978" y="3214"/>
                    <a:pt x="4978" y="2490"/>
                  </a:cubicBezTo>
                  <a:cubicBezTo>
                    <a:pt x="4978" y="1104"/>
                    <a:pt x="3875"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1"/>
            <p:cNvSpPr/>
            <p:nvPr/>
          </p:nvSpPr>
          <p:spPr>
            <a:xfrm>
              <a:off x="-37761600" y="4230700"/>
              <a:ext cx="270175" cy="40975"/>
            </a:xfrm>
            <a:custGeom>
              <a:avLst/>
              <a:gdLst/>
              <a:ahLst/>
              <a:cxnLst/>
              <a:rect l="l" t="t" r="r" b="b"/>
              <a:pathLst>
                <a:path w="10807" h="1639" extrusionOk="0">
                  <a:moveTo>
                    <a:pt x="1450" y="1"/>
                  </a:moveTo>
                  <a:cubicBezTo>
                    <a:pt x="1292" y="788"/>
                    <a:pt x="662" y="1387"/>
                    <a:pt x="1" y="1639"/>
                  </a:cubicBezTo>
                  <a:lnTo>
                    <a:pt x="8822" y="1639"/>
                  </a:lnTo>
                  <a:cubicBezTo>
                    <a:pt x="9799" y="1639"/>
                    <a:pt x="10649" y="946"/>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1"/>
            <p:cNvSpPr/>
            <p:nvPr/>
          </p:nvSpPr>
          <p:spPr>
            <a:xfrm>
              <a:off x="-37804925" y="3953450"/>
              <a:ext cx="274125" cy="295675"/>
            </a:xfrm>
            <a:custGeom>
              <a:avLst/>
              <a:gdLst/>
              <a:ahLst/>
              <a:cxnLst/>
              <a:rect l="l" t="t" r="r" b="b"/>
              <a:pathLst>
                <a:path w="10965" h="11827" extrusionOk="0">
                  <a:moveTo>
                    <a:pt x="379" y="1"/>
                  </a:moveTo>
                  <a:cubicBezTo>
                    <a:pt x="158" y="1"/>
                    <a:pt x="1" y="221"/>
                    <a:pt x="1" y="411"/>
                  </a:cubicBezTo>
                  <a:lnTo>
                    <a:pt x="1" y="10618"/>
                  </a:lnTo>
                  <a:cubicBezTo>
                    <a:pt x="1" y="11280"/>
                    <a:pt x="537" y="11815"/>
                    <a:pt x="1198" y="11815"/>
                  </a:cubicBezTo>
                  <a:cubicBezTo>
                    <a:pt x="1247" y="11823"/>
                    <a:pt x="1295" y="11826"/>
                    <a:pt x="1342" y="11826"/>
                  </a:cubicBezTo>
                  <a:cubicBezTo>
                    <a:pt x="1912" y="11826"/>
                    <a:pt x="2395" y="11318"/>
                    <a:pt x="2395" y="10650"/>
                  </a:cubicBezTo>
                  <a:cubicBezTo>
                    <a:pt x="2395" y="10398"/>
                    <a:pt x="2584" y="10272"/>
                    <a:pt x="2836" y="10272"/>
                  </a:cubicBezTo>
                  <a:lnTo>
                    <a:pt x="10965" y="10272"/>
                  </a:lnTo>
                  <a:lnTo>
                    <a:pt x="10965" y="8255"/>
                  </a:lnTo>
                  <a:cubicBezTo>
                    <a:pt x="10807" y="8161"/>
                    <a:pt x="10650" y="8098"/>
                    <a:pt x="10492" y="7972"/>
                  </a:cubicBezTo>
                  <a:lnTo>
                    <a:pt x="10146" y="7625"/>
                  </a:lnTo>
                  <a:lnTo>
                    <a:pt x="9799" y="7972"/>
                  </a:lnTo>
                  <a:cubicBezTo>
                    <a:pt x="9547" y="8224"/>
                    <a:pt x="9232" y="8318"/>
                    <a:pt x="8917" y="8318"/>
                  </a:cubicBezTo>
                  <a:cubicBezTo>
                    <a:pt x="8255" y="8318"/>
                    <a:pt x="7720" y="7783"/>
                    <a:pt x="7720" y="7058"/>
                  </a:cubicBezTo>
                  <a:lnTo>
                    <a:pt x="7720" y="4664"/>
                  </a:lnTo>
                  <a:cubicBezTo>
                    <a:pt x="7184" y="4065"/>
                    <a:pt x="6869" y="3309"/>
                    <a:pt x="6869" y="2490"/>
                  </a:cubicBezTo>
                  <a:cubicBezTo>
                    <a:pt x="6869" y="1513"/>
                    <a:pt x="7310" y="600"/>
                    <a:pt x="8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02" name="Google Shape;6502;p71"/>
          <p:cNvSpPr/>
          <p:nvPr/>
        </p:nvSpPr>
        <p:spPr>
          <a:xfrm>
            <a:off x="2754452" y="4040675"/>
            <a:ext cx="265986" cy="369039"/>
          </a:xfrm>
          <a:custGeom>
            <a:avLst/>
            <a:gdLst/>
            <a:ahLst/>
            <a:cxnLst/>
            <a:rect l="l" t="t" r="r" b="b"/>
            <a:pathLst>
              <a:path w="9106" h="12634" extrusionOk="0">
                <a:moveTo>
                  <a:pt x="7499" y="788"/>
                </a:moveTo>
                <a:lnTo>
                  <a:pt x="7499" y="1859"/>
                </a:lnTo>
                <a:cubicBezTo>
                  <a:pt x="7499" y="2426"/>
                  <a:pt x="7373" y="3025"/>
                  <a:pt x="7121" y="3529"/>
                </a:cubicBezTo>
                <a:cubicBezTo>
                  <a:pt x="6806" y="3466"/>
                  <a:pt x="6554" y="3434"/>
                  <a:pt x="6239" y="3434"/>
                </a:cubicBezTo>
                <a:cubicBezTo>
                  <a:pt x="5546" y="3434"/>
                  <a:pt x="4916" y="3592"/>
                  <a:pt x="4380" y="3844"/>
                </a:cubicBezTo>
                <a:cubicBezTo>
                  <a:pt x="3907" y="4096"/>
                  <a:pt x="3403" y="4222"/>
                  <a:pt x="2931" y="4222"/>
                </a:cubicBezTo>
                <a:cubicBezTo>
                  <a:pt x="2710" y="4222"/>
                  <a:pt x="2521" y="4159"/>
                  <a:pt x="2364" y="4127"/>
                </a:cubicBezTo>
                <a:cubicBezTo>
                  <a:pt x="2301" y="4001"/>
                  <a:pt x="2206" y="3938"/>
                  <a:pt x="2175" y="3812"/>
                </a:cubicBezTo>
                <a:cubicBezTo>
                  <a:pt x="1860" y="3277"/>
                  <a:pt x="1702" y="2552"/>
                  <a:pt x="1702" y="1859"/>
                </a:cubicBezTo>
                <a:lnTo>
                  <a:pt x="1702" y="788"/>
                </a:lnTo>
                <a:close/>
                <a:moveTo>
                  <a:pt x="5357" y="7278"/>
                </a:moveTo>
                <a:cubicBezTo>
                  <a:pt x="5451" y="7372"/>
                  <a:pt x="5546" y="7435"/>
                  <a:pt x="5672" y="7467"/>
                </a:cubicBezTo>
                <a:cubicBezTo>
                  <a:pt x="6869" y="8066"/>
                  <a:pt x="7436" y="9420"/>
                  <a:pt x="7436" y="10743"/>
                </a:cubicBezTo>
                <a:lnTo>
                  <a:pt x="7436" y="11279"/>
                </a:lnTo>
                <a:lnTo>
                  <a:pt x="4821" y="9294"/>
                </a:lnTo>
                <a:cubicBezTo>
                  <a:pt x="4742" y="9231"/>
                  <a:pt x="4648" y="9200"/>
                  <a:pt x="4553" y="9200"/>
                </a:cubicBezTo>
                <a:cubicBezTo>
                  <a:pt x="4459" y="9200"/>
                  <a:pt x="4364" y="9231"/>
                  <a:pt x="4285" y="9294"/>
                </a:cubicBezTo>
                <a:lnTo>
                  <a:pt x="1671" y="11279"/>
                </a:lnTo>
                <a:lnTo>
                  <a:pt x="1671" y="10743"/>
                </a:lnTo>
                <a:cubicBezTo>
                  <a:pt x="1671" y="9357"/>
                  <a:pt x="2238" y="8066"/>
                  <a:pt x="3435" y="7467"/>
                </a:cubicBezTo>
                <a:cubicBezTo>
                  <a:pt x="3561" y="7435"/>
                  <a:pt x="3624" y="7372"/>
                  <a:pt x="3750" y="7278"/>
                </a:cubicBezTo>
                <a:lnTo>
                  <a:pt x="4191" y="8160"/>
                </a:lnTo>
                <a:cubicBezTo>
                  <a:pt x="4270" y="8318"/>
                  <a:pt x="4411" y="8396"/>
                  <a:pt x="4557" y="8396"/>
                </a:cubicBezTo>
                <a:cubicBezTo>
                  <a:pt x="4703" y="8396"/>
                  <a:pt x="4853" y="8318"/>
                  <a:pt x="4947" y="8160"/>
                </a:cubicBezTo>
                <a:lnTo>
                  <a:pt x="5357" y="7278"/>
                </a:lnTo>
                <a:close/>
                <a:moveTo>
                  <a:pt x="410" y="0"/>
                </a:moveTo>
                <a:cubicBezTo>
                  <a:pt x="158" y="0"/>
                  <a:pt x="1" y="189"/>
                  <a:pt x="1" y="410"/>
                </a:cubicBezTo>
                <a:cubicBezTo>
                  <a:pt x="1" y="630"/>
                  <a:pt x="190" y="788"/>
                  <a:pt x="410" y="788"/>
                </a:cubicBezTo>
                <a:lnTo>
                  <a:pt x="820" y="788"/>
                </a:lnTo>
                <a:lnTo>
                  <a:pt x="820" y="1859"/>
                </a:lnTo>
                <a:cubicBezTo>
                  <a:pt x="820" y="3749"/>
                  <a:pt x="1734" y="5199"/>
                  <a:pt x="3088" y="5860"/>
                </a:cubicBezTo>
                <a:cubicBezTo>
                  <a:pt x="3403" y="6018"/>
                  <a:pt x="3403" y="6585"/>
                  <a:pt x="3088" y="6742"/>
                </a:cubicBezTo>
                <a:cubicBezTo>
                  <a:pt x="1576" y="7467"/>
                  <a:pt x="820" y="9042"/>
                  <a:pt x="820" y="10743"/>
                </a:cubicBezTo>
                <a:lnTo>
                  <a:pt x="820" y="11815"/>
                </a:lnTo>
                <a:lnTo>
                  <a:pt x="410" y="11815"/>
                </a:lnTo>
                <a:cubicBezTo>
                  <a:pt x="158" y="11815"/>
                  <a:pt x="1" y="12004"/>
                  <a:pt x="1" y="12256"/>
                </a:cubicBezTo>
                <a:cubicBezTo>
                  <a:pt x="1" y="12476"/>
                  <a:pt x="190" y="12634"/>
                  <a:pt x="410" y="12634"/>
                </a:cubicBezTo>
                <a:lnTo>
                  <a:pt x="8665" y="12634"/>
                </a:lnTo>
                <a:cubicBezTo>
                  <a:pt x="8917" y="12634"/>
                  <a:pt x="9106" y="12445"/>
                  <a:pt x="9106" y="12256"/>
                </a:cubicBezTo>
                <a:cubicBezTo>
                  <a:pt x="9106" y="12004"/>
                  <a:pt x="8917" y="11815"/>
                  <a:pt x="8665" y="11815"/>
                </a:cubicBezTo>
                <a:lnTo>
                  <a:pt x="8287" y="11815"/>
                </a:lnTo>
                <a:lnTo>
                  <a:pt x="8287" y="10743"/>
                </a:lnTo>
                <a:cubicBezTo>
                  <a:pt x="8287" y="9042"/>
                  <a:pt x="7530" y="7467"/>
                  <a:pt x="6018" y="6742"/>
                </a:cubicBezTo>
                <a:cubicBezTo>
                  <a:pt x="5703" y="6585"/>
                  <a:pt x="5672" y="6018"/>
                  <a:pt x="6018" y="5860"/>
                </a:cubicBezTo>
                <a:cubicBezTo>
                  <a:pt x="7530" y="5136"/>
                  <a:pt x="8287" y="3560"/>
                  <a:pt x="8287" y="1859"/>
                </a:cubicBezTo>
                <a:lnTo>
                  <a:pt x="8287" y="788"/>
                </a:lnTo>
                <a:lnTo>
                  <a:pt x="8665" y="788"/>
                </a:lnTo>
                <a:cubicBezTo>
                  <a:pt x="8917" y="788"/>
                  <a:pt x="9106" y="599"/>
                  <a:pt x="9106" y="410"/>
                </a:cubicBezTo>
                <a:cubicBezTo>
                  <a:pt x="9106" y="158"/>
                  <a:pt x="8917"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03" name="Google Shape;6503;p71"/>
          <p:cNvGrpSpPr/>
          <p:nvPr/>
        </p:nvGrpSpPr>
        <p:grpSpPr>
          <a:xfrm>
            <a:off x="4860977" y="1328538"/>
            <a:ext cx="355663" cy="308725"/>
            <a:chOff x="-28462125" y="3199700"/>
            <a:chExt cx="298550" cy="259150"/>
          </a:xfrm>
        </p:grpSpPr>
        <p:sp>
          <p:nvSpPr>
            <p:cNvPr id="6504" name="Google Shape;6504;p71"/>
            <p:cNvSpPr/>
            <p:nvPr/>
          </p:nvSpPr>
          <p:spPr>
            <a:xfrm>
              <a:off x="-28459750" y="3284775"/>
              <a:ext cx="296175" cy="104775"/>
            </a:xfrm>
            <a:custGeom>
              <a:avLst/>
              <a:gdLst/>
              <a:ahLst/>
              <a:cxnLst/>
              <a:rect l="l" t="t" r="r" b="b"/>
              <a:pathLst>
                <a:path w="11847" h="4191" extrusionOk="0">
                  <a:moveTo>
                    <a:pt x="5230" y="0"/>
                  </a:moveTo>
                  <a:cubicBezTo>
                    <a:pt x="5073" y="0"/>
                    <a:pt x="4947" y="63"/>
                    <a:pt x="4915" y="189"/>
                  </a:cubicBezTo>
                  <a:lnTo>
                    <a:pt x="4096" y="2080"/>
                  </a:lnTo>
                  <a:lnTo>
                    <a:pt x="347" y="2080"/>
                  </a:lnTo>
                  <a:cubicBezTo>
                    <a:pt x="158" y="2080"/>
                    <a:pt x="0" y="2237"/>
                    <a:pt x="0" y="2426"/>
                  </a:cubicBezTo>
                  <a:cubicBezTo>
                    <a:pt x="0" y="2615"/>
                    <a:pt x="158" y="2773"/>
                    <a:pt x="347" y="2773"/>
                  </a:cubicBezTo>
                  <a:lnTo>
                    <a:pt x="4316" y="2773"/>
                  </a:lnTo>
                  <a:cubicBezTo>
                    <a:pt x="4411" y="2773"/>
                    <a:pt x="4505" y="2710"/>
                    <a:pt x="4600" y="2584"/>
                  </a:cubicBezTo>
                  <a:lnTo>
                    <a:pt x="5199" y="1292"/>
                  </a:lnTo>
                  <a:lnTo>
                    <a:pt x="6238" y="3970"/>
                  </a:lnTo>
                  <a:cubicBezTo>
                    <a:pt x="6301" y="4096"/>
                    <a:pt x="6396" y="4159"/>
                    <a:pt x="6522" y="4191"/>
                  </a:cubicBezTo>
                  <a:lnTo>
                    <a:pt x="6553" y="4191"/>
                  </a:lnTo>
                  <a:cubicBezTo>
                    <a:pt x="6679" y="4191"/>
                    <a:pt x="6805" y="4127"/>
                    <a:pt x="6868" y="4033"/>
                  </a:cubicBezTo>
                  <a:lnTo>
                    <a:pt x="7624" y="2836"/>
                  </a:lnTo>
                  <a:lnTo>
                    <a:pt x="11500" y="2836"/>
                  </a:lnTo>
                  <a:cubicBezTo>
                    <a:pt x="11689" y="2836"/>
                    <a:pt x="11846" y="2678"/>
                    <a:pt x="11846" y="2458"/>
                  </a:cubicBezTo>
                  <a:cubicBezTo>
                    <a:pt x="11846" y="2269"/>
                    <a:pt x="11689" y="2111"/>
                    <a:pt x="11500" y="2111"/>
                  </a:cubicBezTo>
                  <a:lnTo>
                    <a:pt x="7435" y="2111"/>
                  </a:lnTo>
                  <a:cubicBezTo>
                    <a:pt x="7309" y="2111"/>
                    <a:pt x="7183" y="2206"/>
                    <a:pt x="7120" y="2269"/>
                  </a:cubicBezTo>
                  <a:lnTo>
                    <a:pt x="6648" y="3056"/>
                  </a:lnTo>
                  <a:lnTo>
                    <a:pt x="5545" y="221"/>
                  </a:lnTo>
                  <a:cubicBezTo>
                    <a:pt x="5514" y="95"/>
                    <a:pt x="5388" y="0"/>
                    <a:pt x="5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1"/>
            <p:cNvSpPr/>
            <p:nvPr/>
          </p:nvSpPr>
          <p:spPr>
            <a:xfrm>
              <a:off x="-28462125" y="3199700"/>
              <a:ext cx="295400" cy="125275"/>
            </a:xfrm>
            <a:custGeom>
              <a:avLst/>
              <a:gdLst/>
              <a:ahLst/>
              <a:cxnLst/>
              <a:rect l="l" t="t" r="r" b="b"/>
              <a:pathLst>
                <a:path w="11816" h="5011" extrusionOk="0">
                  <a:moveTo>
                    <a:pt x="3151" y="1"/>
                  </a:moveTo>
                  <a:cubicBezTo>
                    <a:pt x="1387" y="1"/>
                    <a:pt x="1" y="1419"/>
                    <a:pt x="1" y="3277"/>
                  </a:cubicBezTo>
                  <a:cubicBezTo>
                    <a:pt x="1" y="3876"/>
                    <a:pt x="158" y="4349"/>
                    <a:pt x="442" y="4821"/>
                  </a:cubicBezTo>
                  <a:lnTo>
                    <a:pt x="3655" y="4821"/>
                  </a:lnTo>
                  <a:lnTo>
                    <a:pt x="4285" y="3340"/>
                  </a:lnTo>
                  <a:cubicBezTo>
                    <a:pt x="4443" y="2994"/>
                    <a:pt x="4821" y="2773"/>
                    <a:pt x="5199" y="2710"/>
                  </a:cubicBezTo>
                  <a:cubicBezTo>
                    <a:pt x="5672" y="2710"/>
                    <a:pt x="6018" y="2994"/>
                    <a:pt x="6176" y="3403"/>
                  </a:cubicBezTo>
                  <a:lnTo>
                    <a:pt x="6806" y="5010"/>
                  </a:lnTo>
                  <a:cubicBezTo>
                    <a:pt x="6963" y="4884"/>
                    <a:pt x="7215" y="4821"/>
                    <a:pt x="7404" y="4821"/>
                  </a:cubicBezTo>
                  <a:lnTo>
                    <a:pt x="11374" y="4821"/>
                  </a:lnTo>
                  <a:cubicBezTo>
                    <a:pt x="11626" y="4349"/>
                    <a:pt x="11815" y="3813"/>
                    <a:pt x="11815" y="3277"/>
                  </a:cubicBezTo>
                  <a:cubicBezTo>
                    <a:pt x="11815" y="1419"/>
                    <a:pt x="10429" y="1"/>
                    <a:pt x="8665" y="1"/>
                  </a:cubicBezTo>
                  <a:cubicBezTo>
                    <a:pt x="7247" y="1"/>
                    <a:pt x="6396" y="977"/>
                    <a:pt x="5924" y="1860"/>
                  </a:cubicBezTo>
                  <a:cubicBezTo>
                    <a:pt x="5451" y="977"/>
                    <a:pt x="4537"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1"/>
            <p:cNvSpPr/>
            <p:nvPr/>
          </p:nvSpPr>
          <p:spPr>
            <a:xfrm>
              <a:off x="-28405400" y="3360375"/>
              <a:ext cx="186675" cy="98475"/>
            </a:xfrm>
            <a:custGeom>
              <a:avLst/>
              <a:gdLst/>
              <a:ahLst/>
              <a:cxnLst/>
              <a:rect l="l" t="t" r="r" b="b"/>
              <a:pathLst>
                <a:path w="7467" h="3939" extrusionOk="0">
                  <a:moveTo>
                    <a:pt x="2962" y="1"/>
                  </a:moveTo>
                  <a:cubicBezTo>
                    <a:pt x="2773" y="284"/>
                    <a:pt x="2458" y="442"/>
                    <a:pt x="2111" y="442"/>
                  </a:cubicBezTo>
                  <a:lnTo>
                    <a:pt x="0" y="442"/>
                  </a:lnTo>
                  <a:cubicBezTo>
                    <a:pt x="158" y="599"/>
                    <a:pt x="347" y="757"/>
                    <a:pt x="536" y="914"/>
                  </a:cubicBezTo>
                  <a:cubicBezTo>
                    <a:pt x="1449" y="1734"/>
                    <a:pt x="2426" y="2647"/>
                    <a:pt x="3434" y="3813"/>
                  </a:cubicBezTo>
                  <a:cubicBezTo>
                    <a:pt x="3529" y="3907"/>
                    <a:pt x="3592" y="3939"/>
                    <a:pt x="3718" y="3939"/>
                  </a:cubicBezTo>
                  <a:cubicBezTo>
                    <a:pt x="3844" y="3939"/>
                    <a:pt x="3907" y="3907"/>
                    <a:pt x="4001" y="3813"/>
                  </a:cubicBezTo>
                  <a:cubicBezTo>
                    <a:pt x="4978" y="2584"/>
                    <a:pt x="6018" y="1734"/>
                    <a:pt x="6900" y="914"/>
                  </a:cubicBezTo>
                  <a:cubicBezTo>
                    <a:pt x="7120" y="757"/>
                    <a:pt x="7278" y="599"/>
                    <a:pt x="7467" y="442"/>
                  </a:cubicBezTo>
                  <a:lnTo>
                    <a:pt x="5860" y="442"/>
                  </a:lnTo>
                  <a:lnTo>
                    <a:pt x="5293" y="1324"/>
                  </a:lnTo>
                  <a:cubicBezTo>
                    <a:pt x="5104" y="1639"/>
                    <a:pt x="4789" y="1860"/>
                    <a:pt x="4379" y="1860"/>
                  </a:cubicBezTo>
                  <a:lnTo>
                    <a:pt x="4316" y="1860"/>
                  </a:lnTo>
                  <a:cubicBezTo>
                    <a:pt x="3907" y="1797"/>
                    <a:pt x="3592" y="1576"/>
                    <a:pt x="3434" y="1167"/>
                  </a:cubicBez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07" name="Google Shape;6507;p71"/>
          <p:cNvGrpSpPr/>
          <p:nvPr/>
        </p:nvGrpSpPr>
        <p:grpSpPr>
          <a:xfrm>
            <a:off x="4861930" y="1763228"/>
            <a:ext cx="353757" cy="352833"/>
            <a:chOff x="-28461325" y="3545475"/>
            <a:chExt cx="296950" cy="296175"/>
          </a:xfrm>
        </p:grpSpPr>
        <p:sp>
          <p:nvSpPr>
            <p:cNvPr id="6508" name="Google Shape;6508;p71"/>
            <p:cNvSpPr/>
            <p:nvPr/>
          </p:nvSpPr>
          <p:spPr>
            <a:xfrm>
              <a:off x="-28461325" y="3666775"/>
              <a:ext cx="34675" cy="52775"/>
            </a:xfrm>
            <a:custGeom>
              <a:avLst/>
              <a:gdLst/>
              <a:ahLst/>
              <a:cxnLst/>
              <a:rect l="l" t="t" r="r" b="b"/>
              <a:pathLst>
                <a:path w="1387" h="2111" extrusionOk="0">
                  <a:moveTo>
                    <a:pt x="0" y="0"/>
                  </a:moveTo>
                  <a:lnTo>
                    <a:pt x="0" y="2111"/>
                  </a:lnTo>
                  <a:lnTo>
                    <a:pt x="1386" y="2111"/>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1"/>
            <p:cNvSpPr/>
            <p:nvPr/>
          </p:nvSpPr>
          <p:spPr>
            <a:xfrm>
              <a:off x="-28461325" y="3737650"/>
              <a:ext cx="52775" cy="17350"/>
            </a:xfrm>
            <a:custGeom>
              <a:avLst/>
              <a:gdLst/>
              <a:ahLst/>
              <a:cxnLst/>
              <a:rect l="l" t="t" r="r" b="b"/>
              <a:pathLst>
                <a:path w="2111" h="694" extrusionOk="0">
                  <a:moveTo>
                    <a:pt x="0" y="1"/>
                  </a:moveTo>
                  <a:lnTo>
                    <a:pt x="0" y="694"/>
                  </a:lnTo>
                  <a:lnTo>
                    <a:pt x="1733" y="694"/>
                  </a:lnTo>
                  <a:cubicBezTo>
                    <a:pt x="1954" y="694"/>
                    <a:pt x="2111" y="536"/>
                    <a:pt x="2111" y="347"/>
                  </a:cubicBez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1"/>
            <p:cNvSpPr/>
            <p:nvPr/>
          </p:nvSpPr>
          <p:spPr>
            <a:xfrm>
              <a:off x="-28461325" y="3632100"/>
              <a:ext cx="52775" cy="17375"/>
            </a:xfrm>
            <a:custGeom>
              <a:avLst/>
              <a:gdLst/>
              <a:ahLst/>
              <a:cxnLst/>
              <a:rect l="l" t="t" r="r" b="b"/>
              <a:pathLst>
                <a:path w="2111" h="695" extrusionOk="0">
                  <a:moveTo>
                    <a:pt x="0" y="1"/>
                  </a:moveTo>
                  <a:lnTo>
                    <a:pt x="0" y="694"/>
                  </a:lnTo>
                  <a:lnTo>
                    <a:pt x="1733" y="694"/>
                  </a:lnTo>
                  <a:cubicBezTo>
                    <a:pt x="1954" y="694"/>
                    <a:pt x="2111" y="537"/>
                    <a:pt x="2111" y="348"/>
                  </a:cubicBezTo>
                  <a:cubicBezTo>
                    <a:pt x="2111" y="159"/>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1"/>
            <p:cNvSpPr/>
            <p:nvPr/>
          </p:nvSpPr>
          <p:spPr>
            <a:xfrm>
              <a:off x="-28460550" y="3545475"/>
              <a:ext cx="296175" cy="296175"/>
            </a:xfrm>
            <a:custGeom>
              <a:avLst/>
              <a:gdLst/>
              <a:ahLst/>
              <a:cxnLst/>
              <a:rect l="l" t="t" r="r" b="b"/>
              <a:pathLst>
                <a:path w="11847" h="11847" extrusionOk="0">
                  <a:moveTo>
                    <a:pt x="2427" y="0"/>
                  </a:moveTo>
                  <a:cubicBezTo>
                    <a:pt x="1072" y="0"/>
                    <a:pt x="1" y="1103"/>
                    <a:pt x="1" y="2426"/>
                  </a:cubicBezTo>
                  <a:lnTo>
                    <a:pt x="1" y="2804"/>
                  </a:lnTo>
                  <a:lnTo>
                    <a:pt x="1355" y="2804"/>
                  </a:lnTo>
                  <a:lnTo>
                    <a:pt x="1355" y="2426"/>
                  </a:lnTo>
                  <a:cubicBezTo>
                    <a:pt x="1355" y="1859"/>
                    <a:pt x="1828" y="1418"/>
                    <a:pt x="2395" y="1418"/>
                  </a:cubicBezTo>
                  <a:lnTo>
                    <a:pt x="9358" y="1418"/>
                  </a:lnTo>
                  <a:cubicBezTo>
                    <a:pt x="9956" y="1418"/>
                    <a:pt x="10366" y="1891"/>
                    <a:pt x="10366" y="2426"/>
                  </a:cubicBezTo>
                  <a:lnTo>
                    <a:pt x="10366" y="9420"/>
                  </a:lnTo>
                  <a:cubicBezTo>
                    <a:pt x="10366" y="9987"/>
                    <a:pt x="9893" y="10429"/>
                    <a:pt x="9358" y="10429"/>
                  </a:cubicBezTo>
                  <a:lnTo>
                    <a:pt x="2395" y="10429"/>
                  </a:lnTo>
                  <a:cubicBezTo>
                    <a:pt x="1797" y="10429"/>
                    <a:pt x="1355" y="9956"/>
                    <a:pt x="1355" y="9420"/>
                  </a:cubicBezTo>
                  <a:lnTo>
                    <a:pt x="1355" y="9042"/>
                  </a:lnTo>
                  <a:lnTo>
                    <a:pt x="1" y="9042"/>
                  </a:lnTo>
                  <a:lnTo>
                    <a:pt x="1" y="9420"/>
                  </a:lnTo>
                  <a:cubicBezTo>
                    <a:pt x="1" y="10744"/>
                    <a:pt x="1103" y="11846"/>
                    <a:pt x="2427" y="11846"/>
                  </a:cubicBezTo>
                  <a:lnTo>
                    <a:pt x="9389" y="11846"/>
                  </a:lnTo>
                  <a:cubicBezTo>
                    <a:pt x="10744" y="11846"/>
                    <a:pt x="11847" y="10744"/>
                    <a:pt x="11847" y="9420"/>
                  </a:cubicBezTo>
                  <a:lnTo>
                    <a:pt x="11847" y="2426"/>
                  </a:lnTo>
                  <a:cubicBezTo>
                    <a:pt x="11847" y="1103"/>
                    <a:pt x="10744" y="0"/>
                    <a:pt x="93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1"/>
            <p:cNvSpPr/>
            <p:nvPr/>
          </p:nvSpPr>
          <p:spPr>
            <a:xfrm>
              <a:off x="-28347925" y="3649450"/>
              <a:ext cx="86675" cy="86650"/>
            </a:xfrm>
            <a:custGeom>
              <a:avLst/>
              <a:gdLst/>
              <a:ahLst/>
              <a:cxnLst/>
              <a:rect l="l" t="t" r="r" b="b"/>
              <a:pathLst>
                <a:path w="3467" h="3466" extrusionOk="0">
                  <a:moveTo>
                    <a:pt x="1387" y="0"/>
                  </a:moveTo>
                  <a:lnTo>
                    <a:pt x="1387" y="1040"/>
                  </a:lnTo>
                  <a:cubicBezTo>
                    <a:pt x="1387" y="1229"/>
                    <a:pt x="1230" y="1386"/>
                    <a:pt x="1041" y="1386"/>
                  </a:cubicBezTo>
                  <a:lnTo>
                    <a:pt x="1" y="1386"/>
                  </a:lnTo>
                  <a:lnTo>
                    <a:pt x="1" y="2111"/>
                  </a:lnTo>
                  <a:lnTo>
                    <a:pt x="1041" y="2111"/>
                  </a:lnTo>
                  <a:cubicBezTo>
                    <a:pt x="1230" y="2111"/>
                    <a:pt x="1387" y="2268"/>
                    <a:pt x="1387" y="2457"/>
                  </a:cubicBezTo>
                  <a:lnTo>
                    <a:pt x="1387" y="3466"/>
                  </a:lnTo>
                  <a:lnTo>
                    <a:pt x="2080" y="3466"/>
                  </a:lnTo>
                  <a:lnTo>
                    <a:pt x="2080" y="2457"/>
                  </a:lnTo>
                  <a:cubicBezTo>
                    <a:pt x="2080" y="2268"/>
                    <a:pt x="2238" y="2111"/>
                    <a:pt x="2458" y="2111"/>
                  </a:cubicBezTo>
                  <a:lnTo>
                    <a:pt x="3467" y="2111"/>
                  </a:lnTo>
                  <a:lnTo>
                    <a:pt x="3467" y="1386"/>
                  </a:lnTo>
                  <a:lnTo>
                    <a:pt x="2458" y="1386"/>
                  </a:lnTo>
                  <a:cubicBezTo>
                    <a:pt x="2238" y="1386"/>
                    <a:pt x="2080" y="1229"/>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1"/>
            <p:cNvSpPr/>
            <p:nvPr/>
          </p:nvSpPr>
          <p:spPr>
            <a:xfrm>
              <a:off x="-28408550" y="3597450"/>
              <a:ext cx="191400" cy="192200"/>
            </a:xfrm>
            <a:custGeom>
              <a:avLst/>
              <a:gdLst/>
              <a:ahLst/>
              <a:cxnLst/>
              <a:rect l="l" t="t" r="r" b="b"/>
              <a:pathLst>
                <a:path w="7656" h="7688" extrusionOk="0">
                  <a:moveTo>
                    <a:pt x="4883" y="1418"/>
                  </a:moveTo>
                  <a:cubicBezTo>
                    <a:pt x="5072" y="1418"/>
                    <a:pt x="5230" y="1576"/>
                    <a:pt x="5230" y="1765"/>
                  </a:cubicBezTo>
                  <a:lnTo>
                    <a:pt x="5230" y="2805"/>
                  </a:lnTo>
                  <a:lnTo>
                    <a:pt x="6238" y="2805"/>
                  </a:lnTo>
                  <a:cubicBezTo>
                    <a:pt x="6459" y="2805"/>
                    <a:pt x="6616" y="2962"/>
                    <a:pt x="6616" y="3151"/>
                  </a:cubicBezTo>
                  <a:lnTo>
                    <a:pt x="6616" y="4537"/>
                  </a:lnTo>
                  <a:cubicBezTo>
                    <a:pt x="6616" y="4726"/>
                    <a:pt x="6459" y="4884"/>
                    <a:pt x="6238" y="4884"/>
                  </a:cubicBezTo>
                  <a:lnTo>
                    <a:pt x="5230" y="4884"/>
                  </a:lnTo>
                  <a:lnTo>
                    <a:pt x="5230" y="5924"/>
                  </a:lnTo>
                  <a:cubicBezTo>
                    <a:pt x="5230" y="6113"/>
                    <a:pt x="5072" y="6270"/>
                    <a:pt x="4883" y="6270"/>
                  </a:cubicBezTo>
                  <a:lnTo>
                    <a:pt x="3497" y="6270"/>
                  </a:lnTo>
                  <a:cubicBezTo>
                    <a:pt x="3308" y="6270"/>
                    <a:pt x="3151" y="6113"/>
                    <a:pt x="3151" y="5924"/>
                  </a:cubicBezTo>
                  <a:lnTo>
                    <a:pt x="3151" y="4884"/>
                  </a:lnTo>
                  <a:lnTo>
                    <a:pt x="2111" y="4884"/>
                  </a:lnTo>
                  <a:cubicBezTo>
                    <a:pt x="1922" y="4884"/>
                    <a:pt x="1764" y="4726"/>
                    <a:pt x="1764" y="4537"/>
                  </a:cubicBezTo>
                  <a:lnTo>
                    <a:pt x="1764" y="3151"/>
                  </a:lnTo>
                  <a:cubicBezTo>
                    <a:pt x="1764" y="2962"/>
                    <a:pt x="1922" y="2805"/>
                    <a:pt x="2111" y="2805"/>
                  </a:cubicBezTo>
                  <a:lnTo>
                    <a:pt x="3151" y="2805"/>
                  </a:lnTo>
                  <a:lnTo>
                    <a:pt x="3151" y="1765"/>
                  </a:lnTo>
                  <a:cubicBezTo>
                    <a:pt x="3151" y="1576"/>
                    <a:pt x="3308" y="1418"/>
                    <a:pt x="3497" y="1418"/>
                  </a:cubicBezTo>
                  <a:close/>
                  <a:moveTo>
                    <a:pt x="347" y="1"/>
                  </a:moveTo>
                  <a:cubicBezTo>
                    <a:pt x="158" y="1"/>
                    <a:pt x="0" y="158"/>
                    <a:pt x="0" y="347"/>
                  </a:cubicBezTo>
                  <a:lnTo>
                    <a:pt x="0" y="757"/>
                  </a:lnTo>
                  <a:cubicBezTo>
                    <a:pt x="378" y="914"/>
                    <a:pt x="693" y="1261"/>
                    <a:pt x="693" y="1734"/>
                  </a:cubicBezTo>
                  <a:cubicBezTo>
                    <a:pt x="693" y="2175"/>
                    <a:pt x="378" y="2553"/>
                    <a:pt x="0" y="2710"/>
                  </a:cubicBezTo>
                  <a:lnTo>
                    <a:pt x="0" y="4979"/>
                  </a:lnTo>
                  <a:cubicBezTo>
                    <a:pt x="378" y="5136"/>
                    <a:pt x="693" y="5483"/>
                    <a:pt x="693" y="5955"/>
                  </a:cubicBezTo>
                  <a:cubicBezTo>
                    <a:pt x="693" y="6396"/>
                    <a:pt x="441" y="6774"/>
                    <a:pt x="0" y="6932"/>
                  </a:cubicBezTo>
                  <a:lnTo>
                    <a:pt x="0" y="7341"/>
                  </a:lnTo>
                  <a:cubicBezTo>
                    <a:pt x="0" y="7530"/>
                    <a:pt x="158" y="7688"/>
                    <a:pt x="347" y="7688"/>
                  </a:cubicBezTo>
                  <a:lnTo>
                    <a:pt x="7309" y="7688"/>
                  </a:lnTo>
                  <a:cubicBezTo>
                    <a:pt x="7498" y="7688"/>
                    <a:pt x="7656" y="7530"/>
                    <a:pt x="7656" y="7341"/>
                  </a:cubicBezTo>
                  <a:lnTo>
                    <a:pt x="7656" y="347"/>
                  </a:lnTo>
                  <a:cubicBezTo>
                    <a:pt x="7656" y="158"/>
                    <a:pt x="7498" y="1"/>
                    <a:pt x="7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4" name="Google Shape;6514;p71"/>
          <p:cNvGrpSpPr/>
          <p:nvPr/>
        </p:nvGrpSpPr>
        <p:grpSpPr>
          <a:xfrm>
            <a:off x="4858162" y="2213272"/>
            <a:ext cx="361292" cy="352803"/>
            <a:chOff x="-28463700" y="3914875"/>
            <a:chExt cx="303275" cy="296150"/>
          </a:xfrm>
        </p:grpSpPr>
        <p:sp>
          <p:nvSpPr>
            <p:cNvPr id="6515" name="Google Shape;6515;p71"/>
            <p:cNvSpPr/>
            <p:nvPr/>
          </p:nvSpPr>
          <p:spPr>
            <a:xfrm>
              <a:off x="-28333725" y="4057375"/>
              <a:ext cx="86650" cy="64650"/>
            </a:xfrm>
            <a:custGeom>
              <a:avLst/>
              <a:gdLst/>
              <a:ahLst/>
              <a:cxnLst/>
              <a:rect l="l" t="t" r="r" b="b"/>
              <a:pathLst>
                <a:path w="3466" h="2586" extrusionOk="0">
                  <a:moveTo>
                    <a:pt x="614" y="0"/>
                  </a:moveTo>
                  <a:cubicBezTo>
                    <a:pt x="287" y="0"/>
                    <a:pt x="0" y="305"/>
                    <a:pt x="0" y="696"/>
                  </a:cubicBezTo>
                  <a:cubicBezTo>
                    <a:pt x="0" y="1326"/>
                    <a:pt x="1008" y="2019"/>
                    <a:pt x="1733" y="2586"/>
                  </a:cubicBezTo>
                  <a:cubicBezTo>
                    <a:pt x="2426" y="2019"/>
                    <a:pt x="3466" y="1326"/>
                    <a:pt x="3466" y="696"/>
                  </a:cubicBezTo>
                  <a:cubicBezTo>
                    <a:pt x="3466" y="349"/>
                    <a:pt x="3214" y="3"/>
                    <a:pt x="2741" y="3"/>
                  </a:cubicBezTo>
                  <a:cubicBezTo>
                    <a:pt x="2237" y="3"/>
                    <a:pt x="2048" y="570"/>
                    <a:pt x="2048" y="570"/>
                  </a:cubicBezTo>
                  <a:cubicBezTo>
                    <a:pt x="2001" y="743"/>
                    <a:pt x="1851" y="830"/>
                    <a:pt x="1701" y="830"/>
                  </a:cubicBezTo>
                  <a:cubicBezTo>
                    <a:pt x="1552" y="830"/>
                    <a:pt x="1402" y="743"/>
                    <a:pt x="1355" y="570"/>
                  </a:cubicBezTo>
                  <a:cubicBezTo>
                    <a:pt x="1355" y="538"/>
                    <a:pt x="1166" y="3"/>
                    <a:pt x="662" y="3"/>
                  </a:cubicBezTo>
                  <a:cubicBezTo>
                    <a:pt x="646" y="1"/>
                    <a:pt x="630" y="0"/>
                    <a:pt x="6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1"/>
            <p:cNvSpPr/>
            <p:nvPr/>
          </p:nvSpPr>
          <p:spPr>
            <a:xfrm>
              <a:off x="-28463700" y="3914875"/>
              <a:ext cx="303275" cy="296150"/>
            </a:xfrm>
            <a:custGeom>
              <a:avLst/>
              <a:gdLst/>
              <a:ahLst/>
              <a:cxnLst/>
              <a:rect l="l" t="t" r="r" b="b"/>
              <a:pathLst>
                <a:path w="12131" h="11846" extrusionOk="0">
                  <a:moveTo>
                    <a:pt x="3744" y="3555"/>
                  </a:moveTo>
                  <a:cubicBezTo>
                    <a:pt x="3907" y="3555"/>
                    <a:pt x="4040" y="3674"/>
                    <a:pt x="4096" y="3844"/>
                  </a:cubicBezTo>
                  <a:cubicBezTo>
                    <a:pt x="4128" y="4033"/>
                    <a:pt x="3970" y="4190"/>
                    <a:pt x="3813" y="4253"/>
                  </a:cubicBezTo>
                  <a:cubicBezTo>
                    <a:pt x="2931" y="4379"/>
                    <a:pt x="2427" y="5451"/>
                    <a:pt x="2899" y="6333"/>
                  </a:cubicBezTo>
                  <a:cubicBezTo>
                    <a:pt x="2994" y="6490"/>
                    <a:pt x="2931" y="6711"/>
                    <a:pt x="2773" y="6805"/>
                  </a:cubicBezTo>
                  <a:cubicBezTo>
                    <a:pt x="2723" y="6825"/>
                    <a:pt x="2667" y="6836"/>
                    <a:pt x="2611" y="6836"/>
                  </a:cubicBezTo>
                  <a:cubicBezTo>
                    <a:pt x="2489" y="6836"/>
                    <a:pt x="2365" y="6787"/>
                    <a:pt x="2301" y="6679"/>
                  </a:cubicBezTo>
                  <a:cubicBezTo>
                    <a:pt x="1608" y="5419"/>
                    <a:pt x="2364" y="3812"/>
                    <a:pt x="3687" y="3560"/>
                  </a:cubicBezTo>
                  <a:cubicBezTo>
                    <a:pt x="3706" y="3557"/>
                    <a:pt x="3726" y="3555"/>
                    <a:pt x="3744" y="3555"/>
                  </a:cubicBezTo>
                  <a:close/>
                  <a:moveTo>
                    <a:pt x="7940" y="4946"/>
                  </a:moveTo>
                  <a:cubicBezTo>
                    <a:pt x="8728" y="4946"/>
                    <a:pt x="9326" y="5577"/>
                    <a:pt x="9326" y="6364"/>
                  </a:cubicBezTo>
                  <a:cubicBezTo>
                    <a:pt x="9326" y="7341"/>
                    <a:pt x="8381" y="7939"/>
                    <a:pt x="7121" y="9011"/>
                  </a:cubicBezTo>
                  <a:cubicBezTo>
                    <a:pt x="7058" y="9074"/>
                    <a:pt x="6979" y="9105"/>
                    <a:pt x="6900" y="9105"/>
                  </a:cubicBezTo>
                  <a:cubicBezTo>
                    <a:pt x="6822" y="9105"/>
                    <a:pt x="6743" y="9074"/>
                    <a:pt x="6680" y="9011"/>
                  </a:cubicBezTo>
                  <a:cubicBezTo>
                    <a:pt x="5420" y="7971"/>
                    <a:pt x="4474" y="7341"/>
                    <a:pt x="4474" y="6364"/>
                  </a:cubicBezTo>
                  <a:cubicBezTo>
                    <a:pt x="4474" y="5577"/>
                    <a:pt x="5105" y="4946"/>
                    <a:pt x="5861" y="4946"/>
                  </a:cubicBezTo>
                  <a:cubicBezTo>
                    <a:pt x="6365" y="4946"/>
                    <a:pt x="6711" y="5230"/>
                    <a:pt x="6932" y="5451"/>
                  </a:cubicBezTo>
                  <a:cubicBezTo>
                    <a:pt x="7121" y="5198"/>
                    <a:pt x="7467" y="4946"/>
                    <a:pt x="7940" y="4946"/>
                  </a:cubicBezTo>
                  <a:close/>
                  <a:moveTo>
                    <a:pt x="7404" y="0"/>
                  </a:moveTo>
                  <a:cubicBezTo>
                    <a:pt x="6459" y="0"/>
                    <a:pt x="5703" y="788"/>
                    <a:pt x="5703" y="1733"/>
                  </a:cubicBezTo>
                  <a:lnTo>
                    <a:pt x="5703" y="2899"/>
                  </a:lnTo>
                  <a:cubicBezTo>
                    <a:pt x="5136" y="2395"/>
                    <a:pt x="4443" y="2111"/>
                    <a:pt x="3687" y="2111"/>
                  </a:cubicBezTo>
                  <a:cubicBezTo>
                    <a:pt x="1450" y="2111"/>
                    <a:pt x="1" y="4505"/>
                    <a:pt x="977" y="6616"/>
                  </a:cubicBezTo>
                  <a:lnTo>
                    <a:pt x="2899" y="10649"/>
                  </a:lnTo>
                  <a:cubicBezTo>
                    <a:pt x="3246" y="11373"/>
                    <a:pt x="3939" y="11846"/>
                    <a:pt x="4727" y="11846"/>
                  </a:cubicBezTo>
                  <a:cubicBezTo>
                    <a:pt x="5231" y="11846"/>
                    <a:pt x="5703" y="11657"/>
                    <a:pt x="6050" y="11342"/>
                  </a:cubicBezTo>
                  <a:cubicBezTo>
                    <a:pt x="6396" y="11688"/>
                    <a:pt x="6869" y="11846"/>
                    <a:pt x="7404" y="11846"/>
                  </a:cubicBezTo>
                  <a:cubicBezTo>
                    <a:pt x="8192" y="11846"/>
                    <a:pt x="8885" y="11405"/>
                    <a:pt x="9200" y="10649"/>
                  </a:cubicBezTo>
                  <a:lnTo>
                    <a:pt x="11122" y="6616"/>
                  </a:lnTo>
                  <a:cubicBezTo>
                    <a:pt x="12130" y="4505"/>
                    <a:pt x="10618" y="2111"/>
                    <a:pt x="8413" y="2111"/>
                  </a:cubicBezTo>
                  <a:cubicBezTo>
                    <a:pt x="7656" y="2111"/>
                    <a:pt x="6963" y="2395"/>
                    <a:pt x="6396" y="2899"/>
                  </a:cubicBezTo>
                  <a:lnTo>
                    <a:pt x="6396" y="1733"/>
                  </a:lnTo>
                  <a:cubicBezTo>
                    <a:pt x="6396" y="1166"/>
                    <a:pt x="6837" y="693"/>
                    <a:pt x="7404" y="693"/>
                  </a:cubicBezTo>
                  <a:cubicBezTo>
                    <a:pt x="7593" y="693"/>
                    <a:pt x="7751" y="536"/>
                    <a:pt x="7751" y="347"/>
                  </a:cubicBezTo>
                  <a:cubicBezTo>
                    <a:pt x="7751" y="158"/>
                    <a:pt x="7593" y="0"/>
                    <a:pt x="74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7" name="Google Shape;6517;p71"/>
          <p:cNvGrpSpPr/>
          <p:nvPr/>
        </p:nvGrpSpPr>
        <p:grpSpPr>
          <a:xfrm>
            <a:off x="7092947" y="1369355"/>
            <a:ext cx="351880" cy="227092"/>
            <a:chOff x="-26573400" y="3224125"/>
            <a:chExt cx="295375" cy="190625"/>
          </a:xfrm>
        </p:grpSpPr>
        <p:sp>
          <p:nvSpPr>
            <p:cNvPr id="6518" name="Google Shape;6518;p71"/>
            <p:cNvSpPr/>
            <p:nvPr/>
          </p:nvSpPr>
          <p:spPr>
            <a:xfrm>
              <a:off x="-26330800" y="3327900"/>
              <a:ext cx="52775" cy="68750"/>
            </a:xfrm>
            <a:custGeom>
              <a:avLst/>
              <a:gdLst/>
              <a:ahLst/>
              <a:cxnLst/>
              <a:rect l="l" t="t" r="r" b="b"/>
              <a:pathLst>
                <a:path w="2111" h="2750" extrusionOk="0">
                  <a:moveTo>
                    <a:pt x="1067" y="0"/>
                  </a:moveTo>
                  <a:cubicBezTo>
                    <a:pt x="953" y="0"/>
                    <a:pt x="835" y="55"/>
                    <a:pt x="756" y="166"/>
                  </a:cubicBezTo>
                  <a:cubicBezTo>
                    <a:pt x="536" y="481"/>
                    <a:pt x="0" y="1300"/>
                    <a:pt x="0" y="1741"/>
                  </a:cubicBezTo>
                  <a:cubicBezTo>
                    <a:pt x="0" y="2308"/>
                    <a:pt x="473" y="2749"/>
                    <a:pt x="1040" y="2749"/>
                  </a:cubicBezTo>
                  <a:cubicBezTo>
                    <a:pt x="1638" y="2749"/>
                    <a:pt x="2048" y="2276"/>
                    <a:pt x="2048" y="1741"/>
                  </a:cubicBezTo>
                  <a:cubicBezTo>
                    <a:pt x="2111" y="1300"/>
                    <a:pt x="1575" y="481"/>
                    <a:pt x="1355" y="166"/>
                  </a:cubicBezTo>
                  <a:cubicBezTo>
                    <a:pt x="1292" y="55"/>
                    <a:pt x="1182" y="0"/>
                    <a:pt x="1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1"/>
            <p:cNvSpPr/>
            <p:nvPr/>
          </p:nvSpPr>
          <p:spPr>
            <a:xfrm>
              <a:off x="-26573400" y="3224125"/>
              <a:ext cx="293025" cy="190625"/>
            </a:xfrm>
            <a:custGeom>
              <a:avLst/>
              <a:gdLst/>
              <a:ahLst/>
              <a:cxnLst/>
              <a:rect l="l" t="t" r="r" b="b"/>
              <a:pathLst>
                <a:path w="11721" h="7625" extrusionOk="0">
                  <a:moveTo>
                    <a:pt x="10775" y="2048"/>
                  </a:moveTo>
                  <a:cubicBezTo>
                    <a:pt x="10964" y="2048"/>
                    <a:pt x="11122" y="2206"/>
                    <a:pt x="11122" y="2426"/>
                  </a:cubicBezTo>
                  <a:cubicBezTo>
                    <a:pt x="11122" y="2615"/>
                    <a:pt x="10964" y="2773"/>
                    <a:pt x="10775" y="2773"/>
                  </a:cubicBezTo>
                  <a:lnTo>
                    <a:pt x="9830" y="2773"/>
                  </a:lnTo>
                  <a:lnTo>
                    <a:pt x="9988" y="2048"/>
                  </a:lnTo>
                  <a:close/>
                  <a:moveTo>
                    <a:pt x="4474" y="2773"/>
                  </a:moveTo>
                  <a:cubicBezTo>
                    <a:pt x="4663" y="2773"/>
                    <a:pt x="4821" y="2930"/>
                    <a:pt x="4821" y="3119"/>
                  </a:cubicBezTo>
                  <a:cubicBezTo>
                    <a:pt x="4821" y="3308"/>
                    <a:pt x="4663" y="3466"/>
                    <a:pt x="4474" y="3466"/>
                  </a:cubicBezTo>
                  <a:cubicBezTo>
                    <a:pt x="4285" y="3466"/>
                    <a:pt x="4128" y="3308"/>
                    <a:pt x="4128" y="3119"/>
                  </a:cubicBezTo>
                  <a:cubicBezTo>
                    <a:pt x="4128" y="2930"/>
                    <a:pt x="4285" y="2773"/>
                    <a:pt x="4474" y="2773"/>
                  </a:cubicBezTo>
                  <a:close/>
                  <a:moveTo>
                    <a:pt x="4474" y="4159"/>
                  </a:moveTo>
                  <a:cubicBezTo>
                    <a:pt x="4663" y="4159"/>
                    <a:pt x="4821" y="4317"/>
                    <a:pt x="4821" y="4506"/>
                  </a:cubicBezTo>
                  <a:cubicBezTo>
                    <a:pt x="4821" y="4695"/>
                    <a:pt x="4663" y="4852"/>
                    <a:pt x="4474" y="4852"/>
                  </a:cubicBezTo>
                  <a:cubicBezTo>
                    <a:pt x="4285" y="4852"/>
                    <a:pt x="4128" y="4695"/>
                    <a:pt x="4128" y="4506"/>
                  </a:cubicBezTo>
                  <a:cubicBezTo>
                    <a:pt x="4128" y="4317"/>
                    <a:pt x="4285" y="4159"/>
                    <a:pt x="4474" y="4159"/>
                  </a:cubicBezTo>
                  <a:close/>
                  <a:moveTo>
                    <a:pt x="4474" y="5514"/>
                  </a:moveTo>
                  <a:cubicBezTo>
                    <a:pt x="4663" y="5514"/>
                    <a:pt x="4821" y="5671"/>
                    <a:pt x="4821" y="5892"/>
                  </a:cubicBezTo>
                  <a:cubicBezTo>
                    <a:pt x="4821" y="6081"/>
                    <a:pt x="4663" y="6238"/>
                    <a:pt x="4474" y="6238"/>
                  </a:cubicBezTo>
                  <a:cubicBezTo>
                    <a:pt x="4285" y="6238"/>
                    <a:pt x="4128" y="6081"/>
                    <a:pt x="4128" y="5892"/>
                  </a:cubicBezTo>
                  <a:cubicBezTo>
                    <a:pt x="4128" y="5671"/>
                    <a:pt x="4285" y="5514"/>
                    <a:pt x="4474" y="5514"/>
                  </a:cubicBezTo>
                  <a:close/>
                  <a:moveTo>
                    <a:pt x="3088" y="0"/>
                  </a:moveTo>
                  <a:cubicBezTo>
                    <a:pt x="1355" y="0"/>
                    <a:pt x="1" y="1418"/>
                    <a:pt x="1" y="3119"/>
                  </a:cubicBezTo>
                  <a:lnTo>
                    <a:pt x="1" y="4506"/>
                  </a:lnTo>
                  <a:cubicBezTo>
                    <a:pt x="1" y="6238"/>
                    <a:pt x="1418" y="7625"/>
                    <a:pt x="3088" y="7625"/>
                  </a:cubicBezTo>
                  <a:lnTo>
                    <a:pt x="6554" y="7625"/>
                  </a:lnTo>
                  <a:cubicBezTo>
                    <a:pt x="7152" y="7625"/>
                    <a:pt x="7593" y="7152"/>
                    <a:pt x="7593" y="6585"/>
                  </a:cubicBezTo>
                  <a:cubicBezTo>
                    <a:pt x="7593" y="6459"/>
                    <a:pt x="7562" y="6301"/>
                    <a:pt x="7499" y="6207"/>
                  </a:cubicBezTo>
                  <a:cubicBezTo>
                    <a:pt x="7940" y="6081"/>
                    <a:pt x="8255" y="5671"/>
                    <a:pt x="8255" y="5199"/>
                  </a:cubicBezTo>
                  <a:cubicBezTo>
                    <a:pt x="8255" y="5104"/>
                    <a:pt x="8223" y="4947"/>
                    <a:pt x="8192" y="4821"/>
                  </a:cubicBezTo>
                  <a:cubicBezTo>
                    <a:pt x="8633" y="4695"/>
                    <a:pt x="8948" y="4317"/>
                    <a:pt x="8948" y="3844"/>
                  </a:cubicBezTo>
                  <a:cubicBezTo>
                    <a:pt x="8948" y="3718"/>
                    <a:pt x="8885" y="3592"/>
                    <a:pt x="8854" y="3466"/>
                  </a:cubicBezTo>
                  <a:lnTo>
                    <a:pt x="10712" y="3466"/>
                  </a:lnTo>
                  <a:cubicBezTo>
                    <a:pt x="11311" y="3466"/>
                    <a:pt x="11721" y="2993"/>
                    <a:pt x="11721" y="2458"/>
                  </a:cubicBezTo>
                  <a:cubicBezTo>
                    <a:pt x="11721" y="1891"/>
                    <a:pt x="11342" y="1387"/>
                    <a:pt x="10775" y="1387"/>
                  </a:cubicBezTo>
                  <a:lnTo>
                    <a:pt x="6554" y="1387"/>
                  </a:lnTo>
                  <a:cubicBezTo>
                    <a:pt x="6806" y="1103"/>
                    <a:pt x="6932" y="757"/>
                    <a:pt x="6932" y="379"/>
                  </a:cubicBezTo>
                  <a:cubicBezTo>
                    <a:pt x="6932" y="158"/>
                    <a:pt x="6774"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0" name="Google Shape;6520;p71"/>
          <p:cNvGrpSpPr/>
          <p:nvPr/>
        </p:nvGrpSpPr>
        <p:grpSpPr>
          <a:xfrm>
            <a:off x="7092947" y="1763690"/>
            <a:ext cx="351880" cy="351910"/>
            <a:chOff x="-26573400" y="3546250"/>
            <a:chExt cx="295375" cy="295400"/>
          </a:xfrm>
        </p:grpSpPr>
        <p:sp>
          <p:nvSpPr>
            <p:cNvPr id="6521" name="Google Shape;6521;p71"/>
            <p:cNvSpPr/>
            <p:nvPr/>
          </p:nvSpPr>
          <p:spPr>
            <a:xfrm>
              <a:off x="-26464700" y="3599225"/>
              <a:ext cx="77200" cy="38425"/>
            </a:xfrm>
            <a:custGeom>
              <a:avLst/>
              <a:gdLst/>
              <a:ahLst/>
              <a:cxnLst/>
              <a:rect l="l" t="t" r="r" b="b"/>
              <a:pathLst>
                <a:path w="3088" h="1537" extrusionOk="0">
                  <a:moveTo>
                    <a:pt x="1532" y="1"/>
                  </a:moveTo>
                  <a:cubicBezTo>
                    <a:pt x="1001" y="1"/>
                    <a:pt x="473" y="103"/>
                    <a:pt x="0" y="308"/>
                  </a:cubicBezTo>
                  <a:lnTo>
                    <a:pt x="693" y="1537"/>
                  </a:lnTo>
                  <a:cubicBezTo>
                    <a:pt x="946" y="1442"/>
                    <a:pt x="1229" y="1379"/>
                    <a:pt x="1544" y="1379"/>
                  </a:cubicBezTo>
                  <a:cubicBezTo>
                    <a:pt x="1859" y="1379"/>
                    <a:pt x="2143" y="1442"/>
                    <a:pt x="2426" y="1537"/>
                  </a:cubicBezTo>
                  <a:lnTo>
                    <a:pt x="3088" y="308"/>
                  </a:lnTo>
                  <a:cubicBezTo>
                    <a:pt x="2600" y="103"/>
                    <a:pt x="2064" y="1"/>
                    <a:pt x="1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1"/>
            <p:cNvSpPr/>
            <p:nvPr/>
          </p:nvSpPr>
          <p:spPr>
            <a:xfrm>
              <a:off x="-26434775" y="3686450"/>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1"/>
            <p:cNvSpPr/>
            <p:nvPr/>
          </p:nvSpPr>
          <p:spPr>
            <a:xfrm>
              <a:off x="-26520625" y="3703775"/>
              <a:ext cx="55950" cy="67775"/>
            </a:xfrm>
            <a:custGeom>
              <a:avLst/>
              <a:gdLst/>
              <a:ahLst/>
              <a:cxnLst/>
              <a:rect l="l" t="t" r="r" b="b"/>
              <a:pathLst>
                <a:path w="2238" h="2711" extrusionOk="0">
                  <a:moveTo>
                    <a:pt x="1387" y="1"/>
                  </a:moveTo>
                  <a:lnTo>
                    <a:pt x="1" y="32"/>
                  </a:lnTo>
                  <a:cubicBezTo>
                    <a:pt x="127" y="1104"/>
                    <a:pt x="662" y="2080"/>
                    <a:pt x="1544" y="2710"/>
                  </a:cubicBezTo>
                  <a:lnTo>
                    <a:pt x="2237" y="1545"/>
                  </a:lnTo>
                  <a:cubicBezTo>
                    <a:pt x="1765" y="1135"/>
                    <a:pt x="1450" y="600"/>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1"/>
            <p:cNvSpPr/>
            <p:nvPr/>
          </p:nvSpPr>
          <p:spPr>
            <a:xfrm>
              <a:off x="-26387525" y="3703000"/>
              <a:ext cx="55950" cy="67750"/>
            </a:xfrm>
            <a:custGeom>
              <a:avLst/>
              <a:gdLst/>
              <a:ahLst/>
              <a:cxnLst/>
              <a:rect l="l" t="t" r="r" b="b"/>
              <a:pathLst>
                <a:path w="2238" h="2710" extrusionOk="0">
                  <a:moveTo>
                    <a:pt x="851" y="0"/>
                  </a:moveTo>
                  <a:cubicBezTo>
                    <a:pt x="757" y="631"/>
                    <a:pt x="473" y="1166"/>
                    <a:pt x="1" y="1544"/>
                  </a:cubicBezTo>
                  <a:lnTo>
                    <a:pt x="694" y="2710"/>
                  </a:lnTo>
                  <a:cubicBezTo>
                    <a:pt x="1576" y="2080"/>
                    <a:pt x="2112" y="1103"/>
                    <a:pt x="2238" y="32"/>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1"/>
            <p:cNvSpPr/>
            <p:nvPr/>
          </p:nvSpPr>
          <p:spPr>
            <a:xfrm>
              <a:off x="-26573400" y="3546250"/>
              <a:ext cx="295375" cy="295400"/>
            </a:xfrm>
            <a:custGeom>
              <a:avLst/>
              <a:gdLst/>
              <a:ahLst/>
              <a:cxnLst/>
              <a:rect l="l" t="t" r="r" b="b"/>
              <a:pathLst>
                <a:path w="11815" h="11816" extrusionOk="0">
                  <a:moveTo>
                    <a:pt x="5876" y="1419"/>
                  </a:moveTo>
                  <a:cubicBezTo>
                    <a:pt x="6632" y="1419"/>
                    <a:pt x="7389" y="1608"/>
                    <a:pt x="8066" y="1986"/>
                  </a:cubicBezTo>
                  <a:cubicBezTo>
                    <a:pt x="8223" y="2049"/>
                    <a:pt x="8286" y="2301"/>
                    <a:pt x="8192" y="2458"/>
                  </a:cubicBezTo>
                  <a:lnTo>
                    <a:pt x="7152" y="4254"/>
                  </a:lnTo>
                  <a:cubicBezTo>
                    <a:pt x="7110" y="4361"/>
                    <a:pt x="6980" y="4439"/>
                    <a:pt x="6852" y="4439"/>
                  </a:cubicBezTo>
                  <a:cubicBezTo>
                    <a:pt x="6791" y="4439"/>
                    <a:pt x="6731" y="4421"/>
                    <a:pt x="6680" y="4380"/>
                  </a:cubicBezTo>
                  <a:cubicBezTo>
                    <a:pt x="6428" y="4238"/>
                    <a:pt x="6136" y="4167"/>
                    <a:pt x="5841" y="4167"/>
                  </a:cubicBezTo>
                  <a:cubicBezTo>
                    <a:pt x="5546" y="4167"/>
                    <a:pt x="5246" y="4238"/>
                    <a:pt x="4978" y="4380"/>
                  </a:cubicBezTo>
                  <a:cubicBezTo>
                    <a:pt x="4929" y="4400"/>
                    <a:pt x="4872" y="4411"/>
                    <a:pt x="4816" y="4411"/>
                  </a:cubicBezTo>
                  <a:cubicBezTo>
                    <a:pt x="4694" y="4411"/>
                    <a:pt x="4570" y="4362"/>
                    <a:pt x="4506" y="4254"/>
                  </a:cubicBezTo>
                  <a:lnTo>
                    <a:pt x="3498" y="2458"/>
                  </a:lnTo>
                  <a:cubicBezTo>
                    <a:pt x="3466" y="2301"/>
                    <a:pt x="3529" y="2080"/>
                    <a:pt x="3687" y="1986"/>
                  </a:cubicBezTo>
                  <a:cubicBezTo>
                    <a:pt x="4364" y="1608"/>
                    <a:pt x="5120" y="1419"/>
                    <a:pt x="5876" y="1419"/>
                  </a:cubicBezTo>
                  <a:close/>
                  <a:moveTo>
                    <a:pt x="5861" y="4916"/>
                  </a:moveTo>
                  <a:cubicBezTo>
                    <a:pt x="6459" y="4916"/>
                    <a:pt x="6869" y="5388"/>
                    <a:pt x="6869" y="5955"/>
                  </a:cubicBezTo>
                  <a:cubicBezTo>
                    <a:pt x="6869" y="6554"/>
                    <a:pt x="6396" y="6964"/>
                    <a:pt x="5861" y="6964"/>
                  </a:cubicBezTo>
                  <a:cubicBezTo>
                    <a:pt x="5294" y="6964"/>
                    <a:pt x="4821" y="6491"/>
                    <a:pt x="4821" y="5955"/>
                  </a:cubicBezTo>
                  <a:cubicBezTo>
                    <a:pt x="4821" y="5357"/>
                    <a:pt x="5294" y="4916"/>
                    <a:pt x="5861" y="4916"/>
                  </a:cubicBezTo>
                  <a:close/>
                  <a:moveTo>
                    <a:pt x="3813" y="5609"/>
                  </a:moveTo>
                  <a:cubicBezTo>
                    <a:pt x="4065" y="5640"/>
                    <a:pt x="4159" y="5735"/>
                    <a:pt x="4159" y="5955"/>
                  </a:cubicBezTo>
                  <a:cubicBezTo>
                    <a:pt x="4159" y="6522"/>
                    <a:pt x="4474" y="7090"/>
                    <a:pt x="5010" y="7405"/>
                  </a:cubicBezTo>
                  <a:cubicBezTo>
                    <a:pt x="5136" y="7531"/>
                    <a:pt x="5230" y="7720"/>
                    <a:pt x="5104" y="7877"/>
                  </a:cubicBezTo>
                  <a:lnTo>
                    <a:pt x="4033" y="9641"/>
                  </a:lnTo>
                  <a:cubicBezTo>
                    <a:pt x="3991" y="9748"/>
                    <a:pt x="3861" y="9826"/>
                    <a:pt x="3733" y="9826"/>
                  </a:cubicBezTo>
                  <a:cubicBezTo>
                    <a:pt x="3672" y="9826"/>
                    <a:pt x="3612" y="9808"/>
                    <a:pt x="3561" y="9767"/>
                  </a:cubicBezTo>
                  <a:cubicBezTo>
                    <a:pt x="2238" y="8948"/>
                    <a:pt x="1418" y="7531"/>
                    <a:pt x="1355" y="5987"/>
                  </a:cubicBezTo>
                  <a:cubicBezTo>
                    <a:pt x="1355" y="5798"/>
                    <a:pt x="1544" y="5640"/>
                    <a:pt x="1733" y="5640"/>
                  </a:cubicBezTo>
                  <a:lnTo>
                    <a:pt x="3813" y="5609"/>
                  </a:lnTo>
                  <a:close/>
                  <a:moveTo>
                    <a:pt x="8003" y="5640"/>
                  </a:moveTo>
                  <a:lnTo>
                    <a:pt x="10082" y="5672"/>
                  </a:lnTo>
                  <a:cubicBezTo>
                    <a:pt x="10271" y="5672"/>
                    <a:pt x="10429" y="5829"/>
                    <a:pt x="10429" y="6018"/>
                  </a:cubicBezTo>
                  <a:cubicBezTo>
                    <a:pt x="10397" y="7562"/>
                    <a:pt x="9547" y="8980"/>
                    <a:pt x="8223" y="9799"/>
                  </a:cubicBezTo>
                  <a:cubicBezTo>
                    <a:pt x="8168" y="9844"/>
                    <a:pt x="8100" y="9865"/>
                    <a:pt x="8033" y="9865"/>
                  </a:cubicBezTo>
                  <a:cubicBezTo>
                    <a:pt x="7911" y="9865"/>
                    <a:pt x="7792" y="9795"/>
                    <a:pt x="7751" y="9673"/>
                  </a:cubicBezTo>
                  <a:lnTo>
                    <a:pt x="6680" y="7909"/>
                  </a:lnTo>
                  <a:cubicBezTo>
                    <a:pt x="6554" y="7751"/>
                    <a:pt x="6648" y="7531"/>
                    <a:pt x="6806" y="7436"/>
                  </a:cubicBezTo>
                  <a:cubicBezTo>
                    <a:pt x="7310" y="7121"/>
                    <a:pt x="7625" y="6585"/>
                    <a:pt x="7625" y="5987"/>
                  </a:cubicBezTo>
                  <a:cubicBezTo>
                    <a:pt x="7625" y="5829"/>
                    <a:pt x="7751" y="5672"/>
                    <a:pt x="8003" y="5640"/>
                  </a:cubicBezTo>
                  <a:close/>
                  <a:moveTo>
                    <a:pt x="5892" y="1"/>
                  </a:moveTo>
                  <a:cubicBezTo>
                    <a:pt x="2616" y="1"/>
                    <a:pt x="1" y="2679"/>
                    <a:pt x="1" y="5924"/>
                  </a:cubicBezTo>
                  <a:cubicBezTo>
                    <a:pt x="1" y="9137"/>
                    <a:pt x="2679" y="11815"/>
                    <a:pt x="5892" y="11815"/>
                  </a:cubicBezTo>
                  <a:cubicBezTo>
                    <a:pt x="9169" y="11815"/>
                    <a:pt x="11815" y="9137"/>
                    <a:pt x="11815" y="5924"/>
                  </a:cubicBezTo>
                  <a:cubicBezTo>
                    <a:pt x="11815" y="2679"/>
                    <a:pt x="9137"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6" name="Google Shape;6526;p71"/>
          <p:cNvGrpSpPr/>
          <p:nvPr/>
        </p:nvGrpSpPr>
        <p:grpSpPr>
          <a:xfrm>
            <a:off x="7081228" y="2213599"/>
            <a:ext cx="375319" cy="352148"/>
            <a:chOff x="-26583625" y="3917025"/>
            <a:chExt cx="315050" cy="295600"/>
          </a:xfrm>
        </p:grpSpPr>
        <p:sp>
          <p:nvSpPr>
            <p:cNvPr id="6527" name="Google Shape;6527;p71"/>
            <p:cNvSpPr/>
            <p:nvPr/>
          </p:nvSpPr>
          <p:spPr>
            <a:xfrm>
              <a:off x="-26413500" y="3918400"/>
              <a:ext cx="144925" cy="135125"/>
            </a:xfrm>
            <a:custGeom>
              <a:avLst/>
              <a:gdLst/>
              <a:ahLst/>
              <a:cxnLst/>
              <a:rect l="l" t="t" r="r" b="b"/>
              <a:pathLst>
                <a:path w="5797" h="5405" extrusionOk="0">
                  <a:moveTo>
                    <a:pt x="2317" y="1"/>
                  </a:moveTo>
                  <a:cubicBezTo>
                    <a:pt x="1515" y="1"/>
                    <a:pt x="685" y="309"/>
                    <a:pt x="0" y="993"/>
                  </a:cubicBezTo>
                  <a:lnTo>
                    <a:pt x="1008" y="1970"/>
                  </a:lnTo>
                  <a:cubicBezTo>
                    <a:pt x="1398" y="1581"/>
                    <a:pt x="1864" y="1407"/>
                    <a:pt x="2313" y="1407"/>
                  </a:cubicBezTo>
                  <a:cubicBezTo>
                    <a:pt x="2771" y="1407"/>
                    <a:pt x="3210" y="1588"/>
                    <a:pt x="3529" y="1907"/>
                  </a:cubicBezTo>
                  <a:cubicBezTo>
                    <a:pt x="3623" y="2002"/>
                    <a:pt x="3623" y="2254"/>
                    <a:pt x="3529" y="2380"/>
                  </a:cubicBezTo>
                  <a:cubicBezTo>
                    <a:pt x="3450" y="2427"/>
                    <a:pt x="3348" y="2450"/>
                    <a:pt x="3249" y="2450"/>
                  </a:cubicBezTo>
                  <a:cubicBezTo>
                    <a:pt x="3151" y="2450"/>
                    <a:pt x="3056" y="2427"/>
                    <a:pt x="2993" y="2380"/>
                  </a:cubicBezTo>
                  <a:cubicBezTo>
                    <a:pt x="2804" y="2175"/>
                    <a:pt x="2552" y="2057"/>
                    <a:pt x="2284" y="2057"/>
                  </a:cubicBezTo>
                  <a:cubicBezTo>
                    <a:pt x="2016" y="2057"/>
                    <a:pt x="1733" y="2175"/>
                    <a:pt x="1481" y="2443"/>
                  </a:cubicBezTo>
                  <a:lnTo>
                    <a:pt x="4411" y="5404"/>
                  </a:lnTo>
                  <a:cubicBezTo>
                    <a:pt x="5797" y="4018"/>
                    <a:pt x="5640" y="2065"/>
                    <a:pt x="4505" y="899"/>
                  </a:cubicBezTo>
                  <a:cubicBezTo>
                    <a:pt x="3931" y="325"/>
                    <a:pt x="3139" y="1"/>
                    <a:pt x="2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1"/>
            <p:cNvSpPr/>
            <p:nvPr/>
          </p:nvSpPr>
          <p:spPr>
            <a:xfrm>
              <a:off x="-26466275" y="4026700"/>
              <a:ext cx="78775" cy="77225"/>
            </a:xfrm>
            <a:custGeom>
              <a:avLst/>
              <a:gdLst/>
              <a:ahLst/>
              <a:cxnLst/>
              <a:rect l="l" t="t" r="r" b="b"/>
              <a:pathLst>
                <a:path w="3151" h="3089" extrusionOk="0">
                  <a:moveTo>
                    <a:pt x="1339" y="1"/>
                  </a:moveTo>
                  <a:cubicBezTo>
                    <a:pt x="1253" y="1"/>
                    <a:pt x="1166" y="32"/>
                    <a:pt x="1103" y="95"/>
                  </a:cubicBezTo>
                  <a:lnTo>
                    <a:pt x="126" y="1072"/>
                  </a:lnTo>
                  <a:cubicBezTo>
                    <a:pt x="0" y="1198"/>
                    <a:pt x="0" y="1387"/>
                    <a:pt x="126" y="1545"/>
                  </a:cubicBezTo>
                  <a:lnTo>
                    <a:pt x="1576" y="2994"/>
                  </a:lnTo>
                  <a:cubicBezTo>
                    <a:pt x="1639" y="3057"/>
                    <a:pt x="1725" y="3088"/>
                    <a:pt x="1812" y="3088"/>
                  </a:cubicBezTo>
                  <a:cubicBezTo>
                    <a:pt x="1899" y="3088"/>
                    <a:pt x="1985" y="3057"/>
                    <a:pt x="2048" y="2994"/>
                  </a:cubicBezTo>
                  <a:lnTo>
                    <a:pt x="3025" y="2017"/>
                  </a:lnTo>
                  <a:cubicBezTo>
                    <a:pt x="3151" y="1891"/>
                    <a:pt x="3151" y="1671"/>
                    <a:pt x="3025" y="1545"/>
                  </a:cubicBezTo>
                  <a:lnTo>
                    <a:pt x="1576" y="95"/>
                  </a:lnTo>
                  <a:cubicBezTo>
                    <a:pt x="1513" y="32"/>
                    <a:pt x="1426" y="1"/>
                    <a:pt x="13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1"/>
            <p:cNvSpPr/>
            <p:nvPr/>
          </p:nvSpPr>
          <p:spPr>
            <a:xfrm>
              <a:off x="-26583625" y="4077125"/>
              <a:ext cx="144925" cy="134700"/>
            </a:xfrm>
            <a:custGeom>
              <a:avLst/>
              <a:gdLst/>
              <a:ahLst/>
              <a:cxnLst/>
              <a:rect l="l" t="t" r="r" b="b"/>
              <a:pathLst>
                <a:path w="5797" h="5388" extrusionOk="0">
                  <a:moveTo>
                    <a:pt x="1355" y="0"/>
                  </a:moveTo>
                  <a:cubicBezTo>
                    <a:pt x="0" y="1386"/>
                    <a:pt x="158" y="3340"/>
                    <a:pt x="1292" y="4474"/>
                  </a:cubicBezTo>
                  <a:cubicBezTo>
                    <a:pt x="1890" y="5072"/>
                    <a:pt x="2710" y="5388"/>
                    <a:pt x="3497" y="5388"/>
                  </a:cubicBezTo>
                  <a:cubicBezTo>
                    <a:pt x="4348" y="5388"/>
                    <a:pt x="5135" y="5072"/>
                    <a:pt x="5797" y="4411"/>
                  </a:cubicBezTo>
                  <a:lnTo>
                    <a:pt x="4820" y="3434"/>
                  </a:lnTo>
                  <a:cubicBezTo>
                    <a:pt x="4431" y="3824"/>
                    <a:pt x="3964" y="3997"/>
                    <a:pt x="3516" y="3997"/>
                  </a:cubicBezTo>
                  <a:cubicBezTo>
                    <a:pt x="3058" y="3997"/>
                    <a:pt x="2619" y="3816"/>
                    <a:pt x="2300" y="3497"/>
                  </a:cubicBezTo>
                  <a:cubicBezTo>
                    <a:pt x="2174" y="3371"/>
                    <a:pt x="2174" y="3151"/>
                    <a:pt x="2300" y="3025"/>
                  </a:cubicBezTo>
                  <a:cubicBezTo>
                    <a:pt x="2347" y="2962"/>
                    <a:pt x="2434" y="2930"/>
                    <a:pt x="2524" y="2930"/>
                  </a:cubicBezTo>
                  <a:cubicBezTo>
                    <a:pt x="2615" y="2930"/>
                    <a:pt x="2710" y="2962"/>
                    <a:pt x="2773" y="3025"/>
                  </a:cubicBezTo>
                  <a:cubicBezTo>
                    <a:pt x="2962" y="3229"/>
                    <a:pt x="3214" y="3348"/>
                    <a:pt x="3481" y="3348"/>
                  </a:cubicBezTo>
                  <a:cubicBezTo>
                    <a:pt x="3749" y="3348"/>
                    <a:pt x="4033" y="3229"/>
                    <a:pt x="4285" y="296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1"/>
            <p:cNvSpPr/>
            <p:nvPr/>
          </p:nvSpPr>
          <p:spPr>
            <a:xfrm>
              <a:off x="-26581275" y="3917025"/>
              <a:ext cx="311125" cy="295600"/>
            </a:xfrm>
            <a:custGeom>
              <a:avLst/>
              <a:gdLst/>
              <a:ahLst/>
              <a:cxnLst/>
              <a:rect l="l" t="t" r="r" b="b"/>
              <a:pathLst>
                <a:path w="12445" h="11824" extrusionOk="0">
                  <a:moveTo>
                    <a:pt x="3419" y="1356"/>
                  </a:moveTo>
                  <a:cubicBezTo>
                    <a:pt x="3506" y="1356"/>
                    <a:pt x="3592" y="1379"/>
                    <a:pt x="3655" y="1426"/>
                  </a:cubicBezTo>
                  <a:cubicBezTo>
                    <a:pt x="3781" y="1552"/>
                    <a:pt x="3781" y="1741"/>
                    <a:pt x="3655" y="1899"/>
                  </a:cubicBezTo>
                  <a:cubicBezTo>
                    <a:pt x="3592" y="1962"/>
                    <a:pt x="3506" y="1994"/>
                    <a:pt x="3419" y="1994"/>
                  </a:cubicBezTo>
                  <a:cubicBezTo>
                    <a:pt x="3332" y="1994"/>
                    <a:pt x="3246" y="1962"/>
                    <a:pt x="3183" y="1899"/>
                  </a:cubicBezTo>
                  <a:cubicBezTo>
                    <a:pt x="3057" y="1804"/>
                    <a:pt x="3057" y="1552"/>
                    <a:pt x="3183" y="1426"/>
                  </a:cubicBezTo>
                  <a:cubicBezTo>
                    <a:pt x="3246" y="1379"/>
                    <a:pt x="3332" y="1356"/>
                    <a:pt x="3419" y="1356"/>
                  </a:cubicBezTo>
                  <a:close/>
                  <a:moveTo>
                    <a:pt x="4364" y="2277"/>
                  </a:moveTo>
                  <a:cubicBezTo>
                    <a:pt x="4451" y="2277"/>
                    <a:pt x="4537" y="2309"/>
                    <a:pt x="4600" y="2372"/>
                  </a:cubicBezTo>
                  <a:cubicBezTo>
                    <a:pt x="4726" y="2498"/>
                    <a:pt x="4726" y="2718"/>
                    <a:pt x="4600" y="2844"/>
                  </a:cubicBezTo>
                  <a:cubicBezTo>
                    <a:pt x="4537" y="2907"/>
                    <a:pt x="4451" y="2939"/>
                    <a:pt x="4364" y="2939"/>
                  </a:cubicBezTo>
                  <a:cubicBezTo>
                    <a:pt x="4277" y="2939"/>
                    <a:pt x="4191" y="2907"/>
                    <a:pt x="4128" y="2844"/>
                  </a:cubicBezTo>
                  <a:cubicBezTo>
                    <a:pt x="4002" y="2750"/>
                    <a:pt x="4002" y="2529"/>
                    <a:pt x="4128" y="2372"/>
                  </a:cubicBezTo>
                  <a:cubicBezTo>
                    <a:pt x="4191" y="2309"/>
                    <a:pt x="4277" y="2277"/>
                    <a:pt x="4364" y="2277"/>
                  </a:cubicBezTo>
                  <a:close/>
                  <a:moveTo>
                    <a:pt x="3179" y="2561"/>
                  </a:moveTo>
                  <a:cubicBezTo>
                    <a:pt x="3269" y="2561"/>
                    <a:pt x="3356" y="2592"/>
                    <a:pt x="3403" y="2655"/>
                  </a:cubicBezTo>
                  <a:cubicBezTo>
                    <a:pt x="3529" y="2781"/>
                    <a:pt x="3529" y="2970"/>
                    <a:pt x="3403" y="3128"/>
                  </a:cubicBezTo>
                  <a:cubicBezTo>
                    <a:pt x="3356" y="3191"/>
                    <a:pt x="3269" y="3222"/>
                    <a:pt x="3179" y="3222"/>
                  </a:cubicBezTo>
                  <a:cubicBezTo>
                    <a:pt x="3088" y="3222"/>
                    <a:pt x="2994" y="3191"/>
                    <a:pt x="2931" y="3128"/>
                  </a:cubicBezTo>
                  <a:cubicBezTo>
                    <a:pt x="2836" y="3002"/>
                    <a:pt x="2836" y="2781"/>
                    <a:pt x="2931" y="2655"/>
                  </a:cubicBezTo>
                  <a:cubicBezTo>
                    <a:pt x="2994" y="2592"/>
                    <a:pt x="3088" y="2561"/>
                    <a:pt x="3179" y="2561"/>
                  </a:cubicBezTo>
                  <a:close/>
                  <a:moveTo>
                    <a:pt x="1970" y="2813"/>
                  </a:moveTo>
                  <a:cubicBezTo>
                    <a:pt x="2056" y="2813"/>
                    <a:pt x="2143" y="2844"/>
                    <a:pt x="2206" y="2907"/>
                  </a:cubicBezTo>
                  <a:cubicBezTo>
                    <a:pt x="2300" y="3002"/>
                    <a:pt x="2300" y="3254"/>
                    <a:pt x="2206" y="3380"/>
                  </a:cubicBezTo>
                  <a:cubicBezTo>
                    <a:pt x="2143" y="3427"/>
                    <a:pt x="2048" y="3451"/>
                    <a:pt x="1958" y="3451"/>
                  </a:cubicBezTo>
                  <a:cubicBezTo>
                    <a:pt x="1867" y="3451"/>
                    <a:pt x="1781" y="3427"/>
                    <a:pt x="1733" y="3380"/>
                  </a:cubicBezTo>
                  <a:cubicBezTo>
                    <a:pt x="1607" y="3254"/>
                    <a:pt x="1607" y="3002"/>
                    <a:pt x="1733" y="2907"/>
                  </a:cubicBezTo>
                  <a:cubicBezTo>
                    <a:pt x="1796" y="2844"/>
                    <a:pt x="1883" y="2813"/>
                    <a:pt x="1970" y="2813"/>
                  </a:cubicBezTo>
                  <a:close/>
                  <a:moveTo>
                    <a:pt x="2946" y="3789"/>
                  </a:moveTo>
                  <a:cubicBezTo>
                    <a:pt x="3033" y="3789"/>
                    <a:pt x="3120" y="3821"/>
                    <a:pt x="3183" y="3884"/>
                  </a:cubicBezTo>
                  <a:cubicBezTo>
                    <a:pt x="3309" y="4010"/>
                    <a:pt x="3309" y="4199"/>
                    <a:pt x="3183" y="4356"/>
                  </a:cubicBezTo>
                  <a:cubicBezTo>
                    <a:pt x="3120" y="4419"/>
                    <a:pt x="3033" y="4451"/>
                    <a:pt x="2946" y="4451"/>
                  </a:cubicBezTo>
                  <a:cubicBezTo>
                    <a:pt x="2860" y="4451"/>
                    <a:pt x="2773" y="4419"/>
                    <a:pt x="2710" y="4356"/>
                  </a:cubicBezTo>
                  <a:cubicBezTo>
                    <a:pt x="2584" y="4230"/>
                    <a:pt x="2584" y="4010"/>
                    <a:pt x="2710" y="3884"/>
                  </a:cubicBezTo>
                  <a:cubicBezTo>
                    <a:pt x="2773" y="3821"/>
                    <a:pt x="2860" y="3789"/>
                    <a:pt x="2946" y="3789"/>
                  </a:cubicBezTo>
                  <a:close/>
                  <a:moveTo>
                    <a:pt x="9480" y="7381"/>
                  </a:moveTo>
                  <a:cubicBezTo>
                    <a:pt x="9570" y="7381"/>
                    <a:pt x="9657" y="7412"/>
                    <a:pt x="9704" y="7475"/>
                  </a:cubicBezTo>
                  <a:cubicBezTo>
                    <a:pt x="9830" y="7570"/>
                    <a:pt x="9830" y="7822"/>
                    <a:pt x="9704" y="7948"/>
                  </a:cubicBezTo>
                  <a:cubicBezTo>
                    <a:pt x="9657" y="7995"/>
                    <a:pt x="9570" y="8019"/>
                    <a:pt x="9480" y="8019"/>
                  </a:cubicBezTo>
                  <a:cubicBezTo>
                    <a:pt x="9389" y="8019"/>
                    <a:pt x="9295" y="7995"/>
                    <a:pt x="9232" y="7948"/>
                  </a:cubicBezTo>
                  <a:cubicBezTo>
                    <a:pt x="9074" y="7822"/>
                    <a:pt x="9074" y="7633"/>
                    <a:pt x="9232" y="7475"/>
                  </a:cubicBezTo>
                  <a:cubicBezTo>
                    <a:pt x="9295" y="7412"/>
                    <a:pt x="9389" y="7381"/>
                    <a:pt x="9480" y="7381"/>
                  </a:cubicBezTo>
                  <a:close/>
                  <a:moveTo>
                    <a:pt x="5955" y="3640"/>
                  </a:moveTo>
                  <a:cubicBezTo>
                    <a:pt x="6223" y="3640"/>
                    <a:pt x="6491" y="3742"/>
                    <a:pt x="6680" y="3947"/>
                  </a:cubicBezTo>
                  <a:lnTo>
                    <a:pt x="8129" y="5396"/>
                  </a:lnTo>
                  <a:cubicBezTo>
                    <a:pt x="8538" y="5806"/>
                    <a:pt x="8538" y="6467"/>
                    <a:pt x="8129" y="6877"/>
                  </a:cubicBezTo>
                  <a:lnTo>
                    <a:pt x="7152" y="7853"/>
                  </a:lnTo>
                  <a:cubicBezTo>
                    <a:pt x="6963" y="8058"/>
                    <a:pt x="6695" y="8161"/>
                    <a:pt x="6428" y="8161"/>
                  </a:cubicBezTo>
                  <a:cubicBezTo>
                    <a:pt x="6160" y="8161"/>
                    <a:pt x="5892" y="8058"/>
                    <a:pt x="5703" y="7853"/>
                  </a:cubicBezTo>
                  <a:lnTo>
                    <a:pt x="4254" y="6404"/>
                  </a:lnTo>
                  <a:cubicBezTo>
                    <a:pt x="3844" y="5995"/>
                    <a:pt x="3844" y="5333"/>
                    <a:pt x="4254" y="4955"/>
                  </a:cubicBezTo>
                  <a:lnTo>
                    <a:pt x="5230" y="3947"/>
                  </a:lnTo>
                  <a:cubicBezTo>
                    <a:pt x="5419" y="3742"/>
                    <a:pt x="5687" y="3640"/>
                    <a:pt x="5955" y="3640"/>
                  </a:cubicBezTo>
                  <a:close/>
                  <a:moveTo>
                    <a:pt x="10464" y="8357"/>
                  </a:moveTo>
                  <a:cubicBezTo>
                    <a:pt x="10555" y="8357"/>
                    <a:pt x="10649" y="8389"/>
                    <a:pt x="10712" y="8452"/>
                  </a:cubicBezTo>
                  <a:cubicBezTo>
                    <a:pt x="10807" y="8578"/>
                    <a:pt x="10807" y="8799"/>
                    <a:pt x="10712" y="8925"/>
                  </a:cubicBezTo>
                  <a:cubicBezTo>
                    <a:pt x="10649" y="8988"/>
                    <a:pt x="10555" y="9019"/>
                    <a:pt x="10464" y="9019"/>
                  </a:cubicBezTo>
                  <a:cubicBezTo>
                    <a:pt x="10374" y="9019"/>
                    <a:pt x="10287" y="8988"/>
                    <a:pt x="10240" y="8925"/>
                  </a:cubicBezTo>
                  <a:cubicBezTo>
                    <a:pt x="10082" y="8799"/>
                    <a:pt x="10082" y="8610"/>
                    <a:pt x="10240" y="8452"/>
                  </a:cubicBezTo>
                  <a:cubicBezTo>
                    <a:pt x="10287" y="8389"/>
                    <a:pt x="10374" y="8357"/>
                    <a:pt x="10464" y="8357"/>
                  </a:cubicBezTo>
                  <a:close/>
                  <a:moveTo>
                    <a:pt x="9247" y="8602"/>
                  </a:moveTo>
                  <a:cubicBezTo>
                    <a:pt x="9334" y="8602"/>
                    <a:pt x="9421" y="8625"/>
                    <a:pt x="9484" y="8673"/>
                  </a:cubicBezTo>
                  <a:cubicBezTo>
                    <a:pt x="9610" y="8799"/>
                    <a:pt x="9610" y="9051"/>
                    <a:pt x="9484" y="9145"/>
                  </a:cubicBezTo>
                  <a:cubicBezTo>
                    <a:pt x="9421" y="9208"/>
                    <a:pt x="9334" y="9240"/>
                    <a:pt x="9247" y="9240"/>
                  </a:cubicBezTo>
                  <a:cubicBezTo>
                    <a:pt x="9161" y="9240"/>
                    <a:pt x="9074" y="9208"/>
                    <a:pt x="9011" y="9145"/>
                  </a:cubicBezTo>
                  <a:cubicBezTo>
                    <a:pt x="8854" y="9051"/>
                    <a:pt x="8854" y="8830"/>
                    <a:pt x="9011" y="8673"/>
                  </a:cubicBezTo>
                  <a:cubicBezTo>
                    <a:pt x="9074" y="8625"/>
                    <a:pt x="9161" y="8602"/>
                    <a:pt x="9247" y="8602"/>
                  </a:cubicBezTo>
                  <a:close/>
                  <a:moveTo>
                    <a:pt x="8030" y="8862"/>
                  </a:moveTo>
                  <a:cubicBezTo>
                    <a:pt x="8121" y="8862"/>
                    <a:pt x="8208" y="8893"/>
                    <a:pt x="8255" y="8956"/>
                  </a:cubicBezTo>
                  <a:cubicBezTo>
                    <a:pt x="8381" y="9082"/>
                    <a:pt x="8381" y="9303"/>
                    <a:pt x="8255" y="9429"/>
                  </a:cubicBezTo>
                  <a:cubicBezTo>
                    <a:pt x="8192" y="9492"/>
                    <a:pt x="8105" y="9523"/>
                    <a:pt x="8019" y="9523"/>
                  </a:cubicBezTo>
                  <a:cubicBezTo>
                    <a:pt x="7932" y="9523"/>
                    <a:pt x="7845" y="9492"/>
                    <a:pt x="7782" y="9429"/>
                  </a:cubicBezTo>
                  <a:cubicBezTo>
                    <a:pt x="7656" y="9303"/>
                    <a:pt x="7656" y="9082"/>
                    <a:pt x="7782" y="8956"/>
                  </a:cubicBezTo>
                  <a:cubicBezTo>
                    <a:pt x="7845" y="8893"/>
                    <a:pt x="7940" y="8862"/>
                    <a:pt x="8030" y="8862"/>
                  </a:cubicBezTo>
                  <a:close/>
                  <a:moveTo>
                    <a:pt x="8964" y="9862"/>
                  </a:moveTo>
                  <a:cubicBezTo>
                    <a:pt x="9050" y="9862"/>
                    <a:pt x="9137" y="9885"/>
                    <a:pt x="9200" y="9933"/>
                  </a:cubicBezTo>
                  <a:cubicBezTo>
                    <a:pt x="9326" y="10059"/>
                    <a:pt x="9326" y="10279"/>
                    <a:pt x="9200" y="10405"/>
                  </a:cubicBezTo>
                  <a:cubicBezTo>
                    <a:pt x="9137" y="10468"/>
                    <a:pt x="9050" y="10500"/>
                    <a:pt x="8964" y="10500"/>
                  </a:cubicBezTo>
                  <a:cubicBezTo>
                    <a:pt x="8877" y="10500"/>
                    <a:pt x="8791" y="10468"/>
                    <a:pt x="8727" y="10405"/>
                  </a:cubicBezTo>
                  <a:cubicBezTo>
                    <a:pt x="8601" y="10311"/>
                    <a:pt x="8601" y="10059"/>
                    <a:pt x="8727" y="9933"/>
                  </a:cubicBezTo>
                  <a:cubicBezTo>
                    <a:pt x="8791" y="9885"/>
                    <a:pt x="8877" y="9862"/>
                    <a:pt x="8964" y="9862"/>
                  </a:cubicBezTo>
                  <a:close/>
                  <a:moveTo>
                    <a:pt x="3415" y="1"/>
                  </a:moveTo>
                  <a:cubicBezTo>
                    <a:pt x="2616" y="1"/>
                    <a:pt x="1812" y="308"/>
                    <a:pt x="1198" y="922"/>
                  </a:cubicBezTo>
                  <a:cubicBezTo>
                    <a:pt x="1" y="2151"/>
                    <a:pt x="1" y="4104"/>
                    <a:pt x="1198" y="5333"/>
                  </a:cubicBezTo>
                  <a:lnTo>
                    <a:pt x="6806" y="10941"/>
                  </a:lnTo>
                  <a:cubicBezTo>
                    <a:pt x="7404" y="11508"/>
                    <a:pt x="8223" y="11823"/>
                    <a:pt x="9011" y="11823"/>
                  </a:cubicBezTo>
                  <a:cubicBezTo>
                    <a:pt x="9799" y="11823"/>
                    <a:pt x="10618" y="11508"/>
                    <a:pt x="11216" y="10941"/>
                  </a:cubicBezTo>
                  <a:cubicBezTo>
                    <a:pt x="12445" y="9712"/>
                    <a:pt x="12445" y="7727"/>
                    <a:pt x="11216" y="6530"/>
                  </a:cubicBezTo>
                  <a:lnTo>
                    <a:pt x="5609" y="922"/>
                  </a:lnTo>
                  <a:cubicBezTo>
                    <a:pt x="5010" y="308"/>
                    <a:pt x="4214" y="1"/>
                    <a:pt x="34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31" name="Google Shape;6531;p71"/>
          <p:cNvSpPr/>
          <p:nvPr/>
        </p:nvSpPr>
        <p:spPr>
          <a:xfrm>
            <a:off x="5748315" y="2694114"/>
            <a:ext cx="352833" cy="351880"/>
          </a:xfrm>
          <a:custGeom>
            <a:avLst/>
            <a:gdLst/>
            <a:ahLst/>
            <a:cxnLst/>
            <a:rect l="l" t="t" r="r" b="b"/>
            <a:pathLst>
              <a:path w="11847" h="11815" extrusionOk="0">
                <a:moveTo>
                  <a:pt x="4915" y="662"/>
                </a:moveTo>
                <a:cubicBezTo>
                  <a:pt x="5671" y="662"/>
                  <a:pt x="6301" y="1292"/>
                  <a:pt x="6301" y="2048"/>
                </a:cubicBezTo>
                <a:cubicBezTo>
                  <a:pt x="6301" y="2520"/>
                  <a:pt x="6081" y="2961"/>
                  <a:pt x="5577" y="3245"/>
                </a:cubicBezTo>
                <a:cubicBezTo>
                  <a:pt x="5577" y="2489"/>
                  <a:pt x="5104" y="2079"/>
                  <a:pt x="4568" y="2079"/>
                </a:cubicBezTo>
                <a:lnTo>
                  <a:pt x="1418" y="2079"/>
                </a:lnTo>
                <a:cubicBezTo>
                  <a:pt x="1008" y="2079"/>
                  <a:pt x="693" y="1764"/>
                  <a:pt x="693" y="1386"/>
                </a:cubicBezTo>
                <a:cubicBezTo>
                  <a:pt x="693" y="977"/>
                  <a:pt x="1008" y="662"/>
                  <a:pt x="1418" y="662"/>
                </a:cubicBezTo>
                <a:close/>
                <a:moveTo>
                  <a:pt x="3198" y="4915"/>
                </a:moveTo>
                <a:cubicBezTo>
                  <a:pt x="3285" y="4915"/>
                  <a:pt x="3371" y="4946"/>
                  <a:pt x="3434" y="5009"/>
                </a:cubicBezTo>
                <a:cubicBezTo>
                  <a:pt x="3529" y="5135"/>
                  <a:pt x="3529" y="5324"/>
                  <a:pt x="3434" y="5482"/>
                </a:cubicBezTo>
                <a:cubicBezTo>
                  <a:pt x="3371" y="5545"/>
                  <a:pt x="3277" y="5576"/>
                  <a:pt x="3186" y="5576"/>
                </a:cubicBezTo>
                <a:cubicBezTo>
                  <a:pt x="3096" y="5576"/>
                  <a:pt x="3009" y="5545"/>
                  <a:pt x="2962" y="5482"/>
                </a:cubicBezTo>
                <a:cubicBezTo>
                  <a:pt x="2836" y="5356"/>
                  <a:pt x="2836" y="5135"/>
                  <a:pt x="2962" y="5009"/>
                </a:cubicBezTo>
                <a:cubicBezTo>
                  <a:pt x="3025" y="4946"/>
                  <a:pt x="3111" y="4915"/>
                  <a:pt x="3198" y="4915"/>
                </a:cubicBezTo>
                <a:close/>
                <a:moveTo>
                  <a:pt x="1386" y="0"/>
                </a:moveTo>
                <a:cubicBezTo>
                  <a:pt x="630" y="0"/>
                  <a:pt x="0" y="630"/>
                  <a:pt x="0" y="1386"/>
                </a:cubicBezTo>
                <a:lnTo>
                  <a:pt x="0" y="5230"/>
                </a:lnTo>
                <a:cubicBezTo>
                  <a:pt x="0" y="5797"/>
                  <a:pt x="284" y="6301"/>
                  <a:pt x="693" y="6616"/>
                </a:cubicBezTo>
                <a:lnTo>
                  <a:pt x="693" y="4474"/>
                </a:lnTo>
                <a:cubicBezTo>
                  <a:pt x="693" y="3529"/>
                  <a:pt x="1481" y="2741"/>
                  <a:pt x="2426" y="2741"/>
                </a:cubicBezTo>
                <a:lnTo>
                  <a:pt x="4568" y="2741"/>
                </a:lnTo>
                <a:cubicBezTo>
                  <a:pt x="4758" y="2741"/>
                  <a:pt x="4915" y="2898"/>
                  <a:pt x="4915" y="3119"/>
                </a:cubicBezTo>
                <a:lnTo>
                  <a:pt x="4915" y="3466"/>
                </a:lnTo>
                <a:lnTo>
                  <a:pt x="2426" y="3466"/>
                </a:lnTo>
                <a:cubicBezTo>
                  <a:pt x="1859" y="3466"/>
                  <a:pt x="1418" y="3938"/>
                  <a:pt x="1418" y="4474"/>
                </a:cubicBezTo>
                <a:lnTo>
                  <a:pt x="1418" y="7309"/>
                </a:lnTo>
                <a:cubicBezTo>
                  <a:pt x="1418" y="7908"/>
                  <a:pt x="1922" y="8349"/>
                  <a:pt x="2521" y="8349"/>
                </a:cubicBezTo>
                <a:lnTo>
                  <a:pt x="3592" y="8349"/>
                </a:lnTo>
                <a:cubicBezTo>
                  <a:pt x="3655" y="10271"/>
                  <a:pt x="5293" y="11814"/>
                  <a:pt x="7215" y="11814"/>
                </a:cubicBezTo>
                <a:cubicBezTo>
                  <a:pt x="9263" y="11814"/>
                  <a:pt x="10838" y="9483"/>
                  <a:pt x="10838" y="7467"/>
                </a:cubicBezTo>
                <a:lnTo>
                  <a:pt x="10838" y="6931"/>
                </a:lnTo>
                <a:cubicBezTo>
                  <a:pt x="11405" y="6774"/>
                  <a:pt x="11846" y="6206"/>
                  <a:pt x="11846" y="5576"/>
                </a:cubicBezTo>
                <a:cubicBezTo>
                  <a:pt x="11846" y="4852"/>
                  <a:pt x="11216" y="4222"/>
                  <a:pt x="10460" y="4222"/>
                </a:cubicBezTo>
                <a:cubicBezTo>
                  <a:pt x="9735" y="4222"/>
                  <a:pt x="9105" y="4852"/>
                  <a:pt x="9105" y="5576"/>
                </a:cubicBezTo>
                <a:cubicBezTo>
                  <a:pt x="9105" y="6206"/>
                  <a:pt x="9515" y="6774"/>
                  <a:pt x="10113" y="6931"/>
                </a:cubicBezTo>
                <a:lnTo>
                  <a:pt x="10113" y="7467"/>
                </a:lnTo>
                <a:cubicBezTo>
                  <a:pt x="10113" y="9136"/>
                  <a:pt x="8727" y="11090"/>
                  <a:pt x="7152" y="11090"/>
                </a:cubicBezTo>
                <a:cubicBezTo>
                  <a:pt x="5577" y="11090"/>
                  <a:pt x="4316" y="9893"/>
                  <a:pt x="4253" y="8349"/>
                </a:cubicBezTo>
                <a:lnTo>
                  <a:pt x="4947" y="8349"/>
                </a:lnTo>
                <a:cubicBezTo>
                  <a:pt x="5143" y="9193"/>
                  <a:pt x="5842" y="9760"/>
                  <a:pt x="6640" y="9760"/>
                </a:cubicBezTo>
                <a:cubicBezTo>
                  <a:pt x="6736" y="9760"/>
                  <a:pt x="6833" y="9752"/>
                  <a:pt x="6931" y="9735"/>
                </a:cubicBezTo>
                <a:cubicBezTo>
                  <a:pt x="7750" y="9609"/>
                  <a:pt x="8381" y="8821"/>
                  <a:pt x="8381" y="7971"/>
                </a:cubicBezTo>
                <a:lnTo>
                  <a:pt x="8381" y="3182"/>
                </a:lnTo>
                <a:cubicBezTo>
                  <a:pt x="8381" y="3024"/>
                  <a:pt x="8412" y="2867"/>
                  <a:pt x="8507" y="2709"/>
                </a:cubicBezTo>
                <a:cubicBezTo>
                  <a:pt x="8727" y="3182"/>
                  <a:pt x="9231" y="3560"/>
                  <a:pt x="9767" y="3560"/>
                </a:cubicBezTo>
                <a:cubicBezTo>
                  <a:pt x="10460" y="3560"/>
                  <a:pt x="11846" y="2993"/>
                  <a:pt x="11846" y="2174"/>
                </a:cubicBezTo>
                <a:cubicBezTo>
                  <a:pt x="11846" y="1292"/>
                  <a:pt x="10460" y="788"/>
                  <a:pt x="9767" y="788"/>
                </a:cubicBezTo>
                <a:cubicBezTo>
                  <a:pt x="9137" y="788"/>
                  <a:pt x="8570" y="1229"/>
                  <a:pt x="8412" y="1827"/>
                </a:cubicBezTo>
                <a:cubicBezTo>
                  <a:pt x="7940" y="2142"/>
                  <a:pt x="7687" y="2646"/>
                  <a:pt x="7687" y="3245"/>
                </a:cubicBezTo>
                <a:lnTo>
                  <a:pt x="7687" y="8002"/>
                </a:lnTo>
                <a:cubicBezTo>
                  <a:pt x="7687" y="8538"/>
                  <a:pt x="7309" y="9010"/>
                  <a:pt x="6805" y="9105"/>
                </a:cubicBezTo>
                <a:cubicBezTo>
                  <a:pt x="6755" y="9111"/>
                  <a:pt x="6705" y="9114"/>
                  <a:pt x="6654" y="9114"/>
                </a:cubicBezTo>
                <a:cubicBezTo>
                  <a:pt x="6204" y="9114"/>
                  <a:pt x="5781" y="8859"/>
                  <a:pt x="5640" y="8349"/>
                </a:cubicBezTo>
                <a:cubicBezTo>
                  <a:pt x="6364" y="8160"/>
                  <a:pt x="6963" y="7498"/>
                  <a:pt x="6963" y="6648"/>
                </a:cubicBezTo>
                <a:lnTo>
                  <a:pt x="6963" y="2079"/>
                </a:lnTo>
                <a:cubicBezTo>
                  <a:pt x="6963" y="945"/>
                  <a:pt x="6018" y="0"/>
                  <a:pt x="48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32" name="Google Shape;6532;p71"/>
          <p:cNvGrpSpPr/>
          <p:nvPr/>
        </p:nvGrpSpPr>
        <p:grpSpPr>
          <a:xfrm>
            <a:off x="5779742" y="3172629"/>
            <a:ext cx="289039" cy="352833"/>
            <a:chOff x="-24694925" y="3518700"/>
            <a:chExt cx="242625" cy="296175"/>
          </a:xfrm>
        </p:grpSpPr>
        <p:sp>
          <p:nvSpPr>
            <p:cNvPr id="6533" name="Google Shape;6533;p71"/>
            <p:cNvSpPr/>
            <p:nvPr/>
          </p:nvSpPr>
          <p:spPr>
            <a:xfrm>
              <a:off x="-24694925" y="3572250"/>
              <a:ext cx="104000" cy="112650"/>
            </a:xfrm>
            <a:custGeom>
              <a:avLst/>
              <a:gdLst/>
              <a:ahLst/>
              <a:cxnLst/>
              <a:rect l="l" t="t" r="r" b="b"/>
              <a:pathLst>
                <a:path w="4160" h="4506" extrusionOk="0">
                  <a:moveTo>
                    <a:pt x="2080" y="1"/>
                  </a:moveTo>
                  <a:cubicBezTo>
                    <a:pt x="946" y="1"/>
                    <a:pt x="1" y="946"/>
                    <a:pt x="1" y="2080"/>
                  </a:cubicBezTo>
                  <a:lnTo>
                    <a:pt x="1" y="4506"/>
                  </a:lnTo>
                  <a:lnTo>
                    <a:pt x="4160" y="4506"/>
                  </a:lnTo>
                  <a:lnTo>
                    <a:pt x="4160" y="2080"/>
                  </a:lnTo>
                  <a:cubicBezTo>
                    <a:pt x="4160" y="946"/>
                    <a:pt x="3214"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1"/>
            <p:cNvSpPr/>
            <p:nvPr/>
          </p:nvSpPr>
          <p:spPr>
            <a:xfrm>
              <a:off x="-24556300" y="3648650"/>
              <a:ext cx="104000" cy="113450"/>
            </a:xfrm>
            <a:custGeom>
              <a:avLst/>
              <a:gdLst/>
              <a:ahLst/>
              <a:cxnLst/>
              <a:rect l="l" t="t" r="r" b="b"/>
              <a:pathLst>
                <a:path w="4160" h="4538" extrusionOk="0">
                  <a:moveTo>
                    <a:pt x="1" y="1"/>
                  </a:moveTo>
                  <a:lnTo>
                    <a:pt x="1" y="2458"/>
                  </a:lnTo>
                  <a:cubicBezTo>
                    <a:pt x="1" y="3592"/>
                    <a:pt x="946" y="4537"/>
                    <a:pt x="2080" y="4537"/>
                  </a:cubicBezTo>
                  <a:cubicBezTo>
                    <a:pt x="3246" y="4537"/>
                    <a:pt x="4160" y="3592"/>
                    <a:pt x="4160" y="2458"/>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1"/>
            <p:cNvSpPr/>
            <p:nvPr/>
          </p:nvSpPr>
          <p:spPr>
            <a:xfrm>
              <a:off x="-24694925" y="3702200"/>
              <a:ext cx="104000" cy="112675"/>
            </a:xfrm>
            <a:custGeom>
              <a:avLst/>
              <a:gdLst/>
              <a:ahLst/>
              <a:cxnLst/>
              <a:rect l="l" t="t" r="r" b="b"/>
              <a:pathLst>
                <a:path w="4160" h="4507" extrusionOk="0">
                  <a:moveTo>
                    <a:pt x="1734" y="694"/>
                  </a:moveTo>
                  <a:cubicBezTo>
                    <a:pt x="1923" y="694"/>
                    <a:pt x="2080" y="852"/>
                    <a:pt x="2080" y="1041"/>
                  </a:cubicBezTo>
                  <a:lnTo>
                    <a:pt x="2080" y="2427"/>
                  </a:lnTo>
                  <a:cubicBezTo>
                    <a:pt x="2269" y="2427"/>
                    <a:pt x="2427" y="2584"/>
                    <a:pt x="2427" y="2773"/>
                  </a:cubicBezTo>
                  <a:cubicBezTo>
                    <a:pt x="2427" y="2962"/>
                    <a:pt x="2269" y="3120"/>
                    <a:pt x="2080" y="3120"/>
                  </a:cubicBezTo>
                  <a:cubicBezTo>
                    <a:pt x="1702" y="3120"/>
                    <a:pt x="1356" y="2805"/>
                    <a:pt x="1356" y="2427"/>
                  </a:cubicBezTo>
                  <a:lnTo>
                    <a:pt x="1356" y="1041"/>
                  </a:lnTo>
                  <a:cubicBezTo>
                    <a:pt x="1356" y="852"/>
                    <a:pt x="1513" y="694"/>
                    <a:pt x="1734" y="694"/>
                  </a:cubicBezTo>
                  <a:close/>
                  <a:moveTo>
                    <a:pt x="1" y="1"/>
                  </a:moveTo>
                  <a:lnTo>
                    <a:pt x="1" y="2427"/>
                  </a:lnTo>
                  <a:cubicBezTo>
                    <a:pt x="1" y="3561"/>
                    <a:pt x="946" y="4506"/>
                    <a:pt x="2080" y="4506"/>
                  </a:cubicBezTo>
                  <a:cubicBezTo>
                    <a:pt x="3214" y="4506"/>
                    <a:pt x="4160" y="3561"/>
                    <a:pt x="4160" y="2427"/>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1"/>
            <p:cNvSpPr/>
            <p:nvPr/>
          </p:nvSpPr>
          <p:spPr>
            <a:xfrm>
              <a:off x="-24556300" y="3518700"/>
              <a:ext cx="104000" cy="113425"/>
            </a:xfrm>
            <a:custGeom>
              <a:avLst/>
              <a:gdLst/>
              <a:ahLst/>
              <a:cxnLst/>
              <a:rect l="l" t="t" r="r" b="b"/>
              <a:pathLst>
                <a:path w="4160" h="4537" extrusionOk="0">
                  <a:moveTo>
                    <a:pt x="2049" y="1387"/>
                  </a:moveTo>
                  <a:cubicBezTo>
                    <a:pt x="2427" y="1387"/>
                    <a:pt x="2742" y="1702"/>
                    <a:pt x="2742" y="2080"/>
                  </a:cubicBezTo>
                  <a:lnTo>
                    <a:pt x="2742" y="3466"/>
                  </a:lnTo>
                  <a:cubicBezTo>
                    <a:pt x="2742" y="3655"/>
                    <a:pt x="2584" y="3812"/>
                    <a:pt x="2395" y="3812"/>
                  </a:cubicBezTo>
                  <a:cubicBezTo>
                    <a:pt x="2206" y="3812"/>
                    <a:pt x="2049" y="3655"/>
                    <a:pt x="2049" y="3466"/>
                  </a:cubicBezTo>
                  <a:lnTo>
                    <a:pt x="2049" y="2080"/>
                  </a:lnTo>
                  <a:cubicBezTo>
                    <a:pt x="1860" y="2080"/>
                    <a:pt x="1702" y="1922"/>
                    <a:pt x="1702" y="1733"/>
                  </a:cubicBezTo>
                  <a:cubicBezTo>
                    <a:pt x="1702" y="1544"/>
                    <a:pt x="1860" y="1387"/>
                    <a:pt x="2049" y="1387"/>
                  </a:cubicBezTo>
                  <a:close/>
                  <a:moveTo>
                    <a:pt x="2080" y="0"/>
                  </a:moveTo>
                  <a:cubicBezTo>
                    <a:pt x="946" y="0"/>
                    <a:pt x="1" y="945"/>
                    <a:pt x="1" y="2080"/>
                  </a:cubicBezTo>
                  <a:lnTo>
                    <a:pt x="1" y="4537"/>
                  </a:lnTo>
                  <a:lnTo>
                    <a:pt x="4160" y="4537"/>
                  </a:lnTo>
                  <a:lnTo>
                    <a:pt x="4160" y="2080"/>
                  </a:lnTo>
                  <a:cubicBezTo>
                    <a:pt x="4160" y="945"/>
                    <a:pt x="321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37" name="Google Shape;6537;p71"/>
          <p:cNvGrpSpPr/>
          <p:nvPr/>
        </p:nvGrpSpPr>
        <p:grpSpPr>
          <a:xfrm>
            <a:off x="5779280" y="3622657"/>
            <a:ext cx="289962" cy="352833"/>
            <a:chOff x="-24709100" y="3888875"/>
            <a:chExt cx="243400" cy="296175"/>
          </a:xfrm>
        </p:grpSpPr>
        <p:sp>
          <p:nvSpPr>
            <p:cNvPr id="6538" name="Google Shape;6538;p71"/>
            <p:cNvSpPr/>
            <p:nvPr/>
          </p:nvSpPr>
          <p:spPr>
            <a:xfrm>
              <a:off x="-24587800" y="3888875"/>
              <a:ext cx="105575" cy="227650"/>
            </a:xfrm>
            <a:custGeom>
              <a:avLst/>
              <a:gdLst/>
              <a:ahLst/>
              <a:cxnLst/>
              <a:rect l="l" t="t" r="r" b="b"/>
              <a:pathLst>
                <a:path w="4223" h="9106" extrusionOk="0">
                  <a:moveTo>
                    <a:pt x="2836" y="662"/>
                  </a:moveTo>
                  <a:lnTo>
                    <a:pt x="2836" y="1387"/>
                  </a:lnTo>
                  <a:lnTo>
                    <a:pt x="2143" y="1387"/>
                  </a:lnTo>
                  <a:lnTo>
                    <a:pt x="2143" y="662"/>
                  </a:lnTo>
                  <a:close/>
                  <a:moveTo>
                    <a:pt x="1072" y="4884"/>
                  </a:moveTo>
                  <a:cubicBezTo>
                    <a:pt x="1261" y="4884"/>
                    <a:pt x="1418" y="5041"/>
                    <a:pt x="1418" y="5230"/>
                  </a:cubicBezTo>
                  <a:cubicBezTo>
                    <a:pt x="1418" y="5451"/>
                    <a:pt x="1261" y="5608"/>
                    <a:pt x="1072" y="5608"/>
                  </a:cubicBezTo>
                  <a:cubicBezTo>
                    <a:pt x="851" y="5608"/>
                    <a:pt x="694" y="5451"/>
                    <a:pt x="694" y="5230"/>
                  </a:cubicBezTo>
                  <a:cubicBezTo>
                    <a:pt x="694" y="5041"/>
                    <a:pt x="851" y="4884"/>
                    <a:pt x="1072" y="4884"/>
                  </a:cubicBezTo>
                  <a:close/>
                  <a:moveTo>
                    <a:pt x="3498" y="6302"/>
                  </a:moveTo>
                  <a:lnTo>
                    <a:pt x="3498" y="6648"/>
                  </a:lnTo>
                  <a:cubicBezTo>
                    <a:pt x="3498" y="6869"/>
                    <a:pt x="3340" y="6995"/>
                    <a:pt x="3151" y="6995"/>
                  </a:cubicBezTo>
                  <a:lnTo>
                    <a:pt x="1765" y="6995"/>
                  </a:lnTo>
                  <a:cubicBezTo>
                    <a:pt x="1576" y="6995"/>
                    <a:pt x="1418" y="6869"/>
                    <a:pt x="1418" y="6648"/>
                  </a:cubicBezTo>
                  <a:lnTo>
                    <a:pt x="1418" y="6302"/>
                  </a:lnTo>
                  <a:close/>
                  <a:moveTo>
                    <a:pt x="1072" y="1"/>
                  </a:moveTo>
                  <a:cubicBezTo>
                    <a:pt x="851" y="1"/>
                    <a:pt x="694" y="158"/>
                    <a:pt x="694" y="347"/>
                  </a:cubicBezTo>
                  <a:cubicBezTo>
                    <a:pt x="694" y="568"/>
                    <a:pt x="851" y="725"/>
                    <a:pt x="1072" y="725"/>
                  </a:cubicBezTo>
                  <a:lnTo>
                    <a:pt x="1418" y="725"/>
                  </a:lnTo>
                  <a:lnTo>
                    <a:pt x="1418" y="1450"/>
                  </a:lnTo>
                  <a:cubicBezTo>
                    <a:pt x="1009" y="1576"/>
                    <a:pt x="694" y="1985"/>
                    <a:pt x="694" y="2458"/>
                  </a:cubicBezTo>
                  <a:lnTo>
                    <a:pt x="694" y="4285"/>
                  </a:lnTo>
                  <a:cubicBezTo>
                    <a:pt x="316" y="4443"/>
                    <a:pt x="1" y="4821"/>
                    <a:pt x="1" y="5293"/>
                  </a:cubicBezTo>
                  <a:cubicBezTo>
                    <a:pt x="1" y="5703"/>
                    <a:pt x="284" y="6112"/>
                    <a:pt x="694" y="6270"/>
                  </a:cubicBezTo>
                  <a:lnTo>
                    <a:pt x="694" y="6648"/>
                  </a:lnTo>
                  <a:cubicBezTo>
                    <a:pt x="694" y="7089"/>
                    <a:pt x="977" y="7499"/>
                    <a:pt x="1418" y="7656"/>
                  </a:cubicBezTo>
                  <a:lnTo>
                    <a:pt x="1418" y="8759"/>
                  </a:lnTo>
                  <a:cubicBezTo>
                    <a:pt x="1418" y="8948"/>
                    <a:pt x="1576" y="9105"/>
                    <a:pt x="1765" y="9105"/>
                  </a:cubicBezTo>
                  <a:lnTo>
                    <a:pt x="3151" y="9105"/>
                  </a:lnTo>
                  <a:cubicBezTo>
                    <a:pt x="3340" y="9105"/>
                    <a:pt x="3498" y="8948"/>
                    <a:pt x="3498" y="8759"/>
                  </a:cubicBezTo>
                  <a:lnTo>
                    <a:pt x="3498" y="7656"/>
                  </a:lnTo>
                  <a:cubicBezTo>
                    <a:pt x="3907" y="7499"/>
                    <a:pt x="4222" y="7121"/>
                    <a:pt x="4222" y="6648"/>
                  </a:cubicBezTo>
                  <a:lnTo>
                    <a:pt x="4222" y="5955"/>
                  </a:lnTo>
                  <a:lnTo>
                    <a:pt x="4222" y="2458"/>
                  </a:lnTo>
                  <a:cubicBezTo>
                    <a:pt x="4222" y="2017"/>
                    <a:pt x="3939" y="1607"/>
                    <a:pt x="3498" y="1450"/>
                  </a:cubicBezTo>
                  <a:lnTo>
                    <a:pt x="3498" y="725"/>
                  </a:lnTo>
                  <a:lnTo>
                    <a:pt x="3876" y="725"/>
                  </a:lnTo>
                  <a:cubicBezTo>
                    <a:pt x="4065" y="725"/>
                    <a:pt x="4222" y="568"/>
                    <a:pt x="4222" y="347"/>
                  </a:cubicBezTo>
                  <a:cubicBezTo>
                    <a:pt x="4222" y="158"/>
                    <a:pt x="4065" y="1"/>
                    <a:pt x="38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1"/>
            <p:cNvSpPr/>
            <p:nvPr/>
          </p:nvSpPr>
          <p:spPr>
            <a:xfrm>
              <a:off x="-24536600" y="4132250"/>
              <a:ext cx="70900" cy="17350"/>
            </a:xfrm>
            <a:custGeom>
              <a:avLst/>
              <a:gdLst/>
              <a:ahLst/>
              <a:cxnLst/>
              <a:rect l="l" t="t" r="r" b="b"/>
              <a:pathLst>
                <a:path w="2836" h="694" extrusionOk="0">
                  <a:moveTo>
                    <a:pt x="0" y="1"/>
                  </a:moveTo>
                  <a:lnTo>
                    <a:pt x="347" y="694"/>
                  </a:lnTo>
                  <a:lnTo>
                    <a:pt x="2489" y="694"/>
                  </a:lnTo>
                  <a:cubicBezTo>
                    <a:pt x="2678" y="694"/>
                    <a:pt x="2836" y="536"/>
                    <a:pt x="2836" y="347"/>
                  </a:cubicBezTo>
                  <a:cubicBezTo>
                    <a:pt x="2836" y="158"/>
                    <a:pt x="267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1"/>
            <p:cNvSpPr/>
            <p:nvPr/>
          </p:nvSpPr>
          <p:spPr>
            <a:xfrm>
              <a:off x="-24709100" y="3963700"/>
              <a:ext cx="208750" cy="221350"/>
            </a:xfrm>
            <a:custGeom>
              <a:avLst/>
              <a:gdLst/>
              <a:ahLst/>
              <a:cxnLst/>
              <a:rect l="l" t="t" r="r" b="b"/>
              <a:pathLst>
                <a:path w="8350" h="8854" extrusionOk="0">
                  <a:moveTo>
                    <a:pt x="4884" y="1"/>
                  </a:moveTo>
                  <a:cubicBezTo>
                    <a:pt x="2931" y="473"/>
                    <a:pt x="1419" y="2237"/>
                    <a:pt x="1419" y="4380"/>
                  </a:cubicBezTo>
                  <a:lnTo>
                    <a:pt x="1419" y="8192"/>
                  </a:lnTo>
                  <a:lnTo>
                    <a:pt x="410" y="8192"/>
                  </a:lnTo>
                  <a:cubicBezTo>
                    <a:pt x="389" y="8189"/>
                    <a:pt x="368" y="8188"/>
                    <a:pt x="347" y="8188"/>
                  </a:cubicBezTo>
                  <a:cubicBezTo>
                    <a:pt x="132" y="8188"/>
                    <a:pt x="1" y="8334"/>
                    <a:pt x="1" y="8507"/>
                  </a:cubicBezTo>
                  <a:cubicBezTo>
                    <a:pt x="1" y="8696"/>
                    <a:pt x="158" y="8853"/>
                    <a:pt x="347" y="8853"/>
                  </a:cubicBezTo>
                  <a:lnTo>
                    <a:pt x="8003" y="8853"/>
                  </a:lnTo>
                  <a:cubicBezTo>
                    <a:pt x="8192" y="8853"/>
                    <a:pt x="8350" y="8696"/>
                    <a:pt x="8350" y="8507"/>
                  </a:cubicBezTo>
                  <a:cubicBezTo>
                    <a:pt x="8350" y="8318"/>
                    <a:pt x="8192" y="8160"/>
                    <a:pt x="8003" y="8160"/>
                  </a:cubicBezTo>
                  <a:lnTo>
                    <a:pt x="6806" y="8160"/>
                  </a:lnTo>
                  <a:lnTo>
                    <a:pt x="6239" y="6963"/>
                  </a:lnTo>
                  <a:cubicBezTo>
                    <a:pt x="6207" y="6869"/>
                    <a:pt x="6018" y="6774"/>
                    <a:pt x="5924" y="6774"/>
                  </a:cubicBezTo>
                  <a:lnTo>
                    <a:pt x="4191" y="6774"/>
                  </a:lnTo>
                  <a:lnTo>
                    <a:pt x="4191" y="3655"/>
                  </a:lnTo>
                  <a:cubicBezTo>
                    <a:pt x="4191" y="3435"/>
                    <a:pt x="4254" y="3245"/>
                    <a:pt x="4380" y="3088"/>
                  </a:cubicBezTo>
                  <a:cubicBezTo>
                    <a:pt x="4254" y="2836"/>
                    <a:pt x="4191" y="2552"/>
                    <a:pt x="4191" y="2300"/>
                  </a:cubicBezTo>
                  <a:cubicBezTo>
                    <a:pt x="4191" y="1733"/>
                    <a:pt x="4443" y="1229"/>
                    <a:pt x="4884" y="914"/>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1" name="Google Shape;6541;p71"/>
          <p:cNvGrpSpPr/>
          <p:nvPr/>
        </p:nvGrpSpPr>
        <p:grpSpPr>
          <a:xfrm>
            <a:off x="7979280" y="2695320"/>
            <a:ext cx="356556" cy="349557"/>
            <a:chOff x="-22863675" y="3131775"/>
            <a:chExt cx="299300" cy="293425"/>
          </a:xfrm>
        </p:grpSpPr>
        <p:sp>
          <p:nvSpPr>
            <p:cNvPr id="6542" name="Google Shape;6542;p71"/>
            <p:cNvSpPr/>
            <p:nvPr/>
          </p:nvSpPr>
          <p:spPr>
            <a:xfrm>
              <a:off x="-22863675" y="3131775"/>
              <a:ext cx="299300" cy="293425"/>
            </a:xfrm>
            <a:custGeom>
              <a:avLst/>
              <a:gdLst/>
              <a:ahLst/>
              <a:cxnLst/>
              <a:rect l="l" t="t" r="r" b="b"/>
              <a:pathLst>
                <a:path w="11972" h="11737" extrusionOk="0">
                  <a:moveTo>
                    <a:pt x="3214" y="5522"/>
                  </a:moveTo>
                  <a:cubicBezTo>
                    <a:pt x="3403" y="5522"/>
                    <a:pt x="3560" y="5679"/>
                    <a:pt x="3560" y="5868"/>
                  </a:cubicBezTo>
                  <a:cubicBezTo>
                    <a:pt x="3560" y="6057"/>
                    <a:pt x="3403" y="6215"/>
                    <a:pt x="3214" y="6215"/>
                  </a:cubicBezTo>
                  <a:cubicBezTo>
                    <a:pt x="3024" y="6215"/>
                    <a:pt x="2867" y="6057"/>
                    <a:pt x="2867" y="5868"/>
                  </a:cubicBezTo>
                  <a:cubicBezTo>
                    <a:pt x="2867" y="5679"/>
                    <a:pt x="3024" y="5522"/>
                    <a:pt x="3214" y="5522"/>
                  </a:cubicBezTo>
                  <a:close/>
                  <a:moveTo>
                    <a:pt x="5986" y="2749"/>
                  </a:moveTo>
                  <a:cubicBezTo>
                    <a:pt x="6931" y="2749"/>
                    <a:pt x="7719" y="3537"/>
                    <a:pt x="7719" y="4482"/>
                  </a:cubicBezTo>
                  <a:cubicBezTo>
                    <a:pt x="7719" y="5427"/>
                    <a:pt x="6963" y="6215"/>
                    <a:pt x="5986" y="6215"/>
                  </a:cubicBezTo>
                  <a:cubicBezTo>
                    <a:pt x="5041" y="6215"/>
                    <a:pt x="4253" y="5427"/>
                    <a:pt x="4253" y="4482"/>
                  </a:cubicBezTo>
                  <a:cubicBezTo>
                    <a:pt x="4253" y="3537"/>
                    <a:pt x="5041" y="2749"/>
                    <a:pt x="5986" y="2749"/>
                  </a:cubicBezTo>
                  <a:close/>
                  <a:moveTo>
                    <a:pt x="8790" y="5522"/>
                  </a:moveTo>
                  <a:cubicBezTo>
                    <a:pt x="8979" y="5522"/>
                    <a:pt x="9136" y="5679"/>
                    <a:pt x="9136" y="5868"/>
                  </a:cubicBezTo>
                  <a:cubicBezTo>
                    <a:pt x="9136" y="6057"/>
                    <a:pt x="8979" y="6215"/>
                    <a:pt x="8790" y="6215"/>
                  </a:cubicBezTo>
                  <a:cubicBezTo>
                    <a:pt x="8569" y="6215"/>
                    <a:pt x="8412" y="6057"/>
                    <a:pt x="8412" y="5868"/>
                  </a:cubicBezTo>
                  <a:cubicBezTo>
                    <a:pt x="8412" y="5679"/>
                    <a:pt x="8569" y="5522"/>
                    <a:pt x="8790" y="5522"/>
                  </a:cubicBezTo>
                  <a:close/>
                  <a:moveTo>
                    <a:pt x="4600" y="7601"/>
                  </a:moveTo>
                  <a:cubicBezTo>
                    <a:pt x="4789" y="7601"/>
                    <a:pt x="4946" y="7759"/>
                    <a:pt x="4946" y="7948"/>
                  </a:cubicBezTo>
                  <a:cubicBezTo>
                    <a:pt x="4946" y="8168"/>
                    <a:pt x="4789" y="8326"/>
                    <a:pt x="4600" y="8326"/>
                  </a:cubicBezTo>
                  <a:cubicBezTo>
                    <a:pt x="4411" y="8326"/>
                    <a:pt x="4253" y="8168"/>
                    <a:pt x="4253" y="7948"/>
                  </a:cubicBezTo>
                  <a:cubicBezTo>
                    <a:pt x="4253" y="7759"/>
                    <a:pt x="4411" y="7601"/>
                    <a:pt x="4600" y="7601"/>
                  </a:cubicBezTo>
                  <a:close/>
                  <a:moveTo>
                    <a:pt x="6679" y="6939"/>
                  </a:moveTo>
                  <a:cubicBezTo>
                    <a:pt x="7278" y="6939"/>
                    <a:pt x="7719" y="7412"/>
                    <a:pt x="7719" y="7948"/>
                  </a:cubicBezTo>
                  <a:cubicBezTo>
                    <a:pt x="7719" y="8515"/>
                    <a:pt x="7246" y="8987"/>
                    <a:pt x="6679" y="8987"/>
                  </a:cubicBezTo>
                  <a:cubicBezTo>
                    <a:pt x="6080" y="8987"/>
                    <a:pt x="5671" y="8515"/>
                    <a:pt x="5671" y="7948"/>
                  </a:cubicBezTo>
                  <a:cubicBezTo>
                    <a:pt x="5671" y="7412"/>
                    <a:pt x="6143" y="6939"/>
                    <a:pt x="6679" y="6939"/>
                  </a:cubicBezTo>
                  <a:close/>
                  <a:moveTo>
                    <a:pt x="5309" y="1"/>
                  </a:moveTo>
                  <a:cubicBezTo>
                    <a:pt x="5222" y="1"/>
                    <a:pt x="5135" y="24"/>
                    <a:pt x="5072" y="71"/>
                  </a:cubicBezTo>
                  <a:cubicBezTo>
                    <a:pt x="4946" y="197"/>
                    <a:pt x="4946" y="449"/>
                    <a:pt x="5072" y="544"/>
                  </a:cubicBezTo>
                  <a:cubicBezTo>
                    <a:pt x="5356" y="828"/>
                    <a:pt x="5545" y="1080"/>
                    <a:pt x="5639" y="1363"/>
                  </a:cubicBezTo>
                  <a:cubicBezTo>
                    <a:pt x="5356" y="1426"/>
                    <a:pt x="5041" y="1458"/>
                    <a:pt x="4757" y="1552"/>
                  </a:cubicBezTo>
                  <a:cubicBezTo>
                    <a:pt x="4474" y="1017"/>
                    <a:pt x="4096" y="796"/>
                    <a:pt x="3592" y="576"/>
                  </a:cubicBezTo>
                  <a:cubicBezTo>
                    <a:pt x="3552" y="560"/>
                    <a:pt x="3507" y="552"/>
                    <a:pt x="3460" y="552"/>
                  </a:cubicBezTo>
                  <a:cubicBezTo>
                    <a:pt x="3320" y="552"/>
                    <a:pt x="3166" y="623"/>
                    <a:pt x="3119" y="765"/>
                  </a:cubicBezTo>
                  <a:cubicBezTo>
                    <a:pt x="3024" y="922"/>
                    <a:pt x="3119" y="1143"/>
                    <a:pt x="3277" y="1206"/>
                  </a:cubicBezTo>
                  <a:cubicBezTo>
                    <a:pt x="3623" y="1363"/>
                    <a:pt x="3907" y="1552"/>
                    <a:pt x="4064" y="1804"/>
                  </a:cubicBezTo>
                  <a:cubicBezTo>
                    <a:pt x="3781" y="1930"/>
                    <a:pt x="3529" y="2088"/>
                    <a:pt x="3308" y="2245"/>
                  </a:cubicBezTo>
                  <a:cubicBezTo>
                    <a:pt x="2867" y="1836"/>
                    <a:pt x="2394" y="1773"/>
                    <a:pt x="1890" y="1741"/>
                  </a:cubicBezTo>
                  <a:cubicBezTo>
                    <a:pt x="1701" y="1741"/>
                    <a:pt x="1544" y="1836"/>
                    <a:pt x="1481" y="2056"/>
                  </a:cubicBezTo>
                  <a:cubicBezTo>
                    <a:pt x="1481" y="2245"/>
                    <a:pt x="1607" y="2403"/>
                    <a:pt x="1796" y="2434"/>
                  </a:cubicBezTo>
                  <a:cubicBezTo>
                    <a:pt x="2205" y="2466"/>
                    <a:pt x="2489" y="2529"/>
                    <a:pt x="2741" y="2718"/>
                  </a:cubicBezTo>
                  <a:cubicBezTo>
                    <a:pt x="2552" y="2907"/>
                    <a:pt x="2363" y="3159"/>
                    <a:pt x="2205" y="3379"/>
                  </a:cubicBezTo>
                  <a:cubicBezTo>
                    <a:pt x="1949" y="3294"/>
                    <a:pt x="1725" y="3260"/>
                    <a:pt x="1508" y="3260"/>
                  </a:cubicBezTo>
                  <a:cubicBezTo>
                    <a:pt x="1243" y="3260"/>
                    <a:pt x="987" y="3310"/>
                    <a:pt x="693" y="3379"/>
                  </a:cubicBezTo>
                  <a:cubicBezTo>
                    <a:pt x="504" y="3411"/>
                    <a:pt x="441" y="3631"/>
                    <a:pt x="473" y="3821"/>
                  </a:cubicBezTo>
                  <a:cubicBezTo>
                    <a:pt x="498" y="3970"/>
                    <a:pt x="621" y="4060"/>
                    <a:pt x="781" y="4060"/>
                  </a:cubicBezTo>
                  <a:cubicBezTo>
                    <a:pt x="823" y="4060"/>
                    <a:pt x="868" y="4054"/>
                    <a:pt x="914" y="4041"/>
                  </a:cubicBezTo>
                  <a:cubicBezTo>
                    <a:pt x="1160" y="3979"/>
                    <a:pt x="1366" y="3931"/>
                    <a:pt x="1567" y="3931"/>
                  </a:cubicBezTo>
                  <a:cubicBezTo>
                    <a:pt x="1674" y="3931"/>
                    <a:pt x="1780" y="3945"/>
                    <a:pt x="1890" y="3978"/>
                  </a:cubicBezTo>
                  <a:cubicBezTo>
                    <a:pt x="1764" y="4262"/>
                    <a:pt x="1638" y="4514"/>
                    <a:pt x="1607" y="4797"/>
                  </a:cubicBezTo>
                  <a:cubicBezTo>
                    <a:pt x="1071" y="4797"/>
                    <a:pt x="630" y="4986"/>
                    <a:pt x="189" y="5301"/>
                  </a:cubicBezTo>
                  <a:cubicBezTo>
                    <a:pt x="32" y="5427"/>
                    <a:pt x="0" y="5616"/>
                    <a:pt x="126" y="5774"/>
                  </a:cubicBezTo>
                  <a:cubicBezTo>
                    <a:pt x="186" y="5874"/>
                    <a:pt x="296" y="5935"/>
                    <a:pt x="409" y="5935"/>
                  </a:cubicBezTo>
                  <a:cubicBezTo>
                    <a:pt x="474" y="5935"/>
                    <a:pt x="541" y="5915"/>
                    <a:pt x="599" y="5868"/>
                  </a:cubicBezTo>
                  <a:cubicBezTo>
                    <a:pt x="914" y="5616"/>
                    <a:pt x="1166" y="5459"/>
                    <a:pt x="1481" y="5459"/>
                  </a:cubicBezTo>
                  <a:cubicBezTo>
                    <a:pt x="1481" y="5585"/>
                    <a:pt x="1449" y="5742"/>
                    <a:pt x="1449" y="5868"/>
                  </a:cubicBezTo>
                  <a:cubicBezTo>
                    <a:pt x="1449" y="6026"/>
                    <a:pt x="1449" y="6183"/>
                    <a:pt x="1481" y="6341"/>
                  </a:cubicBezTo>
                  <a:cubicBezTo>
                    <a:pt x="945" y="6530"/>
                    <a:pt x="662" y="6876"/>
                    <a:pt x="347" y="7318"/>
                  </a:cubicBezTo>
                  <a:cubicBezTo>
                    <a:pt x="221" y="7475"/>
                    <a:pt x="284" y="7664"/>
                    <a:pt x="441" y="7790"/>
                  </a:cubicBezTo>
                  <a:cubicBezTo>
                    <a:pt x="507" y="7843"/>
                    <a:pt x="584" y="7868"/>
                    <a:pt x="658" y="7868"/>
                  </a:cubicBezTo>
                  <a:cubicBezTo>
                    <a:pt x="761" y="7868"/>
                    <a:pt x="859" y="7819"/>
                    <a:pt x="914" y="7727"/>
                  </a:cubicBezTo>
                  <a:cubicBezTo>
                    <a:pt x="1134" y="7349"/>
                    <a:pt x="1323" y="7129"/>
                    <a:pt x="1607" y="7002"/>
                  </a:cubicBezTo>
                  <a:cubicBezTo>
                    <a:pt x="1701" y="7286"/>
                    <a:pt x="1764" y="7570"/>
                    <a:pt x="1922" y="7822"/>
                  </a:cubicBezTo>
                  <a:cubicBezTo>
                    <a:pt x="1481" y="8200"/>
                    <a:pt x="1323" y="8609"/>
                    <a:pt x="1166" y="9145"/>
                  </a:cubicBezTo>
                  <a:cubicBezTo>
                    <a:pt x="1134" y="9334"/>
                    <a:pt x="1260" y="9523"/>
                    <a:pt x="1418" y="9554"/>
                  </a:cubicBezTo>
                  <a:cubicBezTo>
                    <a:pt x="1452" y="9566"/>
                    <a:pt x="1486" y="9571"/>
                    <a:pt x="1519" y="9571"/>
                  </a:cubicBezTo>
                  <a:cubicBezTo>
                    <a:pt x="1671" y="9571"/>
                    <a:pt x="1807" y="9463"/>
                    <a:pt x="1859" y="9334"/>
                  </a:cubicBezTo>
                  <a:cubicBezTo>
                    <a:pt x="1953" y="8924"/>
                    <a:pt x="2048" y="8672"/>
                    <a:pt x="2268" y="8420"/>
                  </a:cubicBezTo>
                  <a:cubicBezTo>
                    <a:pt x="2426" y="8672"/>
                    <a:pt x="2646" y="8893"/>
                    <a:pt x="2835" y="9082"/>
                  </a:cubicBezTo>
                  <a:cubicBezTo>
                    <a:pt x="2520" y="9554"/>
                    <a:pt x="2552" y="10027"/>
                    <a:pt x="2583" y="10594"/>
                  </a:cubicBezTo>
                  <a:cubicBezTo>
                    <a:pt x="2583" y="10783"/>
                    <a:pt x="2741" y="10909"/>
                    <a:pt x="2961" y="10909"/>
                  </a:cubicBezTo>
                  <a:lnTo>
                    <a:pt x="2993" y="10909"/>
                  </a:lnTo>
                  <a:cubicBezTo>
                    <a:pt x="3182" y="10909"/>
                    <a:pt x="3308" y="10720"/>
                    <a:pt x="3308" y="10500"/>
                  </a:cubicBezTo>
                  <a:cubicBezTo>
                    <a:pt x="3277" y="10090"/>
                    <a:pt x="3277" y="9806"/>
                    <a:pt x="3371" y="9523"/>
                  </a:cubicBezTo>
                  <a:cubicBezTo>
                    <a:pt x="3623" y="9680"/>
                    <a:pt x="3844" y="9838"/>
                    <a:pt x="4127" y="9964"/>
                  </a:cubicBezTo>
                  <a:cubicBezTo>
                    <a:pt x="4001" y="10500"/>
                    <a:pt x="4159" y="10941"/>
                    <a:pt x="4411" y="11445"/>
                  </a:cubicBezTo>
                  <a:cubicBezTo>
                    <a:pt x="4452" y="11589"/>
                    <a:pt x="4561" y="11652"/>
                    <a:pt x="4684" y="11652"/>
                  </a:cubicBezTo>
                  <a:cubicBezTo>
                    <a:pt x="4749" y="11652"/>
                    <a:pt x="4818" y="11635"/>
                    <a:pt x="4883" y="11602"/>
                  </a:cubicBezTo>
                  <a:cubicBezTo>
                    <a:pt x="5041" y="11539"/>
                    <a:pt x="5104" y="11350"/>
                    <a:pt x="5041" y="11130"/>
                  </a:cubicBezTo>
                  <a:cubicBezTo>
                    <a:pt x="4883" y="10783"/>
                    <a:pt x="4757" y="10500"/>
                    <a:pt x="4789" y="10184"/>
                  </a:cubicBezTo>
                  <a:lnTo>
                    <a:pt x="4789" y="10184"/>
                  </a:lnTo>
                  <a:cubicBezTo>
                    <a:pt x="5072" y="10279"/>
                    <a:pt x="5356" y="10311"/>
                    <a:pt x="5671" y="10342"/>
                  </a:cubicBezTo>
                  <a:cubicBezTo>
                    <a:pt x="5734" y="10909"/>
                    <a:pt x="6049" y="11256"/>
                    <a:pt x="6427" y="11665"/>
                  </a:cubicBezTo>
                  <a:cubicBezTo>
                    <a:pt x="6474" y="11712"/>
                    <a:pt x="6561" y="11736"/>
                    <a:pt x="6651" y="11736"/>
                  </a:cubicBezTo>
                  <a:cubicBezTo>
                    <a:pt x="6742" y="11736"/>
                    <a:pt x="6837" y="11712"/>
                    <a:pt x="6900" y="11665"/>
                  </a:cubicBezTo>
                  <a:cubicBezTo>
                    <a:pt x="6994" y="11539"/>
                    <a:pt x="6994" y="11287"/>
                    <a:pt x="6900" y="11193"/>
                  </a:cubicBezTo>
                  <a:cubicBezTo>
                    <a:pt x="6616" y="10909"/>
                    <a:pt x="6427" y="10657"/>
                    <a:pt x="6333" y="10342"/>
                  </a:cubicBezTo>
                  <a:cubicBezTo>
                    <a:pt x="6616" y="10311"/>
                    <a:pt x="6931" y="10279"/>
                    <a:pt x="7215" y="10184"/>
                  </a:cubicBezTo>
                  <a:cubicBezTo>
                    <a:pt x="7467" y="10720"/>
                    <a:pt x="7876" y="10941"/>
                    <a:pt x="8380" y="11130"/>
                  </a:cubicBezTo>
                  <a:cubicBezTo>
                    <a:pt x="8424" y="11156"/>
                    <a:pt x="8474" y="11167"/>
                    <a:pt x="8526" y="11167"/>
                  </a:cubicBezTo>
                  <a:cubicBezTo>
                    <a:pt x="8662" y="11167"/>
                    <a:pt x="8807" y="11086"/>
                    <a:pt x="8853" y="10972"/>
                  </a:cubicBezTo>
                  <a:cubicBezTo>
                    <a:pt x="8947" y="10815"/>
                    <a:pt x="8853" y="10594"/>
                    <a:pt x="8695" y="10500"/>
                  </a:cubicBezTo>
                  <a:cubicBezTo>
                    <a:pt x="8349" y="10374"/>
                    <a:pt x="8065" y="10184"/>
                    <a:pt x="7908" y="9932"/>
                  </a:cubicBezTo>
                  <a:cubicBezTo>
                    <a:pt x="8191" y="9806"/>
                    <a:pt x="8412" y="9649"/>
                    <a:pt x="8664" y="9491"/>
                  </a:cubicBezTo>
                  <a:cubicBezTo>
                    <a:pt x="9105" y="9901"/>
                    <a:pt x="9578" y="9964"/>
                    <a:pt x="10082" y="9995"/>
                  </a:cubicBezTo>
                  <a:lnTo>
                    <a:pt x="10113" y="9995"/>
                  </a:lnTo>
                  <a:cubicBezTo>
                    <a:pt x="10302" y="9995"/>
                    <a:pt x="10428" y="9869"/>
                    <a:pt x="10460" y="9680"/>
                  </a:cubicBezTo>
                  <a:cubicBezTo>
                    <a:pt x="10460" y="9491"/>
                    <a:pt x="10365" y="9334"/>
                    <a:pt x="10145" y="9302"/>
                  </a:cubicBezTo>
                  <a:cubicBezTo>
                    <a:pt x="9767" y="9239"/>
                    <a:pt x="9483" y="9208"/>
                    <a:pt x="9199" y="9019"/>
                  </a:cubicBezTo>
                  <a:cubicBezTo>
                    <a:pt x="9388" y="8830"/>
                    <a:pt x="9609" y="8578"/>
                    <a:pt x="9767" y="8357"/>
                  </a:cubicBezTo>
                  <a:cubicBezTo>
                    <a:pt x="9980" y="8437"/>
                    <a:pt x="10181" y="8466"/>
                    <a:pt x="10384" y="8466"/>
                  </a:cubicBezTo>
                  <a:cubicBezTo>
                    <a:pt x="10660" y="8466"/>
                    <a:pt x="10938" y="8412"/>
                    <a:pt x="11247" y="8357"/>
                  </a:cubicBezTo>
                  <a:cubicBezTo>
                    <a:pt x="11468" y="8294"/>
                    <a:pt x="11531" y="8105"/>
                    <a:pt x="11499" y="7916"/>
                  </a:cubicBezTo>
                  <a:cubicBezTo>
                    <a:pt x="11472" y="7751"/>
                    <a:pt x="11300" y="7658"/>
                    <a:pt x="11131" y="7658"/>
                  </a:cubicBezTo>
                  <a:cubicBezTo>
                    <a:pt x="11107" y="7658"/>
                    <a:pt x="11082" y="7660"/>
                    <a:pt x="11058" y="7664"/>
                  </a:cubicBezTo>
                  <a:cubicBezTo>
                    <a:pt x="10806" y="7748"/>
                    <a:pt x="10596" y="7804"/>
                    <a:pt x="10391" y="7804"/>
                  </a:cubicBezTo>
                  <a:cubicBezTo>
                    <a:pt x="10288" y="7804"/>
                    <a:pt x="10187" y="7790"/>
                    <a:pt x="10082" y="7759"/>
                  </a:cubicBezTo>
                  <a:cubicBezTo>
                    <a:pt x="10208" y="7475"/>
                    <a:pt x="10302" y="7192"/>
                    <a:pt x="10365" y="6939"/>
                  </a:cubicBezTo>
                  <a:lnTo>
                    <a:pt x="10397" y="6939"/>
                  </a:lnTo>
                  <a:cubicBezTo>
                    <a:pt x="10932" y="6939"/>
                    <a:pt x="11342" y="6687"/>
                    <a:pt x="11751" y="6372"/>
                  </a:cubicBezTo>
                  <a:cubicBezTo>
                    <a:pt x="11940" y="6246"/>
                    <a:pt x="11972" y="6057"/>
                    <a:pt x="11846" y="5900"/>
                  </a:cubicBezTo>
                  <a:cubicBezTo>
                    <a:pt x="11789" y="5843"/>
                    <a:pt x="11687" y="5798"/>
                    <a:pt x="11580" y="5798"/>
                  </a:cubicBezTo>
                  <a:cubicBezTo>
                    <a:pt x="11509" y="5798"/>
                    <a:pt x="11436" y="5818"/>
                    <a:pt x="11373" y="5868"/>
                  </a:cubicBezTo>
                  <a:cubicBezTo>
                    <a:pt x="11058" y="6120"/>
                    <a:pt x="10775" y="6278"/>
                    <a:pt x="10460" y="6278"/>
                  </a:cubicBezTo>
                  <a:cubicBezTo>
                    <a:pt x="10460" y="6152"/>
                    <a:pt x="10491" y="5994"/>
                    <a:pt x="10491" y="5868"/>
                  </a:cubicBezTo>
                  <a:cubicBezTo>
                    <a:pt x="10491" y="5711"/>
                    <a:pt x="10491" y="5553"/>
                    <a:pt x="10460" y="5396"/>
                  </a:cubicBezTo>
                  <a:cubicBezTo>
                    <a:pt x="11027" y="5207"/>
                    <a:pt x="11279" y="4860"/>
                    <a:pt x="11594" y="4419"/>
                  </a:cubicBezTo>
                  <a:cubicBezTo>
                    <a:pt x="11720" y="4262"/>
                    <a:pt x="11688" y="4073"/>
                    <a:pt x="11531" y="3947"/>
                  </a:cubicBezTo>
                  <a:cubicBezTo>
                    <a:pt x="11465" y="3894"/>
                    <a:pt x="11394" y="3869"/>
                    <a:pt x="11324" y="3869"/>
                  </a:cubicBezTo>
                  <a:cubicBezTo>
                    <a:pt x="11226" y="3869"/>
                    <a:pt x="11132" y="3918"/>
                    <a:pt x="11058" y="4010"/>
                  </a:cubicBezTo>
                  <a:cubicBezTo>
                    <a:pt x="10838" y="4388"/>
                    <a:pt x="10617" y="4608"/>
                    <a:pt x="10365" y="4734"/>
                  </a:cubicBezTo>
                  <a:cubicBezTo>
                    <a:pt x="10271" y="4451"/>
                    <a:pt x="10176" y="4167"/>
                    <a:pt x="10019" y="3915"/>
                  </a:cubicBezTo>
                  <a:cubicBezTo>
                    <a:pt x="10460" y="3537"/>
                    <a:pt x="10617" y="3127"/>
                    <a:pt x="10775" y="2592"/>
                  </a:cubicBezTo>
                  <a:cubicBezTo>
                    <a:pt x="10806" y="2403"/>
                    <a:pt x="10712" y="2214"/>
                    <a:pt x="10554" y="2182"/>
                  </a:cubicBezTo>
                  <a:cubicBezTo>
                    <a:pt x="10520" y="2171"/>
                    <a:pt x="10485" y="2166"/>
                    <a:pt x="10450" y="2166"/>
                  </a:cubicBezTo>
                  <a:cubicBezTo>
                    <a:pt x="10292" y="2166"/>
                    <a:pt x="10139" y="2274"/>
                    <a:pt x="10113" y="2403"/>
                  </a:cubicBezTo>
                  <a:cubicBezTo>
                    <a:pt x="9987" y="2812"/>
                    <a:pt x="9924" y="3064"/>
                    <a:pt x="9672" y="3316"/>
                  </a:cubicBezTo>
                  <a:cubicBezTo>
                    <a:pt x="9515" y="3064"/>
                    <a:pt x="9325" y="2844"/>
                    <a:pt x="9136" y="2655"/>
                  </a:cubicBezTo>
                  <a:cubicBezTo>
                    <a:pt x="9451" y="2182"/>
                    <a:pt x="9388" y="1710"/>
                    <a:pt x="9357" y="1143"/>
                  </a:cubicBezTo>
                  <a:cubicBezTo>
                    <a:pt x="9357" y="954"/>
                    <a:pt x="9168" y="828"/>
                    <a:pt x="8979" y="828"/>
                  </a:cubicBezTo>
                  <a:cubicBezTo>
                    <a:pt x="8790" y="828"/>
                    <a:pt x="8664" y="1017"/>
                    <a:pt x="8664" y="1237"/>
                  </a:cubicBezTo>
                  <a:cubicBezTo>
                    <a:pt x="8695" y="1647"/>
                    <a:pt x="8695" y="1930"/>
                    <a:pt x="8569" y="2214"/>
                  </a:cubicBezTo>
                  <a:cubicBezTo>
                    <a:pt x="8349" y="2056"/>
                    <a:pt x="8097" y="1899"/>
                    <a:pt x="7813" y="1773"/>
                  </a:cubicBezTo>
                  <a:cubicBezTo>
                    <a:pt x="7939" y="1237"/>
                    <a:pt x="7782" y="796"/>
                    <a:pt x="7561" y="292"/>
                  </a:cubicBezTo>
                  <a:cubicBezTo>
                    <a:pt x="7493" y="178"/>
                    <a:pt x="7375" y="97"/>
                    <a:pt x="7243" y="97"/>
                  </a:cubicBezTo>
                  <a:cubicBezTo>
                    <a:pt x="7193" y="97"/>
                    <a:pt x="7141" y="108"/>
                    <a:pt x="7089" y="134"/>
                  </a:cubicBezTo>
                  <a:cubicBezTo>
                    <a:pt x="6931" y="197"/>
                    <a:pt x="6837" y="386"/>
                    <a:pt x="6931" y="607"/>
                  </a:cubicBezTo>
                  <a:cubicBezTo>
                    <a:pt x="7089" y="954"/>
                    <a:pt x="7215" y="1237"/>
                    <a:pt x="7152" y="1552"/>
                  </a:cubicBezTo>
                  <a:cubicBezTo>
                    <a:pt x="6900" y="1458"/>
                    <a:pt x="6616" y="1426"/>
                    <a:pt x="6301" y="1395"/>
                  </a:cubicBezTo>
                  <a:cubicBezTo>
                    <a:pt x="6206" y="828"/>
                    <a:pt x="5891" y="481"/>
                    <a:pt x="5545" y="71"/>
                  </a:cubicBezTo>
                  <a:cubicBezTo>
                    <a:pt x="5482" y="24"/>
                    <a:pt x="5395" y="1"/>
                    <a:pt x="5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1"/>
            <p:cNvSpPr/>
            <p:nvPr/>
          </p:nvSpPr>
          <p:spPr>
            <a:xfrm>
              <a:off x="-22740025" y="3217825"/>
              <a:ext cx="52000" cy="51225"/>
            </a:xfrm>
            <a:custGeom>
              <a:avLst/>
              <a:gdLst/>
              <a:ahLst/>
              <a:cxnLst/>
              <a:rect l="l" t="t" r="r" b="b"/>
              <a:pathLst>
                <a:path w="2080" h="2049" extrusionOk="0">
                  <a:moveTo>
                    <a:pt x="1040" y="0"/>
                  </a:moveTo>
                  <a:cubicBezTo>
                    <a:pt x="441" y="0"/>
                    <a:pt x="0" y="473"/>
                    <a:pt x="0" y="1009"/>
                  </a:cubicBezTo>
                  <a:cubicBezTo>
                    <a:pt x="0" y="1607"/>
                    <a:pt x="473" y="2048"/>
                    <a:pt x="1040" y="2048"/>
                  </a:cubicBezTo>
                  <a:cubicBezTo>
                    <a:pt x="1607" y="2048"/>
                    <a:pt x="2048" y="1576"/>
                    <a:pt x="2048" y="1009"/>
                  </a:cubicBezTo>
                  <a:cubicBezTo>
                    <a:pt x="2080" y="473"/>
                    <a:pt x="160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1"/>
            <p:cNvSpPr/>
            <p:nvPr/>
          </p:nvSpPr>
          <p:spPr>
            <a:xfrm>
              <a:off x="-22705375" y="33218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5" name="Google Shape;6545;p71"/>
          <p:cNvGrpSpPr/>
          <p:nvPr/>
        </p:nvGrpSpPr>
        <p:grpSpPr>
          <a:xfrm>
            <a:off x="5322144" y="1306499"/>
            <a:ext cx="310602" cy="352803"/>
            <a:chOff x="-28069875" y="3175300"/>
            <a:chExt cx="260725" cy="296150"/>
          </a:xfrm>
        </p:grpSpPr>
        <p:sp>
          <p:nvSpPr>
            <p:cNvPr id="6546" name="Google Shape;6546;p71"/>
            <p:cNvSpPr/>
            <p:nvPr/>
          </p:nvSpPr>
          <p:spPr>
            <a:xfrm>
              <a:off x="-28059650" y="3192625"/>
              <a:ext cx="26025" cy="70125"/>
            </a:xfrm>
            <a:custGeom>
              <a:avLst/>
              <a:gdLst/>
              <a:ahLst/>
              <a:cxnLst/>
              <a:rect l="l" t="t" r="r" b="b"/>
              <a:pathLst>
                <a:path w="1041" h="2805" extrusionOk="0">
                  <a:moveTo>
                    <a:pt x="536" y="0"/>
                  </a:moveTo>
                  <a:cubicBezTo>
                    <a:pt x="253" y="0"/>
                    <a:pt x="1" y="252"/>
                    <a:pt x="1" y="536"/>
                  </a:cubicBezTo>
                  <a:lnTo>
                    <a:pt x="1" y="2458"/>
                  </a:lnTo>
                  <a:cubicBezTo>
                    <a:pt x="410" y="2458"/>
                    <a:pt x="757" y="2584"/>
                    <a:pt x="1040" y="2804"/>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1"/>
            <p:cNvSpPr/>
            <p:nvPr/>
          </p:nvSpPr>
          <p:spPr>
            <a:xfrm>
              <a:off x="-27843050" y="3192625"/>
              <a:ext cx="26025" cy="69325"/>
            </a:xfrm>
            <a:custGeom>
              <a:avLst/>
              <a:gdLst/>
              <a:ahLst/>
              <a:cxnLst/>
              <a:rect l="l" t="t" r="r" b="b"/>
              <a:pathLst>
                <a:path w="1041" h="2773" extrusionOk="0">
                  <a:moveTo>
                    <a:pt x="536" y="0"/>
                  </a:moveTo>
                  <a:cubicBezTo>
                    <a:pt x="253" y="0"/>
                    <a:pt x="1" y="252"/>
                    <a:pt x="1" y="536"/>
                  </a:cubicBezTo>
                  <a:lnTo>
                    <a:pt x="1" y="2773"/>
                  </a:lnTo>
                  <a:cubicBezTo>
                    <a:pt x="284" y="2584"/>
                    <a:pt x="694" y="2426"/>
                    <a:pt x="1040" y="2426"/>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1"/>
            <p:cNvSpPr/>
            <p:nvPr/>
          </p:nvSpPr>
          <p:spPr>
            <a:xfrm>
              <a:off x="-27973000" y="3202075"/>
              <a:ext cx="26000" cy="57525"/>
            </a:xfrm>
            <a:custGeom>
              <a:avLst/>
              <a:gdLst/>
              <a:ahLst/>
              <a:cxnLst/>
              <a:rect l="l" t="t" r="r" b="b"/>
              <a:pathLst>
                <a:path w="1040" h="2301" extrusionOk="0">
                  <a:moveTo>
                    <a:pt x="536" y="0"/>
                  </a:moveTo>
                  <a:cubicBezTo>
                    <a:pt x="252" y="0"/>
                    <a:pt x="0" y="221"/>
                    <a:pt x="0" y="504"/>
                  </a:cubicBezTo>
                  <a:lnTo>
                    <a:pt x="0" y="1954"/>
                  </a:lnTo>
                  <a:cubicBezTo>
                    <a:pt x="410" y="1985"/>
                    <a:pt x="756" y="2080"/>
                    <a:pt x="1040" y="2300"/>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1"/>
            <p:cNvSpPr/>
            <p:nvPr/>
          </p:nvSpPr>
          <p:spPr>
            <a:xfrm>
              <a:off x="-27929675" y="3202075"/>
              <a:ext cx="26000" cy="57525"/>
            </a:xfrm>
            <a:custGeom>
              <a:avLst/>
              <a:gdLst/>
              <a:ahLst/>
              <a:cxnLst/>
              <a:rect l="l" t="t" r="r" b="b"/>
              <a:pathLst>
                <a:path w="1040" h="2301" extrusionOk="0">
                  <a:moveTo>
                    <a:pt x="536" y="0"/>
                  </a:moveTo>
                  <a:cubicBezTo>
                    <a:pt x="252" y="0"/>
                    <a:pt x="0" y="221"/>
                    <a:pt x="0" y="504"/>
                  </a:cubicBezTo>
                  <a:lnTo>
                    <a:pt x="0" y="2300"/>
                  </a:lnTo>
                  <a:cubicBezTo>
                    <a:pt x="315" y="2111"/>
                    <a:pt x="693" y="1985"/>
                    <a:pt x="1040" y="1954"/>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1"/>
            <p:cNvSpPr/>
            <p:nvPr/>
          </p:nvSpPr>
          <p:spPr>
            <a:xfrm>
              <a:off x="-28016325" y="3175300"/>
              <a:ext cx="26025" cy="91375"/>
            </a:xfrm>
            <a:custGeom>
              <a:avLst/>
              <a:gdLst/>
              <a:ahLst/>
              <a:cxnLst/>
              <a:rect l="l" t="t" r="r" b="b"/>
              <a:pathLst>
                <a:path w="1041" h="3655" extrusionOk="0">
                  <a:moveTo>
                    <a:pt x="536" y="0"/>
                  </a:moveTo>
                  <a:cubicBezTo>
                    <a:pt x="253" y="0"/>
                    <a:pt x="1" y="221"/>
                    <a:pt x="1" y="504"/>
                  </a:cubicBezTo>
                  <a:lnTo>
                    <a:pt x="1" y="3655"/>
                  </a:lnTo>
                  <a:cubicBezTo>
                    <a:pt x="1" y="3655"/>
                    <a:pt x="1" y="3623"/>
                    <a:pt x="64" y="3623"/>
                  </a:cubicBezTo>
                  <a:cubicBezTo>
                    <a:pt x="284" y="3371"/>
                    <a:pt x="631" y="3182"/>
                    <a:pt x="1040" y="3056"/>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1"/>
            <p:cNvSpPr/>
            <p:nvPr/>
          </p:nvSpPr>
          <p:spPr>
            <a:xfrm>
              <a:off x="-27886375" y="3176075"/>
              <a:ext cx="26025" cy="91400"/>
            </a:xfrm>
            <a:custGeom>
              <a:avLst/>
              <a:gdLst/>
              <a:ahLst/>
              <a:cxnLst/>
              <a:rect l="l" t="t" r="r" b="b"/>
              <a:pathLst>
                <a:path w="1041" h="3656" extrusionOk="0">
                  <a:moveTo>
                    <a:pt x="536" y="1"/>
                  </a:moveTo>
                  <a:cubicBezTo>
                    <a:pt x="253" y="1"/>
                    <a:pt x="1" y="221"/>
                    <a:pt x="1" y="505"/>
                  </a:cubicBezTo>
                  <a:lnTo>
                    <a:pt x="1" y="3088"/>
                  </a:lnTo>
                  <a:cubicBezTo>
                    <a:pt x="379" y="3151"/>
                    <a:pt x="726" y="3340"/>
                    <a:pt x="1041" y="3655"/>
                  </a:cubicBezTo>
                  <a:lnTo>
                    <a:pt x="1041" y="505"/>
                  </a:lnTo>
                  <a:cubicBezTo>
                    <a:pt x="1041" y="253"/>
                    <a:pt x="789"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1"/>
            <p:cNvSpPr/>
            <p:nvPr/>
          </p:nvSpPr>
          <p:spPr>
            <a:xfrm>
              <a:off x="-28017900" y="3269025"/>
              <a:ext cx="161475" cy="133125"/>
            </a:xfrm>
            <a:custGeom>
              <a:avLst/>
              <a:gdLst/>
              <a:ahLst/>
              <a:cxnLst/>
              <a:rect l="l" t="t" r="r" b="b"/>
              <a:pathLst>
                <a:path w="6459" h="5325" extrusionOk="0">
                  <a:moveTo>
                    <a:pt x="1733" y="0"/>
                  </a:moveTo>
                  <a:cubicBezTo>
                    <a:pt x="1355" y="0"/>
                    <a:pt x="946" y="158"/>
                    <a:pt x="662" y="410"/>
                  </a:cubicBezTo>
                  <a:cubicBezTo>
                    <a:pt x="64" y="882"/>
                    <a:pt x="1" y="1639"/>
                    <a:pt x="347" y="2237"/>
                  </a:cubicBezTo>
                  <a:cubicBezTo>
                    <a:pt x="1324" y="2458"/>
                    <a:pt x="2048" y="3340"/>
                    <a:pt x="2174" y="4348"/>
                  </a:cubicBezTo>
                  <a:lnTo>
                    <a:pt x="3214" y="5325"/>
                  </a:lnTo>
                  <a:lnTo>
                    <a:pt x="4285" y="4348"/>
                  </a:lnTo>
                  <a:cubicBezTo>
                    <a:pt x="4380" y="3340"/>
                    <a:pt x="5073" y="2521"/>
                    <a:pt x="6113" y="2237"/>
                  </a:cubicBezTo>
                  <a:cubicBezTo>
                    <a:pt x="6459" y="1639"/>
                    <a:pt x="6333" y="882"/>
                    <a:pt x="5860" y="410"/>
                  </a:cubicBezTo>
                  <a:cubicBezTo>
                    <a:pt x="5577" y="158"/>
                    <a:pt x="5199" y="0"/>
                    <a:pt x="4789" y="0"/>
                  </a:cubicBezTo>
                  <a:cubicBezTo>
                    <a:pt x="4411" y="0"/>
                    <a:pt x="4002" y="158"/>
                    <a:pt x="3750" y="410"/>
                  </a:cubicBezTo>
                  <a:lnTo>
                    <a:pt x="3277" y="882"/>
                  </a:lnTo>
                  <a:lnTo>
                    <a:pt x="2805" y="410"/>
                  </a:lnTo>
                  <a:cubicBezTo>
                    <a:pt x="2521" y="158"/>
                    <a:pt x="2143"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1"/>
            <p:cNvSpPr/>
            <p:nvPr/>
          </p:nvSpPr>
          <p:spPr>
            <a:xfrm>
              <a:off x="-27930475" y="3269800"/>
              <a:ext cx="121325" cy="201650"/>
            </a:xfrm>
            <a:custGeom>
              <a:avLst/>
              <a:gdLst/>
              <a:ahLst/>
              <a:cxnLst/>
              <a:rect l="l" t="t" r="r" b="b"/>
              <a:pathLst>
                <a:path w="4853" h="8066" extrusionOk="0">
                  <a:moveTo>
                    <a:pt x="4506" y="1"/>
                  </a:moveTo>
                  <a:cubicBezTo>
                    <a:pt x="3876" y="1"/>
                    <a:pt x="3403" y="505"/>
                    <a:pt x="3403" y="1198"/>
                  </a:cubicBezTo>
                  <a:lnTo>
                    <a:pt x="3403" y="2395"/>
                  </a:lnTo>
                  <a:cubicBezTo>
                    <a:pt x="3403" y="2584"/>
                    <a:pt x="3246" y="2742"/>
                    <a:pt x="3025" y="2742"/>
                  </a:cubicBezTo>
                  <a:cubicBezTo>
                    <a:pt x="2679" y="2742"/>
                    <a:pt x="2363" y="2868"/>
                    <a:pt x="2080" y="3025"/>
                  </a:cubicBezTo>
                  <a:cubicBezTo>
                    <a:pt x="1702" y="3372"/>
                    <a:pt x="1418" y="3939"/>
                    <a:pt x="1418" y="4474"/>
                  </a:cubicBezTo>
                  <a:lnTo>
                    <a:pt x="1418" y="5231"/>
                  </a:lnTo>
                  <a:cubicBezTo>
                    <a:pt x="1418" y="5420"/>
                    <a:pt x="1261" y="5577"/>
                    <a:pt x="1072" y="5577"/>
                  </a:cubicBezTo>
                  <a:cubicBezTo>
                    <a:pt x="883" y="5577"/>
                    <a:pt x="725" y="5420"/>
                    <a:pt x="725" y="5231"/>
                  </a:cubicBezTo>
                  <a:lnTo>
                    <a:pt x="1" y="5892"/>
                  </a:lnTo>
                  <a:lnTo>
                    <a:pt x="1" y="8066"/>
                  </a:lnTo>
                  <a:lnTo>
                    <a:pt x="3813" y="8066"/>
                  </a:lnTo>
                  <a:cubicBezTo>
                    <a:pt x="4033" y="8066"/>
                    <a:pt x="4191" y="7908"/>
                    <a:pt x="4191" y="7719"/>
                  </a:cubicBezTo>
                  <a:cubicBezTo>
                    <a:pt x="4191" y="7530"/>
                    <a:pt x="4033" y="7373"/>
                    <a:pt x="3813" y="7373"/>
                  </a:cubicBezTo>
                  <a:lnTo>
                    <a:pt x="3466" y="7373"/>
                  </a:lnTo>
                  <a:lnTo>
                    <a:pt x="3466" y="6270"/>
                  </a:lnTo>
                  <a:cubicBezTo>
                    <a:pt x="3466" y="6176"/>
                    <a:pt x="3498" y="6050"/>
                    <a:pt x="3592" y="6018"/>
                  </a:cubicBezTo>
                  <a:lnTo>
                    <a:pt x="4128" y="5420"/>
                  </a:lnTo>
                  <a:cubicBezTo>
                    <a:pt x="4600" y="4947"/>
                    <a:pt x="4852" y="4380"/>
                    <a:pt x="4852" y="3687"/>
                  </a:cubicBezTo>
                  <a:lnTo>
                    <a:pt x="4852" y="347"/>
                  </a:ln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1"/>
            <p:cNvSpPr/>
            <p:nvPr/>
          </p:nvSpPr>
          <p:spPr>
            <a:xfrm>
              <a:off x="-28069875" y="3271375"/>
              <a:ext cx="122875" cy="200075"/>
            </a:xfrm>
            <a:custGeom>
              <a:avLst/>
              <a:gdLst/>
              <a:ahLst/>
              <a:cxnLst/>
              <a:rect l="l" t="t" r="r" b="b"/>
              <a:pathLst>
                <a:path w="4915" h="8003" extrusionOk="0">
                  <a:moveTo>
                    <a:pt x="347" y="1"/>
                  </a:moveTo>
                  <a:cubicBezTo>
                    <a:pt x="158" y="1"/>
                    <a:pt x="0" y="158"/>
                    <a:pt x="0" y="379"/>
                  </a:cubicBezTo>
                  <a:lnTo>
                    <a:pt x="0" y="3718"/>
                  </a:lnTo>
                  <a:cubicBezTo>
                    <a:pt x="0" y="4348"/>
                    <a:pt x="221" y="4979"/>
                    <a:pt x="693" y="5451"/>
                  </a:cubicBezTo>
                  <a:lnTo>
                    <a:pt x="1323" y="5955"/>
                  </a:lnTo>
                  <a:cubicBezTo>
                    <a:pt x="1418" y="6018"/>
                    <a:pt x="1449" y="6113"/>
                    <a:pt x="1449" y="6207"/>
                  </a:cubicBezTo>
                  <a:lnTo>
                    <a:pt x="1449" y="7310"/>
                  </a:lnTo>
                  <a:lnTo>
                    <a:pt x="1103" y="7310"/>
                  </a:lnTo>
                  <a:cubicBezTo>
                    <a:pt x="882" y="7310"/>
                    <a:pt x="725" y="7467"/>
                    <a:pt x="725" y="7656"/>
                  </a:cubicBezTo>
                  <a:cubicBezTo>
                    <a:pt x="725" y="7845"/>
                    <a:pt x="882" y="8003"/>
                    <a:pt x="1103" y="8003"/>
                  </a:cubicBezTo>
                  <a:lnTo>
                    <a:pt x="4915" y="8003"/>
                  </a:lnTo>
                  <a:lnTo>
                    <a:pt x="4915" y="5829"/>
                  </a:lnTo>
                  <a:lnTo>
                    <a:pt x="4190" y="5168"/>
                  </a:lnTo>
                  <a:cubicBezTo>
                    <a:pt x="4190" y="5357"/>
                    <a:pt x="4033" y="5514"/>
                    <a:pt x="3844" y="5514"/>
                  </a:cubicBezTo>
                  <a:cubicBezTo>
                    <a:pt x="3655" y="5514"/>
                    <a:pt x="3497" y="5357"/>
                    <a:pt x="3497" y="5168"/>
                  </a:cubicBezTo>
                  <a:lnTo>
                    <a:pt x="3497" y="4411"/>
                  </a:lnTo>
                  <a:cubicBezTo>
                    <a:pt x="3497" y="3876"/>
                    <a:pt x="3214" y="3372"/>
                    <a:pt x="2741" y="3057"/>
                  </a:cubicBezTo>
                  <a:cubicBezTo>
                    <a:pt x="2458" y="2899"/>
                    <a:pt x="2143" y="2773"/>
                    <a:pt x="1796" y="2773"/>
                  </a:cubicBezTo>
                  <a:cubicBezTo>
                    <a:pt x="1607" y="2773"/>
                    <a:pt x="1449" y="2616"/>
                    <a:pt x="1449" y="2427"/>
                  </a:cubicBezTo>
                  <a:lnTo>
                    <a:pt x="1449" y="1229"/>
                  </a:lnTo>
                  <a:cubicBezTo>
                    <a:pt x="1449" y="473"/>
                    <a:pt x="945"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55" name="Google Shape;6555;p71"/>
          <p:cNvSpPr/>
          <p:nvPr/>
        </p:nvSpPr>
        <p:spPr>
          <a:xfrm>
            <a:off x="5301578" y="1764235"/>
            <a:ext cx="352803" cy="350719"/>
          </a:xfrm>
          <a:custGeom>
            <a:avLst/>
            <a:gdLst/>
            <a:ahLst/>
            <a:cxnLst/>
            <a:rect l="l" t="t" r="r" b="b"/>
            <a:pathLst>
              <a:path w="11846" h="11776" extrusionOk="0">
                <a:moveTo>
                  <a:pt x="9074" y="2261"/>
                </a:moveTo>
                <a:lnTo>
                  <a:pt x="9546" y="2733"/>
                </a:lnTo>
                <a:lnTo>
                  <a:pt x="9011" y="3300"/>
                </a:lnTo>
                <a:lnTo>
                  <a:pt x="8538" y="2828"/>
                </a:lnTo>
                <a:lnTo>
                  <a:pt x="9074" y="2261"/>
                </a:lnTo>
                <a:close/>
                <a:moveTo>
                  <a:pt x="6333" y="3489"/>
                </a:moveTo>
                <a:lnTo>
                  <a:pt x="8286" y="5474"/>
                </a:lnTo>
                <a:lnTo>
                  <a:pt x="7782" y="5978"/>
                </a:lnTo>
                <a:lnTo>
                  <a:pt x="7026" y="5222"/>
                </a:lnTo>
                <a:cubicBezTo>
                  <a:pt x="6963" y="5159"/>
                  <a:pt x="6876" y="5128"/>
                  <a:pt x="6789" y="5128"/>
                </a:cubicBezTo>
                <a:cubicBezTo>
                  <a:pt x="6703" y="5128"/>
                  <a:pt x="6616" y="5159"/>
                  <a:pt x="6553" y="5222"/>
                </a:cubicBezTo>
                <a:cubicBezTo>
                  <a:pt x="6427" y="5348"/>
                  <a:pt x="6427" y="5569"/>
                  <a:pt x="6553" y="5695"/>
                </a:cubicBezTo>
                <a:lnTo>
                  <a:pt x="7309" y="6451"/>
                </a:lnTo>
                <a:lnTo>
                  <a:pt x="6837" y="6924"/>
                </a:lnTo>
                <a:lnTo>
                  <a:pt x="4883" y="4939"/>
                </a:lnTo>
                <a:lnTo>
                  <a:pt x="6333" y="3489"/>
                </a:lnTo>
                <a:close/>
                <a:moveTo>
                  <a:pt x="2647" y="8688"/>
                </a:moveTo>
                <a:lnTo>
                  <a:pt x="3119" y="9160"/>
                </a:lnTo>
                <a:lnTo>
                  <a:pt x="2899" y="9412"/>
                </a:lnTo>
                <a:cubicBezTo>
                  <a:pt x="2836" y="9460"/>
                  <a:pt x="2749" y="9483"/>
                  <a:pt x="2662" y="9483"/>
                </a:cubicBezTo>
                <a:cubicBezTo>
                  <a:pt x="2576" y="9483"/>
                  <a:pt x="2489" y="9460"/>
                  <a:pt x="2426" y="9412"/>
                </a:cubicBezTo>
                <a:cubicBezTo>
                  <a:pt x="2300" y="9286"/>
                  <a:pt x="2300" y="9034"/>
                  <a:pt x="2426" y="8940"/>
                </a:cubicBezTo>
                <a:lnTo>
                  <a:pt x="2647" y="8688"/>
                </a:lnTo>
                <a:close/>
                <a:moveTo>
                  <a:pt x="9294" y="0"/>
                </a:moveTo>
                <a:cubicBezTo>
                  <a:pt x="9026" y="0"/>
                  <a:pt x="8758" y="103"/>
                  <a:pt x="8569" y="308"/>
                </a:cubicBezTo>
                <a:cubicBezTo>
                  <a:pt x="8160" y="686"/>
                  <a:pt x="8097" y="1410"/>
                  <a:pt x="8538" y="1820"/>
                </a:cubicBezTo>
                <a:lnTo>
                  <a:pt x="8065" y="2292"/>
                </a:lnTo>
                <a:lnTo>
                  <a:pt x="7089" y="1316"/>
                </a:lnTo>
                <a:cubicBezTo>
                  <a:pt x="6884" y="1127"/>
                  <a:pt x="6616" y="1032"/>
                  <a:pt x="6348" y="1032"/>
                </a:cubicBezTo>
                <a:cubicBezTo>
                  <a:pt x="6081" y="1032"/>
                  <a:pt x="5813" y="1127"/>
                  <a:pt x="5608" y="1316"/>
                </a:cubicBezTo>
                <a:cubicBezTo>
                  <a:pt x="5230" y="1725"/>
                  <a:pt x="5230" y="2387"/>
                  <a:pt x="5608" y="2765"/>
                </a:cubicBezTo>
                <a:lnTo>
                  <a:pt x="5860" y="3017"/>
                </a:lnTo>
                <a:lnTo>
                  <a:pt x="2678" y="6199"/>
                </a:lnTo>
                <a:cubicBezTo>
                  <a:pt x="2142" y="6734"/>
                  <a:pt x="2048" y="7428"/>
                  <a:pt x="2268" y="8058"/>
                </a:cubicBezTo>
                <a:lnTo>
                  <a:pt x="1922" y="8404"/>
                </a:lnTo>
                <a:cubicBezTo>
                  <a:pt x="1607" y="8719"/>
                  <a:pt x="1512" y="9192"/>
                  <a:pt x="1733" y="9601"/>
                </a:cubicBezTo>
                <a:lnTo>
                  <a:pt x="95" y="11208"/>
                </a:lnTo>
                <a:cubicBezTo>
                  <a:pt x="0" y="11334"/>
                  <a:pt x="0" y="11555"/>
                  <a:pt x="95" y="11681"/>
                </a:cubicBezTo>
                <a:cubicBezTo>
                  <a:pt x="158" y="11744"/>
                  <a:pt x="252" y="11775"/>
                  <a:pt x="343" y="11775"/>
                </a:cubicBezTo>
                <a:cubicBezTo>
                  <a:pt x="433" y="11775"/>
                  <a:pt x="520" y="11744"/>
                  <a:pt x="567" y="11681"/>
                </a:cubicBezTo>
                <a:lnTo>
                  <a:pt x="2174" y="10074"/>
                </a:lnTo>
                <a:cubicBezTo>
                  <a:pt x="2318" y="10136"/>
                  <a:pt x="2465" y="10164"/>
                  <a:pt x="2609" y="10164"/>
                </a:cubicBezTo>
                <a:cubicBezTo>
                  <a:pt x="2904" y="10164"/>
                  <a:pt x="3180" y="10044"/>
                  <a:pt x="3371" y="9853"/>
                </a:cubicBezTo>
                <a:lnTo>
                  <a:pt x="3718" y="9507"/>
                </a:lnTo>
                <a:cubicBezTo>
                  <a:pt x="3930" y="9598"/>
                  <a:pt x="4148" y="9640"/>
                  <a:pt x="4363" y="9640"/>
                </a:cubicBezTo>
                <a:cubicBezTo>
                  <a:pt x="4818" y="9640"/>
                  <a:pt x="5255" y="9450"/>
                  <a:pt x="5576" y="9129"/>
                </a:cubicBezTo>
                <a:lnTo>
                  <a:pt x="5797" y="8877"/>
                </a:lnTo>
                <a:lnTo>
                  <a:pt x="4820" y="7900"/>
                </a:lnTo>
                <a:cubicBezTo>
                  <a:pt x="4694" y="7774"/>
                  <a:pt x="4694" y="7554"/>
                  <a:pt x="4820" y="7428"/>
                </a:cubicBezTo>
                <a:cubicBezTo>
                  <a:pt x="4883" y="7365"/>
                  <a:pt x="4970" y="7333"/>
                  <a:pt x="5057" y="7333"/>
                </a:cubicBezTo>
                <a:cubicBezTo>
                  <a:pt x="5143" y="7333"/>
                  <a:pt x="5230" y="7365"/>
                  <a:pt x="5293" y="7428"/>
                </a:cubicBezTo>
                <a:lnTo>
                  <a:pt x="6270" y="8404"/>
                </a:lnTo>
                <a:lnTo>
                  <a:pt x="8727" y="5978"/>
                </a:lnTo>
                <a:lnTo>
                  <a:pt x="8948" y="6199"/>
                </a:lnTo>
                <a:cubicBezTo>
                  <a:pt x="9152" y="6404"/>
                  <a:pt x="9420" y="6506"/>
                  <a:pt x="9688" y="6506"/>
                </a:cubicBezTo>
                <a:cubicBezTo>
                  <a:pt x="9956" y="6506"/>
                  <a:pt x="10223" y="6404"/>
                  <a:pt x="10428" y="6199"/>
                </a:cubicBezTo>
                <a:cubicBezTo>
                  <a:pt x="10806" y="5821"/>
                  <a:pt x="10806" y="5159"/>
                  <a:pt x="10428" y="4750"/>
                </a:cubicBezTo>
                <a:lnTo>
                  <a:pt x="9420" y="3773"/>
                </a:lnTo>
                <a:lnTo>
                  <a:pt x="9987" y="3206"/>
                </a:lnTo>
                <a:cubicBezTo>
                  <a:pt x="10176" y="3411"/>
                  <a:pt x="10444" y="3513"/>
                  <a:pt x="10712" y="3513"/>
                </a:cubicBezTo>
                <a:cubicBezTo>
                  <a:pt x="10980" y="3513"/>
                  <a:pt x="11247" y="3411"/>
                  <a:pt x="11436" y="3206"/>
                </a:cubicBezTo>
                <a:cubicBezTo>
                  <a:pt x="11846" y="2828"/>
                  <a:pt x="11846" y="2166"/>
                  <a:pt x="11436" y="1757"/>
                </a:cubicBezTo>
                <a:lnTo>
                  <a:pt x="10019" y="308"/>
                </a:lnTo>
                <a:cubicBezTo>
                  <a:pt x="9830" y="103"/>
                  <a:pt x="95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56" name="Google Shape;6556;p71"/>
          <p:cNvGrpSpPr/>
          <p:nvPr/>
        </p:nvGrpSpPr>
        <p:grpSpPr>
          <a:xfrm>
            <a:off x="5363423" y="2213733"/>
            <a:ext cx="228045" cy="351880"/>
            <a:chOff x="-28032075" y="3916450"/>
            <a:chExt cx="191425" cy="295375"/>
          </a:xfrm>
        </p:grpSpPr>
        <p:sp>
          <p:nvSpPr>
            <p:cNvPr id="6557" name="Google Shape;6557;p71"/>
            <p:cNvSpPr/>
            <p:nvPr/>
          </p:nvSpPr>
          <p:spPr>
            <a:xfrm>
              <a:off x="-27996625" y="3916450"/>
              <a:ext cx="120525" cy="51225"/>
            </a:xfrm>
            <a:custGeom>
              <a:avLst/>
              <a:gdLst/>
              <a:ahLst/>
              <a:cxnLst/>
              <a:rect l="l" t="t" r="r" b="b"/>
              <a:pathLst>
                <a:path w="4821" h="2049" extrusionOk="0">
                  <a:moveTo>
                    <a:pt x="1040" y="0"/>
                  </a:moveTo>
                  <a:cubicBezTo>
                    <a:pt x="441" y="0"/>
                    <a:pt x="0" y="473"/>
                    <a:pt x="0" y="1040"/>
                  </a:cubicBezTo>
                  <a:cubicBezTo>
                    <a:pt x="0" y="1607"/>
                    <a:pt x="473" y="2048"/>
                    <a:pt x="1040" y="2048"/>
                  </a:cubicBezTo>
                  <a:lnTo>
                    <a:pt x="3781" y="2048"/>
                  </a:lnTo>
                  <a:cubicBezTo>
                    <a:pt x="4379" y="2048"/>
                    <a:pt x="4820" y="1575"/>
                    <a:pt x="4820" y="1040"/>
                  </a:cubicBezTo>
                  <a:cubicBezTo>
                    <a:pt x="4820" y="441"/>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1"/>
            <p:cNvSpPr/>
            <p:nvPr/>
          </p:nvSpPr>
          <p:spPr>
            <a:xfrm>
              <a:off x="-28032075" y="4089975"/>
              <a:ext cx="191425" cy="121850"/>
            </a:xfrm>
            <a:custGeom>
              <a:avLst/>
              <a:gdLst/>
              <a:ahLst/>
              <a:cxnLst/>
              <a:rect l="l" t="t" r="r" b="b"/>
              <a:pathLst>
                <a:path w="7657" h="4874" extrusionOk="0">
                  <a:moveTo>
                    <a:pt x="1733" y="715"/>
                  </a:moveTo>
                  <a:cubicBezTo>
                    <a:pt x="1954" y="715"/>
                    <a:pt x="2111" y="872"/>
                    <a:pt x="2111" y="1061"/>
                  </a:cubicBezTo>
                  <a:cubicBezTo>
                    <a:pt x="2111" y="1250"/>
                    <a:pt x="1954" y="1408"/>
                    <a:pt x="1733" y="1408"/>
                  </a:cubicBezTo>
                  <a:cubicBezTo>
                    <a:pt x="1544" y="1408"/>
                    <a:pt x="1387" y="1250"/>
                    <a:pt x="1387" y="1061"/>
                  </a:cubicBezTo>
                  <a:cubicBezTo>
                    <a:pt x="1418" y="872"/>
                    <a:pt x="1576" y="715"/>
                    <a:pt x="1733" y="715"/>
                  </a:cubicBezTo>
                  <a:close/>
                  <a:moveTo>
                    <a:pt x="3151" y="1376"/>
                  </a:moveTo>
                  <a:cubicBezTo>
                    <a:pt x="3372" y="1376"/>
                    <a:pt x="3529" y="1534"/>
                    <a:pt x="3529" y="1723"/>
                  </a:cubicBezTo>
                  <a:cubicBezTo>
                    <a:pt x="3529" y="1912"/>
                    <a:pt x="3372" y="2070"/>
                    <a:pt x="3151" y="2070"/>
                  </a:cubicBezTo>
                  <a:cubicBezTo>
                    <a:pt x="2962" y="2070"/>
                    <a:pt x="2804" y="1912"/>
                    <a:pt x="2804" y="1723"/>
                  </a:cubicBezTo>
                  <a:cubicBezTo>
                    <a:pt x="2804" y="1534"/>
                    <a:pt x="2962" y="1376"/>
                    <a:pt x="3151" y="1376"/>
                  </a:cubicBezTo>
                  <a:close/>
                  <a:moveTo>
                    <a:pt x="5199" y="2070"/>
                  </a:moveTo>
                  <a:cubicBezTo>
                    <a:pt x="5419" y="2070"/>
                    <a:pt x="5577" y="2227"/>
                    <a:pt x="5577" y="2448"/>
                  </a:cubicBezTo>
                  <a:cubicBezTo>
                    <a:pt x="5577" y="2637"/>
                    <a:pt x="5419" y="2794"/>
                    <a:pt x="5199" y="2794"/>
                  </a:cubicBezTo>
                  <a:cubicBezTo>
                    <a:pt x="5010" y="2794"/>
                    <a:pt x="4852" y="2637"/>
                    <a:pt x="4852" y="2448"/>
                  </a:cubicBezTo>
                  <a:cubicBezTo>
                    <a:pt x="4884" y="2227"/>
                    <a:pt x="5041" y="2070"/>
                    <a:pt x="5199" y="2070"/>
                  </a:cubicBezTo>
                  <a:close/>
                  <a:moveTo>
                    <a:pt x="3151" y="2794"/>
                  </a:moveTo>
                  <a:cubicBezTo>
                    <a:pt x="3372" y="2794"/>
                    <a:pt x="3529" y="2952"/>
                    <a:pt x="3529" y="3141"/>
                  </a:cubicBezTo>
                  <a:cubicBezTo>
                    <a:pt x="3529" y="3330"/>
                    <a:pt x="3372" y="3487"/>
                    <a:pt x="3151" y="3487"/>
                  </a:cubicBezTo>
                  <a:cubicBezTo>
                    <a:pt x="2962" y="3487"/>
                    <a:pt x="2804" y="3330"/>
                    <a:pt x="2804" y="3141"/>
                  </a:cubicBezTo>
                  <a:cubicBezTo>
                    <a:pt x="2804" y="2952"/>
                    <a:pt x="2962" y="2794"/>
                    <a:pt x="3151" y="2794"/>
                  </a:cubicBezTo>
                  <a:close/>
                  <a:moveTo>
                    <a:pt x="1748" y="1"/>
                  </a:moveTo>
                  <a:cubicBezTo>
                    <a:pt x="1181" y="1"/>
                    <a:pt x="615" y="166"/>
                    <a:pt x="63" y="494"/>
                  </a:cubicBezTo>
                  <a:cubicBezTo>
                    <a:pt x="63" y="715"/>
                    <a:pt x="0" y="872"/>
                    <a:pt x="0" y="1061"/>
                  </a:cubicBezTo>
                  <a:cubicBezTo>
                    <a:pt x="0" y="2196"/>
                    <a:pt x="536" y="3298"/>
                    <a:pt x="1418" y="4023"/>
                  </a:cubicBezTo>
                  <a:cubicBezTo>
                    <a:pt x="2111" y="4558"/>
                    <a:pt x="2962" y="4874"/>
                    <a:pt x="3844" y="4874"/>
                  </a:cubicBezTo>
                  <a:cubicBezTo>
                    <a:pt x="4096" y="4874"/>
                    <a:pt x="4380" y="4842"/>
                    <a:pt x="4663" y="4811"/>
                  </a:cubicBezTo>
                  <a:cubicBezTo>
                    <a:pt x="6144" y="4495"/>
                    <a:pt x="7341" y="3267"/>
                    <a:pt x="7625" y="1723"/>
                  </a:cubicBezTo>
                  <a:cubicBezTo>
                    <a:pt x="7656" y="1439"/>
                    <a:pt x="7656" y="1219"/>
                    <a:pt x="7656" y="935"/>
                  </a:cubicBezTo>
                  <a:lnTo>
                    <a:pt x="7656" y="935"/>
                  </a:lnTo>
                  <a:cubicBezTo>
                    <a:pt x="7033" y="1235"/>
                    <a:pt x="6444" y="1354"/>
                    <a:pt x="5904" y="1354"/>
                  </a:cubicBezTo>
                  <a:cubicBezTo>
                    <a:pt x="4969" y="1354"/>
                    <a:pt x="4183" y="1000"/>
                    <a:pt x="3624" y="620"/>
                  </a:cubicBezTo>
                  <a:cubicBezTo>
                    <a:pt x="3010" y="206"/>
                    <a:pt x="2378" y="1"/>
                    <a:pt x="17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1"/>
            <p:cNvSpPr/>
            <p:nvPr/>
          </p:nvSpPr>
          <p:spPr>
            <a:xfrm>
              <a:off x="-28024975" y="3985750"/>
              <a:ext cx="181950" cy="121975"/>
            </a:xfrm>
            <a:custGeom>
              <a:avLst/>
              <a:gdLst/>
              <a:ahLst/>
              <a:cxnLst/>
              <a:rect l="l" t="t" r="r" b="b"/>
              <a:pathLst>
                <a:path w="7278" h="4879" extrusionOk="0">
                  <a:moveTo>
                    <a:pt x="1827" y="1"/>
                  </a:moveTo>
                  <a:lnTo>
                    <a:pt x="1827" y="1639"/>
                  </a:lnTo>
                  <a:cubicBezTo>
                    <a:pt x="1827" y="1765"/>
                    <a:pt x="1733" y="1891"/>
                    <a:pt x="1607" y="1922"/>
                  </a:cubicBezTo>
                  <a:cubicBezTo>
                    <a:pt x="914" y="2363"/>
                    <a:pt x="315" y="3025"/>
                    <a:pt x="0" y="3813"/>
                  </a:cubicBezTo>
                  <a:cubicBezTo>
                    <a:pt x="492" y="3611"/>
                    <a:pt x="988" y="3505"/>
                    <a:pt x="1488" y="3505"/>
                  </a:cubicBezTo>
                  <a:cubicBezTo>
                    <a:pt x="2237" y="3505"/>
                    <a:pt x="2993" y="3743"/>
                    <a:pt x="3749" y="4254"/>
                  </a:cubicBezTo>
                  <a:cubicBezTo>
                    <a:pt x="4370" y="4673"/>
                    <a:pt x="5000" y="4878"/>
                    <a:pt x="5629" y="4878"/>
                  </a:cubicBezTo>
                  <a:cubicBezTo>
                    <a:pt x="6181" y="4878"/>
                    <a:pt x="6733" y="4721"/>
                    <a:pt x="7278" y="4411"/>
                  </a:cubicBezTo>
                  <a:cubicBezTo>
                    <a:pt x="7057" y="3372"/>
                    <a:pt x="6427" y="2427"/>
                    <a:pt x="5450" y="1922"/>
                  </a:cubicBezTo>
                  <a:cubicBezTo>
                    <a:pt x="5356" y="1859"/>
                    <a:pt x="5293" y="1765"/>
                    <a:pt x="5293" y="1639"/>
                  </a:cubicBezTo>
                  <a:lnTo>
                    <a:pt x="5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0" name="Google Shape;6560;p71"/>
          <p:cNvGrpSpPr/>
          <p:nvPr/>
        </p:nvGrpSpPr>
        <p:grpSpPr>
          <a:xfrm>
            <a:off x="7528769" y="1306484"/>
            <a:ext cx="352833" cy="352833"/>
            <a:chOff x="-26201650" y="3176075"/>
            <a:chExt cx="296175" cy="296175"/>
          </a:xfrm>
        </p:grpSpPr>
        <p:sp>
          <p:nvSpPr>
            <p:cNvPr id="6561" name="Google Shape;6561;p71"/>
            <p:cNvSpPr/>
            <p:nvPr/>
          </p:nvSpPr>
          <p:spPr>
            <a:xfrm>
              <a:off x="-26082700" y="3176075"/>
              <a:ext cx="51200" cy="226875"/>
            </a:xfrm>
            <a:custGeom>
              <a:avLst/>
              <a:gdLst/>
              <a:ahLst/>
              <a:cxnLst/>
              <a:rect l="l" t="t" r="r" b="b"/>
              <a:pathLst>
                <a:path w="2048" h="9075" extrusionOk="0">
                  <a:moveTo>
                    <a:pt x="1071" y="1"/>
                  </a:moveTo>
                  <a:cubicBezTo>
                    <a:pt x="882" y="1"/>
                    <a:pt x="725" y="158"/>
                    <a:pt x="725" y="347"/>
                  </a:cubicBezTo>
                  <a:lnTo>
                    <a:pt x="725" y="6554"/>
                  </a:lnTo>
                  <a:cubicBezTo>
                    <a:pt x="473" y="6900"/>
                    <a:pt x="0" y="7656"/>
                    <a:pt x="0" y="8034"/>
                  </a:cubicBezTo>
                  <a:cubicBezTo>
                    <a:pt x="0" y="8633"/>
                    <a:pt x="473" y="9074"/>
                    <a:pt x="1040" y="9074"/>
                  </a:cubicBezTo>
                  <a:cubicBezTo>
                    <a:pt x="1638" y="9074"/>
                    <a:pt x="2048" y="8602"/>
                    <a:pt x="2048" y="8034"/>
                  </a:cubicBezTo>
                  <a:cubicBezTo>
                    <a:pt x="2048" y="7656"/>
                    <a:pt x="1638" y="6900"/>
                    <a:pt x="1355" y="6554"/>
                  </a:cubicBezTo>
                  <a:lnTo>
                    <a:pt x="1355" y="347"/>
                  </a:lnTo>
                  <a:cubicBezTo>
                    <a:pt x="1386"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1"/>
            <p:cNvSpPr/>
            <p:nvPr/>
          </p:nvSpPr>
          <p:spPr>
            <a:xfrm>
              <a:off x="-26201650" y="3317075"/>
              <a:ext cx="296175" cy="155175"/>
            </a:xfrm>
            <a:custGeom>
              <a:avLst/>
              <a:gdLst/>
              <a:ahLst/>
              <a:cxnLst/>
              <a:rect l="l" t="t" r="r" b="b"/>
              <a:pathLst>
                <a:path w="11847" h="6207" extrusionOk="0">
                  <a:moveTo>
                    <a:pt x="3939" y="662"/>
                  </a:moveTo>
                  <a:cubicBezTo>
                    <a:pt x="3876" y="914"/>
                    <a:pt x="3750" y="1134"/>
                    <a:pt x="3624" y="1323"/>
                  </a:cubicBezTo>
                  <a:cubicBezTo>
                    <a:pt x="3624" y="1386"/>
                    <a:pt x="3593" y="1418"/>
                    <a:pt x="3593" y="1481"/>
                  </a:cubicBezTo>
                  <a:cubicBezTo>
                    <a:pt x="3277" y="1292"/>
                    <a:pt x="2836" y="1229"/>
                    <a:pt x="2490" y="1229"/>
                  </a:cubicBezTo>
                  <a:cubicBezTo>
                    <a:pt x="1986" y="1229"/>
                    <a:pt x="1293" y="1386"/>
                    <a:pt x="1041" y="1859"/>
                  </a:cubicBezTo>
                  <a:cubicBezTo>
                    <a:pt x="915" y="2048"/>
                    <a:pt x="757" y="2111"/>
                    <a:pt x="568" y="2111"/>
                  </a:cubicBezTo>
                  <a:lnTo>
                    <a:pt x="568" y="1008"/>
                  </a:lnTo>
                  <a:cubicBezTo>
                    <a:pt x="568" y="819"/>
                    <a:pt x="726" y="662"/>
                    <a:pt x="915" y="662"/>
                  </a:cubicBezTo>
                  <a:close/>
                  <a:moveTo>
                    <a:pt x="10681" y="662"/>
                  </a:moveTo>
                  <a:cubicBezTo>
                    <a:pt x="10870" y="662"/>
                    <a:pt x="11028" y="819"/>
                    <a:pt x="11028" y="1008"/>
                  </a:cubicBezTo>
                  <a:lnTo>
                    <a:pt x="11028" y="2111"/>
                  </a:lnTo>
                  <a:cubicBezTo>
                    <a:pt x="10870" y="2111"/>
                    <a:pt x="10681" y="2048"/>
                    <a:pt x="10555" y="1859"/>
                  </a:cubicBezTo>
                  <a:cubicBezTo>
                    <a:pt x="10335" y="1449"/>
                    <a:pt x="9894" y="1229"/>
                    <a:pt x="9452" y="1229"/>
                  </a:cubicBezTo>
                  <a:cubicBezTo>
                    <a:pt x="9011" y="1229"/>
                    <a:pt x="8602" y="1449"/>
                    <a:pt x="8350" y="1859"/>
                  </a:cubicBezTo>
                  <a:cubicBezTo>
                    <a:pt x="8318" y="1922"/>
                    <a:pt x="8224" y="2016"/>
                    <a:pt x="8192" y="2048"/>
                  </a:cubicBezTo>
                  <a:cubicBezTo>
                    <a:pt x="8161" y="1733"/>
                    <a:pt x="8003" y="1292"/>
                    <a:pt x="7657" y="662"/>
                  </a:cubicBezTo>
                  <a:close/>
                  <a:moveTo>
                    <a:pt x="2332" y="2741"/>
                  </a:moveTo>
                  <a:cubicBezTo>
                    <a:pt x="2521" y="2741"/>
                    <a:pt x="2679" y="2899"/>
                    <a:pt x="2679" y="3119"/>
                  </a:cubicBezTo>
                  <a:cubicBezTo>
                    <a:pt x="2679" y="3308"/>
                    <a:pt x="2521" y="3466"/>
                    <a:pt x="2332" y="3466"/>
                  </a:cubicBezTo>
                  <a:cubicBezTo>
                    <a:pt x="2143" y="3466"/>
                    <a:pt x="1986" y="3308"/>
                    <a:pt x="1986" y="3119"/>
                  </a:cubicBezTo>
                  <a:cubicBezTo>
                    <a:pt x="1986" y="2899"/>
                    <a:pt x="2143" y="2741"/>
                    <a:pt x="2332" y="2741"/>
                  </a:cubicBezTo>
                  <a:close/>
                  <a:moveTo>
                    <a:pt x="9295" y="2741"/>
                  </a:moveTo>
                  <a:cubicBezTo>
                    <a:pt x="9484" y="2741"/>
                    <a:pt x="9641" y="2899"/>
                    <a:pt x="9641" y="3119"/>
                  </a:cubicBezTo>
                  <a:cubicBezTo>
                    <a:pt x="9641" y="3308"/>
                    <a:pt x="9484" y="3466"/>
                    <a:pt x="9295" y="3466"/>
                  </a:cubicBezTo>
                  <a:cubicBezTo>
                    <a:pt x="9106" y="3466"/>
                    <a:pt x="8948" y="3308"/>
                    <a:pt x="8948" y="3119"/>
                  </a:cubicBezTo>
                  <a:cubicBezTo>
                    <a:pt x="8948" y="2899"/>
                    <a:pt x="9106" y="2741"/>
                    <a:pt x="9295" y="2741"/>
                  </a:cubicBezTo>
                  <a:close/>
                  <a:moveTo>
                    <a:pt x="1608" y="4127"/>
                  </a:moveTo>
                  <a:cubicBezTo>
                    <a:pt x="1828" y="4127"/>
                    <a:pt x="1986" y="4285"/>
                    <a:pt x="1986" y="4474"/>
                  </a:cubicBezTo>
                  <a:cubicBezTo>
                    <a:pt x="1986" y="4694"/>
                    <a:pt x="1828" y="4852"/>
                    <a:pt x="1608" y="4852"/>
                  </a:cubicBezTo>
                  <a:cubicBezTo>
                    <a:pt x="1419" y="4852"/>
                    <a:pt x="1261" y="4694"/>
                    <a:pt x="1261" y="4474"/>
                  </a:cubicBezTo>
                  <a:cubicBezTo>
                    <a:pt x="1261" y="4285"/>
                    <a:pt x="1419" y="4127"/>
                    <a:pt x="1608" y="4127"/>
                  </a:cubicBezTo>
                  <a:close/>
                  <a:moveTo>
                    <a:pt x="3025" y="4127"/>
                  </a:moveTo>
                  <a:cubicBezTo>
                    <a:pt x="3246" y="4127"/>
                    <a:pt x="3404" y="4285"/>
                    <a:pt x="3404" y="4474"/>
                  </a:cubicBezTo>
                  <a:cubicBezTo>
                    <a:pt x="3404" y="4694"/>
                    <a:pt x="3183" y="4852"/>
                    <a:pt x="3025" y="4852"/>
                  </a:cubicBezTo>
                  <a:cubicBezTo>
                    <a:pt x="2836" y="4852"/>
                    <a:pt x="2679" y="4694"/>
                    <a:pt x="2679" y="4474"/>
                  </a:cubicBezTo>
                  <a:cubicBezTo>
                    <a:pt x="2679" y="4285"/>
                    <a:pt x="2836" y="4127"/>
                    <a:pt x="3025" y="4127"/>
                  </a:cubicBezTo>
                  <a:close/>
                  <a:moveTo>
                    <a:pt x="8602" y="4127"/>
                  </a:moveTo>
                  <a:cubicBezTo>
                    <a:pt x="8791" y="4127"/>
                    <a:pt x="8948" y="4285"/>
                    <a:pt x="8948" y="4474"/>
                  </a:cubicBezTo>
                  <a:cubicBezTo>
                    <a:pt x="8948" y="4694"/>
                    <a:pt x="8791" y="4852"/>
                    <a:pt x="8602" y="4852"/>
                  </a:cubicBezTo>
                  <a:cubicBezTo>
                    <a:pt x="8381" y="4852"/>
                    <a:pt x="8224" y="4694"/>
                    <a:pt x="8224" y="4474"/>
                  </a:cubicBezTo>
                  <a:cubicBezTo>
                    <a:pt x="8224" y="4285"/>
                    <a:pt x="8381" y="4127"/>
                    <a:pt x="8602" y="4127"/>
                  </a:cubicBezTo>
                  <a:close/>
                  <a:moveTo>
                    <a:pt x="9957" y="4127"/>
                  </a:moveTo>
                  <a:cubicBezTo>
                    <a:pt x="10177" y="4127"/>
                    <a:pt x="10335" y="4285"/>
                    <a:pt x="10335" y="4474"/>
                  </a:cubicBezTo>
                  <a:cubicBezTo>
                    <a:pt x="10335" y="4694"/>
                    <a:pt x="10177" y="4852"/>
                    <a:pt x="9957" y="4852"/>
                  </a:cubicBezTo>
                  <a:cubicBezTo>
                    <a:pt x="9768" y="4852"/>
                    <a:pt x="9610" y="4694"/>
                    <a:pt x="9610" y="4474"/>
                  </a:cubicBezTo>
                  <a:cubicBezTo>
                    <a:pt x="9610" y="4285"/>
                    <a:pt x="9768" y="4127"/>
                    <a:pt x="9957" y="4127"/>
                  </a:cubicBezTo>
                  <a:close/>
                  <a:moveTo>
                    <a:pt x="1041" y="0"/>
                  </a:moveTo>
                  <a:cubicBezTo>
                    <a:pt x="442" y="0"/>
                    <a:pt x="1" y="473"/>
                    <a:pt x="1" y="1008"/>
                  </a:cubicBezTo>
                  <a:lnTo>
                    <a:pt x="1" y="5860"/>
                  </a:lnTo>
                  <a:cubicBezTo>
                    <a:pt x="1" y="6049"/>
                    <a:pt x="159" y="6207"/>
                    <a:pt x="348" y="6207"/>
                  </a:cubicBezTo>
                  <a:lnTo>
                    <a:pt x="11500" y="6207"/>
                  </a:lnTo>
                  <a:cubicBezTo>
                    <a:pt x="11689" y="6207"/>
                    <a:pt x="11847" y="6049"/>
                    <a:pt x="11847" y="5860"/>
                  </a:cubicBezTo>
                  <a:lnTo>
                    <a:pt x="11847" y="1008"/>
                  </a:lnTo>
                  <a:cubicBezTo>
                    <a:pt x="11752" y="441"/>
                    <a:pt x="11280" y="0"/>
                    <a:pt x="10713" y="0"/>
                  </a:cubicBezTo>
                  <a:lnTo>
                    <a:pt x="7058" y="0"/>
                  </a:lnTo>
                  <a:cubicBezTo>
                    <a:pt x="6775" y="0"/>
                    <a:pt x="6617" y="315"/>
                    <a:pt x="6775" y="536"/>
                  </a:cubicBezTo>
                  <a:cubicBezTo>
                    <a:pt x="7342" y="1323"/>
                    <a:pt x="7594" y="1953"/>
                    <a:pt x="7594" y="2426"/>
                  </a:cubicBezTo>
                  <a:cubicBezTo>
                    <a:pt x="7594" y="2899"/>
                    <a:pt x="7405" y="3371"/>
                    <a:pt x="7027" y="3749"/>
                  </a:cubicBezTo>
                  <a:cubicBezTo>
                    <a:pt x="6686" y="4033"/>
                    <a:pt x="6243" y="4163"/>
                    <a:pt x="5813" y="4163"/>
                  </a:cubicBezTo>
                  <a:cubicBezTo>
                    <a:pt x="5766" y="4163"/>
                    <a:pt x="5719" y="4162"/>
                    <a:pt x="5672" y="4159"/>
                  </a:cubicBezTo>
                  <a:cubicBezTo>
                    <a:pt x="5168" y="4127"/>
                    <a:pt x="4695" y="3812"/>
                    <a:pt x="4443" y="3340"/>
                  </a:cubicBezTo>
                  <a:cubicBezTo>
                    <a:pt x="4128" y="2835"/>
                    <a:pt x="4097" y="2205"/>
                    <a:pt x="4349" y="1638"/>
                  </a:cubicBezTo>
                  <a:cubicBezTo>
                    <a:pt x="4506" y="1323"/>
                    <a:pt x="4695" y="945"/>
                    <a:pt x="4979" y="536"/>
                  </a:cubicBezTo>
                  <a:cubicBezTo>
                    <a:pt x="5136" y="315"/>
                    <a:pt x="4979" y="0"/>
                    <a:pt x="4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3" name="Google Shape;6563;p71"/>
          <p:cNvGrpSpPr/>
          <p:nvPr/>
        </p:nvGrpSpPr>
        <p:grpSpPr>
          <a:xfrm>
            <a:off x="7528293" y="1763705"/>
            <a:ext cx="353786" cy="351880"/>
            <a:chOff x="-26204800" y="3547050"/>
            <a:chExt cx="296975" cy="295375"/>
          </a:xfrm>
        </p:grpSpPr>
        <p:sp>
          <p:nvSpPr>
            <p:cNvPr id="6564" name="Google Shape;6564;p71"/>
            <p:cNvSpPr/>
            <p:nvPr/>
          </p:nvSpPr>
          <p:spPr>
            <a:xfrm>
              <a:off x="-26204000" y="3669125"/>
              <a:ext cx="296175" cy="173300"/>
            </a:xfrm>
            <a:custGeom>
              <a:avLst/>
              <a:gdLst/>
              <a:ahLst/>
              <a:cxnLst/>
              <a:rect l="l" t="t" r="r" b="b"/>
              <a:pathLst>
                <a:path w="11847" h="6932" extrusionOk="0">
                  <a:moveTo>
                    <a:pt x="7656" y="3466"/>
                  </a:moveTo>
                  <a:lnTo>
                    <a:pt x="7656" y="4852"/>
                  </a:lnTo>
                  <a:lnTo>
                    <a:pt x="6963" y="4852"/>
                  </a:lnTo>
                  <a:lnTo>
                    <a:pt x="6963" y="3466"/>
                  </a:lnTo>
                  <a:close/>
                  <a:moveTo>
                    <a:pt x="9074" y="3466"/>
                  </a:moveTo>
                  <a:lnTo>
                    <a:pt x="9074" y="4852"/>
                  </a:lnTo>
                  <a:lnTo>
                    <a:pt x="8381" y="4852"/>
                  </a:lnTo>
                  <a:lnTo>
                    <a:pt x="8381" y="3466"/>
                  </a:lnTo>
                  <a:close/>
                  <a:moveTo>
                    <a:pt x="10460" y="3435"/>
                  </a:moveTo>
                  <a:lnTo>
                    <a:pt x="10460" y="4852"/>
                  </a:lnTo>
                  <a:lnTo>
                    <a:pt x="9735" y="4852"/>
                  </a:lnTo>
                  <a:lnTo>
                    <a:pt x="9735" y="3466"/>
                  </a:lnTo>
                  <a:lnTo>
                    <a:pt x="10114" y="3466"/>
                  </a:lnTo>
                  <a:cubicBezTo>
                    <a:pt x="10208" y="3466"/>
                    <a:pt x="10334" y="3466"/>
                    <a:pt x="10460" y="3435"/>
                  </a:cubicBezTo>
                  <a:close/>
                  <a:moveTo>
                    <a:pt x="10114" y="1"/>
                  </a:moveTo>
                  <a:cubicBezTo>
                    <a:pt x="9515" y="1"/>
                    <a:pt x="9042" y="442"/>
                    <a:pt x="8633" y="788"/>
                  </a:cubicBezTo>
                  <a:cubicBezTo>
                    <a:pt x="8318" y="1103"/>
                    <a:pt x="8034" y="1387"/>
                    <a:pt x="7656" y="1387"/>
                  </a:cubicBezTo>
                  <a:cubicBezTo>
                    <a:pt x="7404" y="1387"/>
                    <a:pt x="7121" y="1229"/>
                    <a:pt x="7026" y="946"/>
                  </a:cubicBezTo>
                  <a:cubicBezTo>
                    <a:pt x="6974" y="815"/>
                    <a:pt x="6855" y="749"/>
                    <a:pt x="6708" y="749"/>
                  </a:cubicBezTo>
                  <a:cubicBezTo>
                    <a:pt x="6679" y="749"/>
                    <a:pt x="6648" y="752"/>
                    <a:pt x="6617" y="757"/>
                  </a:cubicBezTo>
                  <a:cubicBezTo>
                    <a:pt x="6018" y="914"/>
                    <a:pt x="5577" y="1481"/>
                    <a:pt x="5577" y="2080"/>
                  </a:cubicBezTo>
                  <a:cubicBezTo>
                    <a:pt x="5577" y="2616"/>
                    <a:pt x="5860" y="3025"/>
                    <a:pt x="6301" y="3277"/>
                  </a:cubicBezTo>
                  <a:lnTo>
                    <a:pt x="6301" y="4758"/>
                  </a:lnTo>
                  <a:cubicBezTo>
                    <a:pt x="6238" y="4758"/>
                    <a:pt x="6207" y="4726"/>
                    <a:pt x="6144" y="4726"/>
                  </a:cubicBezTo>
                  <a:lnTo>
                    <a:pt x="4443" y="3813"/>
                  </a:lnTo>
                  <a:cubicBezTo>
                    <a:pt x="4002" y="3592"/>
                    <a:pt x="3498" y="3466"/>
                    <a:pt x="2993" y="3466"/>
                  </a:cubicBezTo>
                  <a:lnTo>
                    <a:pt x="347" y="3466"/>
                  </a:lnTo>
                  <a:cubicBezTo>
                    <a:pt x="158" y="3466"/>
                    <a:pt x="0" y="3624"/>
                    <a:pt x="0" y="3813"/>
                  </a:cubicBezTo>
                  <a:lnTo>
                    <a:pt x="0" y="5199"/>
                  </a:lnTo>
                  <a:cubicBezTo>
                    <a:pt x="0" y="5388"/>
                    <a:pt x="158" y="5546"/>
                    <a:pt x="347" y="5546"/>
                  </a:cubicBezTo>
                  <a:lnTo>
                    <a:pt x="2993" y="5546"/>
                  </a:lnTo>
                  <a:cubicBezTo>
                    <a:pt x="3371" y="5546"/>
                    <a:pt x="3781" y="5672"/>
                    <a:pt x="4128" y="5829"/>
                  </a:cubicBezTo>
                  <a:lnTo>
                    <a:pt x="5829" y="6743"/>
                  </a:lnTo>
                  <a:cubicBezTo>
                    <a:pt x="6049" y="6869"/>
                    <a:pt x="6364" y="6932"/>
                    <a:pt x="6648" y="6932"/>
                  </a:cubicBezTo>
                  <a:lnTo>
                    <a:pt x="10807" y="6932"/>
                  </a:lnTo>
                  <a:cubicBezTo>
                    <a:pt x="11405" y="6932"/>
                    <a:pt x="11846" y="6459"/>
                    <a:pt x="11846" y="5924"/>
                  </a:cubicBezTo>
                  <a:cubicBezTo>
                    <a:pt x="11846" y="5483"/>
                    <a:pt x="11563" y="5073"/>
                    <a:pt x="11122" y="4915"/>
                  </a:cubicBezTo>
                  <a:lnTo>
                    <a:pt x="11122" y="3120"/>
                  </a:lnTo>
                  <a:cubicBezTo>
                    <a:pt x="11563" y="2805"/>
                    <a:pt x="11846" y="2301"/>
                    <a:pt x="11846" y="1733"/>
                  </a:cubicBezTo>
                  <a:cubicBezTo>
                    <a:pt x="11846" y="788"/>
                    <a:pt x="11059" y="1"/>
                    <a:pt x="101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1"/>
            <p:cNvSpPr/>
            <p:nvPr/>
          </p:nvSpPr>
          <p:spPr>
            <a:xfrm>
              <a:off x="-26204800" y="3547050"/>
              <a:ext cx="296975" cy="122100"/>
            </a:xfrm>
            <a:custGeom>
              <a:avLst/>
              <a:gdLst/>
              <a:ahLst/>
              <a:cxnLst/>
              <a:rect l="l" t="t" r="r" b="b"/>
              <a:pathLst>
                <a:path w="11879" h="4884" extrusionOk="0">
                  <a:moveTo>
                    <a:pt x="10839" y="1702"/>
                  </a:moveTo>
                  <a:cubicBezTo>
                    <a:pt x="11028" y="1702"/>
                    <a:pt x="11185" y="1859"/>
                    <a:pt x="11185" y="2048"/>
                  </a:cubicBezTo>
                  <a:cubicBezTo>
                    <a:pt x="11154" y="2269"/>
                    <a:pt x="10996" y="2426"/>
                    <a:pt x="10839" y="2426"/>
                  </a:cubicBezTo>
                  <a:lnTo>
                    <a:pt x="10492" y="2426"/>
                  </a:lnTo>
                  <a:lnTo>
                    <a:pt x="10492" y="1702"/>
                  </a:lnTo>
                  <a:close/>
                  <a:moveTo>
                    <a:pt x="726" y="725"/>
                  </a:moveTo>
                  <a:lnTo>
                    <a:pt x="1419" y="757"/>
                  </a:lnTo>
                  <a:lnTo>
                    <a:pt x="1419" y="4002"/>
                  </a:lnTo>
                  <a:lnTo>
                    <a:pt x="726" y="4096"/>
                  </a:lnTo>
                  <a:lnTo>
                    <a:pt x="726" y="725"/>
                  </a:lnTo>
                  <a:close/>
                  <a:moveTo>
                    <a:pt x="379" y="0"/>
                  </a:moveTo>
                  <a:cubicBezTo>
                    <a:pt x="158" y="0"/>
                    <a:pt x="1" y="158"/>
                    <a:pt x="1" y="347"/>
                  </a:cubicBezTo>
                  <a:lnTo>
                    <a:pt x="1" y="4537"/>
                  </a:lnTo>
                  <a:cubicBezTo>
                    <a:pt x="1" y="4726"/>
                    <a:pt x="221" y="4884"/>
                    <a:pt x="411" y="4884"/>
                  </a:cubicBezTo>
                  <a:lnTo>
                    <a:pt x="9578" y="3592"/>
                  </a:lnTo>
                  <a:cubicBezTo>
                    <a:pt x="9862" y="3561"/>
                    <a:pt x="10083" y="3403"/>
                    <a:pt x="10240" y="3151"/>
                  </a:cubicBezTo>
                  <a:lnTo>
                    <a:pt x="10807" y="3151"/>
                  </a:lnTo>
                  <a:cubicBezTo>
                    <a:pt x="11406" y="3151"/>
                    <a:pt x="11815" y="2678"/>
                    <a:pt x="11815" y="2143"/>
                  </a:cubicBezTo>
                  <a:cubicBezTo>
                    <a:pt x="11878" y="1513"/>
                    <a:pt x="11406" y="1040"/>
                    <a:pt x="10839" y="1040"/>
                  </a:cubicBezTo>
                  <a:lnTo>
                    <a:pt x="10240" y="1040"/>
                  </a:lnTo>
                  <a:cubicBezTo>
                    <a:pt x="10083" y="788"/>
                    <a:pt x="9831" y="694"/>
                    <a:pt x="9515" y="631"/>
                  </a:cubicBezTo>
                  <a:lnTo>
                    <a:pt x="3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66" name="Google Shape;6566;p71"/>
          <p:cNvSpPr/>
          <p:nvPr/>
        </p:nvSpPr>
        <p:spPr>
          <a:xfrm>
            <a:off x="7561179" y="2213200"/>
            <a:ext cx="289009" cy="352833"/>
          </a:xfrm>
          <a:custGeom>
            <a:avLst/>
            <a:gdLst/>
            <a:ahLst/>
            <a:cxnLst/>
            <a:rect l="l" t="t" r="r" b="b"/>
            <a:pathLst>
              <a:path w="9704" h="11847" extrusionOk="0">
                <a:moveTo>
                  <a:pt x="7687" y="662"/>
                </a:moveTo>
                <a:cubicBezTo>
                  <a:pt x="7813" y="945"/>
                  <a:pt x="7971" y="1134"/>
                  <a:pt x="8160" y="1386"/>
                </a:cubicBezTo>
                <a:lnTo>
                  <a:pt x="1008" y="1386"/>
                </a:lnTo>
                <a:cubicBezTo>
                  <a:pt x="788" y="1386"/>
                  <a:pt x="630" y="1229"/>
                  <a:pt x="630" y="1040"/>
                </a:cubicBezTo>
                <a:cubicBezTo>
                  <a:pt x="630" y="819"/>
                  <a:pt x="788" y="662"/>
                  <a:pt x="1008" y="662"/>
                </a:cubicBezTo>
                <a:close/>
                <a:moveTo>
                  <a:pt x="6553" y="3466"/>
                </a:moveTo>
                <a:cubicBezTo>
                  <a:pt x="6742" y="3466"/>
                  <a:pt x="6900" y="3623"/>
                  <a:pt x="6900" y="3812"/>
                </a:cubicBezTo>
                <a:lnTo>
                  <a:pt x="6900" y="4852"/>
                </a:lnTo>
                <a:lnTo>
                  <a:pt x="7939" y="4852"/>
                </a:lnTo>
                <a:cubicBezTo>
                  <a:pt x="8128" y="4852"/>
                  <a:pt x="8286" y="5009"/>
                  <a:pt x="8286" y="5199"/>
                </a:cubicBezTo>
                <a:lnTo>
                  <a:pt x="8286" y="6585"/>
                </a:lnTo>
                <a:cubicBezTo>
                  <a:pt x="8286" y="6774"/>
                  <a:pt x="8128" y="6931"/>
                  <a:pt x="7939" y="6931"/>
                </a:cubicBezTo>
                <a:lnTo>
                  <a:pt x="6900" y="6931"/>
                </a:lnTo>
                <a:lnTo>
                  <a:pt x="6900" y="7971"/>
                </a:lnTo>
                <a:cubicBezTo>
                  <a:pt x="6900" y="8160"/>
                  <a:pt x="6742" y="8317"/>
                  <a:pt x="6553" y="8317"/>
                </a:cubicBezTo>
                <a:lnTo>
                  <a:pt x="5167" y="8317"/>
                </a:lnTo>
                <a:cubicBezTo>
                  <a:pt x="4978" y="8317"/>
                  <a:pt x="4820" y="8160"/>
                  <a:pt x="4820" y="7971"/>
                </a:cubicBezTo>
                <a:lnTo>
                  <a:pt x="4820" y="6931"/>
                </a:lnTo>
                <a:lnTo>
                  <a:pt x="3781" y="6931"/>
                </a:lnTo>
                <a:cubicBezTo>
                  <a:pt x="3592" y="6931"/>
                  <a:pt x="3434" y="6774"/>
                  <a:pt x="3434" y="6585"/>
                </a:cubicBezTo>
                <a:lnTo>
                  <a:pt x="3434" y="5199"/>
                </a:lnTo>
                <a:cubicBezTo>
                  <a:pt x="3434" y="5009"/>
                  <a:pt x="3592" y="4852"/>
                  <a:pt x="3781" y="4852"/>
                </a:cubicBezTo>
                <a:lnTo>
                  <a:pt x="4820" y="4852"/>
                </a:lnTo>
                <a:lnTo>
                  <a:pt x="4820" y="3812"/>
                </a:lnTo>
                <a:cubicBezTo>
                  <a:pt x="4820" y="3623"/>
                  <a:pt x="4978" y="3466"/>
                  <a:pt x="5167" y="3466"/>
                </a:cubicBezTo>
                <a:close/>
                <a:moveTo>
                  <a:pt x="7939" y="9735"/>
                </a:moveTo>
                <a:cubicBezTo>
                  <a:pt x="8128" y="9735"/>
                  <a:pt x="8286" y="9893"/>
                  <a:pt x="8286" y="10082"/>
                </a:cubicBezTo>
                <a:cubicBezTo>
                  <a:pt x="8286" y="10334"/>
                  <a:pt x="8128" y="10428"/>
                  <a:pt x="7939" y="10428"/>
                </a:cubicBezTo>
                <a:lnTo>
                  <a:pt x="3749" y="10428"/>
                </a:lnTo>
                <a:cubicBezTo>
                  <a:pt x="3560" y="10428"/>
                  <a:pt x="3403" y="10271"/>
                  <a:pt x="3403" y="10082"/>
                </a:cubicBezTo>
                <a:cubicBezTo>
                  <a:pt x="3403" y="9893"/>
                  <a:pt x="3560" y="9735"/>
                  <a:pt x="3749" y="9735"/>
                </a:cubicBezTo>
                <a:close/>
                <a:moveTo>
                  <a:pt x="1040" y="0"/>
                </a:moveTo>
                <a:cubicBezTo>
                  <a:pt x="441" y="0"/>
                  <a:pt x="0" y="473"/>
                  <a:pt x="0" y="1040"/>
                </a:cubicBezTo>
                <a:lnTo>
                  <a:pt x="0" y="10428"/>
                </a:lnTo>
                <a:cubicBezTo>
                  <a:pt x="0" y="11184"/>
                  <a:pt x="630" y="11815"/>
                  <a:pt x="1386" y="11815"/>
                </a:cubicBezTo>
                <a:lnTo>
                  <a:pt x="1386" y="2048"/>
                </a:lnTo>
                <a:lnTo>
                  <a:pt x="2111" y="2048"/>
                </a:lnTo>
                <a:lnTo>
                  <a:pt x="2111" y="11815"/>
                </a:lnTo>
                <a:lnTo>
                  <a:pt x="9357" y="11815"/>
                </a:lnTo>
                <a:lnTo>
                  <a:pt x="9357" y="11846"/>
                </a:lnTo>
                <a:cubicBezTo>
                  <a:pt x="9546" y="11846"/>
                  <a:pt x="9704" y="11688"/>
                  <a:pt x="9704" y="11499"/>
                </a:cubicBezTo>
                <a:lnTo>
                  <a:pt x="9704" y="1733"/>
                </a:lnTo>
                <a:cubicBezTo>
                  <a:pt x="9704" y="1607"/>
                  <a:pt x="9609" y="1449"/>
                  <a:pt x="9452" y="1418"/>
                </a:cubicBezTo>
                <a:cubicBezTo>
                  <a:pt x="8822" y="1166"/>
                  <a:pt x="8443" y="756"/>
                  <a:pt x="8286" y="252"/>
                </a:cubicBezTo>
                <a:cubicBezTo>
                  <a:pt x="8254" y="95"/>
                  <a:pt x="8097" y="0"/>
                  <a:pt x="79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67" name="Google Shape;6567;p71"/>
          <p:cNvGrpSpPr/>
          <p:nvPr/>
        </p:nvGrpSpPr>
        <p:grpSpPr>
          <a:xfrm>
            <a:off x="6199548" y="2693683"/>
            <a:ext cx="345328" cy="352833"/>
            <a:chOff x="-24353875" y="3147725"/>
            <a:chExt cx="289875" cy="296175"/>
          </a:xfrm>
        </p:grpSpPr>
        <p:sp>
          <p:nvSpPr>
            <p:cNvPr id="6568" name="Google Shape;6568;p71"/>
            <p:cNvSpPr/>
            <p:nvPr/>
          </p:nvSpPr>
          <p:spPr>
            <a:xfrm>
              <a:off x="-24238100" y="3271375"/>
              <a:ext cx="52025" cy="51225"/>
            </a:xfrm>
            <a:custGeom>
              <a:avLst/>
              <a:gdLst/>
              <a:ahLst/>
              <a:cxnLst/>
              <a:rect l="l" t="t" r="r" b="b"/>
              <a:pathLst>
                <a:path w="2081" h="2049" extrusionOk="0">
                  <a:moveTo>
                    <a:pt x="1041" y="1"/>
                  </a:moveTo>
                  <a:cubicBezTo>
                    <a:pt x="505" y="1"/>
                    <a:pt x="32" y="473"/>
                    <a:pt x="32" y="1040"/>
                  </a:cubicBezTo>
                  <a:cubicBezTo>
                    <a:pt x="1" y="1576"/>
                    <a:pt x="473" y="2049"/>
                    <a:pt x="1041" y="2049"/>
                  </a:cubicBezTo>
                  <a:cubicBezTo>
                    <a:pt x="1639" y="2049"/>
                    <a:pt x="2080" y="1576"/>
                    <a:pt x="2080" y="1040"/>
                  </a:cubicBezTo>
                  <a:cubicBezTo>
                    <a:pt x="2080" y="442"/>
                    <a:pt x="1608"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1"/>
            <p:cNvSpPr/>
            <p:nvPr/>
          </p:nvSpPr>
          <p:spPr>
            <a:xfrm>
              <a:off x="-24353875" y="3147725"/>
              <a:ext cx="289875" cy="296175"/>
            </a:xfrm>
            <a:custGeom>
              <a:avLst/>
              <a:gdLst/>
              <a:ahLst/>
              <a:cxnLst/>
              <a:rect l="l" t="t" r="r" b="b"/>
              <a:pathLst>
                <a:path w="11595" h="11847" extrusionOk="0">
                  <a:moveTo>
                    <a:pt x="5672" y="757"/>
                  </a:moveTo>
                  <a:cubicBezTo>
                    <a:pt x="6144" y="757"/>
                    <a:pt x="6680" y="1544"/>
                    <a:pt x="7026" y="2710"/>
                  </a:cubicBezTo>
                  <a:cubicBezTo>
                    <a:pt x="6585" y="2867"/>
                    <a:pt x="6176" y="3025"/>
                    <a:pt x="5672" y="3214"/>
                  </a:cubicBezTo>
                  <a:cubicBezTo>
                    <a:pt x="5262" y="3025"/>
                    <a:pt x="4789" y="2836"/>
                    <a:pt x="4348" y="2710"/>
                  </a:cubicBezTo>
                  <a:cubicBezTo>
                    <a:pt x="4695" y="1481"/>
                    <a:pt x="5199" y="757"/>
                    <a:pt x="5672" y="757"/>
                  </a:cubicBezTo>
                  <a:close/>
                  <a:moveTo>
                    <a:pt x="4191" y="3372"/>
                  </a:moveTo>
                  <a:cubicBezTo>
                    <a:pt x="4411" y="3466"/>
                    <a:pt x="4632" y="3529"/>
                    <a:pt x="4852" y="3624"/>
                  </a:cubicBezTo>
                  <a:cubicBezTo>
                    <a:pt x="4159" y="3970"/>
                    <a:pt x="4726" y="3655"/>
                    <a:pt x="4065" y="4096"/>
                  </a:cubicBezTo>
                  <a:lnTo>
                    <a:pt x="4191" y="3372"/>
                  </a:lnTo>
                  <a:close/>
                  <a:moveTo>
                    <a:pt x="7184" y="3372"/>
                  </a:moveTo>
                  <a:lnTo>
                    <a:pt x="7310" y="4096"/>
                  </a:lnTo>
                  <a:cubicBezTo>
                    <a:pt x="6585" y="3655"/>
                    <a:pt x="7184" y="4002"/>
                    <a:pt x="6522" y="3624"/>
                  </a:cubicBezTo>
                  <a:cubicBezTo>
                    <a:pt x="6743" y="3529"/>
                    <a:pt x="6995" y="3466"/>
                    <a:pt x="7184" y="3372"/>
                  </a:cubicBezTo>
                  <a:close/>
                  <a:moveTo>
                    <a:pt x="9191" y="3001"/>
                  </a:moveTo>
                  <a:cubicBezTo>
                    <a:pt x="9631" y="3001"/>
                    <a:pt x="10026" y="3084"/>
                    <a:pt x="10177" y="3340"/>
                  </a:cubicBezTo>
                  <a:cubicBezTo>
                    <a:pt x="10208" y="3435"/>
                    <a:pt x="10240" y="3529"/>
                    <a:pt x="10208" y="3655"/>
                  </a:cubicBezTo>
                  <a:cubicBezTo>
                    <a:pt x="9925" y="3687"/>
                    <a:pt x="9673" y="3907"/>
                    <a:pt x="9515" y="4159"/>
                  </a:cubicBezTo>
                  <a:cubicBezTo>
                    <a:pt x="9358" y="4474"/>
                    <a:pt x="9295" y="4852"/>
                    <a:pt x="9452" y="5104"/>
                  </a:cubicBezTo>
                  <a:cubicBezTo>
                    <a:pt x="9358" y="5230"/>
                    <a:pt x="9263" y="5356"/>
                    <a:pt x="9137" y="5482"/>
                  </a:cubicBezTo>
                  <a:cubicBezTo>
                    <a:pt x="8791" y="5167"/>
                    <a:pt x="8444" y="4884"/>
                    <a:pt x="8034" y="4600"/>
                  </a:cubicBezTo>
                  <a:cubicBezTo>
                    <a:pt x="8003" y="4128"/>
                    <a:pt x="7940" y="3655"/>
                    <a:pt x="7845" y="3183"/>
                  </a:cubicBezTo>
                  <a:cubicBezTo>
                    <a:pt x="8174" y="3100"/>
                    <a:pt x="8710" y="3001"/>
                    <a:pt x="9191" y="3001"/>
                  </a:cubicBezTo>
                  <a:close/>
                  <a:moveTo>
                    <a:pt x="2994" y="3119"/>
                  </a:moveTo>
                  <a:cubicBezTo>
                    <a:pt x="3151" y="3151"/>
                    <a:pt x="3309" y="3151"/>
                    <a:pt x="3466" y="3214"/>
                  </a:cubicBezTo>
                  <a:cubicBezTo>
                    <a:pt x="3403" y="3655"/>
                    <a:pt x="3309" y="4128"/>
                    <a:pt x="3277" y="4632"/>
                  </a:cubicBezTo>
                  <a:cubicBezTo>
                    <a:pt x="2899" y="4915"/>
                    <a:pt x="2490" y="5230"/>
                    <a:pt x="2174" y="5514"/>
                  </a:cubicBezTo>
                  <a:cubicBezTo>
                    <a:pt x="1733" y="5010"/>
                    <a:pt x="851" y="3939"/>
                    <a:pt x="1166" y="3340"/>
                  </a:cubicBezTo>
                  <a:cubicBezTo>
                    <a:pt x="1198" y="3277"/>
                    <a:pt x="1261" y="3183"/>
                    <a:pt x="1387" y="3151"/>
                  </a:cubicBezTo>
                  <a:cubicBezTo>
                    <a:pt x="1576" y="3372"/>
                    <a:pt x="1859" y="3529"/>
                    <a:pt x="2174" y="3529"/>
                  </a:cubicBezTo>
                  <a:cubicBezTo>
                    <a:pt x="2521" y="3529"/>
                    <a:pt x="2836" y="3372"/>
                    <a:pt x="2994" y="3119"/>
                  </a:cubicBezTo>
                  <a:close/>
                  <a:moveTo>
                    <a:pt x="3277" y="5482"/>
                  </a:moveTo>
                  <a:lnTo>
                    <a:pt x="3277" y="5482"/>
                  </a:lnTo>
                  <a:cubicBezTo>
                    <a:pt x="3246" y="6144"/>
                    <a:pt x="3246" y="5986"/>
                    <a:pt x="3277" y="6428"/>
                  </a:cubicBezTo>
                  <a:cubicBezTo>
                    <a:pt x="3088" y="6270"/>
                    <a:pt x="2899" y="6112"/>
                    <a:pt x="2742" y="5955"/>
                  </a:cubicBezTo>
                  <a:cubicBezTo>
                    <a:pt x="2899" y="5797"/>
                    <a:pt x="3088" y="5640"/>
                    <a:pt x="3277" y="5482"/>
                  </a:cubicBezTo>
                  <a:close/>
                  <a:moveTo>
                    <a:pt x="8097" y="5514"/>
                  </a:moveTo>
                  <a:cubicBezTo>
                    <a:pt x="8286" y="5671"/>
                    <a:pt x="8475" y="5829"/>
                    <a:pt x="8633" y="5986"/>
                  </a:cubicBezTo>
                  <a:cubicBezTo>
                    <a:pt x="8475" y="6144"/>
                    <a:pt x="8286" y="6301"/>
                    <a:pt x="8097" y="6459"/>
                  </a:cubicBezTo>
                  <a:lnTo>
                    <a:pt x="8097" y="5514"/>
                  </a:lnTo>
                  <a:close/>
                  <a:moveTo>
                    <a:pt x="5703" y="4002"/>
                  </a:moveTo>
                  <a:cubicBezTo>
                    <a:pt x="6333" y="4317"/>
                    <a:pt x="6743" y="4569"/>
                    <a:pt x="7373" y="5010"/>
                  </a:cubicBezTo>
                  <a:cubicBezTo>
                    <a:pt x="7436" y="5671"/>
                    <a:pt x="7436" y="6238"/>
                    <a:pt x="7373" y="6963"/>
                  </a:cubicBezTo>
                  <a:cubicBezTo>
                    <a:pt x="6837" y="7310"/>
                    <a:pt x="6333" y="7625"/>
                    <a:pt x="5703" y="7940"/>
                  </a:cubicBezTo>
                  <a:cubicBezTo>
                    <a:pt x="5073" y="7625"/>
                    <a:pt x="4537" y="7373"/>
                    <a:pt x="4002" y="6963"/>
                  </a:cubicBezTo>
                  <a:cubicBezTo>
                    <a:pt x="3907" y="6270"/>
                    <a:pt x="3907" y="5671"/>
                    <a:pt x="4002" y="5010"/>
                  </a:cubicBezTo>
                  <a:cubicBezTo>
                    <a:pt x="4600" y="4600"/>
                    <a:pt x="5041" y="4317"/>
                    <a:pt x="5703" y="4002"/>
                  </a:cubicBezTo>
                  <a:close/>
                  <a:moveTo>
                    <a:pt x="4065" y="7845"/>
                  </a:moveTo>
                  <a:cubicBezTo>
                    <a:pt x="4506" y="8097"/>
                    <a:pt x="4254" y="8003"/>
                    <a:pt x="4852" y="8318"/>
                  </a:cubicBezTo>
                  <a:cubicBezTo>
                    <a:pt x="4632" y="8381"/>
                    <a:pt x="4380" y="8507"/>
                    <a:pt x="4191" y="8538"/>
                  </a:cubicBezTo>
                  <a:lnTo>
                    <a:pt x="4065" y="7845"/>
                  </a:lnTo>
                  <a:close/>
                  <a:moveTo>
                    <a:pt x="7278" y="7845"/>
                  </a:moveTo>
                  <a:cubicBezTo>
                    <a:pt x="7247" y="8066"/>
                    <a:pt x="7215" y="8318"/>
                    <a:pt x="7152" y="8538"/>
                  </a:cubicBezTo>
                  <a:cubicBezTo>
                    <a:pt x="6900" y="8475"/>
                    <a:pt x="6711" y="8381"/>
                    <a:pt x="6491" y="8318"/>
                  </a:cubicBezTo>
                  <a:cubicBezTo>
                    <a:pt x="6837" y="8097"/>
                    <a:pt x="6869" y="8097"/>
                    <a:pt x="7278" y="7845"/>
                  </a:cubicBezTo>
                  <a:close/>
                  <a:moveTo>
                    <a:pt x="2237" y="6459"/>
                  </a:moveTo>
                  <a:cubicBezTo>
                    <a:pt x="2584" y="6774"/>
                    <a:pt x="2931" y="7058"/>
                    <a:pt x="3340" y="7310"/>
                  </a:cubicBezTo>
                  <a:cubicBezTo>
                    <a:pt x="3372" y="7845"/>
                    <a:pt x="3435" y="8255"/>
                    <a:pt x="3529" y="8727"/>
                  </a:cubicBezTo>
                  <a:cubicBezTo>
                    <a:pt x="3008" y="8861"/>
                    <a:pt x="2544" y="8927"/>
                    <a:pt x="2165" y="8927"/>
                  </a:cubicBezTo>
                  <a:cubicBezTo>
                    <a:pt x="1650" y="8927"/>
                    <a:pt x="1293" y="8806"/>
                    <a:pt x="1166" y="8570"/>
                  </a:cubicBezTo>
                  <a:cubicBezTo>
                    <a:pt x="851" y="8003"/>
                    <a:pt x="1733" y="6932"/>
                    <a:pt x="2237" y="6459"/>
                  </a:cubicBezTo>
                  <a:close/>
                  <a:moveTo>
                    <a:pt x="9137" y="6459"/>
                  </a:moveTo>
                  <a:cubicBezTo>
                    <a:pt x="9610" y="6932"/>
                    <a:pt x="10523" y="8003"/>
                    <a:pt x="10177" y="8570"/>
                  </a:cubicBezTo>
                  <a:cubicBezTo>
                    <a:pt x="10032" y="8806"/>
                    <a:pt x="9678" y="8927"/>
                    <a:pt x="9169" y="8927"/>
                  </a:cubicBezTo>
                  <a:cubicBezTo>
                    <a:pt x="8794" y="8927"/>
                    <a:pt x="8335" y="8861"/>
                    <a:pt x="7814" y="8727"/>
                  </a:cubicBezTo>
                  <a:cubicBezTo>
                    <a:pt x="7940" y="8318"/>
                    <a:pt x="8003" y="7845"/>
                    <a:pt x="8034" y="7310"/>
                  </a:cubicBezTo>
                  <a:cubicBezTo>
                    <a:pt x="8444" y="7058"/>
                    <a:pt x="8822" y="6743"/>
                    <a:pt x="9137" y="6459"/>
                  </a:cubicBezTo>
                  <a:close/>
                  <a:moveTo>
                    <a:pt x="5640" y="8696"/>
                  </a:moveTo>
                  <a:cubicBezTo>
                    <a:pt x="6081" y="8885"/>
                    <a:pt x="6554" y="9074"/>
                    <a:pt x="6995" y="9200"/>
                  </a:cubicBezTo>
                  <a:cubicBezTo>
                    <a:pt x="6680" y="10429"/>
                    <a:pt x="6176" y="11185"/>
                    <a:pt x="5672" y="11185"/>
                  </a:cubicBezTo>
                  <a:cubicBezTo>
                    <a:pt x="5609" y="11185"/>
                    <a:pt x="5482" y="11090"/>
                    <a:pt x="5356" y="11059"/>
                  </a:cubicBezTo>
                  <a:cubicBezTo>
                    <a:pt x="5482" y="10775"/>
                    <a:pt x="5451" y="10460"/>
                    <a:pt x="5293" y="10177"/>
                  </a:cubicBezTo>
                  <a:cubicBezTo>
                    <a:pt x="5136" y="9862"/>
                    <a:pt x="4821" y="9736"/>
                    <a:pt x="4474" y="9673"/>
                  </a:cubicBezTo>
                  <a:cubicBezTo>
                    <a:pt x="4411" y="9515"/>
                    <a:pt x="4348" y="9357"/>
                    <a:pt x="4317" y="9200"/>
                  </a:cubicBezTo>
                  <a:cubicBezTo>
                    <a:pt x="4726" y="9042"/>
                    <a:pt x="5167" y="8885"/>
                    <a:pt x="5640" y="8696"/>
                  </a:cubicBezTo>
                  <a:close/>
                  <a:moveTo>
                    <a:pt x="5640" y="1"/>
                  </a:moveTo>
                  <a:cubicBezTo>
                    <a:pt x="4758" y="1"/>
                    <a:pt x="4065" y="1072"/>
                    <a:pt x="3655" y="2489"/>
                  </a:cubicBezTo>
                  <a:cubicBezTo>
                    <a:pt x="3498" y="2426"/>
                    <a:pt x="3340" y="2395"/>
                    <a:pt x="3214" y="2395"/>
                  </a:cubicBezTo>
                  <a:cubicBezTo>
                    <a:pt x="3183" y="1859"/>
                    <a:pt x="2742" y="1418"/>
                    <a:pt x="2174" y="1418"/>
                  </a:cubicBezTo>
                  <a:cubicBezTo>
                    <a:pt x="1607" y="1418"/>
                    <a:pt x="1166" y="1891"/>
                    <a:pt x="1166" y="2426"/>
                  </a:cubicBezTo>
                  <a:cubicBezTo>
                    <a:pt x="883" y="2552"/>
                    <a:pt x="694" y="2710"/>
                    <a:pt x="568" y="2962"/>
                  </a:cubicBezTo>
                  <a:cubicBezTo>
                    <a:pt x="32" y="3907"/>
                    <a:pt x="977" y="5104"/>
                    <a:pt x="1702" y="5892"/>
                  </a:cubicBezTo>
                  <a:cubicBezTo>
                    <a:pt x="946" y="6743"/>
                    <a:pt x="1" y="8003"/>
                    <a:pt x="568" y="8885"/>
                  </a:cubicBezTo>
                  <a:cubicBezTo>
                    <a:pt x="879" y="9433"/>
                    <a:pt x="1519" y="9600"/>
                    <a:pt x="2210" y="9600"/>
                  </a:cubicBezTo>
                  <a:cubicBezTo>
                    <a:pt x="2710" y="9600"/>
                    <a:pt x="3237" y="9513"/>
                    <a:pt x="3687" y="9420"/>
                  </a:cubicBezTo>
                  <a:cubicBezTo>
                    <a:pt x="3718" y="9578"/>
                    <a:pt x="3750" y="9673"/>
                    <a:pt x="3844" y="9830"/>
                  </a:cubicBezTo>
                  <a:cubicBezTo>
                    <a:pt x="3403" y="10145"/>
                    <a:pt x="3246" y="10744"/>
                    <a:pt x="3529" y="11216"/>
                  </a:cubicBezTo>
                  <a:cubicBezTo>
                    <a:pt x="3718" y="11531"/>
                    <a:pt x="4065" y="11720"/>
                    <a:pt x="4411" y="11720"/>
                  </a:cubicBezTo>
                  <a:cubicBezTo>
                    <a:pt x="4600" y="11720"/>
                    <a:pt x="4789" y="11689"/>
                    <a:pt x="4947" y="11563"/>
                  </a:cubicBezTo>
                  <a:cubicBezTo>
                    <a:pt x="5167" y="11720"/>
                    <a:pt x="5419" y="11846"/>
                    <a:pt x="5703" y="11846"/>
                  </a:cubicBezTo>
                  <a:cubicBezTo>
                    <a:pt x="6585" y="11846"/>
                    <a:pt x="7278" y="10775"/>
                    <a:pt x="7688" y="9357"/>
                  </a:cubicBezTo>
                  <a:cubicBezTo>
                    <a:pt x="8143" y="9478"/>
                    <a:pt x="8678" y="9576"/>
                    <a:pt x="9184" y="9576"/>
                  </a:cubicBezTo>
                  <a:cubicBezTo>
                    <a:pt x="9868" y="9576"/>
                    <a:pt x="10499" y="9397"/>
                    <a:pt x="10807" y="8853"/>
                  </a:cubicBezTo>
                  <a:cubicBezTo>
                    <a:pt x="11374" y="7908"/>
                    <a:pt x="10429" y="6680"/>
                    <a:pt x="9673" y="5892"/>
                  </a:cubicBezTo>
                  <a:cubicBezTo>
                    <a:pt x="9799" y="5797"/>
                    <a:pt x="9862" y="5671"/>
                    <a:pt x="9988" y="5545"/>
                  </a:cubicBezTo>
                  <a:cubicBezTo>
                    <a:pt x="10145" y="5640"/>
                    <a:pt x="10271" y="5671"/>
                    <a:pt x="10429" y="5671"/>
                  </a:cubicBezTo>
                  <a:cubicBezTo>
                    <a:pt x="10775" y="5671"/>
                    <a:pt x="11122" y="5482"/>
                    <a:pt x="11311" y="5167"/>
                  </a:cubicBezTo>
                  <a:cubicBezTo>
                    <a:pt x="11594" y="4632"/>
                    <a:pt x="11437" y="4002"/>
                    <a:pt x="10933" y="3750"/>
                  </a:cubicBezTo>
                  <a:cubicBezTo>
                    <a:pt x="10964" y="3466"/>
                    <a:pt x="10901" y="3183"/>
                    <a:pt x="10775" y="2962"/>
                  </a:cubicBezTo>
                  <a:cubicBezTo>
                    <a:pt x="10457" y="2432"/>
                    <a:pt x="9842" y="2259"/>
                    <a:pt x="9179" y="2259"/>
                  </a:cubicBezTo>
                  <a:cubicBezTo>
                    <a:pt x="8661" y="2259"/>
                    <a:pt x="8113" y="2365"/>
                    <a:pt x="7656" y="2489"/>
                  </a:cubicBezTo>
                  <a:cubicBezTo>
                    <a:pt x="7278" y="1072"/>
                    <a:pt x="6585" y="1"/>
                    <a:pt x="5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0" name="Google Shape;6570;p71"/>
          <p:cNvGrpSpPr/>
          <p:nvPr/>
        </p:nvGrpSpPr>
        <p:grpSpPr>
          <a:xfrm>
            <a:off x="6207530" y="3173090"/>
            <a:ext cx="329365" cy="351910"/>
            <a:chOff x="-24344425" y="3519475"/>
            <a:chExt cx="276475" cy="295400"/>
          </a:xfrm>
        </p:grpSpPr>
        <p:sp>
          <p:nvSpPr>
            <p:cNvPr id="6571" name="Google Shape;6571;p71"/>
            <p:cNvSpPr/>
            <p:nvPr/>
          </p:nvSpPr>
          <p:spPr>
            <a:xfrm>
              <a:off x="-24240450" y="3554150"/>
              <a:ext cx="69325" cy="34450"/>
            </a:xfrm>
            <a:custGeom>
              <a:avLst/>
              <a:gdLst/>
              <a:ahLst/>
              <a:cxnLst/>
              <a:rect l="l" t="t" r="r" b="b"/>
              <a:pathLst>
                <a:path w="2773" h="1378" extrusionOk="0">
                  <a:moveTo>
                    <a:pt x="1387" y="0"/>
                  </a:moveTo>
                  <a:cubicBezTo>
                    <a:pt x="788" y="0"/>
                    <a:pt x="284" y="347"/>
                    <a:pt x="95" y="914"/>
                  </a:cubicBezTo>
                  <a:cubicBezTo>
                    <a:pt x="0" y="1071"/>
                    <a:pt x="95" y="1260"/>
                    <a:pt x="284" y="1355"/>
                  </a:cubicBezTo>
                  <a:cubicBezTo>
                    <a:pt x="318" y="1366"/>
                    <a:pt x="352" y="1371"/>
                    <a:pt x="385" y="1371"/>
                  </a:cubicBezTo>
                  <a:cubicBezTo>
                    <a:pt x="537" y="1371"/>
                    <a:pt x="673" y="1263"/>
                    <a:pt x="725" y="1134"/>
                  </a:cubicBezTo>
                  <a:cubicBezTo>
                    <a:pt x="788" y="882"/>
                    <a:pt x="1072" y="662"/>
                    <a:pt x="1387" y="662"/>
                  </a:cubicBezTo>
                  <a:cubicBezTo>
                    <a:pt x="1702" y="662"/>
                    <a:pt x="1922" y="882"/>
                    <a:pt x="2048" y="1134"/>
                  </a:cubicBezTo>
                  <a:cubicBezTo>
                    <a:pt x="2120" y="1301"/>
                    <a:pt x="2246" y="1378"/>
                    <a:pt x="2371" y="1378"/>
                  </a:cubicBezTo>
                  <a:cubicBezTo>
                    <a:pt x="2411" y="1378"/>
                    <a:pt x="2451" y="1370"/>
                    <a:pt x="2489" y="1355"/>
                  </a:cubicBezTo>
                  <a:cubicBezTo>
                    <a:pt x="2678" y="1260"/>
                    <a:pt x="2773" y="1071"/>
                    <a:pt x="2678" y="914"/>
                  </a:cubicBezTo>
                  <a:cubicBezTo>
                    <a:pt x="2489" y="347"/>
                    <a:pt x="198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1"/>
            <p:cNvSpPr/>
            <p:nvPr/>
          </p:nvSpPr>
          <p:spPr>
            <a:xfrm>
              <a:off x="-24344425" y="3519475"/>
              <a:ext cx="276475" cy="295400"/>
            </a:xfrm>
            <a:custGeom>
              <a:avLst/>
              <a:gdLst/>
              <a:ahLst/>
              <a:cxnLst/>
              <a:rect l="l" t="t" r="r" b="b"/>
              <a:pathLst>
                <a:path w="11059" h="11816" extrusionOk="0">
                  <a:moveTo>
                    <a:pt x="5546" y="694"/>
                  </a:moveTo>
                  <a:cubicBezTo>
                    <a:pt x="6743" y="694"/>
                    <a:pt x="7625" y="1608"/>
                    <a:pt x="7625" y="2773"/>
                  </a:cubicBezTo>
                  <a:lnTo>
                    <a:pt x="7625" y="3120"/>
                  </a:lnTo>
                  <a:cubicBezTo>
                    <a:pt x="7625" y="3309"/>
                    <a:pt x="7467" y="3466"/>
                    <a:pt x="7278" y="3466"/>
                  </a:cubicBezTo>
                  <a:lnTo>
                    <a:pt x="5892" y="3466"/>
                  </a:lnTo>
                  <a:lnTo>
                    <a:pt x="5892" y="3120"/>
                  </a:lnTo>
                  <a:cubicBezTo>
                    <a:pt x="5892" y="2931"/>
                    <a:pt x="5735" y="2773"/>
                    <a:pt x="5546" y="2773"/>
                  </a:cubicBezTo>
                  <a:cubicBezTo>
                    <a:pt x="5357" y="2773"/>
                    <a:pt x="5199" y="2931"/>
                    <a:pt x="5199" y="3120"/>
                  </a:cubicBezTo>
                  <a:lnTo>
                    <a:pt x="5199" y="3466"/>
                  </a:lnTo>
                  <a:lnTo>
                    <a:pt x="3813" y="3466"/>
                  </a:lnTo>
                  <a:cubicBezTo>
                    <a:pt x="3624" y="3466"/>
                    <a:pt x="3466" y="3309"/>
                    <a:pt x="3466" y="3120"/>
                  </a:cubicBezTo>
                  <a:lnTo>
                    <a:pt x="3466" y="2773"/>
                  </a:lnTo>
                  <a:cubicBezTo>
                    <a:pt x="3466" y="1639"/>
                    <a:pt x="4411" y="694"/>
                    <a:pt x="5546" y="694"/>
                  </a:cubicBezTo>
                  <a:close/>
                  <a:moveTo>
                    <a:pt x="7940" y="4821"/>
                  </a:moveTo>
                  <a:cubicBezTo>
                    <a:pt x="8160" y="4821"/>
                    <a:pt x="8318" y="4979"/>
                    <a:pt x="8318" y="5168"/>
                  </a:cubicBezTo>
                  <a:cubicBezTo>
                    <a:pt x="8318" y="5357"/>
                    <a:pt x="8160" y="5514"/>
                    <a:pt x="7940" y="5514"/>
                  </a:cubicBezTo>
                  <a:lnTo>
                    <a:pt x="3088" y="5514"/>
                  </a:lnTo>
                  <a:cubicBezTo>
                    <a:pt x="2899" y="5514"/>
                    <a:pt x="2742" y="5357"/>
                    <a:pt x="2742" y="5168"/>
                  </a:cubicBezTo>
                  <a:cubicBezTo>
                    <a:pt x="2742" y="4979"/>
                    <a:pt x="2899" y="4821"/>
                    <a:pt x="3088" y="4821"/>
                  </a:cubicBezTo>
                  <a:close/>
                  <a:moveTo>
                    <a:pt x="4128" y="6932"/>
                  </a:moveTo>
                  <a:cubicBezTo>
                    <a:pt x="4317" y="6932"/>
                    <a:pt x="4474" y="7089"/>
                    <a:pt x="4474" y="7310"/>
                  </a:cubicBezTo>
                  <a:cubicBezTo>
                    <a:pt x="4474" y="7499"/>
                    <a:pt x="4317" y="7656"/>
                    <a:pt x="4128" y="7656"/>
                  </a:cubicBezTo>
                  <a:lnTo>
                    <a:pt x="3088" y="7656"/>
                  </a:lnTo>
                  <a:cubicBezTo>
                    <a:pt x="2899" y="7656"/>
                    <a:pt x="2742" y="7499"/>
                    <a:pt x="2742" y="7310"/>
                  </a:cubicBezTo>
                  <a:cubicBezTo>
                    <a:pt x="2742" y="7089"/>
                    <a:pt x="2899" y="6932"/>
                    <a:pt x="3088" y="6932"/>
                  </a:cubicBezTo>
                  <a:close/>
                  <a:moveTo>
                    <a:pt x="7940" y="6932"/>
                  </a:moveTo>
                  <a:cubicBezTo>
                    <a:pt x="8160" y="6932"/>
                    <a:pt x="8318" y="7089"/>
                    <a:pt x="8318" y="7310"/>
                  </a:cubicBezTo>
                  <a:cubicBezTo>
                    <a:pt x="8286" y="7499"/>
                    <a:pt x="8160" y="7656"/>
                    <a:pt x="7940" y="7656"/>
                  </a:cubicBezTo>
                  <a:lnTo>
                    <a:pt x="6932" y="7656"/>
                  </a:lnTo>
                  <a:cubicBezTo>
                    <a:pt x="6743" y="7656"/>
                    <a:pt x="6585" y="7499"/>
                    <a:pt x="6585" y="7310"/>
                  </a:cubicBezTo>
                  <a:cubicBezTo>
                    <a:pt x="6585" y="7089"/>
                    <a:pt x="6743" y="6932"/>
                    <a:pt x="6932" y="6932"/>
                  </a:cubicBezTo>
                  <a:close/>
                  <a:moveTo>
                    <a:pt x="3781" y="8318"/>
                  </a:moveTo>
                  <a:cubicBezTo>
                    <a:pt x="4002" y="8350"/>
                    <a:pt x="4128" y="8507"/>
                    <a:pt x="4128" y="8665"/>
                  </a:cubicBezTo>
                  <a:cubicBezTo>
                    <a:pt x="4128" y="8885"/>
                    <a:pt x="3970" y="9043"/>
                    <a:pt x="3781" y="9043"/>
                  </a:cubicBezTo>
                  <a:lnTo>
                    <a:pt x="3057" y="9043"/>
                  </a:lnTo>
                  <a:cubicBezTo>
                    <a:pt x="2868" y="9043"/>
                    <a:pt x="2710" y="8885"/>
                    <a:pt x="2710" y="8665"/>
                  </a:cubicBezTo>
                  <a:cubicBezTo>
                    <a:pt x="2710" y="8476"/>
                    <a:pt x="2868" y="8318"/>
                    <a:pt x="3057" y="8318"/>
                  </a:cubicBezTo>
                  <a:close/>
                  <a:moveTo>
                    <a:pt x="7940" y="8318"/>
                  </a:moveTo>
                  <a:cubicBezTo>
                    <a:pt x="8160" y="8350"/>
                    <a:pt x="8286" y="8507"/>
                    <a:pt x="8286" y="8665"/>
                  </a:cubicBezTo>
                  <a:cubicBezTo>
                    <a:pt x="8286" y="8885"/>
                    <a:pt x="8129" y="9043"/>
                    <a:pt x="7940" y="9043"/>
                  </a:cubicBezTo>
                  <a:lnTo>
                    <a:pt x="7247" y="9043"/>
                  </a:lnTo>
                  <a:cubicBezTo>
                    <a:pt x="7026" y="9043"/>
                    <a:pt x="6869" y="8885"/>
                    <a:pt x="6869" y="8665"/>
                  </a:cubicBezTo>
                  <a:cubicBezTo>
                    <a:pt x="6869" y="8476"/>
                    <a:pt x="7026" y="8318"/>
                    <a:pt x="7247" y="8318"/>
                  </a:cubicBezTo>
                  <a:close/>
                  <a:moveTo>
                    <a:pt x="2868" y="2049"/>
                  </a:moveTo>
                  <a:lnTo>
                    <a:pt x="2868" y="2049"/>
                  </a:lnTo>
                  <a:cubicBezTo>
                    <a:pt x="2805" y="2332"/>
                    <a:pt x="2805" y="2521"/>
                    <a:pt x="2805" y="2805"/>
                  </a:cubicBezTo>
                  <a:cubicBezTo>
                    <a:pt x="2395" y="2962"/>
                    <a:pt x="2080" y="3309"/>
                    <a:pt x="2080" y="3781"/>
                  </a:cubicBezTo>
                  <a:lnTo>
                    <a:pt x="2080" y="8665"/>
                  </a:lnTo>
                  <a:cubicBezTo>
                    <a:pt x="2080" y="9263"/>
                    <a:pt x="2553" y="9704"/>
                    <a:pt x="3088" y="9704"/>
                  </a:cubicBezTo>
                  <a:lnTo>
                    <a:pt x="5199" y="9704"/>
                  </a:lnTo>
                  <a:lnTo>
                    <a:pt x="5199" y="7247"/>
                  </a:lnTo>
                  <a:cubicBezTo>
                    <a:pt x="5199" y="7058"/>
                    <a:pt x="5357" y="6900"/>
                    <a:pt x="5546" y="6900"/>
                  </a:cubicBezTo>
                  <a:cubicBezTo>
                    <a:pt x="5735" y="6900"/>
                    <a:pt x="5892" y="7058"/>
                    <a:pt x="5892" y="7247"/>
                  </a:cubicBezTo>
                  <a:lnTo>
                    <a:pt x="5892" y="9704"/>
                  </a:lnTo>
                  <a:lnTo>
                    <a:pt x="8003" y="9704"/>
                  </a:lnTo>
                  <a:cubicBezTo>
                    <a:pt x="8570" y="9704"/>
                    <a:pt x="9011" y="9232"/>
                    <a:pt x="9011" y="8665"/>
                  </a:cubicBezTo>
                  <a:lnTo>
                    <a:pt x="9011" y="3844"/>
                  </a:lnTo>
                  <a:cubicBezTo>
                    <a:pt x="9011" y="3372"/>
                    <a:pt x="8728" y="2994"/>
                    <a:pt x="8318" y="2836"/>
                  </a:cubicBezTo>
                  <a:cubicBezTo>
                    <a:pt x="8318" y="2584"/>
                    <a:pt x="8318" y="2364"/>
                    <a:pt x="8223" y="2112"/>
                  </a:cubicBezTo>
                  <a:lnTo>
                    <a:pt x="8223" y="2112"/>
                  </a:lnTo>
                  <a:cubicBezTo>
                    <a:pt x="9043" y="2269"/>
                    <a:pt x="9736" y="2962"/>
                    <a:pt x="9736" y="3844"/>
                  </a:cubicBezTo>
                  <a:lnTo>
                    <a:pt x="9736" y="8696"/>
                  </a:lnTo>
                  <a:cubicBezTo>
                    <a:pt x="9736" y="9641"/>
                    <a:pt x="8948" y="10429"/>
                    <a:pt x="8003" y="10429"/>
                  </a:cubicBezTo>
                  <a:lnTo>
                    <a:pt x="3151" y="10429"/>
                  </a:lnTo>
                  <a:cubicBezTo>
                    <a:pt x="2206" y="10429"/>
                    <a:pt x="1418" y="9641"/>
                    <a:pt x="1418" y="8696"/>
                  </a:cubicBezTo>
                  <a:lnTo>
                    <a:pt x="1418" y="3781"/>
                  </a:lnTo>
                  <a:lnTo>
                    <a:pt x="1355" y="3781"/>
                  </a:lnTo>
                  <a:cubicBezTo>
                    <a:pt x="1355" y="2931"/>
                    <a:pt x="1985" y="2206"/>
                    <a:pt x="2868" y="2049"/>
                  </a:cubicBezTo>
                  <a:close/>
                  <a:moveTo>
                    <a:pt x="3088" y="1"/>
                  </a:moveTo>
                  <a:cubicBezTo>
                    <a:pt x="1355" y="1"/>
                    <a:pt x="1" y="1419"/>
                    <a:pt x="1" y="3120"/>
                  </a:cubicBezTo>
                  <a:lnTo>
                    <a:pt x="1" y="8728"/>
                  </a:lnTo>
                  <a:cubicBezTo>
                    <a:pt x="1" y="10397"/>
                    <a:pt x="1355" y="11815"/>
                    <a:pt x="3088" y="11815"/>
                  </a:cubicBezTo>
                  <a:lnTo>
                    <a:pt x="7940" y="11815"/>
                  </a:lnTo>
                  <a:cubicBezTo>
                    <a:pt x="9673" y="11815"/>
                    <a:pt x="11059" y="10397"/>
                    <a:pt x="11059" y="8728"/>
                  </a:cubicBezTo>
                  <a:lnTo>
                    <a:pt x="11059" y="3120"/>
                  </a:lnTo>
                  <a:cubicBezTo>
                    <a:pt x="11059" y="1387"/>
                    <a:pt x="9641" y="1"/>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3" name="Google Shape;6573;p71"/>
          <p:cNvGrpSpPr/>
          <p:nvPr/>
        </p:nvGrpSpPr>
        <p:grpSpPr>
          <a:xfrm>
            <a:off x="6197210" y="3625010"/>
            <a:ext cx="350004" cy="348128"/>
            <a:chOff x="-24353075" y="3891250"/>
            <a:chExt cx="293800" cy="292225"/>
          </a:xfrm>
        </p:grpSpPr>
        <p:sp>
          <p:nvSpPr>
            <p:cNvPr id="6574" name="Google Shape;6574;p71"/>
            <p:cNvSpPr/>
            <p:nvPr/>
          </p:nvSpPr>
          <p:spPr>
            <a:xfrm>
              <a:off x="-24251475" y="4012525"/>
              <a:ext cx="88225" cy="65400"/>
            </a:xfrm>
            <a:custGeom>
              <a:avLst/>
              <a:gdLst/>
              <a:ahLst/>
              <a:cxnLst/>
              <a:rect l="l" t="t" r="r" b="b"/>
              <a:pathLst>
                <a:path w="3529" h="2616" extrusionOk="0">
                  <a:moveTo>
                    <a:pt x="725" y="1"/>
                  </a:moveTo>
                  <a:cubicBezTo>
                    <a:pt x="315" y="1"/>
                    <a:pt x="0" y="347"/>
                    <a:pt x="0" y="725"/>
                  </a:cubicBezTo>
                  <a:cubicBezTo>
                    <a:pt x="0" y="1356"/>
                    <a:pt x="1040" y="2049"/>
                    <a:pt x="1733" y="2616"/>
                  </a:cubicBezTo>
                  <a:cubicBezTo>
                    <a:pt x="2458" y="2017"/>
                    <a:pt x="3466" y="1356"/>
                    <a:pt x="3466" y="725"/>
                  </a:cubicBezTo>
                  <a:cubicBezTo>
                    <a:pt x="3529" y="410"/>
                    <a:pt x="3277" y="1"/>
                    <a:pt x="2804" y="1"/>
                  </a:cubicBezTo>
                  <a:cubicBezTo>
                    <a:pt x="2300" y="1"/>
                    <a:pt x="2111" y="599"/>
                    <a:pt x="2111" y="599"/>
                  </a:cubicBezTo>
                  <a:cubicBezTo>
                    <a:pt x="2063" y="745"/>
                    <a:pt x="1906" y="824"/>
                    <a:pt x="1753" y="824"/>
                  </a:cubicBezTo>
                  <a:cubicBezTo>
                    <a:pt x="1607" y="824"/>
                    <a:pt x="1464" y="753"/>
                    <a:pt x="1418" y="599"/>
                  </a:cubicBezTo>
                  <a:cubicBezTo>
                    <a:pt x="1418" y="568"/>
                    <a:pt x="1229"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1"/>
            <p:cNvSpPr/>
            <p:nvPr/>
          </p:nvSpPr>
          <p:spPr>
            <a:xfrm>
              <a:off x="-24353075" y="3891250"/>
              <a:ext cx="293800" cy="292225"/>
            </a:xfrm>
            <a:custGeom>
              <a:avLst/>
              <a:gdLst/>
              <a:ahLst/>
              <a:cxnLst/>
              <a:rect l="l" t="t" r="r" b="b"/>
              <a:pathLst>
                <a:path w="11752" h="11689" extrusionOk="0">
                  <a:moveTo>
                    <a:pt x="6837" y="4159"/>
                  </a:moveTo>
                  <a:cubicBezTo>
                    <a:pt x="7624" y="4159"/>
                    <a:pt x="8223" y="4789"/>
                    <a:pt x="8223" y="5576"/>
                  </a:cubicBezTo>
                  <a:cubicBezTo>
                    <a:pt x="8254" y="6616"/>
                    <a:pt x="7309" y="7183"/>
                    <a:pt x="6049" y="8223"/>
                  </a:cubicBezTo>
                  <a:cubicBezTo>
                    <a:pt x="5986" y="8286"/>
                    <a:pt x="5907" y="8317"/>
                    <a:pt x="5829" y="8317"/>
                  </a:cubicBezTo>
                  <a:cubicBezTo>
                    <a:pt x="5750" y="8317"/>
                    <a:pt x="5671" y="8286"/>
                    <a:pt x="5608" y="8223"/>
                  </a:cubicBezTo>
                  <a:cubicBezTo>
                    <a:pt x="4348" y="7183"/>
                    <a:pt x="3403" y="6585"/>
                    <a:pt x="3403" y="5576"/>
                  </a:cubicBezTo>
                  <a:cubicBezTo>
                    <a:pt x="3403" y="4789"/>
                    <a:pt x="4033" y="4159"/>
                    <a:pt x="4789" y="4159"/>
                  </a:cubicBezTo>
                  <a:cubicBezTo>
                    <a:pt x="5293" y="4159"/>
                    <a:pt x="5608" y="4411"/>
                    <a:pt x="5797" y="4663"/>
                  </a:cubicBezTo>
                  <a:cubicBezTo>
                    <a:pt x="6018" y="4411"/>
                    <a:pt x="6364" y="4159"/>
                    <a:pt x="6837" y="4159"/>
                  </a:cubicBezTo>
                  <a:close/>
                  <a:moveTo>
                    <a:pt x="4474" y="0"/>
                  </a:moveTo>
                  <a:cubicBezTo>
                    <a:pt x="3875" y="0"/>
                    <a:pt x="3466" y="473"/>
                    <a:pt x="3466" y="1008"/>
                  </a:cubicBezTo>
                  <a:lnTo>
                    <a:pt x="3466" y="3466"/>
                  </a:lnTo>
                  <a:lnTo>
                    <a:pt x="1008" y="3466"/>
                  </a:lnTo>
                  <a:cubicBezTo>
                    <a:pt x="410" y="3466"/>
                    <a:pt x="0" y="3938"/>
                    <a:pt x="0" y="4474"/>
                  </a:cubicBezTo>
                  <a:lnTo>
                    <a:pt x="0" y="7246"/>
                  </a:lnTo>
                  <a:cubicBezTo>
                    <a:pt x="0" y="7813"/>
                    <a:pt x="473" y="8254"/>
                    <a:pt x="1008" y="8254"/>
                  </a:cubicBezTo>
                  <a:lnTo>
                    <a:pt x="3466" y="8254"/>
                  </a:lnTo>
                  <a:lnTo>
                    <a:pt x="3466" y="10649"/>
                  </a:lnTo>
                  <a:cubicBezTo>
                    <a:pt x="3466" y="11247"/>
                    <a:pt x="3938" y="11688"/>
                    <a:pt x="4474" y="11688"/>
                  </a:cubicBezTo>
                  <a:lnTo>
                    <a:pt x="7246" y="11688"/>
                  </a:lnTo>
                  <a:cubicBezTo>
                    <a:pt x="7813" y="11688"/>
                    <a:pt x="8254" y="11216"/>
                    <a:pt x="8254" y="10649"/>
                  </a:cubicBezTo>
                  <a:lnTo>
                    <a:pt x="8254" y="8254"/>
                  </a:lnTo>
                  <a:lnTo>
                    <a:pt x="10680" y="8254"/>
                  </a:lnTo>
                  <a:cubicBezTo>
                    <a:pt x="11279" y="8254"/>
                    <a:pt x="11720" y="7782"/>
                    <a:pt x="11720" y="7246"/>
                  </a:cubicBezTo>
                  <a:lnTo>
                    <a:pt x="11720" y="4474"/>
                  </a:lnTo>
                  <a:cubicBezTo>
                    <a:pt x="11751" y="3938"/>
                    <a:pt x="11279" y="3466"/>
                    <a:pt x="10680" y="3466"/>
                  </a:cubicBezTo>
                  <a:lnTo>
                    <a:pt x="8254" y="3466"/>
                  </a:lnTo>
                  <a:lnTo>
                    <a:pt x="8254" y="1008"/>
                  </a:lnTo>
                  <a:cubicBezTo>
                    <a:pt x="8254" y="410"/>
                    <a:pt x="7782"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6" name="Google Shape;6576;p71"/>
          <p:cNvGrpSpPr/>
          <p:nvPr/>
        </p:nvGrpSpPr>
        <p:grpSpPr>
          <a:xfrm>
            <a:off x="7980681" y="3173313"/>
            <a:ext cx="353757" cy="351463"/>
            <a:chOff x="-22845575" y="3504075"/>
            <a:chExt cx="296950" cy="295025"/>
          </a:xfrm>
        </p:grpSpPr>
        <p:sp>
          <p:nvSpPr>
            <p:cNvPr id="6577" name="Google Shape;6577;p71"/>
            <p:cNvSpPr/>
            <p:nvPr/>
          </p:nvSpPr>
          <p:spPr>
            <a:xfrm>
              <a:off x="-22688825" y="3504100"/>
              <a:ext cx="140200" cy="295000"/>
            </a:xfrm>
            <a:custGeom>
              <a:avLst/>
              <a:gdLst/>
              <a:ahLst/>
              <a:cxnLst/>
              <a:rect l="l" t="t" r="r" b="b"/>
              <a:pathLst>
                <a:path w="5608" h="11800" extrusionOk="0">
                  <a:moveTo>
                    <a:pt x="1465" y="2908"/>
                  </a:moveTo>
                  <a:cubicBezTo>
                    <a:pt x="1552" y="2908"/>
                    <a:pt x="1638" y="2931"/>
                    <a:pt x="1701" y="2979"/>
                  </a:cubicBezTo>
                  <a:cubicBezTo>
                    <a:pt x="1827" y="3105"/>
                    <a:pt x="1827" y="3357"/>
                    <a:pt x="1701" y="3451"/>
                  </a:cubicBezTo>
                  <a:cubicBezTo>
                    <a:pt x="1292" y="3861"/>
                    <a:pt x="1292" y="4522"/>
                    <a:pt x="1701" y="4932"/>
                  </a:cubicBezTo>
                  <a:cubicBezTo>
                    <a:pt x="1827" y="5026"/>
                    <a:pt x="1827" y="5279"/>
                    <a:pt x="1701" y="5373"/>
                  </a:cubicBezTo>
                  <a:cubicBezTo>
                    <a:pt x="1632" y="5477"/>
                    <a:pt x="1544" y="5524"/>
                    <a:pt x="1452" y="5524"/>
                  </a:cubicBezTo>
                  <a:cubicBezTo>
                    <a:pt x="1377" y="5524"/>
                    <a:pt x="1300" y="5493"/>
                    <a:pt x="1229" y="5436"/>
                  </a:cubicBezTo>
                  <a:cubicBezTo>
                    <a:pt x="567" y="4774"/>
                    <a:pt x="567" y="3672"/>
                    <a:pt x="1229" y="2979"/>
                  </a:cubicBezTo>
                  <a:cubicBezTo>
                    <a:pt x="1292" y="2931"/>
                    <a:pt x="1378" y="2908"/>
                    <a:pt x="1465" y="2908"/>
                  </a:cubicBezTo>
                  <a:close/>
                  <a:moveTo>
                    <a:pt x="2461" y="7313"/>
                  </a:moveTo>
                  <a:cubicBezTo>
                    <a:pt x="2532" y="7313"/>
                    <a:pt x="2605" y="7318"/>
                    <a:pt x="2678" y="7326"/>
                  </a:cubicBezTo>
                  <a:cubicBezTo>
                    <a:pt x="2867" y="7358"/>
                    <a:pt x="3025" y="7515"/>
                    <a:pt x="2993" y="7704"/>
                  </a:cubicBezTo>
                  <a:cubicBezTo>
                    <a:pt x="2962" y="7925"/>
                    <a:pt x="2804" y="8019"/>
                    <a:pt x="2615" y="8019"/>
                  </a:cubicBezTo>
                  <a:cubicBezTo>
                    <a:pt x="2579" y="8016"/>
                    <a:pt x="2543" y="8014"/>
                    <a:pt x="2507" y="8014"/>
                  </a:cubicBezTo>
                  <a:cubicBezTo>
                    <a:pt x="1947" y="8014"/>
                    <a:pt x="1418" y="8467"/>
                    <a:pt x="1418" y="9059"/>
                  </a:cubicBezTo>
                  <a:cubicBezTo>
                    <a:pt x="1418" y="9248"/>
                    <a:pt x="1260" y="9406"/>
                    <a:pt x="1071" y="9406"/>
                  </a:cubicBezTo>
                  <a:cubicBezTo>
                    <a:pt x="882" y="9406"/>
                    <a:pt x="725" y="9248"/>
                    <a:pt x="725" y="9059"/>
                  </a:cubicBezTo>
                  <a:cubicBezTo>
                    <a:pt x="725" y="8091"/>
                    <a:pt x="1490" y="7313"/>
                    <a:pt x="2461" y="7313"/>
                  </a:cubicBezTo>
                  <a:close/>
                  <a:moveTo>
                    <a:pt x="1060" y="0"/>
                  </a:moveTo>
                  <a:cubicBezTo>
                    <a:pt x="689" y="0"/>
                    <a:pt x="327" y="130"/>
                    <a:pt x="0" y="364"/>
                  </a:cubicBezTo>
                  <a:lnTo>
                    <a:pt x="0" y="5247"/>
                  </a:lnTo>
                  <a:cubicBezTo>
                    <a:pt x="0" y="5814"/>
                    <a:pt x="473" y="6255"/>
                    <a:pt x="1040" y="6255"/>
                  </a:cubicBezTo>
                  <a:cubicBezTo>
                    <a:pt x="1229" y="6255"/>
                    <a:pt x="1386" y="6413"/>
                    <a:pt x="1386" y="6602"/>
                  </a:cubicBezTo>
                  <a:cubicBezTo>
                    <a:pt x="1386" y="6822"/>
                    <a:pt x="1229" y="6948"/>
                    <a:pt x="1040" y="6948"/>
                  </a:cubicBezTo>
                  <a:cubicBezTo>
                    <a:pt x="630" y="6948"/>
                    <a:pt x="284" y="6854"/>
                    <a:pt x="0" y="6602"/>
                  </a:cubicBezTo>
                  <a:lnTo>
                    <a:pt x="0" y="11453"/>
                  </a:lnTo>
                  <a:cubicBezTo>
                    <a:pt x="284" y="11705"/>
                    <a:pt x="630" y="11800"/>
                    <a:pt x="1040" y="11800"/>
                  </a:cubicBezTo>
                  <a:cubicBezTo>
                    <a:pt x="1733" y="11800"/>
                    <a:pt x="2363" y="11359"/>
                    <a:pt x="2647" y="10760"/>
                  </a:cubicBezTo>
                  <a:cubicBezTo>
                    <a:pt x="3497" y="10634"/>
                    <a:pt x="4190" y="9910"/>
                    <a:pt x="4190" y="9028"/>
                  </a:cubicBezTo>
                  <a:cubicBezTo>
                    <a:pt x="4190" y="8902"/>
                    <a:pt x="4159" y="8776"/>
                    <a:pt x="4159" y="8618"/>
                  </a:cubicBezTo>
                  <a:cubicBezTo>
                    <a:pt x="4505" y="8555"/>
                    <a:pt x="4820" y="8397"/>
                    <a:pt x="5104" y="8145"/>
                  </a:cubicBezTo>
                  <a:cubicBezTo>
                    <a:pt x="5419" y="7830"/>
                    <a:pt x="5608" y="7389"/>
                    <a:pt x="5608" y="6917"/>
                  </a:cubicBezTo>
                  <a:cubicBezTo>
                    <a:pt x="5608" y="6539"/>
                    <a:pt x="5482" y="6192"/>
                    <a:pt x="5261" y="5909"/>
                  </a:cubicBezTo>
                  <a:cubicBezTo>
                    <a:pt x="5482" y="5594"/>
                    <a:pt x="5608" y="5247"/>
                    <a:pt x="5608" y="4869"/>
                  </a:cubicBezTo>
                  <a:cubicBezTo>
                    <a:pt x="5608" y="4396"/>
                    <a:pt x="5387" y="3987"/>
                    <a:pt x="5072" y="3672"/>
                  </a:cubicBezTo>
                  <a:cubicBezTo>
                    <a:pt x="4852" y="3420"/>
                    <a:pt x="4505" y="3262"/>
                    <a:pt x="4127" y="3199"/>
                  </a:cubicBezTo>
                  <a:cubicBezTo>
                    <a:pt x="4253" y="2632"/>
                    <a:pt x="4096" y="2002"/>
                    <a:pt x="3655" y="1561"/>
                  </a:cubicBezTo>
                  <a:cubicBezTo>
                    <a:pt x="3403" y="1309"/>
                    <a:pt x="3025" y="1120"/>
                    <a:pt x="2647" y="1088"/>
                  </a:cubicBezTo>
                  <a:cubicBezTo>
                    <a:pt x="2394" y="584"/>
                    <a:pt x="1985" y="143"/>
                    <a:pt x="1449" y="49"/>
                  </a:cubicBezTo>
                  <a:cubicBezTo>
                    <a:pt x="1319" y="16"/>
                    <a:pt x="1189"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1"/>
            <p:cNvSpPr/>
            <p:nvPr/>
          </p:nvSpPr>
          <p:spPr>
            <a:xfrm>
              <a:off x="-22845575" y="3504075"/>
              <a:ext cx="139425" cy="294250"/>
            </a:xfrm>
            <a:custGeom>
              <a:avLst/>
              <a:gdLst/>
              <a:ahLst/>
              <a:cxnLst/>
              <a:rect l="l" t="t" r="r" b="b"/>
              <a:pathLst>
                <a:path w="5577" h="11770" extrusionOk="0">
                  <a:moveTo>
                    <a:pt x="4187" y="2948"/>
                  </a:moveTo>
                  <a:cubicBezTo>
                    <a:pt x="4277" y="2948"/>
                    <a:pt x="4364" y="2980"/>
                    <a:pt x="4411" y="3043"/>
                  </a:cubicBezTo>
                  <a:cubicBezTo>
                    <a:pt x="5104" y="3673"/>
                    <a:pt x="5104" y="4775"/>
                    <a:pt x="4411" y="5437"/>
                  </a:cubicBezTo>
                  <a:cubicBezTo>
                    <a:pt x="4364" y="5500"/>
                    <a:pt x="4277" y="5532"/>
                    <a:pt x="4187" y="5532"/>
                  </a:cubicBezTo>
                  <a:cubicBezTo>
                    <a:pt x="4096" y="5532"/>
                    <a:pt x="4002" y="5500"/>
                    <a:pt x="3939" y="5437"/>
                  </a:cubicBezTo>
                  <a:cubicBezTo>
                    <a:pt x="3844" y="5311"/>
                    <a:pt x="3844" y="5090"/>
                    <a:pt x="3939" y="4964"/>
                  </a:cubicBezTo>
                  <a:cubicBezTo>
                    <a:pt x="4348" y="4555"/>
                    <a:pt x="4348" y="3893"/>
                    <a:pt x="3939" y="3515"/>
                  </a:cubicBezTo>
                  <a:cubicBezTo>
                    <a:pt x="3844" y="3389"/>
                    <a:pt x="3844" y="3137"/>
                    <a:pt x="3939" y="3043"/>
                  </a:cubicBezTo>
                  <a:cubicBezTo>
                    <a:pt x="4002" y="2980"/>
                    <a:pt x="4096" y="2948"/>
                    <a:pt x="4187" y="2948"/>
                  </a:cubicBezTo>
                  <a:close/>
                  <a:moveTo>
                    <a:pt x="3148" y="7314"/>
                  </a:moveTo>
                  <a:cubicBezTo>
                    <a:pt x="4123" y="7314"/>
                    <a:pt x="4915" y="8092"/>
                    <a:pt x="4915" y="9060"/>
                  </a:cubicBezTo>
                  <a:cubicBezTo>
                    <a:pt x="4915" y="9249"/>
                    <a:pt x="4726" y="9407"/>
                    <a:pt x="4537" y="9407"/>
                  </a:cubicBezTo>
                  <a:cubicBezTo>
                    <a:pt x="4348" y="9407"/>
                    <a:pt x="4191" y="9249"/>
                    <a:pt x="4191" y="9060"/>
                  </a:cubicBezTo>
                  <a:cubicBezTo>
                    <a:pt x="4191" y="8468"/>
                    <a:pt x="3662" y="8015"/>
                    <a:pt x="3101" y="8015"/>
                  </a:cubicBezTo>
                  <a:cubicBezTo>
                    <a:pt x="3066" y="8015"/>
                    <a:pt x="3030" y="8017"/>
                    <a:pt x="2994" y="8020"/>
                  </a:cubicBezTo>
                  <a:cubicBezTo>
                    <a:pt x="2968" y="8029"/>
                    <a:pt x="2944" y="8033"/>
                    <a:pt x="2920" y="8033"/>
                  </a:cubicBezTo>
                  <a:cubicBezTo>
                    <a:pt x="2765" y="8033"/>
                    <a:pt x="2643" y="7869"/>
                    <a:pt x="2616" y="7705"/>
                  </a:cubicBezTo>
                  <a:cubicBezTo>
                    <a:pt x="2584" y="7516"/>
                    <a:pt x="2742" y="7359"/>
                    <a:pt x="2931" y="7327"/>
                  </a:cubicBezTo>
                  <a:cubicBezTo>
                    <a:pt x="3004" y="7319"/>
                    <a:pt x="3077" y="7314"/>
                    <a:pt x="3148" y="7314"/>
                  </a:cubicBezTo>
                  <a:close/>
                  <a:moveTo>
                    <a:pt x="4581" y="0"/>
                  </a:moveTo>
                  <a:cubicBezTo>
                    <a:pt x="4444" y="0"/>
                    <a:pt x="4303" y="16"/>
                    <a:pt x="4159" y="50"/>
                  </a:cubicBezTo>
                  <a:cubicBezTo>
                    <a:pt x="3592" y="144"/>
                    <a:pt x="3214" y="585"/>
                    <a:pt x="2962" y="1089"/>
                  </a:cubicBezTo>
                  <a:cubicBezTo>
                    <a:pt x="2584" y="1152"/>
                    <a:pt x="2206" y="1310"/>
                    <a:pt x="1954" y="1562"/>
                  </a:cubicBezTo>
                  <a:cubicBezTo>
                    <a:pt x="1513" y="2003"/>
                    <a:pt x="1355" y="2633"/>
                    <a:pt x="1481" y="3200"/>
                  </a:cubicBezTo>
                  <a:cubicBezTo>
                    <a:pt x="1135" y="3232"/>
                    <a:pt x="820" y="3389"/>
                    <a:pt x="536" y="3673"/>
                  </a:cubicBezTo>
                  <a:cubicBezTo>
                    <a:pt x="221" y="3988"/>
                    <a:pt x="1" y="4397"/>
                    <a:pt x="1" y="4870"/>
                  </a:cubicBezTo>
                  <a:cubicBezTo>
                    <a:pt x="1" y="5280"/>
                    <a:pt x="127" y="5626"/>
                    <a:pt x="379" y="5910"/>
                  </a:cubicBezTo>
                  <a:cubicBezTo>
                    <a:pt x="127" y="6225"/>
                    <a:pt x="1" y="6571"/>
                    <a:pt x="1" y="6918"/>
                  </a:cubicBezTo>
                  <a:cubicBezTo>
                    <a:pt x="1" y="7390"/>
                    <a:pt x="221" y="7831"/>
                    <a:pt x="536" y="8146"/>
                  </a:cubicBezTo>
                  <a:cubicBezTo>
                    <a:pt x="788" y="8430"/>
                    <a:pt x="1135" y="8588"/>
                    <a:pt x="1481" y="8619"/>
                  </a:cubicBezTo>
                  <a:cubicBezTo>
                    <a:pt x="1229" y="9690"/>
                    <a:pt x="1985" y="10604"/>
                    <a:pt x="2931" y="10698"/>
                  </a:cubicBezTo>
                  <a:cubicBezTo>
                    <a:pt x="3214" y="11328"/>
                    <a:pt x="3781" y="11769"/>
                    <a:pt x="4537" y="11769"/>
                  </a:cubicBezTo>
                  <a:cubicBezTo>
                    <a:pt x="4947" y="11769"/>
                    <a:pt x="5293" y="11612"/>
                    <a:pt x="5577" y="11423"/>
                  </a:cubicBezTo>
                  <a:lnTo>
                    <a:pt x="5577" y="6571"/>
                  </a:lnTo>
                  <a:cubicBezTo>
                    <a:pt x="5293" y="6823"/>
                    <a:pt x="4947" y="6918"/>
                    <a:pt x="4537" y="6918"/>
                  </a:cubicBezTo>
                  <a:cubicBezTo>
                    <a:pt x="4348" y="6918"/>
                    <a:pt x="4191" y="6760"/>
                    <a:pt x="4191" y="6571"/>
                  </a:cubicBezTo>
                  <a:cubicBezTo>
                    <a:pt x="4191" y="6382"/>
                    <a:pt x="4348" y="6225"/>
                    <a:pt x="4537" y="6225"/>
                  </a:cubicBezTo>
                  <a:cubicBezTo>
                    <a:pt x="5136" y="6225"/>
                    <a:pt x="5577" y="5752"/>
                    <a:pt x="5577" y="5185"/>
                  </a:cubicBezTo>
                  <a:lnTo>
                    <a:pt x="5577" y="302"/>
                  </a:lnTo>
                  <a:cubicBezTo>
                    <a:pt x="5300" y="117"/>
                    <a:pt x="4956" y="0"/>
                    <a:pt x="45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9" name="Google Shape;6579;p71"/>
          <p:cNvGrpSpPr/>
          <p:nvPr/>
        </p:nvGrpSpPr>
        <p:grpSpPr>
          <a:xfrm>
            <a:off x="5773862" y="1306961"/>
            <a:ext cx="299344" cy="351880"/>
            <a:chOff x="-27691025" y="3175300"/>
            <a:chExt cx="251275" cy="295375"/>
          </a:xfrm>
        </p:grpSpPr>
        <p:sp>
          <p:nvSpPr>
            <p:cNvPr id="6580" name="Google Shape;6580;p71"/>
            <p:cNvSpPr/>
            <p:nvPr/>
          </p:nvSpPr>
          <p:spPr>
            <a:xfrm>
              <a:off x="-27492550" y="3298150"/>
              <a:ext cx="18125" cy="18150"/>
            </a:xfrm>
            <a:custGeom>
              <a:avLst/>
              <a:gdLst/>
              <a:ahLst/>
              <a:cxnLst/>
              <a:rect l="l" t="t" r="r" b="b"/>
              <a:pathLst>
                <a:path w="725" h="726" extrusionOk="0">
                  <a:moveTo>
                    <a:pt x="378" y="1"/>
                  </a:moveTo>
                  <a:cubicBezTo>
                    <a:pt x="158" y="1"/>
                    <a:pt x="0" y="158"/>
                    <a:pt x="0" y="347"/>
                  </a:cubicBezTo>
                  <a:cubicBezTo>
                    <a:pt x="0" y="568"/>
                    <a:pt x="158" y="726"/>
                    <a:pt x="378" y="726"/>
                  </a:cubicBezTo>
                  <a:cubicBezTo>
                    <a:pt x="599" y="663"/>
                    <a:pt x="725" y="505"/>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1"/>
            <p:cNvSpPr/>
            <p:nvPr/>
          </p:nvSpPr>
          <p:spPr>
            <a:xfrm>
              <a:off x="-27613050" y="3175300"/>
              <a:ext cx="60650" cy="105550"/>
            </a:xfrm>
            <a:custGeom>
              <a:avLst/>
              <a:gdLst/>
              <a:ahLst/>
              <a:cxnLst/>
              <a:rect l="l" t="t" r="r" b="b"/>
              <a:pathLst>
                <a:path w="2426" h="4222" extrusionOk="0">
                  <a:moveTo>
                    <a:pt x="347" y="0"/>
                  </a:moveTo>
                  <a:cubicBezTo>
                    <a:pt x="158" y="0"/>
                    <a:pt x="0" y="158"/>
                    <a:pt x="0" y="347"/>
                  </a:cubicBezTo>
                  <a:lnTo>
                    <a:pt x="0" y="1733"/>
                  </a:lnTo>
                  <a:cubicBezTo>
                    <a:pt x="32" y="1922"/>
                    <a:pt x="158" y="2080"/>
                    <a:pt x="347" y="2080"/>
                  </a:cubicBezTo>
                  <a:cubicBezTo>
                    <a:pt x="536" y="2080"/>
                    <a:pt x="693" y="1922"/>
                    <a:pt x="693" y="1733"/>
                  </a:cubicBezTo>
                  <a:lnTo>
                    <a:pt x="693" y="1386"/>
                  </a:lnTo>
                  <a:lnTo>
                    <a:pt x="1040" y="1386"/>
                  </a:lnTo>
                  <a:cubicBezTo>
                    <a:pt x="1260" y="1386"/>
                    <a:pt x="1418" y="1544"/>
                    <a:pt x="1418" y="1733"/>
                  </a:cubicBezTo>
                  <a:lnTo>
                    <a:pt x="1418" y="2899"/>
                  </a:lnTo>
                  <a:cubicBezTo>
                    <a:pt x="1197" y="3025"/>
                    <a:pt x="1040" y="3277"/>
                    <a:pt x="1040" y="3497"/>
                  </a:cubicBezTo>
                  <a:lnTo>
                    <a:pt x="1040" y="4222"/>
                  </a:lnTo>
                  <a:lnTo>
                    <a:pt x="2426" y="4222"/>
                  </a:lnTo>
                  <a:lnTo>
                    <a:pt x="2426" y="3497"/>
                  </a:lnTo>
                  <a:cubicBezTo>
                    <a:pt x="2426" y="3214"/>
                    <a:pt x="2268" y="3025"/>
                    <a:pt x="2079" y="2899"/>
                  </a:cubicBezTo>
                  <a:lnTo>
                    <a:pt x="2079" y="1733"/>
                  </a:lnTo>
                  <a:cubicBezTo>
                    <a:pt x="2079" y="1134"/>
                    <a:pt x="1607"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1"/>
            <p:cNvSpPr/>
            <p:nvPr/>
          </p:nvSpPr>
          <p:spPr>
            <a:xfrm>
              <a:off x="-27691025" y="3175300"/>
              <a:ext cx="60650" cy="105550"/>
            </a:xfrm>
            <a:custGeom>
              <a:avLst/>
              <a:gdLst/>
              <a:ahLst/>
              <a:cxnLst/>
              <a:rect l="l" t="t" r="r" b="b"/>
              <a:pathLst>
                <a:path w="2426" h="4222" extrusionOk="0">
                  <a:moveTo>
                    <a:pt x="2079" y="0"/>
                  </a:moveTo>
                  <a:cubicBezTo>
                    <a:pt x="1890" y="0"/>
                    <a:pt x="1733" y="158"/>
                    <a:pt x="1733" y="347"/>
                  </a:cubicBezTo>
                  <a:lnTo>
                    <a:pt x="1733" y="693"/>
                  </a:lnTo>
                  <a:lnTo>
                    <a:pt x="1386" y="693"/>
                  </a:lnTo>
                  <a:cubicBezTo>
                    <a:pt x="788" y="693"/>
                    <a:pt x="347" y="1166"/>
                    <a:pt x="347" y="1733"/>
                  </a:cubicBezTo>
                  <a:lnTo>
                    <a:pt x="347" y="2899"/>
                  </a:lnTo>
                  <a:cubicBezTo>
                    <a:pt x="158" y="3025"/>
                    <a:pt x="0" y="3277"/>
                    <a:pt x="0" y="3497"/>
                  </a:cubicBezTo>
                  <a:lnTo>
                    <a:pt x="0" y="4222"/>
                  </a:lnTo>
                  <a:lnTo>
                    <a:pt x="1386" y="4222"/>
                  </a:lnTo>
                  <a:lnTo>
                    <a:pt x="1386" y="3497"/>
                  </a:lnTo>
                  <a:cubicBezTo>
                    <a:pt x="1386" y="3214"/>
                    <a:pt x="1229" y="3025"/>
                    <a:pt x="1008" y="2899"/>
                  </a:cubicBezTo>
                  <a:lnTo>
                    <a:pt x="1008" y="1733"/>
                  </a:lnTo>
                  <a:cubicBezTo>
                    <a:pt x="1008" y="1544"/>
                    <a:pt x="1166" y="1386"/>
                    <a:pt x="1386" y="1386"/>
                  </a:cubicBezTo>
                  <a:lnTo>
                    <a:pt x="1733" y="1386"/>
                  </a:lnTo>
                  <a:lnTo>
                    <a:pt x="1733" y="1733"/>
                  </a:lnTo>
                  <a:cubicBezTo>
                    <a:pt x="1733" y="1922"/>
                    <a:pt x="1890" y="2080"/>
                    <a:pt x="2079" y="2080"/>
                  </a:cubicBezTo>
                  <a:cubicBezTo>
                    <a:pt x="2268" y="2080"/>
                    <a:pt x="2426" y="1922"/>
                    <a:pt x="2426" y="1733"/>
                  </a:cubicBezTo>
                  <a:lnTo>
                    <a:pt x="2426" y="347"/>
                  </a:lnTo>
                  <a:cubicBezTo>
                    <a:pt x="2426" y="158"/>
                    <a:pt x="2268" y="0"/>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1"/>
            <p:cNvSpPr/>
            <p:nvPr/>
          </p:nvSpPr>
          <p:spPr>
            <a:xfrm>
              <a:off x="-27691025" y="3263500"/>
              <a:ext cx="251275" cy="207175"/>
            </a:xfrm>
            <a:custGeom>
              <a:avLst/>
              <a:gdLst/>
              <a:ahLst/>
              <a:cxnLst/>
              <a:rect l="l" t="t" r="r" b="b"/>
              <a:pathLst>
                <a:path w="10051" h="8287" extrusionOk="0">
                  <a:moveTo>
                    <a:pt x="8317" y="725"/>
                  </a:moveTo>
                  <a:cubicBezTo>
                    <a:pt x="8885" y="725"/>
                    <a:pt x="9326" y="1198"/>
                    <a:pt x="9326" y="1733"/>
                  </a:cubicBezTo>
                  <a:cubicBezTo>
                    <a:pt x="9326" y="2332"/>
                    <a:pt x="8853" y="2773"/>
                    <a:pt x="8317" y="2773"/>
                  </a:cubicBezTo>
                  <a:cubicBezTo>
                    <a:pt x="7750" y="2773"/>
                    <a:pt x="7278" y="2301"/>
                    <a:pt x="7278" y="1733"/>
                  </a:cubicBezTo>
                  <a:cubicBezTo>
                    <a:pt x="7278" y="1166"/>
                    <a:pt x="7750" y="725"/>
                    <a:pt x="8317" y="725"/>
                  </a:cubicBezTo>
                  <a:close/>
                  <a:moveTo>
                    <a:pt x="8317" y="1"/>
                  </a:moveTo>
                  <a:cubicBezTo>
                    <a:pt x="7372" y="1"/>
                    <a:pt x="6585" y="788"/>
                    <a:pt x="6585" y="1733"/>
                  </a:cubicBezTo>
                  <a:cubicBezTo>
                    <a:pt x="6585" y="2584"/>
                    <a:pt x="7152" y="3277"/>
                    <a:pt x="7939" y="3435"/>
                  </a:cubicBezTo>
                  <a:lnTo>
                    <a:pt x="7939" y="5199"/>
                  </a:lnTo>
                  <a:cubicBezTo>
                    <a:pt x="7939" y="6554"/>
                    <a:pt x="6837" y="7656"/>
                    <a:pt x="5513" y="7656"/>
                  </a:cubicBezTo>
                  <a:cubicBezTo>
                    <a:pt x="4190" y="7656"/>
                    <a:pt x="3088" y="6554"/>
                    <a:pt x="3088" y="5199"/>
                  </a:cubicBezTo>
                  <a:lnTo>
                    <a:pt x="3088" y="4506"/>
                  </a:lnTo>
                  <a:lnTo>
                    <a:pt x="3088" y="4443"/>
                  </a:lnTo>
                  <a:cubicBezTo>
                    <a:pt x="4316" y="4317"/>
                    <a:pt x="5324" y="3309"/>
                    <a:pt x="5482" y="2049"/>
                  </a:cubicBezTo>
                  <a:cubicBezTo>
                    <a:pt x="5513" y="1797"/>
                    <a:pt x="5513" y="1891"/>
                    <a:pt x="5513" y="1355"/>
                  </a:cubicBezTo>
                  <a:lnTo>
                    <a:pt x="4127" y="1355"/>
                  </a:lnTo>
                  <a:cubicBezTo>
                    <a:pt x="4127" y="1607"/>
                    <a:pt x="4127" y="1765"/>
                    <a:pt x="4096" y="2049"/>
                  </a:cubicBezTo>
                  <a:cubicBezTo>
                    <a:pt x="3938" y="2710"/>
                    <a:pt x="3340" y="3088"/>
                    <a:pt x="2741" y="3088"/>
                  </a:cubicBezTo>
                  <a:cubicBezTo>
                    <a:pt x="2174" y="3088"/>
                    <a:pt x="1575" y="2773"/>
                    <a:pt x="1418" y="2049"/>
                  </a:cubicBezTo>
                  <a:cubicBezTo>
                    <a:pt x="1386" y="1828"/>
                    <a:pt x="1386" y="1607"/>
                    <a:pt x="1386" y="1355"/>
                  </a:cubicBezTo>
                  <a:lnTo>
                    <a:pt x="0" y="1355"/>
                  </a:lnTo>
                  <a:cubicBezTo>
                    <a:pt x="0" y="1670"/>
                    <a:pt x="0" y="1733"/>
                    <a:pt x="32" y="2049"/>
                  </a:cubicBezTo>
                  <a:cubicBezTo>
                    <a:pt x="221" y="3277"/>
                    <a:pt x="1166" y="4317"/>
                    <a:pt x="2426" y="4474"/>
                  </a:cubicBezTo>
                  <a:lnTo>
                    <a:pt x="2426" y="5168"/>
                  </a:lnTo>
                  <a:cubicBezTo>
                    <a:pt x="2426" y="5672"/>
                    <a:pt x="2552" y="6144"/>
                    <a:pt x="2804" y="6585"/>
                  </a:cubicBezTo>
                  <a:cubicBezTo>
                    <a:pt x="3308" y="7625"/>
                    <a:pt x="4379" y="8286"/>
                    <a:pt x="5545" y="8286"/>
                  </a:cubicBezTo>
                  <a:cubicBezTo>
                    <a:pt x="7278" y="8286"/>
                    <a:pt x="8664" y="6869"/>
                    <a:pt x="8664" y="5168"/>
                  </a:cubicBezTo>
                  <a:lnTo>
                    <a:pt x="8664" y="3435"/>
                  </a:lnTo>
                  <a:cubicBezTo>
                    <a:pt x="9452" y="3277"/>
                    <a:pt x="10050" y="2584"/>
                    <a:pt x="10050" y="1733"/>
                  </a:cubicBezTo>
                  <a:cubicBezTo>
                    <a:pt x="10050" y="788"/>
                    <a:pt x="9263" y="1"/>
                    <a:pt x="8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4" name="Google Shape;6584;p71"/>
          <p:cNvGrpSpPr/>
          <p:nvPr/>
        </p:nvGrpSpPr>
        <p:grpSpPr>
          <a:xfrm>
            <a:off x="5746179" y="1825637"/>
            <a:ext cx="354710" cy="228015"/>
            <a:chOff x="-27721750" y="3598250"/>
            <a:chExt cx="297750" cy="191400"/>
          </a:xfrm>
        </p:grpSpPr>
        <p:sp>
          <p:nvSpPr>
            <p:cNvPr id="6585" name="Google Shape;6585;p71"/>
            <p:cNvSpPr/>
            <p:nvPr/>
          </p:nvSpPr>
          <p:spPr>
            <a:xfrm>
              <a:off x="-27616200" y="3651800"/>
              <a:ext cx="86650" cy="86675"/>
            </a:xfrm>
            <a:custGeom>
              <a:avLst/>
              <a:gdLst/>
              <a:ahLst/>
              <a:cxnLst/>
              <a:rect l="l" t="t" r="r" b="b"/>
              <a:pathLst>
                <a:path w="3466" h="3467" extrusionOk="0">
                  <a:moveTo>
                    <a:pt x="1386" y="662"/>
                  </a:moveTo>
                  <a:cubicBezTo>
                    <a:pt x="1764" y="662"/>
                    <a:pt x="2079" y="977"/>
                    <a:pt x="2079" y="1387"/>
                  </a:cubicBezTo>
                  <a:cubicBezTo>
                    <a:pt x="2079" y="1765"/>
                    <a:pt x="1764" y="2080"/>
                    <a:pt x="1386" y="2080"/>
                  </a:cubicBezTo>
                  <a:cubicBezTo>
                    <a:pt x="977" y="2080"/>
                    <a:pt x="662" y="1765"/>
                    <a:pt x="662" y="1387"/>
                  </a:cubicBezTo>
                  <a:cubicBezTo>
                    <a:pt x="662" y="977"/>
                    <a:pt x="977" y="662"/>
                    <a:pt x="1386" y="662"/>
                  </a:cubicBezTo>
                  <a:close/>
                  <a:moveTo>
                    <a:pt x="1733" y="1"/>
                  </a:moveTo>
                  <a:cubicBezTo>
                    <a:pt x="788" y="1"/>
                    <a:pt x="0" y="788"/>
                    <a:pt x="0" y="1733"/>
                  </a:cubicBezTo>
                  <a:cubicBezTo>
                    <a:pt x="0"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1"/>
            <p:cNvSpPr/>
            <p:nvPr/>
          </p:nvSpPr>
          <p:spPr>
            <a:xfrm>
              <a:off x="-27721750" y="3598250"/>
              <a:ext cx="297750" cy="191400"/>
            </a:xfrm>
            <a:custGeom>
              <a:avLst/>
              <a:gdLst/>
              <a:ahLst/>
              <a:cxnLst/>
              <a:rect l="l" t="t" r="r" b="b"/>
              <a:pathLst>
                <a:path w="11910" h="7656" extrusionOk="0">
                  <a:moveTo>
                    <a:pt x="5955" y="1418"/>
                  </a:moveTo>
                  <a:cubicBezTo>
                    <a:pt x="7278" y="1418"/>
                    <a:pt x="8381" y="2521"/>
                    <a:pt x="8381" y="3875"/>
                  </a:cubicBezTo>
                  <a:cubicBezTo>
                    <a:pt x="8381" y="5199"/>
                    <a:pt x="7278" y="6301"/>
                    <a:pt x="5955" y="6301"/>
                  </a:cubicBezTo>
                  <a:cubicBezTo>
                    <a:pt x="4600" y="6301"/>
                    <a:pt x="3497" y="5199"/>
                    <a:pt x="3497" y="3875"/>
                  </a:cubicBezTo>
                  <a:cubicBezTo>
                    <a:pt x="3497" y="2521"/>
                    <a:pt x="4600" y="1418"/>
                    <a:pt x="5955" y="1418"/>
                  </a:cubicBezTo>
                  <a:close/>
                  <a:moveTo>
                    <a:pt x="5955" y="0"/>
                  </a:moveTo>
                  <a:cubicBezTo>
                    <a:pt x="2710" y="0"/>
                    <a:pt x="189" y="3466"/>
                    <a:pt x="95" y="3623"/>
                  </a:cubicBezTo>
                  <a:cubicBezTo>
                    <a:pt x="0" y="3749"/>
                    <a:pt x="0" y="3907"/>
                    <a:pt x="95" y="4033"/>
                  </a:cubicBezTo>
                  <a:cubicBezTo>
                    <a:pt x="189" y="4190"/>
                    <a:pt x="2773" y="7656"/>
                    <a:pt x="5955" y="7656"/>
                  </a:cubicBezTo>
                  <a:cubicBezTo>
                    <a:pt x="9137" y="7656"/>
                    <a:pt x="11689" y="4190"/>
                    <a:pt x="11815" y="4033"/>
                  </a:cubicBezTo>
                  <a:cubicBezTo>
                    <a:pt x="11909" y="3907"/>
                    <a:pt x="11909" y="3749"/>
                    <a:pt x="11815" y="3623"/>
                  </a:cubicBezTo>
                  <a:cubicBezTo>
                    <a:pt x="11689" y="3466"/>
                    <a:pt x="9168"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7" name="Google Shape;6587;p71"/>
          <p:cNvGrpSpPr/>
          <p:nvPr/>
        </p:nvGrpSpPr>
        <p:grpSpPr>
          <a:xfrm>
            <a:off x="5747579" y="2219183"/>
            <a:ext cx="351910" cy="340980"/>
            <a:chOff x="-27719400" y="3925600"/>
            <a:chExt cx="295400" cy="286225"/>
          </a:xfrm>
        </p:grpSpPr>
        <p:sp>
          <p:nvSpPr>
            <p:cNvPr id="6588" name="Google Shape;6588;p71"/>
            <p:cNvSpPr/>
            <p:nvPr/>
          </p:nvSpPr>
          <p:spPr>
            <a:xfrm>
              <a:off x="-27596525" y="3925600"/>
              <a:ext cx="172525" cy="162575"/>
            </a:xfrm>
            <a:custGeom>
              <a:avLst/>
              <a:gdLst/>
              <a:ahLst/>
              <a:cxnLst/>
              <a:rect l="l" t="t" r="r" b="b"/>
              <a:pathLst>
                <a:path w="6901" h="6503" extrusionOk="0">
                  <a:moveTo>
                    <a:pt x="5042" y="0"/>
                  </a:moveTo>
                  <a:cubicBezTo>
                    <a:pt x="4425" y="0"/>
                    <a:pt x="3809" y="237"/>
                    <a:pt x="3340" y="705"/>
                  </a:cubicBezTo>
                  <a:lnTo>
                    <a:pt x="1765" y="2281"/>
                  </a:lnTo>
                  <a:cubicBezTo>
                    <a:pt x="1639" y="2407"/>
                    <a:pt x="1639" y="2627"/>
                    <a:pt x="1765" y="2785"/>
                  </a:cubicBezTo>
                  <a:cubicBezTo>
                    <a:pt x="1860" y="2879"/>
                    <a:pt x="1891" y="2942"/>
                    <a:pt x="1891" y="3037"/>
                  </a:cubicBezTo>
                  <a:cubicBezTo>
                    <a:pt x="1891" y="3100"/>
                    <a:pt x="1860" y="3226"/>
                    <a:pt x="1765" y="3257"/>
                  </a:cubicBezTo>
                  <a:lnTo>
                    <a:pt x="1229" y="3824"/>
                  </a:lnTo>
                  <a:cubicBezTo>
                    <a:pt x="1009" y="3856"/>
                    <a:pt x="820" y="3919"/>
                    <a:pt x="662" y="4045"/>
                  </a:cubicBezTo>
                  <a:lnTo>
                    <a:pt x="1" y="4643"/>
                  </a:lnTo>
                  <a:lnTo>
                    <a:pt x="1860" y="6502"/>
                  </a:lnTo>
                  <a:lnTo>
                    <a:pt x="2427" y="5809"/>
                  </a:lnTo>
                  <a:cubicBezTo>
                    <a:pt x="2553" y="5652"/>
                    <a:pt x="2647" y="5494"/>
                    <a:pt x="2679" y="5305"/>
                  </a:cubicBezTo>
                  <a:lnTo>
                    <a:pt x="6774" y="1209"/>
                  </a:lnTo>
                  <a:cubicBezTo>
                    <a:pt x="6900" y="1083"/>
                    <a:pt x="6900" y="863"/>
                    <a:pt x="6774" y="737"/>
                  </a:cubicBezTo>
                  <a:cubicBezTo>
                    <a:pt x="6298" y="245"/>
                    <a:pt x="5669" y="0"/>
                    <a:pt x="5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1"/>
            <p:cNvSpPr/>
            <p:nvPr/>
          </p:nvSpPr>
          <p:spPr>
            <a:xfrm>
              <a:off x="-27719400" y="4054275"/>
              <a:ext cx="157550" cy="157550"/>
            </a:xfrm>
            <a:custGeom>
              <a:avLst/>
              <a:gdLst/>
              <a:ahLst/>
              <a:cxnLst/>
              <a:rect l="l" t="t" r="r" b="b"/>
              <a:pathLst>
                <a:path w="6302" h="6302" extrusionOk="0">
                  <a:moveTo>
                    <a:pt x="4412" y="1"/>
                  </a:moveTo>
                  <a:lnTo>
                    <a:pt x="537" y="3466"/>
                  </a:lnTo>
                  <a:cubicBezTo>
                    <a:pt x="190" y="3781"/>
                    <a:pt x="1" y="4222"/>
                    <a:pt x="1" y="4695"/>
                  </a:cubicBezTo>
                  <a:cubicBezTo>
                    <a:pt x="1" y="5136"/>
                    <a:pt x="158" y="5545"/>
                    <a:pt x="474" y="5829"/>
                  </a:cubicBezTo>
                  <a:cubicBezTo>
                    <a:pt x="789" y="6144"/>
                    <a:pt x="1167" y="6302"/>
                    <a:pt x="1608" y="6302"/>
                  </a:cubicBezTo>
                  <a:lnTo>
                    <a:pt x="1639" y="6302"/>
                  </a:lnTo>
                  <a:cubicBezTo>
                    <a:pt x="1954" y="6302"/>
                    <a:pt x="2269" y="6175"/>
                    <a:pt x="2553" y="5986"/>
                  </a:cubicBezTo>
                  <a:lnTo>
                    <a:pt x="1482" y="4915"/>
                  </a:lnTo>
                  <a:cubicBezTo>
                    <a:pt x="1356" y="4789"/>
                    <a:pt x="1356" y="4569"/>
                    <a:pt x="1482" y="4443"/>
                  </a:cubicBezTo>
                  <a:cubicBezTo>
                    <a:pt x="1545" y="4395"/>
                    <a:pt x="1631" y="4372"/>
                    <a:pt x="1718" y="4372"/>
                  </a:cubicBezTo>
                  <a:cubicBezTo>
                    <a:pt x="1805" y="4372"/>
                    <a:pt x="1891" y="4395"/>
                    <a:pt x="1954" y="4443"/>
                  </a:cubicBezTo>
                  <a:lnTo>
                    <a:pt x="3025" y="5514"/>
                  </a:lnTo>
                  <a:lnTo>
                    <a:pt x="3498" y="5010"/>
                  </a:lnTo>
                  <a:lnTo>
                    <a:pt x="2521" y="4002"/>
                  </a:lnTo>
                  <a:cubicBezTo>
                    <a:pt x="2395" y="3907"/>
                    <a:pt x="2395" y="3655"/>
                    <a:pt x="2521" y="3561"/>
                  </a:cubicBezTo>
                  <a:cubicBezTo>
                    <a:pt x="2569" y="3498"/>
                    <a:pt x="2655" y="3466"/>
                    <a:pt x="2746" y="3466"/>
                  </a:cubicBezTo>
                  <a:cubicBezTo>
                    <a:pt x="2836" y="3466"/>
                    <a:pt x="2931" y="3498"/>
                    <a:pt x="2994" y="3561"/>
                  </a:cubicBezTo>
                  <a:lnTo>
                    <a:pt x="3939" y="4474"/>
                  </a:lnTo>
                  <a:lnTo>
                    <a:pt x="4412" y="3970"/>
                  </a:lnTo>
                  <a:lnTo>
                    <a:pt x="3530" y="3120"/>
                  </a:lnTo>
                  <a:cubicBezTo>
                    <a:pt x="3403" y="2994"/>
                    <a:pt x="3403" y="2773"/>
                    <a:pt x="3530" y="2647"/>
                  </a:cubicBezTo>
                  <a:cubicBezTo>
                    <a:pt x="3593" y="2584"/>
                    <a:pt x="3679" y="2552"/>
                    <a:pt x="3766" y="2552"/>
                  </a:cubicBezTo>
                  <a:cubicBezTo>
                    <a:pt x="3852" y="2552"/>
                    <a:pt x="3939" y="2584"/>
                    <a:pt x="4002" y="2647"/>
                  </a:cubicBezTo>
                  <a:lnTo>
                    <a:pt x="4884" y="3498"/>
                  </a:lnTo>
                  <a:lnTo>
                    <a:pt x="5357" y="2994"/>
                  </a:lnTo>
                  <a:lnTo>
                    <a:pt x="4601" y="2237"/>
                  </a:lnTo>
                  <a:cubicBezTo>
                    <a:pt x="4475" y="2111"/>
                    <a:pt x="4475" y="1891"/>
                    <a:pt x="4601" y="1765"/>
                  </a:cubicBezTo>
                  <a:cubicBezTo>
                    <a:pt x="4671" y="1624"/>
                    <a:pt x="4771" y="1562"/>
                    <a:pt x="4867" y="1562"/>
                  </a:cubicBezTo>
                  <a:cubicBezTo>
                    <a:pt x="4944" y="1562"/>
                    <a:pt x="5018" y="1601"/>
                    <a:pt x="5073" y="1670"/>
                  </a:cubicBezTo>
                  <a:lnTo>
                    <a:pt x="5829" y="2395"/>
                  </a:lnTo>
                  <a:lnTo>
                    <a:pt x="6302" y="1891"/>
                  </a:lnTo>
                  <a:lnTo>
                    <a:pt x="4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0" name="Google Shape;6590;p71"/>
          <p:cNvGrpSpPr/>
          <p:nvPr/>
        </p:nvGrpSpPr>
        <p:grpSpPr>
          <a:xfrm>
            <a:off x="7968851" y="1306023"/>
            <a:ext cx="353757" cy="353757"/>
            <a:chOff x="-25834600" y="3176875"/>
            <a:chExt cx="296950" cy="296950"/>
          </a:xfrm>
        </p:grpSpPr>
        <p:sp>
          <p:nvSpPr>
            <p:cNvPr id="6591" name="Google Shape;6591;p71"/>
            <p:cNvSpPr/>
            <p:nvPr/>
          </p:nvSpPr>
          <p:spPr>
            <a:xfrm>
              <a:off x="-25625875" y="3316275"/>
              <a:ext cx="69325" cy="85875"/>
            </a:xfrm>
            <a:custGeom>
              <a:avLst/>
              <a:gdLst/>
              <a:ahLst/>
              <a:cxnLst/>
              <a:rect l="l" t="t" r="r" b="b"/>
              <a:pathLst>
                <a:path w="2773" h="3435" extrusionOk="0">
                  <a:moveTo>
                    <a:pt x="0" y="1"/>
                  </a:moveTo>
                  <a:lnTo>
                    <a:pt x="0" y="3435"/>
                  </a:lnTo>
                  <a:lnTo>
                    <a:pt x="2773" y="3435"/>
                  </a:lnTo>
                  <a:lnTo>
                    <a:pt x="2773" y="2741"/>
                  </a:lnTo>
                  <a:lnTo>
                    <a:pt x="1040" y="2741"/>
                  </a:lnTo>
                  <a:cubicBezTo>
                    <a:pt x="851" y="2741"/>
                    <a:pt x="693" y="2584"/>
                    <a:pt x="693" y="2395"/>
                  </a:cubicBezTo>
                  <a:cubicBezTo>
                    <a:pt x="693" y="2206"/>
                    <a:pt x="851" y="2048"/>
                    <a:pt x="1040" y="2048"/>
                  </a:cubicBezTo>
                  <a:lnTo>
                    <a:pt x="2773" y="2048"/>
                  </a:lnTo>
                  <a:lnTo>
                    <a:pt x="2773" y="1324"/>
                  </a:lnTo>
                  <a:lnTo>
                    <a:pt x="1040" y="1324"/>
                  </a:lnTo>
                  <a:cubicBezTo>
                    <a:pt x="851" y="1324"/>
                    <a:pt x="693" y="1166"/>
                    <a:pt x="693" y="977"/>
                  </a:cubicBezTo>
                  <a:cubicBezTo>
                    <a:pt x="693" y="851"/>
                    <a:pt x="851" y="694"/>
                    <a:pt x="1040" y="694"/>
                  </a:cubicBezTo>
                  <a:lnTo>
                    <a:pt x="2773" y="694"/>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1"/>
            <p:cNvSpPr/>
            <p:nvPr/>
          </p:nvSpPr>
          <p:spPr>
            <a:xfrm>
              <a:off x="-25729075" y="3176875"/>
              <a:ext cx="191425" cy="296950"/>
            </a:xfrm>
            <a:custGeom>
              <a:avLst/>
              <a:gdLst/>
              <a:ahLst/>
              <a:cxnLst/>
              <a:rect l="l" t="t" r="r" b="b"/>
              <a:pathLst>
                <a:path w="7657" h="11878" extrusionOk="0">
                  <a:moveTo>
                    <a:pt x="2049" y="693"/>
                  </a:moveTo>
                  <a:lnTo>
                    <a:pt x="2049" y="2773"/>
                  </a:lnTo>
                  <a:lnTo>
                    <a:pt x="1356" y="2773"/>
                  </a:lnTo>
                  <a:lnTo>
                    <a:pt x="1356" y="693"/>
                  </a:lnTo>
                  <a:close/>
                  <a:moveTo>
                    <a:pt x="3435" y="693"/>
                  </a:moveTo>
                  <a:lnTo>
                    <a:pt x="3435" y="2773"/>
                  </a:lnTo>
                  <a:lnTo>
                    <a:pt x="2710" y="2773"/>
                  </a:lnTo>
                  <a:lnTo>
                    <a:pt x="2710" y="693"/>
                  </a:lnTo>
                  <a:close/>
                  <a:moveTo>
                    <a:pt x="4821" y="693"/>
                  </a:moveTo>
                  <a:lnTo>
                    <a:pt x="4821" y="2773"/>
                  </a:lnTo>
                  <a:lnTo>
                    <a:pt x="4097" y="2773"/>
                  </a:lnTo>
                  <a:lnTo>
                    <a:pt x="4097" y="693"/>
                  </a:lnTo>
                  <a:close/>
                  <a:moveTo>
                    <a:pt x="6176" y="693"/>
                  </a:moveTo>
                  <a:lnTo>
                    <a:pt x="6176" y="2773"/>
                  </a:lnTo>
                  <a:lnTo>
                    <a:pt x="5483" y="2773"/>
                  </a:lnTo>
                  <a:lnTo>
                    <a:pt x="5483" y="693"/>
                  </a:lnTo>
                  <a:close/>
                  <a:moveTo>
                    <a:pt x="1041" y="0"/>
                  </a:moveTo>
                  <a:cubicBezTo>
                    <a:pt x="442" y="0"/>
                    <a:pt x="1" y="473"/>
                    <a:pt x="1" y="1040"/>
                  </a:cubicBezTo>
                  <a:lnTo>
                    <a:pt x="1" y="3119"/>
                  </a:lnTo>
                  <a:cubicBezTo>
                    <a:pt x="1" y="3308"/>
                    <a:pt x="158" y="3466"/>
                    <a:pt x="379" y="3466"/>
                  </a:cubicBezTo>
                  <a:lnTo>
                    <a:pt x="726" y="3466"/>
                  </a:lnTo>
                  <a:lnTo>
                    <a:pt x="726" y="4883"/>
                  </a:lnTo>
                  <a:lnTo>
                    <a:pt x="2458" y="4883"/>
                  </a:lnTo>
                  <a:cubicBezTo>
                    <a:pt x="2647" y="4883"/>
                    <a:pt x="2805" y="5041"/>
                    <a:pt x="2805" y="5262"/>
                  </a:cubicBezTo>
                  <a:lnTo>
                    <a:pt x="2805" y="9420"/>
                  </a:lnTo>
                  <a:cubicBezTo>
                    <a:pt x="2805" y="9609"/>
                    <a:pt x="2647" y="9767"/>
                    <a:pt x="2458" y="9767"/>
                  </a:cubicBezTo>
                  <a:lnTo>
                    <a:pt x="2112" y="9767"/>
                  </a:lnTo>
                  <a:cubicBezTo>
                    <a:pt x="2112" y="10523"/>
                    <a:pt x="1797" y="11247"/>
                    <a:pt x="1261" y="11751"/>
                  </a:cubicBezTo>
                  <a:cubicBezTo>
                    <a:pt x="1419" y="11815"/>
                    <a:pt x="1576" y="11878"/>
                    <a:pt x="1734" y="11878"/>
                  </a:cubicBezTo>
                  <a:lnTo>
                    <a:pt x="5924" y="11878"/>
                  </a:lnTo>
                  <a:cubicBezTo>
                    <a:pt x="6522" y="11878"/>
                    <a:pt x="6932" y="11405"/>
                    <a:pt x="6932" y="10838"/>
                  </a:cubicBezTo>
                  <a:lnTo>
                    <a:pt x="6932" y="9798"/>
                  </a:lnTo>
                  <a:lnTo>
                    <a:pt x="3813" y="9798"/>
                  </a:lnTo>
                  <a:cubicBezTo>
                    <a:pt x="3624" y="9798"/>
                    <a:pt x="3467" y="9672"/>
                    <a:pt x="3467" y="9452"/>
                  </a:cubicBezTo>
                  <a:lnTo>
                    <a:pt x="3467" y="5293"/>
                  </a:lnTo>
                  <a:cubicBezTo>
                    <a:pt x="3467" y="5104"/>
                    <a:pt x="3624" y="4946"/>
                    <a:pt x="3813" y="4946"/>
                  </a:cubicBezTo>
                  <a:lnTo>
                    <a:pt x="6932" y="4946"/>
                  </a:lnTo>
                  <a:lnTo>
                    <a:pt x="6932" y="3529"/>
                  </a:lnTo>
                  <a:lnTo>
                    <a:pt x="7310" y="3529"/>
                  </a:lnTo>
                  <a:cubicBezTo>
                    <a:pt x="7499" y="3529"/>
                    <a:pt x="7657" y="3371"/>
                    <a:pt x="7657" y="3151"/>
                  </a:cubicBezTo>
                  <a:lnTo>
                    <a:pt x="7657" y="1040"/>
                  </a:lnTo>
                  <a:lnTo>
                    <a:pt x="7625" y="1040"/>
                  </a:lnTo>
                  <a:cubicBezTo>
                    <a:pt x="7625" y="441"/>
                    <a:pt x="7153" y="0"/>
                    <a:pt x="6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1"/>
            <p:cNvSpPr/>
            <p:nvPr/>
          </p:nvSpPr>
          <p:spPr>
            <a:xfrm>
              <a:off x="-25834600" y="3350150"/>
              <a:ext cx="69325" cy="96100"/>
            </a:xfrm>
            <a:custGeom>
              <a:avLst/>
              <a:gdLst/>
              <a:ahLst/>
              <a:cxnLst/>
              <a:rect l="l" t="t" r="r" b="b"/>
              <a:pathLst>
                <a:path w="2773" h="3844" extrusionOk="0">
                  <a:moveTo>
                    <a:pt x="2143" y="0"/>
                  </a:moveTo>
                  <a:cubicBezTo>
                    <a:pt x="1008" y="0"/>
                    <a:pt x="63" y="945"/>
                    <a:pt x="63" y="2080"/>
                  </a:cubicBezTo>
                  <a:cubicBezTo>
                    <a:pt x="0" y="2804"/>
                    <a:pt x="378" y="3434"/>
                    <a:pt x="914" y="3844"/>
                  </a:cubicBezTo>
                  <a:cubicBezTo>
                    <a:pt x="788" y="3529"/>
                    <a:pt x="725" y="3151"/>
                    <a:pt x="725" y="2804"/>
                  </a:cubicBezTo>
                  <a:cubicBezTo>
                    <a:pt x="725" y="1544"/>
                    <a:pt x="1576" y="473"/>
                    <a:pt x="2773" y="126"/>
                  </a:cubicBezTo>
                  <a:cubicBezTo>
                    <a:pt x="2584" y="63"/>
                    <a:pt x="2332"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1"/>
            <p:cNvSpPr/>
            <p:nvPr/>
          </p:nvSpPr>
          <p:spPr>
            <a:xfrm>
              <a:off x="-25799950" y="3368250"/>
              <a:ext cx="104775" cy="104000"/>
            </a:xfrm>
            <a:custGeom>
              <a:avLst/>
              <a:gdLst/>
              <a:ahLst/>
              <a:cxnLst/>
              <a:rect l="l" t="t" r="r" b="b"/>
              <a:pathLst>
                <a:path w="4191" h="4160" extrusionOk="0">
                  <a:moveTo>
                    <a:pt x="2080" y="694"/>
                  </a:moveTo>
                  <a:cubicBezTo>
                    <a:pt x="2836" y="694"/>
                    <a:pt x="3466" y="1324"/>
                    <a:pt x="3466" y="2080"/>
                  </a:cubicBezTo>
                  <a:cubicBezTo>
                    <a:pt x="3466" y="2364"/>
                    <a:pt x="3403" y="2584"/>
                    <a:pt x="3246" y="2836"/>
                  </a:cubicBezTo>
                  <a:lnTo>
                    <a:pt x="1292" y="915"/>
                  </a:lnTo>
                  <a:cubicBezTo>
                    <a:pt x="1576" y="788"/>
                    <a:pt x="1828" y="694"/>
                    <a:pt x="2080" y="694"/>
                  </a:cubicBezTo>
                  <a:close/>
                  <a:moveTo>
                    <a:pt x="2111" y="1"/>
                  </a:moveTo>
                  <a:cubicBezTo>
                    <a:pt x="946" y="1"/>
                    <a:pt x="1" y="946"/>
                    <a:pt x="1" y="2080"/>
                  </a:cubicBezTo>
                  <a:cubicBezTo>
                    <a:pt x="1" y="3214"/>
                    <a:pt x="946" y="4160"/>
                    <a:pt x="2111" y="4160"/>
                  </a:cubicBezTo>
                  <a:cubicBezTo>
                    <a:pt x="3246" y="4160"/>
                    <a:pt x="4191" y="3214"/>
                    <a:pt x="4191" y="2080"/>
                  </a:cubicBezTo>
                  <a:cubicBezTo>
                    <a:pt x="4191" y="946"/>
                    <a:pt x="3246"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1"/>
            <p:cNvSpPr/>
            <p:nvPr/>
          </p:nvSpPr>
          <p:spPr>
            <a:xfrm>
              <a:off x="-25712525" y="3317075"/>
              <a:ext cx="34675" cy="86650"/>
            </a:xfrm>
            <a:custGeom>
              <a:avLst/>
              <a:gdLst/>
              <a:ahLst/>
              <a:cxnLst/>
              <a:rect l="l" t="t" r="r" b="b"/>
              <a:pathLst>
                <a:path w="1387" h="3466" extrusionOk="0">
                  <a:moveTo>
                    <a:pt x="1" y="0"/>
                  </a:moveTo>
                  <a:lnTo>
                    <a:pt x="1" y="1764"/>
                  </a:lnTo>
                  <a:cubicBezTo>
                    <a:pt x="631" y="2111"/>
                    <a:pt x="1072" y="2709"/>
                    <a:pt x="1261" y="3466"/>
                  </a:cubicBezTo>
                  <a:lnTo>
                    <a:pt x="1387" y="346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6" name="Google Shape;6596;p71"/>
          <p:cNvGrpSpPr/>
          <p:nvPr/>
        </p:nvGrpSpPr>
        <p:grpSpPr>
          <a:xfrm>
            <a:off x="7968851" y="1774024"/>
            <a:ext cx="353757" cy="331241"/>
            <a:chOff x="-25834600" y="3564375"/>
            <a:chExt cx="296950" cy="278050"/>
          </a:xfrm>
        </p:grpSpPr>
        <p:sp>
          <p:nvSpPr>
            <p:cNvPr id="6597" name="Google Shape;6597;p71"/>
            <p:cNvSpPr/>
            <p:nvPr/>
          </p:nvSpPr>
          <p:spPr>
            <a:xfrm>
              <a:off x="-25694400" y="3703775"/>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0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1"/>
            <p:cNvSpPr/>
            <p:nvPr/>
          </p:nvSpPr>
          <p:spPr>
            <a:xfrm>
              <a:off x="-25591225" y="3703775"/>
              <a:ext cx="53575" cy="18150"/>
            </a:xfrm>
            <a:custGeom>
              <a:avLst/>
              <a:gdLst/>
              <a:ahLst/>
              <a:cxnLst/>
              <a:rect l="l" t="t" r="r" b="b"/>
              <a:pathLst>
                <a:path w="2143" h="726" extrusionOk="0">
                  <a:moveTo>
                    <a:pt x="347" y="1"/>
                  </a:moveTo>
                  <a:cubicBezTo>
                    <a:pt x="158" y="1"/>
                    <a:pt x="0" y="158"/>
                    <a:pt x="0" y="347"/>
                  </a:cubicBezTo>
                  <a:cubicBezTo>
                    <a:pt x="0" y="537"/>
                    <a:pt x="158" y="726"/>
                    <a:pt x="347" y="726"/>
                  </a:cubicBezTo>
                  <a:lnTo>
                    <a:pt x="1765" y="726"/>
                  </a:lnTo>
                  <a:cubicBezTo>
                    <a:pt x="1985" y="726"/>
                    <a:pt x="2143" y="568"/>
                    <a:pt x="2143" y="347"/>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1"/>
            <p:cNvSpPr/>
            <p:nvPr/>
          </p:nvSpPr>
          <p:spPr>
            <a:xfrm>
              <a:off x="-25834600" y="3703775"/>
              <a:ext cx="53575" cy="18150"/>
            </a:xfrm>
            <a:custGeom>
              <a:avLst/>
              <a:gdLst/>
              <a:ahLst/>
              <a:cxnLst/>
              <a:rect l="l" t="t" r="r" b="b"/>
              <a:pathLst>
                <a:path w="2143" h="726" extrusionOk="0">
                  <a:moveTo>
                    <a:pt x="378" y="1"/>
                  </a:moveTo>
                  <a:cubicBezTo>
                    <a:pt x="158" y="1"/>
                    <a:pt x="0" y="158"/>
                    <a:pt x="0" y="347"/>
                  </a:cubicBezTo>
                  <a:cubicBezTo>
                    <a:pt x="0" y="568"/>
                    <a:pt x="158" y="726"/>
                    <a:pt x="378" y="726"/>
                  </a:cubicBezTo>
                  <a:lnTo>
                    <a:pt x="1796" y="726"/>
                  </a:lnTo>
                  <a:cubicBezTo>
                    <a:pt x="1985" y="726"/>
                    <a:pt x="2143" y="568"/>
                    <a:pt x="2143" y="347"/>
                  </a:cubicBezTo>
                  <a:cubicBezTo>
                    <a:pt x="2143"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1"/>
            <p:cNvSpPr/>
            <p:nvPr/>
          </p:nvSpPr>
          <p:spPr>
            <a:xfrm>
              <a:off x="-25695200" y="3564375"/>
              <a:ext cx="17350" cy="52800"/>
            </a:xfrm>
            <a:custGeom>
              <a:avLst/>
              <a:gdLst/>
              <a:ahLst/>
              <a:cxnLst/>
              <a:rect l="l" t="t" r="r" b="b"/>
              <a:pathLst>
                <a:path w="694" h="2112" extrusionOk="0">
                  <a:moveTo>
                    <a:pt x="347" y="1"/>
                  </a:moveTo>
                  <a:cubicBezTo>
                    <a:pt x="158" y="1"/>
                    <a:pt x="1" y="158"/>
                    <a:pt x="1" y="347"/>
                  </a:cubicBezTo>
                  <a:lnTo>
                    <a:pt x="1" y="1765"/>
                  </a:lnTo>
                  <a:cubicBezTo>
                    <a:pt x="1" y="1954"/>
                    <a:pt x="158" y="2111"/>
                    <a:pt x="347" y="2111"/>
                  </a:cubicBezTo>
                  <a:cubicBezTo>
                    <a:pt x="536" y="2111"/>
                    <a:pt x="694" y="1954"/>
                    <a:pt x="694" y="1765"/>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1"/>
            <p:cNvSpPr/>
            <p:nvPr/>
          </p:nvSpPr>
          <p:spPr>
            <a:xfrm>
              <a:off x="-25792850" y="3606125"/>
              <a:ext cx="42550" cy="40975"/>
            </a:xfrm>
            <a:custGeom>
              <a:avLst/>
              <a:gdLst/>
              <a:ahLst/>
              <a:cxnLst/>
              <a:rect l="l" t="t" r="r" b="b"/>
              <a:pathLst>
                <a:path w="1702" h="1639" extrusionOk="0">
                  <a:moveTo>
                    <a:pt x="351" y="0"/>
                  </a:moveTo>
                  <a:cubicBezTo>
                    <a:pt x="260" y="0"/>
                    <a:pt x="173" y="32"/>
                    <a:pt x="126" y="95"/>
                  </a:cubicBezTo>
                  <a:cubicBezTo>
                    <a:pt x="0" y="221"/>
                    <a:pt x="0" y="441"/>
                    <a:pt x="126" y="567"/>
                  </a:cubicBezTo>
                  <a:lnTo>
                    <a:pt x="1103" y="1544"/>
                  </a:lnTo>
                  <a:cubicBezTo>
                    <a:pt x="1166" y="1607"/>
                    <a:pt x="1252" y="1639"/>
                    <a:pt x="1339" y="1639"/>
                  </a:cubicBezTo>
                  <a:cubicBezTo>
                    <a:pt x="1426" y="1639"/>
                    <a:pt x="1512" y="1607"/>
                    <a:pt x="1575" y="1544"/>
                  </a:cubicBezTo>
                  <a:cubicBezTo>
                    <a:pt x="1701" y="1418"/>
                    <a:pt x="1701" y="1198"/>
                    <a:pt x="1575" y="1071"/>
                  </a:cubicBezTo>
                  <a:lnTo>
                    <a:pt x="599" y="95"/>
                  </a:lnTo>
                  <a:cubicBezTo>
                    <a:pt x="536" y="32"/>
                    <a:pt x="441"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1"/>
            <p:cNvSpPr/>
            <p:nvPr/>
          </p:nvSpPr>
          <p:spPr>
            <a:xfrm>
              <a:off x="-25621950" y="3606125"/>
              <a:ext cx="43350" cy="40975"/>
            </a:xfrm>
            <a:custGeom>
              <a:avLst/>
              <a:gdLst/>
              <a:ahLst/>
              <a:cxnLst/>
              <a:rect l="l" t="t" r="r" b="b"/>
              <a:pathLst>
                <a:path w="1734" h="1639" extrusionOk="0">
                  <a:moveTo>
                    <a:pt x="1351" y="0"/>
                  </a:moveTo>
                  <a:cubicBezTo>
                    <a:pt x="1261" y="0"/>
                    <a:pt x="1166" y="32"/>
                    <a:pt x="1103" y="95"/>
                  </a:cubicBezTo>
                  <a:lnTo>
                    <a:pt x="127" y="1071"/>
                  </a:lnTo>
                  <a:cubicBezTo>
                    <a:pt x="1" y="1198"/>
                    <a:pt x="1" y="1418"/>
                    <a:pt x="127" y="1544"/>
                  </a:cubicBezTo>
                  <a:cubicBezTo>
                    <a:pt x="190" y="1607"/>
                    <a:pt x="284" y="1639"/>
                    <a:pt x="375" y="1639"/>
                  </a:cubicBezTo>
                  <a:cubicBezTo>
                    <a:pt x="465" y="1639"/>
                    <a:pt x="552" y="1607"/>
                    <a:pt x="599" y="1544"/>
                  </a:cubicBezTo>
                  <a:lnTo>
                    <a:pt x="1576" y="567"/>
                  </a:lnTo>
                  <a:cubicBezTo>
                    <a:pt x="1733" y="441"/>
                    <a:pt x="1733" y="221"/>
                    <a:pt x="1576" y="95"/>
                  </a:cubicBezTo>
                  <a:cubicBezTo>
                    <a:pt x="1529" y="32"/>
                    <a:pt x="1442" y="0"/>
                    <a:pt x="1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1"/>
            <p:cNvSpPr/>
            <p:nvPr/>
          </p:nvSpPr>
          <p:spPr>
            <a:xfrm>
              <a:off x="-25783400" y="3806975"/>
              <a:ext cx="192200" cy="35450"/>
            </a:xfrm>
            <a:custGeom>
              <a:avLst/>
              <a:gdLst/>
              <a:ahLst/>
              <a:cxnLst/>
              <a:rect l="l" t="t" r="r" b="b"/>
              <a:pathLst>
                <a:path w="7688" h="1418" extrusionOk="0">
                  <a:moveTo>
                    <a:pt x="725" y="0"/>
                  </a:moveTo>
                  <a:cubicBezTo>
                    <a:pt x="315" y="0"/>
                    <a:pt x="0" y="315"/>
                    <a:pt x="0" y="725"/>
                  </a:cubicBezTo>
                  <a:lnTo>
                    <a:pt x="0" y="1071"/>
                  </a:lnTo>
                  <a:cubicBezTo>
                    <a:pt x="0" y="1260"/>
                    <a:pt x="158" y="1418"/>
                    <a:pt x="378" y="1418"/>
                  </a:cubicBezTo>
                  <a:lnTo>
                    <a:pt x="7309" y="1418"/>
                  </a:lnTo>
                  <a:cubicBezTo>
                    <a:pt x="7530" y="1418"/>
                    <a:pt x="7687" y="1260"/>
                    <a:pt x="7687" y="1071"/>
                  </a:cubicBezTo>
                  <a:lnTo>
                    <a:pt x="7687" y="725"/>
                  </a:lnTo>
                  <a:cubicBezTo>
                    <a:pt x="7687" y="315"/>
                    <a:pt x="7372" y="0"/>
                    <a:pt x="69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1"/>
            <p:cNvSpPr/>
            <p:nvPr/>
          </p:nvSpPr>
          <p:spPr>
            <a:xfrm>
              <a:off x="-25764500" y="3635275"/>
              <a:ext cx="153600" cy="155175"/>
            </a:xfrm>
            <a:custGeom>
              <a:avLst/>
              <a:gdLst/>
              <a:ahLst/>
              <a:cxnLst/>
              <a:rect l="l" t="t" r="r" b="b"/>
              <a:pathLst>
                <a:path w="6144" h="6207" extrusionOk="0">
                  <a:moveTo>
                    <a:pt x="3025" y="0"/>
                  </a:moveTo>
                  <a:cubicBezTo>
                    <a:pt x="1355" y="0"/>
                    <a:pt x="0" y="1355"/>
                    <a:pt x="0" y="3087"/>
                  </a:cubicBezTo>
                  <a:lnTo>
                    <a:pt x="0" y="6206"/>
                  </a:lnTo>
                  <a:lnTo>
                    <a:pt x="2773" y="6206"/>
                  </a:lnTo>
                  <a:lnTo>
                    <a:pt x="2773" y="4064"/>
                  </a:lnTo>
                  <a:cubicBezTo>
                    <a:pt x="2363" y="3938"/>
                    <a:pt x="2048" y="3560"/>
                    <a:pt x="2048" y="3087"/>
                  </a:cubicBezTo>
                  <a:cubicBezTo>
                    <a:pt x="2048" y="2489"/>
                    <a:pt x="2521" y="2079"/>
                    <a:pt x="3088" y="2079"/>
                  </a:cubicBezTo>
                  <a:cubicBezTo>
                    <a:pt x="3655" y="2079"/>
                    <a:pt x="4096" y="2552"/>
                    <a:pt x="4096" y="3087"/>
                  </a:cubicBezTo>
                  <a:cubicBezTo>
                    <a:pt x="4096" y="3529"/>
                    <a:pt x="3812" y="3938"/>
                    <a:pt x="3403" y="4064"/>
                  </a:cubicBezTo>
                  <a:lnTo>
                    <a:pt x="3403" y="6206"/>
                  </a:lnTo>
                  <a:lnTo>
                    <a:pt x="6144" y="6206"/>
                  </a:lnTo>
                  <a:lnTo>
                    <a:pt x="6144" y="3087"/>
                  </a:lnTo>
                  <a:cubicBezTo>
                    <a:pt x="6144" y="1355"/>
                    <a:pt x="4726" y="0"/>
                    <a:pt x="30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5" name="Google Shape;6605;p71"/>
          <p:cNvGrpSpPr/>
          <p:nvPr/>
        </p:nvGrpSpPr>
        <p:grpSpPr>
          <a:xfrm>
            <a:off x="7966974" y="2213376"/>
            <a:ext cx="357509" cy="352595"/>
            <a:chOff x="-25834600" y="3915850"/>
            <a:chExt cx="300100" cy="295975"/>
          </a:xfrm>
        </p:grpSpPr>
        <p:sp>
          <p:nvSpPr>
            <p:cNvPr id="6606" name="Google Shape;6606;p71"/>
            <p:cNvSpPr/>
            <p:nvPr/>
          </p:nvSpPr>
          <p:spPr>
            <a:xfrm>
              <a:off x="-25677875" y="3915850"/>
              <a:ext cx="143375" cy="137675"/>
            </a:xfrm>
            <a:custGeom>
              <a:avLst/>
              <a:gdLst/>
              <a:ahLst/>
              <a:cxnLst/>
              <a:rect l="l" t="t" r="r" b="b"/>
              <a:pathLst>
                <a:path w="5735" h="5507" extrusionOk="0">
                  <a:moveTo>
                    <a:pt x="1123" y="1"/>
                  </a:moveTo>
                  <a:cubicBezTo>
                    <a:pt x="859" y="1"/>
                    <a:pt x="599" y="103"/>
                    <a:pt x="410" y="308"/>
                  </a:cubicBezTo>
                  <a:cubicBezTo>
                    <a:pt x="1" y="686"/>
                    <a:pt x="1" y="1379"/>
                    <a:pt x="410" y="1757"/>
                  </a:cubicBezTo>
                  <a:lnTo>
                    <a:pt x="3813" y="5191"/>
                  </a:lnTo>
                  <a:cubicBezTo>
                    <a:pt x="4033" y="5380"/>
                    <a:pt x="4285" y="5506"/>
                    <a:pt x="4569" y="5506"/>
                  </a:cubicBezTo>
                  <a:cubicBezTo>
                    <a:pt x="4853" y="5506"/>
                    <a:pt x="5136" y="5380"/>
                    <a:pt x="5325" y="5191"/>
                  </a:cubicBezTo>
                  <a:cubicBezTo>
                    <a:pt x="5735" y="4781"/>
                    <a:pt x="5735" y="4120"/>
                    <a:pt x="5325" y="3742"/>
                  </a:cubicBezTo>
                  <a:lnTo>
                    <a:pt x="1860" y="308"/>
                  </a:lnTo>
                  <a:cubicBezTo>
                    <a:pt x="1655" y="103"/>
                    <a:pt x="1387" y="1"/>
                    <a:pt x="1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1"/>
            <p:cNvSpPr/>
            <p:nvPr/>
          </p:nvSpPr>
          <p:spPr>
            <a:xfrm>
              <a:off x="-25834600" y="4167700"/>
              <a:ext cx="43350" cy="44125"/>
            </a:xfrm>
            <a:custGeom>
              <a:avLst/>
              <a:gdLst/>
              <a:ahLst/>
              <a:cxnLst/>
              <a:rect l="l" t="t" r="r" b="b"/>
              <a:pathLst>
                <a:path w="1734" h="1765" extrusionOk="0">
                  <a:moveTo>
                    <a:pt x="756" y="0"/>
                  </a:moveTo>
                  <a:lnTo>
                    <a:pt x="221" y="630"/>
                  </a:lnTo>
                  <a:cubicBezTo>
                    <a:pt x="95" y="756"/>
                    <a:pt x="0" y="945"/>
                    <a:pt x="0" y="1103"/>
                  </a:cubicBezTo>
                  <a:cubicBezTo>
                    <a:pt x="0" y="1292"/>
                    <a:pt x="95" y="1449"/>
                    <a:pt x="221" y="1575"/>
                  </a:cubicBezTo>
                  <a:cubicBezTo>
                    <a:pt x="347" y="1702"/>
                    <a:pt x="536" y="1765"/>
                    <a:pt x="693" y="1765"/>
                  </a:cubicBezTo>
                  <a:cubicBezTo>
                    <a:pt x="882" y="1765"/>
                    <a:pt x="1040" y="1702"/>
                    <a:pt x="1166" y="1575"/>
                  </a:cubicBezTo>
                  <a:lnTo>
                    <a:pt x="1733" y="977"/>
                  </a:ln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1"/>
            <p:cNvSpPr/>
            <p:nvPr/>
          </p:nvSpPr>
          <p:spPr>
            <a:xfrm>
              <a:off x="-25800725" y="3972375"/>
              <a:ext cx="206375" cy="207950"/>
            </a:xfrm>
            <a:custGeom>
              <a:avLst/>
              <a:gdLst/>
              <a:ahLst/>
              <a:cxnLst/>
              <a:rect l="l" t="t" r="r" b="b"/>
              <a:pathLst>
                <a:path w="8255" h="8318" extrusionOk="0">
                  <a:moveTo>
                    <a:pt x="4285" y="2457"/>
                  </a:moveTo>
                  <a:lnTo>
                    <a:pt x="5797" y="3938"/>
                  </a:lnTo>
                  <a:lnTo>
                    <a:pt x="5261" y="4474"/>
                  </a:lnTo>
                  <a:cubicBezTo>
                    <a:pt x="4868" y="4868"/>
                    <a:pt x="4342" y="5064"/>
                    <a:pt x="3814" y="5064"/>
                  </a:cubicBezTo>
                  <a:cubicBezTo>
                    <a:pt x="3708" y="5064"/>
                    <a:pt x="3602" y="5057"/>
                    <a:pt x="3497" y="5041"/>
                  </a:cubicBezTo>
                  <a:lnTo>
                    <a:pt x="3214" y="5009"/>
                  </a:lnTo>
                  <a:lnTo>
                    <a:pt x="3182" y="4726"/>
                  </a:lnTo>
                  <a:cubicBezTo>
                    <a:pt x="3119" y="4096"/>
                    <a:pt x="3308" y="3434"/>
                    <a:pt x="3781" y="2962"/>
                  </a:cubicBezTo>
                  <a:lnTo>
                    <a:pt x="4285" y="2457"/>
                  </a:lnTo>
                  <a:close/>
                  <a:moveTo>
                    <a:pt x="4789" y="0"/>
                  </a:moveTo>
                  <a:lnTo>
                    <a:pt x="3056" y="1796"/>
                  </a:lnTo>
                  <a:cubicBezTo>
                    <a:pt x="2174" y="2678"/>
                    <a:pt x="1733" y="4001"/>
                    <a:pt x="1890" y="5261"/>
                  </a:cubicBezTo>
                  <a:lnTo>
                    <a:pt x="1922" y="5419"/>
                  </a:lnTo>
                  <a:lnTo>
                    <a:pt x="0" y="7341"/>
                  </a:lnTo>
                  <a:lnTo>
                    <a:pt x="977" y="8317"/>
                  </a:lnTo>
                  <a:lnTo>
                    <a:pt x="2898" y="6396"/>
                  </a:lnTo>
                  <a:lnTo>
                    <a:pt x="3056" y="6427"/>
                  </a:lnTo>
                  <a:cubicBezTo>
                    <a:pt x="3214" y="6459"/>
                    <a:pt x="3371" y="6459"/>
                    <a:pt x="3592" y="6459"/>
                  </a:cubicBezTo>
                  <a:cubicBezTo>
                    <a:pt x="4694" y="6459"/>
                    <a:pt x="5734" y="6049"/>
                    <a:pt x="6522" y="5261"/>
                  </a:cubicBezTo>
                  <a:lnTo>
                    <a:pt x="8254" y="3466"/>
                  </a:lnTo>
                  <a:lnTo>
                    <a:pt x="7278" y="2489"/>
                  </a:lnTo>
                  <a:lnTo>
                    <a:pt x="6301" y="3466"/>
                  </a:lnTo>
                  <a:lnTo>
                    <a:pt x="4852" y="2016"/>
                  </a:lnTo>
                  <a:lnTo>
                    <a:pt x="5828" y="1040"/>
                  </a:lnTo>
                  <a:lnTo>
                    <a:pt x="47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9" name="Google Shape;6609;p71"/>
          <p:cNvGrpSpPr/>
          <p:nvPr/>
        </p:nvGrpSpPr>
        <p:grpSpPr>
          <a:xfrm>
            <a:off x="6702402" y="2694606"/>
            <a:ext cx="228968" cy="350987"/>
            <a:chOff x="-23930925" y="3149300"/>
            <a:chExt cx="192200" cy="294625"/>
          </a:xfrm>
        </p:grpSpPr>
        <p:sp>
          <p:nvSpPr>
            <p:cNvPr id="6610" name="Google Shape;6610;p71"/>
            <p:cNvSpPr/>
            <p:nvPr/>
          </p:nvSpPr>
          <p:spPr>
            <a:xfrm>
              <a:off x="-23930125" y="3149300"/>
              <a:ext cx="191400" cy="35475"/>
            </a:xfrm>
            <a:custGeom>
              <a:avLst/>
              <a:gdLst/>
              <a:ahLst/>
              <a:cxnLst/>
              <a:rect l="l" t="t" r="r" b="b"/>
              <a:pathLst>
                <a:path w="7656" h="1419" extrusionOk="0">
                  <a:moveTo>
                    <a:pt x="1040" y="1"/>
                  </a:moveTo>
                  <a:cubicBezTo>
                    <a:pt x="441" y="1"/>
                    <a:pt x="0" y="473"/>
                    <a:pt x="0" y="1040"/>
                  </a:cubicBezTo>
                  <a:lnTo>
                    <a:pt x="0" y="1418"/>
                  </a:lnTo>
                  <a:lnTo>
                    <a:pt x="7656" y="1418"/>
                  </a:lnTo>
                  <a:lnTo>
                    <a:pt x="7656" y="1040"/>
                  </a:lnTo>
                  <a:lnTo>
                    <a:pt x="7593" y="1040"/>
                  </a:lnTo>
                  <a:cubicBezTo>
                    <a:pt x="7593" y="442"/>
                    <a:pt x="7120"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1"/>
            <p:cNvSpPr/>
            <p:nvPr/>
          </p:nvSpPr>
          <p:spPr>
            <a:xfrm>
              <a:off x="-23878925" y="3237525"/>
              <a:ext cx="86650" cy="86650"/>
            </a:xfrm>
            <a:custGeom>
              <a:avLst/>
              <a:gdLst/>
              <a:ahLst/>
              <a:cxnLst/>
              <a:rect l="l" t="t" r="r" b="b"/>
              <a:pathLst>
                <a:path w="3466" h="3466" extrusionOk="0">
                  <a:moveTo>
                    <a:pt x="1386" y="0"/>
                  </a:moveTo>
                  <a:lnTo>
                    <a:pt x="1386" y="1008"/>
                  </a:lnTo>
                  <a:cubicBezTo>
                    <a:pt x="1386" y="1197"/>
                    <a:pt x="1229" y="1355"/>
                    <a:pt x="1008" y="1355"/>
                  </a:cubicBezTo>
                  <a:lnTo>
                    <a:pt x="0" y="1355"/>
                  </a:lnTo>
                  <a:lnTo>
                    <a:pt x="0" y="2079"/>
                  </a:lnTo>
                  <a:lnTo>
                    <a:pt x="1008" y="2079"/>
                  </a:lnTo>
                  <a:cubicBezTo>
                    <a:pt x="1229" y="2079"/>
                    <a:pt x="1386" y="2237"/>
                    <a:pt x="1386" y="2426"/>
                  </a:cubicBezTo>
                  <a:lnTo>
                    <a:pt x="1386" y="3466"/>
                  </a:lnTo>
                  <a:lnTo>
                    <a:pt x="2079" y="3466"/>
                  </a:lnTo>
                  <a:lnTo>
                    <a:pt x="2079" y="2426"/>
                  </a:lnTo>
                  <a:cubicBezTo>
                    <a:pt x="2079" y="2237"/>
                    <a:pt x="2237" y="2079"/>
                    <a:pt x="2426" y="2079"/>
                  </a:cubicBezTo>
                  <a:lnTo>
                    <a:pt x="3466" y="2079"/>
                  </a:lnTo>
                  <a:lnTo>
                    <a:pt x="3466" y="1355"/>
                  </a:lnTo>
                  <a:lnTo>
                    <a:pt x="2426" y="1355"/>
                  </a:lnTo>
                  <a:cubicBezTo>
                    <a:pt x="2237" y="1355"/>
                    <a:pt x="2079" y="1197"/>
                    <a:pt x="2079" y="1008"/>
                  </a:cubicBezTo>
                  <a:lnTo>
                    <a:pt x="20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1"/>
            <p:cNvSpPr/>
            <p:nvPr/>
          </p:nvSpPr>
          <p:spPr>
            <a:xfrm>
              <a:off x="-23930925" y="3375350"/>
              <a:ext cx="190625" cy="68575"/>
            </a:xfrm>
            <a:custGeom>
              <a:avLst/>
              <a:gdLst/>
              <a:ahLst/>
              <a:cxnLst/>
              <a:rect l="l" t="t" r="r" b="b"/>
              <a:pathLst>
                <a:path w="7625" h="2743" extrusionOk="0">
                  <a:moveTo>
                    <a:pt x="4159" y="694"/>
                  </a:moveTo>
                  <a:cubicBezTo>
                    <a:pt x="4348" y="694"/>
                    <a:pt x="4506" y="851"/>
                    <a:pt x="4506" y="1040"/>
                  </a:cubicBezTo>
                  <a:cubicBezTo>
                    <a:pt x="4506" y="1261"/>
                    <a:pt x="4348" y="1418"/>
                    <a:pt x="4159" y="1418"/>
                  </a:cubicBezTo>
                  <a:lnTo>
                    <a:pt x="3466" y="1418"/>
                  </a:lnTo>
                  <a:cubicBezTo>
                    <a:pt x="3246" y="1418"/>
                    <a:pt x="3088" y="1261"/>
                    <a:pt x="3088" y="1040"/>
                  </a:cubicBezTo>
                  <a:cubicBezTo>
                    <a:pt x="3088" y="851"/>
                    <a:pt x="3246" y="694"/>
                    <a:pt x="3466" y="694"/>
                  </a:cubicBezTo>
                  <a:close/>
                  <a:moveTo>
                    <a:pt x="1" y="0"/>
                  </a:moveTo>
                  <a:lnTo>
                    <a:pt x="1" y="1733"/>
                  </a:lnTo>
                  <a:cubicBezTo>
                    <a:pt x="1" y="2300"/>
                    <a:pt x="473" y="2741"/>
                    <a:pt x="1009" y="2741"/>
                  </a:cubicBezTo>
                  <a:lnTo>
                    <a:pt x="6554" y="2741"/>
                  </a:lnTo>
                  <a:cubicBezTo>
                    <a:pt x="6573" y="2742"/>
                    <a:pt x="6592" y="2743"/>
                    <a:pt x="6610" y="2743"/>
                  </a:cubicBezTo>
                  <a:cubicBezTo>
                    <a:pt x="7182" y="2743"/>
                    <a:pt x="7625" y="2282"/>
                    <a:pt x="7625" y="1733"/>
                  </a:cubicBez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1"/>
            <p:cNvSpPr/>
            <p:nvPr/>
          </p:nvSpPr>
          <p:spPr>
            <a:xfrm>
              <a:off x="-23930925" y="3202075"/>
              <a:ext cx="190625" cy="155975"/>
            </a:xfrm>
            <a:custGeom>
              <a:avLst/>
              <a:gdLst/>
              <a:ahLst/>
              <a:cxnLst/>
              <a:rect l="l" t="t" r="r" b="b"/>
              <a:pathLst>
                <a:path w="7625" h="6239" extrusionOk="0">
                  <a:moveTo>
                    <a:pt x="4506" y="693"/>
                  </a:moveTo>
                  <a:cubicBezTo>
                    <a:pt x="4727" y="693"/>
                    <a:pt x="4884" y="851"/>
                    <a:pt x="4884" y="1040"/>
                  </a:cubicBezTo>
                  <a:lnTo>
                    <a:pt x="4884" y="2080"/>
                  </a:lnTo>
                  <a:lnTo>
                    <a:pt x="5892" y="2080"/>
                  </a:lnTo>
                  <a:cubicBezTo>
                    <a:pt x="6081" y="2080"/>
                    <a:pt x="6239" y="2237"/>
                    <a:pt x="6239" y="2426"/>
                  </a:cubicBezTo>
                  <a:lnTo>
                    <a:pt x="6239" y="3812"/>
                  </a:lnTo>
                  <a:cubicBezTo>
                    <a:pt x="6239" y="4001"/>
                    <a:pt x="6081" y="4159"/>
                    <a:pt x="5892" y="4159"/>
                  </a:cubicBezTo>
                  <a:lnTo>
                    <a:pt x="4884" y="4159"/>
                  </a:lnTo>
                  <a:lnTo>
                    <a:pt x="4884" y="5199"/>
                  </a:lnTo>
                  <a:cubicBezTo>
                    <a:pt x="4884" y="5388"/>
                    <a:pt x="4727" y="5545"/>
                    <a:pt x="4506" y="5545"/>
                  </a:cubicBezTo>
                  <a:lnTo>
                    <a:pt x="3151" y="5545"/>
                  </a:lnTo>
                  <a:cubicBezTo>
                    <a:pt x="2931" y="5545"/>
                    <a:pt x="2773" y="5388"/>
                    <a:pt x="2773" y="5199"/>
                  </a:cubicBezTo>
                  <a:lnTo>
                    <a:pt x="2773" y="4159"/>
                  </a:lnTo>
                  <a:lnTo>
                    <a:pt x="1765" y="4159"/>
                  </a:lnTo>
                  <a:cubicBezTo>
                    <a:pt x="1576" y="4159"/>
                    <a:pt x="1419" y="4001"/>
                    <a:pt x="1419" y="3812"/>
                  </a:cubicBezTo>
                  <a:lnTo>
                    <a:pt x="1419" y="2426"/>
                  </a:lnTo>
                  <a:cubicBezTo>
                    <a:pt x="1419" y="2237"/>
                    <a:pt x="1576" y="2080"/>
                    <a:pt x="1765" y="2080"/>
                  </a:cubicBezTo>
                  <a:lnTo>
                    <a:pt x="2773" y="2080"/>
                  </a:lnTo>
                  <a:lnTo>
                    <a:pt x="2773" y="1040"/>
                  </a:lnTo>
                  <a:cubicBezTo>
                    <a:pt x="2773" y="851"/>
                    <a:pt x="2931" y="693"/>
                    <a:pt x="3151" y="693"/>
                  </a:cubicBezTo>
                  <a:close/>
                  <a:moveTo>
                    <a:pt x="1" y="0"/>
                  </a:moveTo>
                  <a:lnTo>
                    <a:pt x="1" y="6238"/>
                  </a:lnTo>
                  <a:lnTo>
                    <a:pt x="7625" y="6238"/>
                  </a:ln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14" name="Google Shape;6614;p71"/>
          <p:cNvGrpSpPr/>
          <p:nvPr/>
        </p:nvGrpSpPr>
        <p:grpSpPr>
          <a:xfrm>
            <a:off x="6659232" y="3173090"/>
            <a:ext cx="315307" cy="351910"/>
            <a:chOff x="-23962425" y="3519475"/>
            <a:chExt cx="264675" cy="295400"/>
          </a:xfrm>
        </p:grpSpPr>
        <p:sp>
          <p:nvSpPr>
            <p:cNvPr id="6615" name="Google Shape;6615;p71"/>
            <p:cNvSpPr/>
            <p:nvPr/>
          </p:nvSpPr>
          <p:spPr>
            <a:xfrm>
              <a:off x="-23961625" y="3580925"/>
              <a:ext cx="263875" cy="233950"/>
            </a:xfrm>
            <a:custGeom>
              <a:avLst/>
              <a:gdLst/>
              <a:ahLst/>
              <a:cxnLst/>
              <a:rect l="l" t="t" r="r" b="b"/>
              <a:pathLst>
                <a:path w="10555" h="9358" extrusionOk="0">
                  <a:moveTo>
                    <a:pt x="1701" y="3119"/>
                  </a:moveTo>
                  <a:cubicBezTo>
                    <a:pt x="1890" y="3119"/>
                    <a:pt x="2048" y="3277"/>
                    <a:pt x="2048" y="3466"/>
                  </a:cubicBezTo>
                  <a:lnTo>
                    <a:pt x="2048" y="4159"/>
                  </a:lnTo>
                  <a:cubicBezTo>
                    <a:pt x="2048" y="4379"/>
                    <a:pt x="2205" y="4537"/>
                    <a:pt x="2394" y="4537"/>
                  </a:cubicBezTo>
                  <a:lnTo>
                    <a:pt x="3119" y="4537"/>
                  </a:lnTo>
                  <a:cubicBezTo>
                    <a:pt x="3308" y="4537"/>
                    <a:pt x="3466" y="4663"/>
                    <a:pt x="3466" y="4883"/>
                  </a:cubicBezTo>
                  <a:cubicBezTo>
                    <a:pt x="3466" y="5072"/>
                    <a:pt x="3308" y="5230"/>
                    <a:pt x="3119" y="5230"/>
                  </a:cubicBezTo>
                  <a:lnTo>
                    <a:pt x="2394" y="5230"/>
                  </a:lnTo>
                  <a:cubicBezTo>
                    <a:pt x="1796" y="5198"/>
                    <a:pt x="1323" y="4726"/>
                    <a:pt x="1323" y="4159"/>
                  </a:cubicBezTo>
                  <a:lnTo>
                    <a:pt x="1323" y="3466"/>
                  </a:lnTo>
                  <a:cubicBezTo>
                    <a:pt x="1323" y="3277"/>
                    <a:pt x="1512" y="3119"/>
                    <a:pt x="1701" y="3119"/>
                  </a:cubicBezTo>
                  <a:close/>
                  <a:moveTo>
                    <a:pt x="3781" y="6585"/>
                  </a:moveTo>
                  <a:lnTo>
                    <a:pt x="3781" y="6931"/>
                  </a:lnTo>
                  <a:cubicBezTo>
                    <a:pt x="3781" y="7120"/>
                    <a:pt x="3623" y="7278"/>
                    <a:pt x="3434" y="7278"/>
                  </a:cubicBezTo>
                  <a:cubicBezTo>
                    <a:pt x="3214" y="7278"/>
                    <a:pt x="3056" y="7120"/>
                    <a:pt x="3056" y="6931"/>
                  </a:cubicBezTo>
                  <a:lnTo>
                    <a:pt x="3056" y="6585"/>
                  </a:lnTo>
                  <a:close/>
                  <a:moveTo>
                    <a:pt x="6900" y="0"/>
                  </a:moveTo>
                  <a:cubicBezTo>
                    <a:pt x="5986" y="0"/>
                    <a:pt x="5293" y="693"/>
                    <a:pt x="5293" y="1607"/>
                  </a:cubicBezTo>
                  <a:cubicBezTo>
                    <a:pt x="5293" y="2363"/>
                    <a:pt x="5765" y="2741"/>
                    <a:pt x="6238" y="3182"/>
                  </a:cubicBezTo>
                  <a:lnTo>
                    <a:pt x="7561" y="4379"/>
                  </a:lnTo>
                  <a:lnTo>
                    <a:pt x="7561" y="7624"/>
                  </a:lnTo>
                  <a:cubicBezTo>
                    <a:pt x="7561" y="8223"/>
                    <a:pt x="7089" y="8664"/>
                    <a:pt x="6553" y="8664"/>
                  </a:cubicBezTo>
                  <a:lnTo>
                    <a:pt x="4820" y="8664"/>
                  </a:lnTo>
                  <a:cubicBezTo>
                    <a:pt x="4348" y="8664"/>
                    <a:pt x="3938" y="8349"/>
                    <a:pt x="3812" y="7876"/>
                  </a:cubicBezTo>
                  <a:cubicBezTo>
                    <a:pt x="4222" y="7719"/>
                    <a:pt x="4505" y="7372"/>
                    <a:pt x="4505" y="6931"/>
                  </a:cubicBezTo>
                  <a:lnTo>
                    <a:pt x="4505" y="6585"/>
                  </a:lnTo>
                  <a:lnTo>
                    <a:pt x="5198" y="6585"/>
                  </a:lnTo>
                  <a:cubicBezTo>
                    <a:pt x="6144" y="6585"/>
                    <a:pt x="6931" y="5797"/>
                    <a:pt x="6931" y="4852"/>
                  </a:cubicBezTo>
                  <a:lnTo>
                    <a:pt x="6931" y="4631"/>
                  </a:lnTo>
                  <a:lnTo>
                    <a:pt x="5829" y="3686"/>
                  </a:lnTo>
                  <a:cubicBezTo>
                    <a:pt x="5671" y="3529"/>
                    <a:pt x="5482" y="3371"/>
                    <a:pt x="5293" y="3182"/>
                  </a:cubicBezTo>
                  <a:cubicBezTo>
                    <a:pt x="4568" y="3151"/>
                    <a:pt x="3875" y="2899"/>
                    <a:pt x="3182" y="2332"/>
                  </a:cubicBezTo>
                  <a:cubicBezTo>
                    <a:pt x="2720" y="1911"/>
                    <a:pt x="1880" y="1701"/>
                    <a:pt x="1091" y="1701"/>
                  </a:cubicBezTo>
                  <a:cubicBezTo>
                    <a:pt x="697" y="1701"/>
                    <a:pt x="315" y="1754"/>
                    <a:pt x="0" y="1859"/>
                  </a:cubicBezTo>
                  <a:lnTo>
                    <a:pt x="0" y="4883"/>
                  </a:lnTo>
                  <a:cubicBezTo>
                    <a:pt x="0" y="5829"/>
                    <a:pt x="788" y="6616"/>
                    <a:pt x="1733" y="6616"/>
                  </a:cubicBezTo>
                  <a:lnTo>
                    <a:pt x="2457" y="6616"/>
                  </a:lnTo>
                  <a:lnTo>
                    <a:pt x="2457" y="6963"/>
                  </a:lnTo>
                  <a:cubicBezTo>
                    <a:pt x="2394" y="7404"/>
                    <a:pt x="2678" y="7782"/>
                    <a:pt x="3119" y="7908"/>
                  </a:cubicBezTo>
                  <a:cubicBezTo>
                    <a:pt x="3277" y="8727"/>
                    <a:pt x="3970" y="9357"/>
                    <a:pt x="4820" y="9357"/>
                  </a:cubicBezTo>
                  <a:lnTo>
                    <a:pt x="6553" y="9357"/>
                  </a:lnTo>
                  <a:cubicBezTo>
                    <a:pt x="7498" y="9357"/>
                    <a:pt x="8286" y="8569"/>
                    <a:pt x="8286" y="7624"/>
                  </a:cubicBezTo>
                  <a:lnTo>
                    <a:pt x="8286" y="4379"/>
                  </a:lnTo>
                  <a:cubicBezTo>
                    <a:pt x="9294" y="3497"/>
                    <a:pt x="9546" y="3277"/>
                    <a:pt x="9546" y="3277"/>
                  </a:cubicBezTo>
                  <a:cubicBezTo>
                    <a:pt x="9987" y="2867"/>
                    <a:pt x="10554" y="2395"/>
                    <a:pt x="10554" y="1607"/>
                  </a:cubicBezTo>
                  <a:cubicBezTo>
                    <a:pt x="10554" y="693"/>
                    <a:pt x="9830" y="0"/>
                    <a:pt x="8948" y="0"/>
                  </a:cubicBezTo>
                  <a:cubicBezTo>
                    <a:pt x="8538" y="0"/>
                    <a:pt x="8191" y="126"/>
                    <a:pt x="7908" y="347"/>
                  </a:cubicBezTo>
                  <a:cubicBezTo>
                    <a:pt x="7656" y="95"/>
                    <a:pt x="7278" y="0"/>
                    <a:pt x="69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1"/>
            <p:cNvSpPr/>
            <p:nvPr/>
          </p:nvSpPr>
          <p:spPr>
            <a:xfrm>
              <a:off x="-23962425" y="3519475"/>
              <a:ext cx="158350" cy="122125"/>
            </a:xfrm>
            <a:custGeom>
              <a:avLst/>
              <a:gdLst/>
              <a:ahLst/>
              <a:cxnLst/>
              <a:rect l="l" t="t" r="r" b="b"/>
              <a:pathLst>
                <a:path w="6334" h="4885" extrusionOk="0">
                  <a:moveTo>
                    <a:pt x="3844" y="631"/>
                  </a:moveTo>
                  <a:cubicBezTo>
                    <a:pt x="4065" y="631"/>
                    <a:pt x="4222" y="788"/>
                    <a:pt x="4222" y="1009"/>
                  </a:cubicBezTo>
                  <a:lnTo>
                    <a:pt x="4222" y="1387"/>
                  </a:lnTo>
                  <a:lnTo>
                    <a:pt x="2773" y="1387"/>
                  </a:lnTo>
                  <a:lnTo>
                    <a:pt x="2773" y="1009"/>
                  </a:lnTo>
                  <a:cubicBezTo>
                    <a:pt x="2773" y="788"/>
                    <a:pt x="2931" y="631"/>
                    <a:pt x="3151" y="631"/>
                  </a:cubicBezTo>
                  <a:close/>
                  <a:moveTo>
                    <a:pt x="3088" y="1"/>
                  </a:moveTo>
                  <a:cubicBezTo>
                    <a:pt x="2521" y="1"/>
                    <a:pt x="2080" y="473"/>
                    <a:pt x="2080" y="1040"/>
                  </a:cubicBezTo>
                  <a:lnTo>
                    <a:pt x="2080" y="1419"/>
                  </a:lnTo>
                  <a:lnTo>
                    <a:pt x="1733" y="1419"/>
                  </a:lnTo>
                  <a:cubicBezTo>
                    <a:pt x="788" y="1419"/>
                    <a:pt x="1" y="2206"/>
                    <a:pt x="1" y="3151"/>
                  </a:cubicBezTo>
                  <a:lnTo>
                    <a:pt x="1" y="3592"/>
                  </a:lnTo>
                  <a:cubicBezTo>
                    <a:pt x="332" y="3503"/>
                    <a:pt x="705" y="3459"/>
                    <a:pt x="1087" y="3459"/>
                  </a:cubicBezTo>
                  <a:cubicBezTo>
                    <a:pt x="2048" y="3459"/>
                    <a:pt x="3069" y="3736"/>
                    <a:pt x="3655" y="4254"/>
                  </a:cubicBezTo>
                  <a:cubicBezTo>
                    <a:pt x="4002" y="4569"/>
                    <a:pt x="4411" y="4758"/>
                    <a:pt x="4789" y="4884"/>
                  </a:cubicBezTo>
                  <a:cubicBezTo>
                    <a:pt x="4726" y="4664"/>
                    <a:pt x="4632" y="4380"/>
                    <a:pt x="4632" y="4096"/>
                  </a:cubicBezTo>
                  <a:cubicBezTo>
                    <a:pt x="4632" y="2994"/>
                    <a:pt x="5356" y="2112"/>
                    <a:pt x="6333" y="1860"/>
                  </a:cubicBezTo>
                  <a:cubicBezTo>
                    <a:pt x="6018" y="1576"/>
                    <a:pt x="5608" y="1419"/>
                    <a:pt x="5199" y="1419"/>
                  </a:cubicBezTo>
                  <a:lnTo>
                    <a:pt x="4821" y="1419"/>
                  </a:lnTo>
                  <a:lnTo>
                    <a:pt x="4821" y="1040"/>
                  </a:lnTo>
                  <a:cubicBezTo>
                    <a:pt x="4821" y="442"/>
                    <a:pt x="4348"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17" name="Google Shape;6617;p71"/>
          <p:cNvSpPr/>
          <p:nvPr/>
        </p:nvSpPr>
        <p:spPr>
          <a:xfrm>
            <a:off x="6629668" y="3626801"/>
            <a:ext cx="375349" cy="344435"/>
          </a:xfrm>
          <a:custGeom>
            <a:avLst/>
            <a:gdLst/>
            <a:ahLst/>
            <a:cxnLst/>
            <a:rect l="l" t="t" r="r" b="b"/>
            <a:pathLst>
              <a:path w="12603" h="11565" extrusionOk="0">
                <a:moveTo>
                  <a:pt x="9200" y="822"/>
                </a:moveTo>
                <a:lnTo>
                  <a:pt x="11311" y="2933"/>
                </a:lnTo>
                <a:cubicBezTo>
                  <a:pt x="11279" y="3185"/>
                  <a:pt x="11185" y="3437"/>
                  <a:pt x="11090" y="3689"/>
                </a:cubicBezTo>
                <a:lnTo>
                  <a:pt x="8444" y="1074"/>
                </a:lnTo>
                <a:cubicBezTo>
                  <a:pt x="8664" y="948"/>
                  <a:pt x="8916" y="853"/>
                  <a:pt x="9200" y="822"/>
                </a:cubicBezTo>
                <a:close/>
                <a:moveTo>
                  <a:pt x="7814" y="1389"/>
                </a:moveTo>
                <a:lnTo>
                  <a:pt x="10712" y="4287"/>
                </a:lnTo>
                <a:cubicBezTo>
                  <a:pt x="10649" y="4413"/>
                  <a:pt x="10555" y="4476"/>
                  <a:pt x="10492" y="4571"/>
                </a:cubicBezTo>
                <a:cubicBezTo>
                  <a:pt x="10397" y="4634"/>
                  <a:pt x="10334" y="4728"/>
                  <a:pt x="10208" y="4791"/>
                </a:cubicBezTo>
                <a:lnTo>
                  <a:pt x="7310" y="1893"/>
                </a:lnTo>
                <a:cubicBezTo>
                  <a:pt x="7373" y="1798"/>
                  <a:pt x="7467" y="1704"/>
                  <a:pt x="7530" y="1609"/>
                </a:cubicBezTo>
                <a:cubicBezTo>
                  <a:pt x="7625" y="1546"/>
                  <a:pt x="7688" y="1452"/>
                  <a:pt x="7814" y="1389"/>
                </a:cubicBezTo>
                <a:close/>
                <a:moveTo>
                  <a:pt x="6994" y="2523"/>
                </a:moveTo>
                <a:lnTo>
                  <a:pt x="9609" y="5169"/>
                </a:lnTo>
                <a:cubicBezTo>
                  <a:pt x="9389" y="5264"/>
                  <a:pt x="9105" y="5327"/>
                  <a:pt x="8885" y="5390"/>
                </a:cubicBezTo>
                <a:lnTo>
                  <a:pt x="6742" y="3279"/>
                </a:lnTo>
                <a:cubicBezTo>
                  <a:pt x="6774" y="3027"/>
                  <a:pt x="6868" y="2743"/>
                  <a:pt x="6994" y="2523"/>
                </a:cubicBezTo>
                <a:close/>
                <a:moveTo>
                  <a:pt x="3812" y="6209"/>
                </a:moveTo>
                <a:lnTo>
                  <a:pt x="5923" y="8351"/>
                </a:lnTo>
                <a:cubicBezTo>
                  <a:pt x="5892" y="8572"/>
                  <a:pt x="5797" y="8855"/>
                  <a:pt x="5671" y="9107"/>
                </a:cubicBezTo>
                <a:lnTo>
                  <a:pt x="3056" y="6461"/>
                </a:lnTo>
                <a:cubicBezTo>
                  <a:pt x="3277" y="6335"/>
                  <a:pt x="3560" y="6272"/>
                  <a:pt x="3812" y="6209"/>
                </a:cubicBezTo>
                <a:close/>
                <a:moveTo>
                  <a:pt x="2426" y="6776"/>
                </a:moveTo>
                <a:lnTo>
                  <a:pt x="5325" y="9675"/>
                </a:lnTo>
                <a:cubicBezTo>
                  <a:pt x="5262" y="9801"/>
                  <a:pt x="5167" y="9895"/>
                  <a:pt x="5104" y="9958"/>
                </a:cubicBezTo>
                <a:cubicBezTo>
                  <a:pt x="5010" y="10053"/>
                  <a:pt x="4947" y="10116"/>
                  <a:pt x="4821" y="10210"/>
                </a:cubicBezTo>
                <a:lnTo>
                  <a:pt x="1891" y="7280"/>
                </a:lnTo>
                <a:cubicBezTo>
                  <a:pt x="1985" y="7217"/>
                  <a:pt x="2080" y="7091"/>
                  <a:pt x="2143" y="6997"/>
                </a:cubicBezTo>
                <a:cubicBezTo>
                  <a:pt x="2206" y="6934"/>
                  <a:pt x="2300" y="6839"/>
                  <a:pt x="2426" y="6776"/>
                </a:cubicBezTo>
                <a:close/>
                <a:moveTo>
                  <a:pt x="1576" y="7910"/>
                </a:moveTo>
                <a:lnTo>
                  <a:pt x="4222" y="10557"/>
                </a:lnTo>
                <a:cubicBezTo>
                  <a:pt x="4002" y="10620"/>
                  <a:pt x="3718" y="10714"/>
                  <a:pt x="3466" y="10777"/>
                </a:cubicBezTo>
                <a:lnTo>
                  <a:pt x="1355" y="8666"/>
                </a:lnTo>
                <a:cubicBezTo>
                  <a:pt x="1387" y="8414"/>
                  <a:pt x="1481" y="8162"/>
                  <a:pt x="1576" y="7910"/>
                </a:cubicBezTo>
                <a:close/>
                <a:moveTo>
                  <a:pt x="10602" y="0"/>
                </a:moveTo>
                <a:cubicBezTo>
                  <a:pt x="9383" y="0"/>
                  <a:pt x="7954" y="274"/>
                  <a:pt x="7089" y="1168"/>
                </a:cubicBezTo>
                <a:cubicBezTo>
                  <a:pt x="6207" y="2082"/>
                  <a:pt x="5923" y="3500"/>
                  <a:pt x="5923" y="4728"/>
                </a:cubicBezTo>
                <a:cubicBezTo>
                  <a:pt x="6238" y="4760"/>
                  <a:pt x="6459" y="4791"/>
                  <a:pt x="6522" y="4791"/>
                </a:cubicBezTo>
                <a:lnTo>
                  <a:pt x="6585" y="4791"/>
                </a:lnTo>
                <a:lnTo>
                  <a:pt x="6585" y="4130"/>
                </a:lnTo>
                <a:lnTo>
                  <a:pt x="7971" y="5516"/>
                </a:lnTo>
                <a:cubicBezTo>
                  <a:pt x="7751" y="5532"/>
                  <a:pt x="7540" y="5538"/>
                  <a:pt x="7348" y="5538"/>
                </a:cubicBezTo>
                <a:cubicBezTo>
                  <a:pt x="6772" y="5538"/>
                  <a:pt x="6364" y="5484"/>
                  <a:pt x="6364" y="5484"/>
                </a:cubicBezTo>
                <a:cubicBezTo>
                  <a:pt x="6314" y="5459"/>
                  <a:pt x="5810" y="5369"/>
                  <a:pt x="5121" y="5369"/>
                </a:cubicBezTo>
                <a:cubicBezTo>
                  <a:pt x="4077" y="5369"/>
                  <a:pt x="2606" y="5575"/>
                  <a:pt x="1639" y="6524"/>
                </a:cubicBezTo>
                <a:cubicBezTo>
                  <a:pt x="0" y="8162"/>
                  <a:pt x="536" y="11155"/>
                  <a:pt x="567" y="11250"/>
                </a:cubicBezTo>
                <a:cubicBezTo>
                  <a:pt x="599" y="11407"/>
                  <a:pt x="725" y="11533"/>
                  <a:pt x="914" y="11533"/>
                </a:cubicBezTo>
                <a:lnTo>
                  <a:pt x="1009" y="11533"/>
                </a:lnTo>
                <a:cubicBezTo>
                  <a:pt x="1198" y="11502"/>
                  <a:pt x="1324" y="11344"/>
                  <a:pt x="1261" y="11155"/>
                </a:cubicBezTo>
                <a:cubicBezTo>
                  <a:pt x="1261" y="11155"/>
                  <a:pt x="1166" y="10399"/>
                  <a:pt x="1229" y="9517"/>
                </a:cubicBezTo>
                <a:lnTo>
                  <a:pt x="1229" y="9517"/>
                </a:lnTo>
                <a:lnTo>
                  <a:pt x="2615" y="10903"/>
                </a:lnTo>
                <a:cubicBezTo>
                  <a:pt x="2447" y="10903"/>
                  <a:pt x="2293" y="10917"/>
                  <a:pt x="2153" y="10917"/>
                </a:cubicBezTo>
                <a:cubicBezTo>
                  <a:pt x="2083" y="10917"/>
                  <a:pt x="2017" y="10914"/>
                  <a:pt x="1954" y="10903"/>
                </a:cubicBezTo>
                <a:lnTo>
                  <a:pt x="1954" y="10966"/>
                </a:lnTo>
                <a:cubicBezTo>
                  <a:pt x="1985" y="11187"/>
                  <a:pt x="1954" y="11407"/>
                  <a:pt x="1859" y="11565"/>
                </a:cubicBezTo>
                <a:lnTo>
                  <a:pt x="2048" y="11565"/>
                </a:lnTo>
                <a:cubicBezTo>
                  <a:pt x="3277" y="11565"/>
                  <a:pt x="4695" y="11281"/>
                  <a:pt x="5577" y="10399"/>
                </a:cubicBezTo>
                <a:cubicBezTo>
                  <a:pt x="6427" y="9517"/>
                  <a:pt x="6742" y="8068"/>
                  <a:pt x="6742" y="6839"/>
                </a:cubicBezTo>
                <a:cubicBezTo>
                  <a:pt x="6396" y="6808"/>
                  <a:pt x="6144" y="6776"/>
                  <a:pt x="6112" y="6776"/>
                </a:cubicBezTo>
                <a:lnTo>
                  <a:pt x="6049" y="6776"/>
                </a:lnTo>
                <a:lnTo>
                  <a:pt x="6049" y="7438"/>
                </a:lnTo>
                <a:lnTo>
                  <a:pt x="4663" y="6051"/>
                </a:lnTo>
                <a:cubicBezTo>
                  <a:pt x="4876" y="6036"/>
                  <a:pt x="5083" y="6030"/>
                  <a:pt x="5273" y="6030"/>
                </a:cubicBezTo>
                <a:cubicBezTo>
                  <a:pt x="5845" y="6030"/>
                  <a:pt x="6270" y="6083"/>
                  <a:pt x="6270" y="6083"/>
                </a:cubicBezTo>
                <a:cubicBezTo>
                  <a:pt x="6301" y="6083"/>
                  <a:pt x="6837" y="6178"/>
                  <a:pt x="7499" y="6178"/>
                </a:cubicBezTo>
                <a:cubicBezTo>
                  <a:pt x="8727" y="6178"/>
                  <a:pt x="10145" y="5862"/>
                  <a:pt x="10996" y="4980"/>
                </a:cubicBezTo>
                <a:cubicBezTo>
                  <a:pt x="12602" y="3374"/>
                  <a:pt x="12098" y="381"/>
                  <a:pt x="12067" y="255"/>
                </a:cubicBezTo>
                <a:cubicBezTo>
                  <a:pt x="12035" y="160"/>
                  <a:pt x="11878" y="34"/>
                  <a:pt x="11657" y="34"/>
                </a:cubicBezTo>
                <a:cubicBezTo>
                  <a:pt x="11468" y="66"/>
                  <a:pt x="11342" y="223"/>
                  <a:pt x="11405" y="444"/>
                </a:cubicBezTo>
                <a:cubicBezTo>
                  <a:pt x="11405" y="444"/>
                  <a:pt x="11531" y="1168"/>
                  <a:pt x="11437" y="2050"/>
                </a:cubicBezTo>
                <a:lnTo>
                  <a:pt x="10050" y="664"/>
                </a:lnTo>
                <a:cubicBezTo>
                  <a:pt x="10218" y="664"/>
                  <a:pt x="10373" y="650"/>
                  <a:pt x="10513" y="650"/>
                </a:cubicBezTo>
                <a:cubicBezTo>
                  <a:pt x="10583" y="650"/>
                  <a:pt x="10649" y="654"/>
                  <a:pt x="10712" y="664"/>
                </a:cubicBezTo>
                <a:lnTo>
                  <a:pt x="10712" y="601"/>
                </a:lnTo>
                <a:cubicBezTo>
                  <a:pt x="10681" y="381"/>
                  <a:pt x="10712" y="160"/>
                  <a:pt x="10807" y="3"/>
                </a:cubicBezTo>
                <a:cubicBezTo>
                  <a:pt x="10739" y="1"/>
                  <a:pt x="10671" y="0"/>
                  <a:pt x="10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18" name="Google Shape;6618;p71"/>
          <p:cNvGrpSpPr/>
          <p:nvPr/>
        </p:nvGrpSpPr>
        <p:grpSpPr>
          <a:xfrm>
            <a:off x="8037908" y="3623134"/>
            <a:ext cx="239302" cy="351880"/>
            <a:chOff x="-22788075" y="3904625"/>
            <a:chExt cx="200875" cy="295375"/>
          </a:xfrm>
        </p:grpSpPr>
        <p:sp>
          <p:nvSpPr>
            <p:cNvPr id="6619" name="Google Shape;6619;p71"/>
            <p:cNvSpPr/>
            <p:nvPr/>
          </p:nvSpPr>
          <p:spPr>
            <a:xfrm>
              <a:off x="-22775475" y="4165325"/>
              <a:ext cx="65400" cy="34675"/>
            </a:xfrm>
            <a:custGeom>
              <a:avLst/>
              <a:gdLst/>
              <a:ahLst/>
              <a:cxnLst/>
              <a:rect l="l" t="t" r="r" b="b"/>
              <a:pathLst>
                <a:path w="2616" h="1387" extrusionOk="0">
                  <a:moveTo>
                    <a:pt x="32" y="1"/>
                  </a:moveTo>
                  <a:cubicBezTo>
                    <a:pt x="1" y="883"/>
                    <a:pt x="631" y="1387"/>
                    <a:pt x="1292" y="1387"/>
                  </a:cubicBezTo>
                  <a:cubicBezTo>
                    <a:pt x="1985" y="1387"/>
                    <a:pt x="2615" y="85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1"/>
            <p:cNvSpPr/>
            <p:nvPr/>
          </p:nvSpPr>
          <p:spPr>
            <a:xfrm>
              <a:off x="-22669150" y="3904725"/>
              <a:ext cx="81950" cy="244100"/>
            </a:xfrm>
            <a:custGeom>
              <a:avLst/>
              <a:gdLst/>
              <a:ahLst/>
              <a:cxnLst/>
              <a:rect l="l" t="t" r="r" b="b"/>
              <a:pathLst>
                <a:path w="3278" h="9764" extrusionOk="0">
                  <a:moveTo>
                    <a:pt x="1198" y="5541"/>
                  </a:moveTo>
                  <a:cubicBezTo>
                    <a:pt x="1387" y="5604"/>
                    <a:pt x="1544" y="5699"/>
                    <a:pt x="1544" y="5888"/>
                  </a:cubicBezTo>
                  <a:lnTo>
                    <a:pt x="1576" y="6266"/>
                  </a:lnTo>
                  <a:lnTo>
                    <a:pt x="788" y="6266"/>
                  </a:lnTo>
                  <a:lnTo>
                    <a:pt x="788" y="5888"/>
                  </a:lnTo>
                  <a:cubicBezTo>
                    <a:pt x="788" y="5699"/>
                    <a:pt x="946" y="5541"/>
                    <a:pt x="1198" y="5541"/>
                  </a:cubicBezTo>
                  <a:close/>
                  <a:moveTo>
                    <a:pt x="2885" y="0"/>
                  </a:moveTo>
                  <a:cubicBezTo>
                    <a:pt x="2798" y="0"/>
                    <a:pt x="2714" y="40"/>
                    <a:pt x="2647" y="123"/>
                  </a:cubicBezTo>
                  <a:lnTo>
                    <a:pt x="914" y="2202"/>
                  </a:lnTo>
                  <a:cubicBezTo>
                    <a:pt x="883" y="2296"/>
                    <a:pt x="820" y="2360"/>
                    <a:pt x="820" y="2454"/>
                  </a:cubicBezTo>
                  <a:lnTo>
                    <a:pt x="820" y="4974"/>
                  </a:lnTo>
                  <a:cubicBezTo>
                    <a:pt x="442" y="5069"/>
                    <a:pt x="127" y="5478"/>
                    <a:pt x="127" y="5920"/>
                  </a:cubicBezTo>
                  <a:lnTo>
                    <a:pt x="1" y="9763"/>
                  </a:lnTo>
                  <a:lnTo>
                    <a:pt x="2458" y="9763"/>
                  </a:lnTo>
                  <a:lnTo>
                    <a:pt x="2238" y="5857"/>
                  </a:lnTo>
                  <a:cubicBezTo>
                    <a:pt x="2206" y="5447"/>
                    <a:pt x="1923" y="5069"/>
                    <a:pt x="1513" y="4974"/>
                  </a:cubicBezTo>
                  <a:lnTo>
                    <a:pt x="1513" y="2549"/>
                  </a:lnTo>
                  <a:lnTo>
                    <a:pt x="3151" y="595"/>
                  </a:lnTo>
                  <a:cubicBezTo>
                    <a:pt x="3277" y="375"/>
                    <a:pt x="3277" y="186"/>
                    <a:pt x="3120" y="91"/>
                  </a:cubicBezTo>
                  <a:cubicBezTo>
                    <a:pt x="3045" y="32"/>
                    <a:pt x="2964" y="0"/>
                    <a:pt x="2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1"/>
            <p:cNvSpPr/>
            <p:nvPr/>
          </p:nvSpPr>
          <p:spPr>
            <a:xfrm>
              <a:off x="-22788075" y="3904625"/>
              <a:ext cx="87450" cy="244200"/>
            </a:xfrm>
            <a:custGeom>
              <a:avLst/>
              <a:gdLst/>
              <a:ahLst/>
              <a:cxnLst/>
              <a:rect l="l" t="t" r="r" b="b"/>
              <a:pathLst>
                <a:path w="3498" h="9768" extrusionOk="0">
                  <a:moveTo>
                    <a:pt x="1733" y="1355"/>
                  </a:moveTo>
                  <a:cubicBezTo>
                    <a:pt x="1922" y="1355"/>
                    <a:pt x="2080" y="1513"/>
                    <a:pt x="2080" y="1702"/>
                  </a:cubicBezTo>
                  <a:cubicBezTo>
                    <a:pt x="2080" y="1922"/>
                    <a:pt x="1922" y="2048"/>
                    <a:pt x="1733" y="2048"/>
                  </a:cubicBezTo>
                  <a:cubicBezTo>
                    <a:pt x="1544" y="2048"/>
                    <a:pt x="1387" y="1891"/>
                    <a:pt x="1387" y="1702"/>
                  </a:cubicBezTo>
                  <a:cubicBezTo>
                    <a:pt x="1387" y="1513"/>
                    <a:pt x="1544" y="1355"/>
                    <a:pt x="1733" y="1355"/>
                  </a:cubicBezTo>
                  <a:close/>
                  <a:moveTo>
                    <a:pt x="1765" y="5545"/>
                  </a:moveTo>
                  <a:cubicBezTo>
                    <a:pt x="1954" y="5608"/>
                    <a:pt x="2111" y="5703"/>
                    <a:pt x="2111" y="5892"/>
                  </a:cubicBezTo>
                  <a:lnTo>
                    <a:pt x="2174" y="6270"/>
                  </a:lnTo>
                  <a:lnTo>
                    <a:pt x="1387" y="6270"/>
                  </a:lnTo>
                  <a:lnTo>
                    <a:pt x="1387" y="5892"/>
                  </a:lnTo>
                  <a:cubicBezTo>
                    <a:pt x="1387" y="5703"/>
                    <a:pt x="1544" y="5545"/>
                    <a:pt x="1765" y="5545"/>
                  </a:cubicBezTo>
                  <a:close/>
                  <a:moveTo>
                    <a:pt x="1733" y="1"/>
                  </a:moveTo>
                  <a:cubicBezTo>
                    <a:pt x="788" y="1"/>
                    <a:pt x="0" y="788"/>
                    <a:pt x="0" y="1733"/>
                  </a:cubicBezTo>
                  <a:cubicBezTo>
                    <a:pt x="0" y="2553"/>
                    <a:pt x="599" y="3277"/>
                    <a:pt x="1387" y="3435"/>
                  </a:cubicBezTo>
                  <a:lnTo>
                    <a:pt x="1387" y="4947"/>
                  </a:lnTo>
                  <a:cubicBezTo>
                    <a:pt x="977" y="5073"/>
                    <a:pt x="662" y="5482"/>
                    <a:pt x="662" y="5892"/>
                  </a:cubicBezTo>
                  <a:lnTo>
                    <a:pt x="536" y="9767"/>
                  </a:lnTo>
                  <a:lnTo>
                    <a:pt x="2993" y="9767"/>
                  </a:lnTo>
                  <a:lnTo>
                    <a:pt x="2804" y="5861"/>
                  </a:lnTo>
                  <a:cubicBezTo>
                    <a:pt x="2741" y="5419"/>
                    <a:pt x="2489" y="5073"/>
                    <a:pt x="2048" y="4947"/>
                  </a:cubicBezTo>
                  <a:lnTo>
                    <a:pt x="2048" y="3435"/>
                  </a:lnTo>
                  <a:cubicBezTo>
                    <a:pt x="2836" y="3277"/>
                    <a:pt x="3435" y="2553"/>
                    <a:pt x="3435" y="1733"/>
                  </a:cubicBezTo>
                  <a:cubicBezTo>
                    <a:pt x="3498" y="757"/>
                    <a:pt x="271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1"/>
            <p:cNvSpPr/>
            <p:nvPr/>
          </p:nvSpPr>
          <p:spPr>
            <a:xfrm>
              <a:off x="-22670725" y="4165325"/>
              <a:ext cx="64625" cy="34675"/>
            </a:xfrm>
            <a:custGeom>
              <a:avLst/>
              <a:gdLst/>
              <a:ahLst/>
              <a:cxnLst/>
              <a:rect l="l" t="t" r="r" b="b"/>
              <a:pathLst>
                <a:path w="2585" h="1387" extrusionOk="0">
                  <a:moveTo>
                    <a:pt x="32" y="1"/>
                  </a:moveTo>
                  <a:cubicBezTo>
                    <a:pt x="1" y="883"/>
                    <a:pt x="631" y="1387"/>
                    <a:pt x="1292" y="1387"/>
                  </a:cubicBezTo>
                  <a:cubicBezTo>
                    <a:pt x="1954" y="1387"/>
                    <a:pt x="2584" y="851"/>
                    <a:pt x="25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3" name="Google Shape;6623;p71"/>
          <p:cNvGrpSpPr/>
          <p:nvPr/>
        </p:nvGrpSpPr>
        <p:grpSpPr>
          <a:xfrm>
            <a:off x="6193206" y="1306499"/>
            <a:ext cx="354710" cy="352803"/>
            <a:chOff x="-27351575" y="3175300"/>
            <a:chExt cx="297750" cy="296150"/>
          </a:xfrm>
        </p:grpSpPr>
        <p:sp>
          <p:nvSpPr>
            <p:cNvPr id="6624" name="Google Shape;6624;p71"/>
            <p:cNvSpPr/>
            <p:nvPr/>
          </p:nvSpPr>
          <p:spPr>
            <a:xfrm>
              <a:off x="-27351575" y="3175300"/>
              <a:ext cx="296975" cy="157550"/>
            </a:xfrm>
            <a:custGeom>
              <a:avLst/>
              <a:gdLst/>
              <a:ahLst/>
              <a:cxnLst/>
              <a:rect l="l" t="t" r="r" b="b"/>
              <a:pathLst>
                <a:path w="11879" h="6302" extrusionOk="0">
                  <a:moveTo>
                    <a:pt x="7688" y="2080"/>
                  </a:moveTo>
                  <a:lnTo>
                    <a:pt x="7688" y="2836"/>
                  </a:lnTo>
                  <a:lnTo>
                    <a:pt x="4191" y="2836"/>
                  </a:lnTo>
                  <a:lnTo>
                    <a:pt x="4191" y="2080"/>
                  </a:lnTo>
                  <a:close/>
                  <a:moveTo>
                    <a:pt x="10177" y="3497"/>
                  </a:moveTo>
                  <a:cubicBezTo>
                    <a:pt x="10586" y="3497"/>
                    <a:pt x="10996" y="3781"/>
                    <a:pt x="11154" y="4222"/>
                  </a:cubicBezTo>
                  <a:lnTo>
                    <a:pt x="820" y="4222"/>
                  </a:lnTo>
                  <a:cubicBezTo>
                    <a:pt x="914" y="3812"/>
                    <a:pt x="1292" y="3497"/>
                    <a:pt x="1765" y="3497"/>
                  </a:cubicBezTo>
                  <a:close/>
                  <a:moveTo>
                    <a:pt x="3844" y="0"/>
                  </a:moveTo>
                  <a:cubicBezTo>
                    <a:pt x="2899" y="0"/>
                    <a:pt x="2112" y="788"/>
                    <a:pt x="2112" y="1733"/>
                  </a:cubicBezTo>
                  <a:lnTo>
                    <a:pt x="2112" y="2836"/>
                  </a:lnTo>
                  <a:lnTo>
                    <a:pt x="1734" y="2836"/>
                  </a:lnTo>
                  <a:cubicBezTo>
                    <a:pt x="788" y="2836"/>
                    <a:pt x="1" y="3623"/>
                    <a:pt x="1" y="4568"/>
                  </a:cubicBezTo>
                  <a:lnTo>
                    <a:pt x="1" y="6301"/>
                  </a:lnTo>
                  <a:lnTo>
                    <a:pt x="1387" y="6301"/>
                  </a:lnTo>
                  <a:lnTo>
                    <a:pt x="1387" y="5955"/>
                  </a:lnTo>
                  <a:lnTo>
                    <a:pt x="1418" y="5955"/>
                  </a:lnTo>
                  <a:cubicBezTo>
                    <a:pt x="1418" y="5734"/>
                    <a:pt x="1576" y="5577"/>
                    <a:pt x="1765" y="5577"/>
                  </a:cubicBezTo>
                  <a:lnTo>
                    <a:pt x="3151" y="5577"/>
                  </a:lnTo>
                  <a:cubicBezTo>
                    <a:pt x="3340" y="5577"/>
                    <a:pt x="3529" y="5734"/>
                    <a:pt x="3529" y="5955"/>
                  </a:cubicBezTo>
                  <a:lnTo>
                    <a:pt x="3529" y="6301"/>
                  </a:lnTo>
                  <a:lnTo>
                    <a:pt x="8413" y="6301"/>
                  </a:lnTo>
                  <a:lnTo>
                    <a:pt x="8413" y="5955"/>
                  </a:lnTo>
                  <a:cubicBezTo>
                    <a:pt x="8413" y="5734"/>
                    <a:pt x="8570" y="5577"/>
                    <a:pt x="8759" y="5577"/>
                  </a:cubicBezTo>
                  <a:lnTo>
                    <a:pt x="10145" y="5577"/>
                  </a:lnTo>
                  <a:cubicBezTo>
                    <a:pt x="10334" y="5577"/>
                    <a:pt x="10492" y="5734"/>
                    <a:pt x="10492" y="5955"/>
                  </a:cubicBezTo>
                  <a:lnTo>
                    <a:pt x="10492" y="6301"/>
                  </a:lnTo>
                  <a:lnTo>
                    <a:pt x="11878" y="6301"/>
                  </a:lnTo>
                  <a:lnTo>
                    <a:pt x="11878" y="4568"/>
                  </a:lnTo>
                  <a:cubicBezTo>
                    <a:pt x="11878" y="3623"/>
                    <a:pt x="11091" y="2836"/>
                    <a:pt x="10145" y="2836"/>
                  </a:cubicBezTo>
                  <a:lnTo>
                    <a:pt x="9767" y="2836"/>
                  </a:lnTo>
                  <a:lnTo>
                    <a:pt x="9767" y="1733"/>
                  </a:lnTo>
                  <a:cubicBezTo>
                    <a:pt x="9767" y="788"/>
                    <a:pt x="8980"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1"/>
            <p:cNvSpPr/>
            <p:nvPr/>
          </p:nvSpPr>
          <p:spPr>
            <a:xfrm>
              <a:off x="-27123950" y="3332825"/>
              <a:ext cx="17350" cy="52000"/>
            </a:xfrm>
            <a:custGeom>
              <a:avLst/>
              <a:gdLst/>
              <a:ahLst/>
              <a:cxnLst/>
              <a:rect l="l" t="t" r="r" b="b"/>
              <a:pathLst>
                <a:path w="694" h="2080" extrusionOk="0">
                  <a:moveTo>
                    <a:pt x="1" y="0"/>
                  </a:moveTo>
                  <a:lnTo>
                    <a:pt x="1" y="1733"/>
                  </a:lnTo>
                  <a:cubicBezTo>
                    <a:pt x="1" y="1922"/>
                    <a:pt x="158" y="2079"/>
                    <a:pt x="347" y="2079"/>
                  </a:cubicBezTo>
                  <a:cubicBezTo>
                    <a:pt x="536" y="2079"/>
                    <a:pt x="694" y="1922"/>
                    <a:pt x="694" y="1733"/>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1"/>
            <p:cNvSpPr/>
            <p:nvPr/>
          </p:nvSpPr>
          <p:spPr>
            <a:xfrm>
              <a:off x="-27350775" y="3350150"/>
              <a:ext cx="296950" cy="121300"/>
            </a:xfrm>
            <a:custGeom>
              <a:avLst/>
              <a:gdLst/>
              <a:ahLst/>
              <a:cxnLst/>
              <a:rect l="l" t="t" r="r" b="b"/>
              <a:pathLst>
                <a:path w="11878" h="4852" extrusionOk="0">
                  <a:moveTo>
                    <a:pt x="5923" y="693"/>
                  </a:moveTo>
                  <a:cubicBezTo>
                    <a:pt x="6112" y="693"/>
                    <a:pt x="6270" y="851"/>
                    <a:pt x="6270" y="1040"/>
                  </a:cubicBezTo>
                  <a:lnTo>
                    <a:pt x="6270" y="1733"/>
                  </a:lnTo>
                  <a:lnTo>
                    <a:pt x="6994" y="1733"/>
                  </a:lnTo>
                  <a:cubicBezTo>
                    <a:pt x="7183" y="1733"/>
                    <a:pt x="7341" y="1891"/>
                    <a:pt x="7341" y="2080"/>
                  </a:cubicBezTo>
                  <a:cubicBezTo>
                    <a:pt x="7341" y="2300"/>
                    <a:pt x="7183" y="2458"/>
                    <a:pt x="6994" y="2458"/>
                  </a:cubicBezTo>
                  <a:lnTo>
                    <a:pt x="6270" y="2458"/>
                  </a:lnTo>
                  <a:lnTo>
                    <a:pt x="6270" y="3151"/>
                  </a:lnTo>
                  <a:cubicBezTo>
                    <a:pt x="6270" y="3340"/>
                    <a:pt x="6112" y="3497"/>
                    <a:pt x="5923" y="3497"/>
                  </a:cubicBezTo>
                  <a:cubicBezTo>
                    <a:pt x="5734" y="3497"/>
                    <a:pt x="5577" y="3340"/>
                    <a:pt x="5577" y="3151"/>
                  </a:cubicBezTo>
                  <a:lnTo>
                    <a:pt x="5577" y="2458"/>
                  </a:lnTo>
                  <a:lnTo>
                    <a:pt x="4852" y="2458"/>
                  </a:lnTo>
                  <a:cubicBezTo>
                    <a:pt x="4663" y="2458"/>
                    <a:pt x="4505" y="2300"/>
                    <a:pt x="4505" y="2080"/>
                  </a:cubicBezTo>
                  <a:cubicBezTo>
                    <a:pt x="4537" y="1891"/>
                    <a:pt x="4695" y="1733"/>
                    <a:pt x="4852" y="1733"/>
                  </a:cubicBezTo>
                  <a:lnTo>
                    <a:pt x="5577" y="1733"/>
                  </a:lnTo>
                  <a:lnTo>
                    <a:pt x="5577" y="1040"/>
                  </a:lnTo>
                  <a:cubicBezTo>
                    <a:pt x="5577" y="851"/>
                    <a:pt x="5734" y="693"/>
                    <a:pt x="5923" y="693"/>
                  </a:cubicBezTo>
                  <a:close/>
                  <a:moveTo>
                    <a:pt x="126" y="0"/>
                  </a:moveTo>
                  <a:lnTo>
                    <a:pt x="126" y="3119"/>
                  </a:lnTo>
                  <a:cubicBezTo>
                    <a:pt x="0" y="4064"/>
                    <a:pt x="756" y="4852"/>
                    <a:pt x="1733" y="4852"/>
                  </a:cubicBezTo>
                  <a:lnTo>
                    <a:pt x="10145" y="4852"/>
                  </a:lnTo>
                  <a:cubicBezTo>
                    <a:pt x="11090" y="4852"/>
                    <a:pt x="11878" y="4064"/>
                    <a:pt x="11878" y="3119"/>
                  </a:cubicBezTo>
                  <a:lnTo>
                    <a:pt x="11878" y="0"/>
                  </a:lnTo>
                  <a:lnTo>
                    <a:pt x="10491" y="0"/>
                  </a:lnTo>
                  <a:lnTo>
                    <a:pt x="10491" y="1040"/>
                  </a:lnTo>
                  <a:cubicBezTo>
                    <a:pt x="10491" y="1639"/>
                    <a:pt x="10019" y="2048"/>
                    <a:pt x="9452" y="2048"/>
                  </a:cubicBezTo>
                  <a:cubicBezTo>
                    <a:pt x="8885" y="2048"/>
                    <a:pt x="8444" y="1576"/>
                    <a:pt x="8444" y="1040"/>
                  </a:cubicBezTo>
                  <a:lnTo>
                    <a:pt x="8444" y="0"/>
                  </a:lnTo>
                  <a:lnTo>
                    <a:pt x="3560" y="0"/>
                  </a:lnTo>
                  <a:lnTo>
                    <a:pt x="3560" y="1040"/>
                  </a:lnTo>
                  <a:cubicBezTo>
                    <a:pt x="3560" y="1639"/>
                    <a:pt x="3088" y="2048"/>
                    <a:pt x="2521" y="2048"/>
                  </a:cubicBezTo>
                  <a:cubicBezTo>
                    <a:pt x="1954" y="2048"/>
                    <a:pt x="1513" y="1576"/>
                    <a:pt x="1513" y="1040"/>
                  </a:cubicBezTo>
                  <a:lnTo>
                    <a:pt x="151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1"/>
            <p:cNvSpPr/>
            <p:nvPr/>
          </p:nvSpPr>
          <p:spPr>
            <a:xfrm>
              <a:off x="-27299575" y="3332825"/>
              <a:ext cx="18125" cy="52000"/>
            </a:xfrm>
            <a:custGeom>
              <a:avLst/>
              <a:gdLst/>
              <a:ahLst/>
              <a:cxnLst/>
              <a:rect l="l" t="t" r="r" b="b"/>
              <a:pathLst>
                <a:path w="725" h="2080" extrusionOk="0">
                  <a:moveTo>
                    <a:pt x="0" y="0"/>
                  </a:moveTo>
                  <a:lnTo>
                    <a:pt x="0" y="1733"/>
                  </a:lnTo>
                  <a:cubicBezTo>
                    <a:pt x="0" y="1922"/>
                    <a:pt x="158" y="2079"/>
                    <a:pt x="378" y="2079"/>
                  </a:cubicBezTo>
                  <a:cubicBezTo>
                    <a:pt x="567" y="2079"/>
                    <a:pt x="725" y="1922"/>
                    <a:pt x="725" y="1733"/>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8" name="Google Shape;6628;p71"/>
          <p:cNvGrpSpPr/>
          <p:nvPr/>
        </p:nvGrpSpPr>
        <p:grpSpPr>
          <a:xfrm>
            <a:off x="6235914" y="1763109"/>
            <a:ext cx="269293" cy="353072"/>
            <a:chOff x="-27313750" y="3545275"/>
            <a:chExt cx="226050" cy="296375"/>
          </a:xfrm>
        </p:grpSpPr>
        <p:sp>
          <p:nvSpPr>
            <p:cNvPr id="6629" name="Google Shape;6629;p71"/>
            <p:cNvSpPr/>
            <p:nvPr/>
          </p:nvSpPr>
          <p:spPr>
            <a:xfrm>
              <a:off x="-27305100" y="3598450"/>
              <a:ext cx="208750" cy="173100"/>
            </a:xfrm>
            <a:custGeom>
              <a:avLst/>
              <a:gdLst/>
              <a:ahLst/>
              <a:cxnLst/>
              <a:rect l="l" t="t" r="r" b="b"/>
              <a:pathLst>
                <a:path w="8350" h="6924" extrusionOk="0">
                  <a:moveTo>
                    <a:pt x="4128" y="2733"/>
                  </a:moveTo>
                  <a:cubicBezTo>
                    <a:pt x="4380" y="3048"/>
                    <a:pt x="4726" y="3269"/>
                    <a:pt x="5167" y="3552"/>
                  </a:cubicBezTo>
                  <a:lnTo>
                    <a:pt x="5167" y="4497"/>
                  </a:lnTo>
                  <a:cubicBezTo>
                    <a:pt x="5167" y="4844"/>
                    <a:pt x="5010" y="5159"/>
                    <a:pt x="4695" y="5348"/>
                  </a:cubicBezTo>
                  <a:cubicBezTo>
                    <a:pt x="4537" y="5474"/>
                    <a:pt x="4325" y="5537"/>
                    <a:pt x="4112" y="5537"/>
                  </a:cubicBezTo>
                  <a:cubicBezTo>
                    <a:pt x="3899" y="5537"/>
                    <a:pt x="3687" y="5474"/>
                    <a:pt x="3529" y="5348"/>
                  </a:cubicBezTo>
                  <a:cubicBezTo>
                    <a:pt x="3277" y="5159"/>
                    <a:pt x="3057" y="4844"/>
                    <a:pt x="3057" y="4497"/>
                  </a:cubicBezTo>
                  <a:lnTo>
                    <a:pt x="3057" y="3552"/>
                  </a:lnTo>
                  <a:lnTo>
                    <a:pt x="3120" y="3552"/>
                  </a:lnTo>
                  <a:cubicBezTo>
                    <a:pt x="3529" y="3269"/>
                    <a:pt x="3907" y="2985"/>
                    <a:pt x="4128" y="2733"/>
                  </a:cubicBezTo>
                  <a:close/>
                  <a:moveTo>
                    <a:pt x="4222" y="0"/>
                  </a:moveTo>
                  <a:cubicBezTo>
                    <a:pt x="3568" y="0"/>
                    <a:pt x="2915" y="166"/>
                    <a:pt x="2363" y="496"/>
                  </a:cubicBezTo>
                  <a:cubicBezTo>
                    <a:pt x="1702" y="906"/>
                    <a:pt x="1229" y="1473"/>
                    <a:pt x="946" y="2166"/>
                  </a:cubicBezTo>
                  <a:lnTo>
                    <a:pt x="190" y="4560"/>
                  </a:lnTo>
                  <a:cubicBezTo>
                    <a:pt x="1" y="5002"/>
                    <a:pt x="64" y="5474"/>
                    <a:pt x="316" y="5915"/>
                  </a:cubicBezTo>
                  <a:cubicBezTo>
                    <a:pt x="662" y="6514"/>
                    <a:pt x="1324" y="6892"/>
                    <a:pt x="2080" y="6923"/>
                  </a:cubicBezTo>
                  <a:cubicBezTo>
                    <a:pt x="2363" y="6923"/>
                    <a:pt x="2615" y="6892"/>
                    <a:pt x="2805" y="6766"/>
                  </a:cubicBezTo>
                  <a:cubicBezTo>
                    <a:pt x="3120" y="6608"/>
                    <a:pt x="3403" y="6419"/>
                    <a:pt x="3561" y="6104"/>
                  </a:cubicBezTo>
                  <a:cubicBezTo>
                    <a:pt x="3750" y="6199"/>
                    <a:pt x="3939" y="6230"/>
                    <a:pt x="4191" y="6230"/>
                  </a:cubicBezTo>
                  <a:cubicBezTo>
                    <a:pt x="4380" y="6230"/>
                    <a:pt x="4600" y="6199"/>
                    <a:pt x="4821" y="6104"/>
                  </a:cubicBezTo>
                  <a:cubicBezTo>
                    <a:pt x="5010" y="6388"/>
                    <a:pt x="5230" y="6608"/>
                    <a:pt x="5545" y="6766"/>
                  </a:cubicBezTo>
                  <a:cubicBezTo>
                    <a:pt x="5797" y="6892"/>
                    <a:pt x="6018" y="6923"/>
                    <a:pt x="6270" y="6923"/>
                  </a:cubicBezTo>
                  <a:lnTo>
                    <a:pt x="6302" y="6923"/>
                  </a:lnTo>
                  <a:cubicBezTo>
                    <a:pt x="7026" y="6892"/>
                    <a:pt x="7688" y="6451"/>
                    <a:pt x="8034" y="5915"/>
                  </a:cubicBezTo>
                  <a:cubicBezTo>
                    <a:pt x="8318" y="5474"/>
                    <a:pt x="8349" y="5002"/>
                    <a:pt x="8192" y="4623"/>
                  </a:cubicBezTo>
                  <a:lnTo>
                    <a:pt x="7436" y="2135"/>
                  </a:lnTo>
                  <a:cubicBezTo>
                    <a:pt x="7184" y="1473"/>
                    <a:pt x="6711" y="906"/>
                    <a:pt x="6081" y="496"/>
                  </a:cubicBezTo>
                  <a:cubicBezTo>
                    <a:pt x="5530" y="166"/>
                    <a:pt x="4876"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1"/>
            <p:cNvSpPr/>
            <p:nvPr/>
          </p:nvSpPr>
          <p:spPr>
            <a:xfrm>
              <a:off x="-27313750" y="3770725"/>
              <a:ext cx="226050" cy="70925"/>
            </a:xfrm>
            <a:custGeom>
              <a:avLst/>
              <a:gdLst/>
              <a:ahLst/>
              <a:cxnLst/>
              <a:rect l="l" t="t" r="r" b="b"/>
              <a:pathLst>
                <a:path w="9042" h="2837" extrusionOk="0">
                  <a:moveTo>
                    <a:pt x="4159" y="1"/>
                  </a:moveTo>
                  <a:cubicBezTo>
                    <a:pt x="3970" y="190"/>
                    <a:pt x="3686" y="379"/>
                    <a:pt x="3403" y="505"/>
                  </a:cubicBezTo>
                  <a:cubicBezTo>
                    <a:pt x="3151" y="631"/>
                    <a:pt x="2772" y="694"/>
                    <a:pt x="2426" y="694"/>
                  </a:cubicBezTo>
                  <a:cubicBezTo>
                    <a:pt x="1764" y="662"/>
                    <a:pt x="1166" y="442"/>
                    <a:pt x="693" y="32"/>
                  </a:cubicBezTo>
                  <a:cubicBezTo>
                    <a:pt x="252" y="473"/>
                    <a:pt x="0" y="1072"/>
                    <a:pt x="0" y="1734"/>
                  </a:cubicBezTo>
                  <a:lnTo>
                    <a:pt x="0" y="2490"/>
                  </a:lnTo>
                  <a:cubicBezTo>
                    <a:pt x="0" y="2679"/>
                    <a:pt x="158" y="2836"/>
                    <a:pt x="347" y="2836"/>
                  </a:cubicBezTo>
                  <a:lnTo>
                    <a:pt x="8695" y="2836"/>
                  </a:lnTo>
                  <a:cubicBezTo>
                    <a:pt x="8884" y="2836"/>
                    <a:pt x="9042" y="2679"/>
                    <a:pt x="9042" y="2490"/>
                  </a:cubicBezTo>
                  <a:lnTo>
                    <a:pt x="9042" y="1765"/>
                  </a:lnTo>
                  <a:cubicBezTo>
                    <a:pt x="9042" y="1135"/>
                    <a:pt x="8821" y="505"/>
                    <a:pt x="8349" y="95"/>
                  </a:cubicBezTo>
                  <a:cubicBezTo>
                    <a:pt x="7876" y="473"/>
                    <a:pt x="7309" y="725"/>
                    <a:pt x="6679" y="757"/>
                  </a:cubicBezTo>
                  <a:lnTo>
                    <a:pt x="6616" y="757"/>
                  </a:lnTo>
                  <a:cubicBezTo>
                    <a:pt x="6238" y="757"/>
                    <a:pt x="5891" y="662"/>
                    <a:pt x="5576" y="505"/>
                  </a:cubicBezTo>
                  <a:cubicBezTo>
                    <a:pt x="5324" y="379"/>
                    <a:pt x="5072" y="221"/>
                    <a:pt x="4883" y="1"/>
                  </a:cubicBezTo>
                  <a:cubicBezTo>
                    <a:pt x="4757" y="32"/>
                    <a:pt x="4631" y="32"/>
                    <a:pt x="4505" y="32"/>
                  </a:cubicBezTo>
                  <a:cubicBezTo>
                    <a:pt x="4411" y="32"/>
                    <a:pt x="4285" y="32"/>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1"/>
            <p:cNvSpPr/>
            <p:nvPr/>
          </p:nvSpPr>
          <p:spPr>
            <a:xfrm>
              <a:off x="-27261000" y="3545275"/>
              <a:ext cx="122100" cy="51425"/>
            </a:xfrm>
            <a:custGeom>
              <a:avLst/>
              <a:gdLst/>
              <a:ahLst/>
              <a:cxnLst/>
              <a:rect l="l" t="t" r="r" b="b"/>
              <a:pathLst>
                <a:path w="4884" h="2057" extrusionOk="0">
                  <a:moveTo>
                    <a:pt x="2454" y="1"/>
                  </a:moveTo>
                  <a:cubicBezTo>
                    <a:pt x="1639" y="1"/>
                    <a:pt x="820" y="339"/>
                    <a:pt x="127" y="1017"/>
                  </a:cubicBezTo>
                  <a:cubicBezTo>
                    <a:pt x="32" y="1111"/>
                    <a:pt x="1" y="1237"/>
                    <a:pt x="32" y="1332"/>
                  </a:cubicBezTo>
                  <a:lnTo>
                    <a:pt x="190" y="2056"/>
                  </a:lnTo>
                  <a:cubicBezTo>
                    <a:pt x="820" y="1647"/>
                    <a:pt x="1608" y="1458"/>
                    <a:pt x="2395" y="1458"/>
                  </a:cubicBezTo>
                  <a:cubicBezTo>
                    <a:pt x="3183" y="1458"/>
                    <a:pt x="3970" y="1647"/>
                    <a:pt x="4601" y="2056"/>
                  </a:cubicBezTo>
                  <a:lnTo>
                    <a:pt x="4664" y="2056"/>
                  </a:lnTo>
                  <a:lnTo>
                    <a:pt x="4853" y="1332"/>
                  </a:lnTo>
                  <a:cubicBezTo>
                    <a:pt x="4884" y="1237"/>
                    <a:pt x="4853" y="1111"/>
                    <a:pt x="4758" y="1017"/>
                  </a:cubicBezTo>
                  <a:cubicBezTo>
                    <a:pt x="4081" y="339"/>
                    <a:pt x="3269" y="1"/>
                    <a:pt x="24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2" name="Google Shape;6632;p71"/>
          <p:cNvGrpSpPr/>
          <p:nvPr/>
        </p:nvGrpSpPr>
        <p:grpSpPr>
          <a:xfrm>
            <a:off x="6193206" y="2211380"/>
            <a:ext cx="354710" cy="356586"/>
            <a:chOff x="-27351575" y="3915650"/>
            <a:chExt cx="297750" cy="299325"/>
          </a:xfrm>
        </p:grpSpPr>
        <p:sp>
          <p:nvSpPr>
            <p:cNvPr id="6633" name="Google Shape;6633;p71"/>
            <p:cNvSpPr/>
            <p:nvPr/>
          </p:nvSpPr>
          <p:spPr>
            <a:xfrm>
              <a:off x="-27351575" y="4059000"/>
              <a:ext cx="153625" cy="155975"/>
            </a:xfrm>
            <a:custGeom>
              <a:avLst/>
              <a:gdLst/>
              <a:ahLst/>
              <a:cxnLst/>
              <a:rect l="l" t="t" r="r" b="b"/>
              <a:pathLst>
                <a:path w="6145" h="6239" extrusionOk="0">
                  <a:moveTo>
                    <a:pt x="3183" y="1"/>
                  </a:moveTo>
                  <a:lnTo>
                    <a:pt x="2490" y="725"/>
                  </a:lnTo>
                  <a:cubicBezTo>
                    <a:pt x="2206" y="1009"/>
                    <a:pt x="1986" y="1387"/>
                    <a:pt x="1860" y="1828"/>
                  </a:cubicBezTo>
                  <a:cubicBezTo>
                    <a:pt x="1608" y="2742"/>
                    <a:pt x="1229" y="3435"/>
                    <a:pt x="725" y="4002"/>
                  </a:cubicBezTo>
                  <a:lnTo>
                    <a:pt x="316" y="4411"/>
                  </a:lnTo>
                  <a:cubicBezTo>
                    <a:pt x="127" y="4632"/>
                    <a:pt x="1" y="4884"/>
                    <a:pt x="1" y="5167"/>
                  </a:cubicBezTo>
                  <a:cubicBezTo>
                    <a:pt x="1" y="5451"/>
                    <a:pt x="127" y="5734"/>
                    <a:pt x="316" y="5923"/>
                  </a:cubicBezTo>
                  <a:cubicBezTo>
                    <a:pt x="505" y="6113"/>
                    <a:pt x="788" y="6239"/>
                    <a:pt x="1072" y="6239"/>
                  </a:cubicBezTo>
                  <a:cubicBezTo>
                    <a:pt x="1355" y="6113"/>
                    <a:pt x="1608" y="5986"/>
                    <a:pt x="1765" y="5797"/>
                  </a:cubicBezTo>
                  <a:lnTo>
                    <a:pt x="2206" y="5419"/>
                  </a:lnTo>
                  <a:cubicBezTo>
                    <a:pt x="2710" y="4884"/>
                    <a:pt x="3435" y="4506"/>
                    <a:pt x="4380" y="4254"/>
                  </a:cubicBezTo>
                  <a:cubicBezTo>
                    <a:pt x="4664" y="4191"/>
                    <a:pt x="4916" y="4033"/>
                    <a:pt x="5168" y="3876"/>
                  </a:cubicBezTo>
                  <a:lnTo>
                    <a:pt x="4664" y="3372"/>
                  </a:lnTo>
                  <a:cubicBezTo>
                    <a:pt x="4537" y="3246"/>
                    <a:pt x="4537" y="2994"/>
                    <a:pt x="4664" y="2899"/>
                  </a:cubicBezTo>
                  <a:cubicBezTo>
                    <a:pt x="4711" y="2836"/>
                    <a:pt x="4797" y="2805"/>
                    <a:pt x="4888" y="2805"/>
                  </a:cubicBezTo>
                  <a:cubicBezTo>
                    <a:pt x="4979" y="2805"/>
                    <a:pt x="5073" y="2836"/>
                    <a:pt x="5136" y="2899"/>
                  </a:cubicBezTo>
                  <a:lnTo>
                    <a:pt x="5672" y="3435"/>
                  </a:lnTo>
                  <a:lnTo>
                    <a:pt x="6144" y="2962"/>
                  </a:lnTo>
                  <a:lnTo>
                    <a:pt x="31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1"/>
            <p:cNvSpPr/>
            <p:nvPr/>
          </p:nvSpPr>
          <p:spPr>
            <a:xfrm>
              <a:off x="-27257050" y="3915650"/>
              <a:ext cx="203225" cy="202450"/>
            </a:xfrm>
            <a:custGeom>
              <a:avLst/>
              <a:gdLst/>
              <a:ahLst/>
              <a:cxnLst/>
              <a:rect l="l" t="t" r="r" b="b"/>
              <a:pathLst>
                <a:path w="8129" h="8098" extrusionOk="0">
                  <a:moveTo>
                    <a:pt x="1891" y="2364"/>
                  </a:moveTo>
                  <a:cubicBezTo>
                    <a:pt x="1985" y="2364"/>
                    <a:pt x="2048" y="2395"/>
                    <a:pt x="2143" y="2490"/>
                  </a:cubicBezTo>
                  <a:lnTo>
                    <a:pt x="5545" y="5892"/>
                  </a:lnTo>
                  <a:cubicBezTo>
                    <a:pt x="5671" y="6018"/>
                    <a:pt x="5671" y="6239"/>
                    <a:pt x="5545" y="6365"/>
                  </a:cubicBezTo>
                  <a:cubicBezTo>
                    <a:pt x="5498" y="6428"/>
                    <a:pt x="5411" y="6459"/>
                    <a:pt x="5321" y="6459"/>
                  </a:cubicBezTo>
                  <a:cubicBezTo>
                    <a:pt x="5230" y="6459"/>
                    <a:pt x="5136" y="6428"/>
                    <a:pt x="5073" y="6365"/>
                  </a:cubicBezTo>
                  <a:lnTo>
                    <a:pt x="1670" y="2962"/>
                  </a:lnTo>
                  <a:cubicBezTo>
                    <a:pt x="1544" y="2836"/>
                    <a:pt x="1544" y="2647"/>
                    <a:pt x="1670" y="2490"/>
                  </a:cubicBezTo>
                  <a:cubicBezTo>
                    <a:pt x="1733" y="2395"/>
                    <a:pt x="1828" y="2364"/>
                    <a:pt x="1891" y="2364"/>
                  </a:cubicBezTo>
                  <a:close/>
                  <a:moveTo>
                    <a:pt x="6742" y="1"/>
                  </a:moveTo>
                  <a:cubicBezTo>
                    <a:pt x="6333" y="1"/>
                    <a:pt x="6018" y="158"/>
                    <a:pt x="5766" y="379"/>
                  </a:cubicBezTo>
                  <a:lnTo>
                    <a:pt x="4128" y="2017"/>
                  </a:lnTo>
                  <a:cubicBezTo>
                    <a:pt x="3938" y="2206"/>
                    <a:pt x="3679" y="2301"/>
                    <a:pt x="3415" y="2301"/>
                  </a:cubicBezTo>
                  <a:cubicBezTo>
                    <a:pt x="3151" y="2301"/>
                    <a:pt x="2883" y="2206"/>
                    <a:pt x="2678" y="2017"/>
                  </a:cubicBezTo>
                  <a:cubicBezTo>
                    <a:pt x="2489" y="1812"/>
                    <a:pt x="2229" y="1710"/>
                    <a:pt x="1965" y="1710"/>
                  </a:cubicBezTo>
                  <a:cubicBezTo>
                    <a:pt x="1702" y="1710"/>
                    <a:pt x="1434" y="1812"/>
                    <a:pt x="1229" y="2017"/>
                  </a:cubicBezTo>
                  <a:cubicBezTo>
                    <a:pt x="851" y="2395"/>
                    <a:pt x="851" y="3057"/>
                    <a:pt x="1229" y="3466"/>
                  </a:cubicBezTo>
                  <a:lnTo>
                    <a:pt x="1481" y="3687"/>
                  </a:lnTo>
                  <a:lnTo>
                    <a:pt x="0" y="5167"/>
                  </a:lnTo>
                  <a:lnTo>
                    <a:pt x="2962" y="8097"/>
                  </a:lnTo>
                  <a:lnTo>
                    <a:pt x="3403" y="7625"/>
                  </a:lnTo>
                  <a:lnTo>
                    <a:pt x="2836" y="7089"/>
                  </a:lnTo>
                  <a:cubicBezTo>
                    <a:pt x="2710" y="6963"/>
                    <a:pt x="2710" y="6743"/>
                    <a:pt x="2836" y="6617"/>
                  </a:cubicBezTo>
                  <a:cubicBezTo>
                    <a:pt x="2899" y="6554"/>
                    <a:pt x="2985" y="6522"/>
                    <a:pt x="3072" y="6522"/>
                  </a:cubicBezTo>
                  <a:cubicBezTo>
                    <a:pt x="3159" y="6522"/>
                    <a:pt x="3245" y="6554"/>
                    <a:pt x="3308" y="6617"/>
                  </a:cubicBezTo>
                  <a:lnTo>
                    <a:pt x="3875" y="7152"/>
                  </a:lnTo>
                  <a:lnTo>
                    <a:pt x="4380" y="6648"/>
                  </a:lnTo>
                  <a:lnTo>
                    <a:pt x="4600" y="6900"/>
                  </a:lnTo>
                  <a:cubicBezTo>
                    <a:pt x="4821" y="7089"/>
                    <a:pt x="5073" y="7215"/>
                    <a:pt x="5356" y="7215"/>
                  </a:cubicBezTo>
                  <a:cubicBezTo>
                    <a:pt x="5640" y="7215"/>
                    <a:pt x="5923" y="7089"/>
                    <a:pt x="6112" y="6900"/>
                  </a:cubicBezTo>
                  <a:cubicBezTo>
                    <a:pt x="6490" y="6491"/>
                    <a:pt x="6490" y="5829"/>
                    <a:pt x="6112" y="5420"/>
                  </a:cubicBezTo>
                  <a:cubicBezTo>
                    <a:pt x="5703" y="5041"/>
                    <a:pt x="5703" y="4380"/>
                    <a:pt x="6112" y="3970"/>
                  </a:cubicBezTo>
                  <a:lnTo>
                    <a:pt x="7719" y="2364"/>
                  </a:lnTo>
                  <a:cubicBezTo>
                    <a:pt x="8003" y="2080"/>
                    <a:pt x="8129" y="1733"/>
                    <a:pt x="8129" y="1387"/>
                  </a:cubicBezTo>
                  <a:cubicBezTo>
                    <a:pt x="8129" y="1009"/>
                    <a:pt x="7971" y="662"/>
                    <a:pt x="7719" y="379"/>
                  </a:cubicBezTo>
                  <a:cubicBezTo>
                    <a:pt x="7436" y="127"/>
                    <a:pt x="7120" y="1"/>
                    <a:pt x="6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5" name="Google Shape;6635;p71"/>
          <p:cNvGrpSpPr/>
          <p:nvPr/>
        </p:nvGrpSpPr>
        <p:grpSpPr>
          <a:xfrm>
            <a:off x="4880696" y="2693579"/>
            <a:ext cx="319060" cy="353042"/>
            <a:chOff x="-25445525" y="3175900"/>
            <a:chExt cx="267825" cy="296350"/>
          </a:xfrm>
        </p:grpSpPr>
        <p:sp>
          <p:nvSpPr>
            <p:cNvPr id="6636" name="Google Shape;6636;p71"/>
            <p:cNvSpPr/>
            <p:nvPr/>
          </p:nvSpPr>
          <p:spPr>
            <a:xfrm>
              <a:off x="-25445525" y="3367475"/>
              <a:ext cx="123675" cy="104775"/>
            </a:xfrm>
            <a:custGeom>
              <a:avLst/>
              <a:gdLst/>
              <a:ahLst/>
              <a:cxnLst/>
              <a:rect l="l" t="t" r="r" b="b"/>
              <a:pathLst>
                <a:path w="4947" h="4191" extrusionOk="0">
                  <a:moveTo>
                    <a:pt x="3088" y="0"/>
                  </a:moveTo>
                  <a:cubicBezTo>
                    <a:pt x="2364" y="883"/>
                    <a:pt x="1387" y="2080"/>
                    <a:pt x="127" y="3655"/>
                  </a:cubicBezTo>
                  <a:cubicBezTo>
                    <a:pt x="1" y="3718"/>
                    <a:pt x="1" y="3875"/>
                    <a:pt x="32" y="4001"/>
                  </a:cubicBezTo>
                  <a:cubicBezTo>
                    <a:pt x="95" y="4127"/>
                    <a:pt x="253" y="4191"/>
                    <a:pt x="379" y="4191"/>
                  </a:cubicBezTo>
                  <a:lnTo>
                    <a:pt x="3246" y="4191"/>
                  </a:lnTo>
                  <a:cubicBezTo>
                    <a:pt x="3372" y="4191"/>
                    <a:pt x="3435" y="4159"/>
                    <a:pt x="3529" y="4096"/>
                  </a:cubicBezTo>
                  <a:lnTo>
                    <a:pt x="4947" y="2363"/>
                  </a:lnTo>
                  <a:lnTo>
                    <a:pt x="3466" y="536"/>
                  </a:lnTo>
                  <a:lnTo>
                    <a:pt x="3120" y="63"/>
                  </a:lnTo>
                  <a:cubicBezTo>
                    <a:pt x="3120" y="32"/>
                    <a:pt x="3088" y="32"/>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1"/>
            <p:cNvSpPr/>
            <p:nvPr/>
          </p:nvSpPr>
          <p:spPr>
            <a:xfrm>
              <a:off x="-25398250" y="3175900"/>
              <a:ext cx="220550" cy="296350"/>
            </a:xfrm>
            <a:custGeom>
              <a:avLst/>
              <a:gdLst/>
              <a:ahLst/>
              <a:cxnLst/>
              <a:rect l="l" t="t" r="r" b="b"/>
              <a:pathLst>
                <a:path w="8822" h="11854" extrusionOk="0">
                  <a:moveTo>
                    <a:pt x="3491" y="1"/>
                  </a:moveTo>
                  <a:cubicBezTo>
                    <a:pt x="3420" y="1"/>
                    <a:pt x="3348" y="3"/>
                    <a:pt x="3277" y="8"/>
                  </a:cubicBezTo>
                  <a:cubicBezTo>
                    <a:pt x="1481" y="134"/>
                    <a:pt x="0" y="1709"/>
                    <a:pt x="0" y="3568"/>
                  </a:cubicBezTo>
                  <a:cubicBezTo>
                    <a:pt x="0" y="4733"/>
                    <a:pt x="945" y="6246"/>
                    <a:pt x="1764" y="7285"/>
                  </a:cubicBezTo>
                  <a:lnTo>
                    <a:pt x="2142" y="7758"/>
                  </a:lnTo>
                  <a:lnTo>
                    <a:pt x="5324" y="11759"/>
                  </a:lnTo>
                  <a:cubicBezTo>
                    <a:pt x="5387" y="11822"/>
                    <a:pt x="5482" y="11854"/>
                    <a:pt x="5608" y="11854"/>
                  </a:cubicBezTo>
                  <a:lnTo>
                    <a:pt x="8475" y="11854"/>
                  </a:lnTo>
                  <a:cubicBezTo>
                    <a:pt x="8601" y="11854"/>
                    <a:pt x="8695" y="11790"/>
                    <a:pt x="8790" y="11664"/>
                  </a:cubicBezTo>
                  <a:cubicBezTo>
                    <a:pt x="8821" y="11538"/>
                    <a:pt x="8821" y="11381"/>
                    <a:pt x="8758" y="11318"/>
                  </a:cubicBezTo>
                  <a:cubicBezTo>
                    <a:pt x="7939" y="10278"/>
                    <a:pt x="7183" y="9302"/>
                    <a:pt x="6459" y="8482"/>
                  </a:cubicBezTo>
                  <a:cubicBezTo>
                    <a:pt x="6144" y="8073"/>
                    <a:pt x="5828" y="7695"/>
                    <a:pt x="5513" y="7348"/>
                  </a:cubicBezTo>
                  <a:cubicBezTo>
                    <a:pt x="5387" y="7191"/>
                    <a:pt x="5293" y="7065"/>
                    <a:pt x="5167" y="6907"/>
                  </a:cubicBezTo>
                  <a:cubicBezTo>
                    <a:pt x="4600" y="6246"/>
                    <a:pt x="4127" y="5647"/>
                    <a:pt x="3749" y="5080"/>
                  </a:cubicBezTo>
                  <a:cubicBezTo>
                    <a:pt x="3088" y="4198"/>
                    <a:pt x="2646" y="3568"/>
                    <a:pt x="2363" y="3032"/>
                  </a:cubicBezTo>
                  <a:cubicBezTo>
                    <a:pt x="2174" y="2686"/>
                    <a:pt x="2079" y="2371"/>
                    <a:pt x="2079" y="2182"/>
                  </a:cubicBezTo>
                  <a:cubicBezTo>
                    <a:pt x="2079" y="1425"/>
                    <a:pt x="2678" y="764"/>
                    <a:pt x="3466" y="764"/>
                  </a:cubicBezTo>
                  <a:cubicBezTo>
                    <a:pt x="4253" y="764"/>
                    <a:pt x="4852" y="1425"/>
                    <a:pt x="4852" y="2182"/>
                  </a:cubicBezTo>
                  <a:cubicBezTo>
                    <a:pt x="4852" y="2308"/>
                    <a:pt x="4820" y="2528"/>
                    <a:pt x="4568" y="3001"/>
                  </a:cubicBezTo>
                  <a:cubicBezTo>
                    <a:pt x="4379" y="3347"/>
                    <a:pt x="4159" y="3757"/>
                    <a:pt x="3907" y="4103"/>
                  </a:cubicBezTo>
                  <a:cubicBezTo>
                    <a:pt x="4064" y="4292"/>
                    <a:pt x="4190" y="4513"/>
                    <a:pt x="4316" y="4670"/>
                  </a:cubicBezTo>
                  <a:cubicBezTo>
                    <a:pt x="4694" y="5206"/>
                    <a:pt x="5167" y="5805"/>
                    <a:pt x="5734" y="6435"/>
                  </a:cubicBezTo>
                  <a:lnTo>
                    <a:pt x="5765" y="6466"/>
                  </a:lnTo>
                  <a:cubicBezTo>
                    <a:pt x="6396" y="5521"/>
                    <a:pt x="6931" y="4418"/>
                    <a:pt x="6931" y="3505"/>
                  </a:cubicBezTo>
                  <a:cubicBezTo>
                    <a:pt x="6931" y="1621"/>
                    <a:pt x="5408" y="1"/>
                    <a:pt x="3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1"/>
            <p:cNvSpPr/>
            <p:nvPr/>
          </p:nvSpPr>
          <p:spPr>
            <a:xfrm>
              <a:off x="-25328950" y="3211525"/>
              <a:ext cx="35475" cy="36250"/>
            </a:xfrm>
            <a:custGeom>
              <a:avLst/>
              <a:gdLst/>
              <a:ahLst/>
              <a:cxnLst/>
              <a:rect l="l" t="t" r="r" b="b"/>
              <a:pathLst>
                <a:path w="1419" h="1450" extrusionOk="0">
                  <a:moveTo>
                    <a:pt x="694" y="0"/>
                  </a:moveTo>
                  <a:cubicBezTo>
                    <a:pt x="316" y="0"/>
                    <a:pt x="0" y="347"/>
                    <a:pt x="0" y="757"/>
                  </a:cubicBezTo>
                  <a:cubicBezTo>
                    <a:pt x="0" y="757"/>
                    <a:pt x="0" y="914"/>
                    <a:pt x="190" y="1292"/>
                  </a:cubicBezTo>
                  <a:cubicBezTo>
                    <a:pt x="221" y="1355"/>
                    <a:pt x="221" y="1418"/>
                    <a:pt x="253" y="1450"/>
                  </a:cubicBezTo>
                  <a:cubicBezTo>
                    <a:pt x="379" y="1418"/>
                    <a:pt x="536" y="1387"/>
                    <a:pt x="662" y="1387"/>
                  </a:cubicBezTo>
                  <a:cubicBezTo>
                    <a:pt x="788" y="1387"/>
                    <a:pt x="946" y="1418"/>
                    <a:pt x="1040" y="1450"/>
                  </a:cubicBezTo>
                  <a:cubicBezTo>
                    <a:pt x="1103" y="1418"/>
                    <a:pt x="1135" y="1355"/>
                    <a:pt x="1135" y="1292"/>
                  </a:cubicBezTo>
                  <a:cubicBezTo>
                    <a:pt x="1324" y="914"/>
                    <a:pt x="1324" y="757"/>
                    <a:pt x="1324" y="757"/>
                  </a:cubicBezTo>
                  <a:cubicBezTo>
                    <a:pt x="1418" y="347"/>
                    <a:pt x="1103"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9" name="Google Shape;6639;p71"/>
          <p:cNvGrpSpPr/>
          <p:nvPr/>
        </p:nvGrpSpPr>
        <p:grpSpPr>
          <a:xfrm>
            <a:off x="4862410" y="3183902"/>
            <a:ext cx="355633" cy="330288"/>
            <a:chOff x="-25465200" y="3565175"/>
            <a:chExt cx="298525" cy="277250"/>
          </a:xfrm>
        </p:grpSpPr>
        <p:sp>
          <p:nvSpPr>
            <p:cNvPr id="6640" name="Google Shape;6640;p71"/>
            <p:cNvSpPr/>
            <p:nvPr/>
          </p:nvSpPr>
          <p:spPr>
            <a:xfrm>
              <a:off x="-25413225" y="3565175"/>
              <a:ext cx="172500" cy="103975"/>
            </a:xfrm>
            <a:custGeom>
              <a:avLst/>
              <a:gdLst/>
              <a:ahLst/>
              <a:cxnLst/>
              <a:rect l="l" t="t" r="r" b="b"/>
              <a:pathLst>
                <a:path w="6900" h="4159" extrusionOk="0">
                  <a:moveTo>
                    <a:pt x="4884" y="1166"/>
                  </a:moveTo>
                  <a:lnTo>
                    <a:pt x="5797" y="2079"/>
                  </a:lnTo>
                  <a:lnTo>
                    <a:pt x="4884" y="2079"/>
                  </a:lnTo>
                  <a:lnTo>
                    <a:pt x="4884" y="1166"/>
                  </a:lnTo>
                  <a:close/>
                  <a:moveTo>
                    <a:pt x="379" y="0"/>
                  </a:moveTo>
                  <a:cubicBezTo>
                    <a:pt x="158" y="0"/>
                    <a:pt x="0" y="158"/>
                    <a:pt x="0" y="347"/>
                  </a:cubicBezTo>
                  <a:lnTo>
                    <a:pt x="0" y="3151"/>
                  </a:lnTo>
                  <a:cubicBezTo>
                    <a:pt x="284" y="2899"/>
                    <a:pt x="631" y="2804"/>
                    <a:pt x="1040" y="2804"/>
                  </a:cubicBezTo>
                  <a:lnTo>
                    <a:pt x="4065" y="2804"/>
                  </a:lnTo>
                  <a:cubicBezTo>
                    <a:pt x="4726" y="2804"/>
                    <a:pt x="5325" y="3151"/>
                    <a:pt x="5608" y="3718"/>
                  </a:cubicBezTo>
                  <a:lnTo>
                    <a:pt x="5797" y="4159"/>
                  </a:lnTo>
                  <a:lnTo>
                    <a:pt x="6900" y="4159"/>
                  </a:lnTo>
                  <a:lnTo>
                    <a:pt x="6900" y="2426"/>
                  </a:lnTo>
                  <a:cubicBezTo>
                    <a:pt x="6900" y="2394"/>
                    <a:pt x="6869" y="2237"/>
                    <a:pt x="6774" y="2205"/>
                  </a:cubicBezTo>
                  <a:lnTo>
                    <a:pt x="4695" y="126"/>
                  </a:lnTo>
                  <a:cubicBezTo>
                    <a:pt x="4726" y="32"/>
                    <a:pt x="463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1"/>
            <p:cNvSpPr/>
            <p:nvPr/>
          </p:nvSpPr>
          <p:spPr>
            <a:xfrm>
              <a:off x="-25465200" y="3650225"/>
              <a:ext cx="298525" cy="192200"/>
            </a:xfrm>
            <a:custGeom>
              <a:avLst/>
              <a:gdLst/>
              <a:ahLst/>
              <a:cxnLst/>
              <a:rect l="l" t="t" r="r" b="b"/>
              <a:pathLst>
                <a:path w="11941" h="7688" extrusionOk="0">
                  <a:moveTo>
                    <a:pt x="10838" y="3529"/>
                  </a:moveTo>
                  <a:cubicBezTo>
                    <a:pt x="10964" y="3529"/>
                    <a:pt x="11027" y="3561"/>
                    <a:pt x="11121" y="3655"/>
                  </a:cubicBezTo>
                  <a:cubicBezTo>
                    <a:pt x="11184" y="3718"/>
                    <a:pt x="11184" y="3813"/>
                    <a:pt x="11184" y="3907"/>
                  </a:cubicBezTo>
                  <a:lnTo>
                    <a:pt x="10901" y="5703"/>
                  </a:lnTo>
                  <a:lnTo>
                    <a:pt x="10365" y="3529"/>
                  </a:lnTo>
                  <a:close/>
                  <a:moveTo>
                    <a:pt x="5227" y="2768"/>
                  </a:moveTo>
                  <a:cubicBezTo>
                    <a:pt x="5400" y="2768"/>
                    <a:pt x="5580" y="2884"/>
                    <a:pt x="5608" y="3025"/>
                  </a:cubicBezTo>
                  <a:lnTo>
                    <a:pt x="5892" y="4159"/>
                  </a:lnTo>
                  <a:lnTo>
                    <a:pt x="7341" y="4159"/>
                  </a:lnTo>
                  <a:cubicBezTo>
                    <a:pt x="7530" y="4159"/>
                    <a:pt x="7687" y="4317"/>
                    <a:pt x="7687" y="4506"/>
                  </a:cubicBezTo>
                  <a:cubicBezTo>
                    <a:pt x="7687" y="4758"/>
                    <a:pt x="7530" y="4915"/>
                    <a:pt x="7341" y="4915"/>
                  </a:cubicBezTo>
                  <a:lnTo>
                    <a:pt x="6018" y="4915"/>
                  </a:lnTo>
                  <a:lnTo>
                    <a:pt x="6270" y="5829"/>
                  </a:lnTo>
                  <a:cubicBezTo>
                    <a:pt x="6301" y="6050"/>
                    <a:pt x="6175" y="6207"/>
                    <a:pt x="6018" y="6270"/>
                  </a:cubicBezTo>
                  <a:lnTo>
                    <a:pt x="5955" y="6270"/>
                  </a:lnTo>
                  <a:cubicBezTo>
                    <a:pt x="5797" y="6270"/>
                    <a:pt x="5640" y="6176"/>
                    <a:pt x="5608" y="6018"/>
                  </a:cubicBezTo>
                  <a:lnTo>
                    <a:pt x="5324" y="4852"/>
                  </a:lnTo>
                  <a:lnTo>
                    <a:pt x="3875" y="4852"/>
                  </a:lnTo>
                  <a:cubicBezTo>
                    <a:pt x="3686" y="4852"/>
                    <a:pt x="3529" y="4695"/>
                    <a:pt x="3529" y="4506"/>
                  </a:cubicBezTo>
                  <a:cubicBezTo>
                    <a:pt x="3529" y="4317"/>
                    <a:pt x="3686" y="4159"/>
                    <a:pt x="3875" y="4159"/>
                  </a:cubicBezTo>
                  <a:lnTo>
                    <a:pt x="5167" y="4159"/>
                  </a:lnTo>
                  <a:lnTo>
                    <a:pt x="4946" y="3214"/>
                  </a:lnTo>
                  <a:cubicBezTo>
                    <a:pt x="4883" y="3025"/>
                    <a:pt x="5009" y="2868"/>
                    <a:pt x="5167" y="2773"/>
                  </a:cubicBezTo>
                  <a:cubicBezTo>
                    <a:pt x="5187" y="2770"/>
                    <a:pt x="5207" y="2768"/>
                    <a:pt x="5227" y="2768"/>
                  </a:cubicBezTo>
                  <a:close/>
                  <a:moveTo>
                    <a:pt x="3151" y="1"/>
                  </a:moveTo>
                  <a:cubicBezTo>
                    <a:pt x="2584" y="1"/>
                    <a:pt x="2142" y="473"/>
                    <a:pt x="2142" y="1040"/>
                  </a:cubicBezTo>
                  <a:lnTo>
                    <a:pt x="2142" y="1387"/>
                  </a:lnTo>
                  <a:lnTo>
                    <a:pt x="1103" y="1387"/>
                  </a:lnTo>
                  <a:cubicBezTo>
                    <a:pt x="788" y="1387"/>
                    <a:pt x="473" y="1544"/>
                    <a:pt x="284" y="1796"/>
                  </a:cubicBezTo>
                  <a:cubicBezTo>
                    <a:pt x="95" y="2017"/>
                    <a:pt x="0" y="2332"/>
                    <a:pt x="95" y="2679"/>
                  </a:cubicBezTo>
                  <a:lnTo>
                    <a:pt x="1166" y="6869"/>
                  </a:lnTo>
                  <a:cubicBezTo>
                    <a:pt x="1260" y="7341"/>
                    <a:pt x="1701" y="7656"/>
                    <a:pt x="2174" y="7656"/>
                  </a:cubicBezTo>
                  <a:lnTo>
                    <a:pt x="10995" y="7688"/>
                  </a:lnTo>
                  <a:cubicBezTo>
                    <a:pt x="11153" y="7688"/>
                    <a:pt x="11310" y="7593"/>
                    <a:pt x="11342" y="7436"/>
                  </a:cubicBezTo>
                  <a:lnTo>
                    <a:pt x="11909" y="4033"/>
                  </a:lnTo>
                  <a:cubicBezTo>
                    <a:pt x="11941" y="3718"/>
                    <a:pt x="11846" y="3435"/>
                    <a:pt x="11657" y="3214"/>
                  </a:cubicBezTo>
                  <a:cubicBezTo>
                    <a:pt x="11468" y="2962"/>
                    <a:pt x="11184" y="2868"/>
                    <a:pt x="10869" y="2868"/>
                  </a:cubicBezTo>
                  <a:lnTo>
                    <a:pt x="10208" y="2868"/>
                  </a:lnTo>
                  <a:lnTo>
                    <a:pt x="10050" y="2269"/>
                  </a:lnTo>
                  <a:cubicBezTo>
                    <a:pt x="9924" y="1796"/>
                    <a:pt x="9546" y="1450"/>
                    <a:pt x="9042" y="1450"/>
                  </a:cubicBezTo>
                  <a:lnTo>
                    <a:pt x="7530" y="1450"/>
                  </a:lnTo>
                  <a:lnTo>
                    <a:pt x="7120" y="599"/>
                  </a:lnTo>
                  <a:cubicBezTo>
                    <a:pt x="6963" y="253"/>
                    <a:pt x="6585"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2" name="Google Shape;6642;p71"/>
          <p:cNvGrpSpPr/>
          <p:nvPr/>
        </p:nvGrpSpPr>
        <p:grpSpPr>
          <a:xfrm>
            <a:off x="4861948" y="3623432"/>
            <a:ext cx="356556" cy="351285"/>
            <a:chOff x="-25465200" y="3916150"/>
            <a:chExt cx="299300" cy="294875"/>
          </a:xfrm>
        </p:grpSpPr>
        <p:sp>
          <p:nvSpPr>
            <p:cNvPr id="6643" name="Google Shape;6643;p71"/>
            <p:cNvSpPr/>
            <p:nvPr/>
          </p:nvSpPr>
          <p:spPr>
            <a:xfrm>
              <a:off x="-25316350" y="3916150"/>
              <a:ext cx="150450" cy="149175"/>
            </a:xfrm>
            <a:custGeom>
              <a:avLst/>
              <a:gdLst/>
              <a:ahLst/>
              <a:cxnLst/>
              <a:rect l="l" t="t" r="r" b="b"/>
              <a:pathLst>
                <a:path w="6018" h="5967" extrusionOk="0">
                  <a:moveTo>
                    <a:pt x="3836" y="0"/>
                  </a:moveTo>
                  <a:cubicBezTo>
                    <a:pt x="3278" y="0"/>
                    <a:pt x="2726" y="214"/>
                    <a:pt x="2332" y="642"/>
                  </a:cubicBezTo>
                  <a:lnTo>
                    <a:pt x="1891" y="1083"/>
                  </a:lnTo>
                  <a:lnTo>
                    <a:pt x="2458" y="1619"/>
                  </a:lnTo>
                  <a:cubicBezTo>
                    <a:pt x="2552" y="1745"/>
                    <a:pt x="2552" y="1966"/>
                    <a:pt x="2458" y="2092"/>
                  </a:cubicBezTo>
                  <a:cubicBezTo>
                    <a:pt x="2363" y="2186"/>
                    <a:pt x="2300" y="2218"/>
                    <a:pt x="2206" y="2218"/>
                  </a:cubicBezTo>
                  <a:cubicBezTo>
                    <a:pt x="2143" y="2218"/>
                    <a:pt x="2017" y="2186"/>
                    <a:pt x="1985" y="2092"/>
                  </a:cubicBezTo>
                  <a:lnTo>
                    <a:pt x="1418" y="1556"/>
                  </a:lnTo>
                  <a:lnTo>
                    <a:pt x="946" y="2029"/>
                  </a:lnTo>
                  <a:lnTo>
                    <a:pt x="1513" y="2564"/>
                  </a:lnTo>
                  <a:cubicBezTo>
                    <a:pt x="1607" y="2690"/>
                    <a:pt x="1607" y="2911"/>
                    <a:pt x="1513" y="3037"/>
                  </a:cubicBezTo>
                  <a:cubicBezTo>
                    <a:pt x="1418" y="3131"/>
                    <a:pt x="1355" y="3163"/>
                    <a:pt x="1261" y="3163"/>
                  </a:cubicBezTo>
                  <a:cubicBezTo>
                    <a:pt x="1198" y="3163"/>
                    <a:pt x="1072" y="3131"/>
                    <a:pt x="1040" y="3037"/>
                  </a:cubicBezTo>
                  <a:lnTo>
                    <a:pt x="473" y="2501"/>
                  </a:lnTo>
                  <a:lnTo>
                    <a:pt x="1" y="3005"/>
                  </a:lnTo>
                  <a:lnTo>
                    <a:pt x="2962" y="5967"/>
                  </a:lnTo>
                  <a:lnTo>
                    <a:pt x="5388" y="3478"/>
                  </a:lnTo>
                  <a:cubicBezTo>
                    <a:pt x="5829" y="3037"/>
                    <a:pt x="6018" y="2501"/>
                    <a:pt x="5987" y="1903"/>
                  </a:cubicBezTo>
                  <a:cubicBezTo>
                    <a:pt x="5892" y="1398"/>
                    <a:pt x="5640" y="831"/>
                    <a:pt x="5167" y="453"/>
                  </a:cubicBezTo>
                  <a:cubicBezTo>
                    <a:pt x="4779" y="151"/>
                    <a:pt x="4305" y="0"/>
                    <a:pt x="3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1"/>
            <p:cNvSpPr/>
            <p:nvPr/>
          </p:nvSpPr>
          <p:spPr>
            <a:xfrm>
              <a:off x="-25465200" y="4003875"/>
              <a:ext cx="208725" cy="207150"/>
            </a:xfrm>
            <a:custGeom>
              <a:avLst/>
              <a:gdLst/>
              <a:ahLst/>
              <a:cxnLst/>
              <a:rect l="l" t="t" r="r" b="b"/>
              <a:pathLst>
                <a:path w="8349" h="8286" extrusionOk="0">
                  <a:moveTo>
                    <a:pt x="5419" y="0"/>
                  </a:moveTo>
                  <a:lnTo>
                    <a:pt x="4883" y="567"/>
                  </a:lnTo>
                  <a:lnTo>
                    <a:pt x="5450" y="1103"/>
                  </a:lnTo>
                  <a:cubicBezTo>
                    <a:pt x="5545" y="1229"/>
                    <a:pt x="5545" y="1449"/>
                    <a:pt x="5450" y="1575"/>
                  </a:cubicBezTo>
                  <a:cubicBezTo>
                    <a:pt x="5356" y="1670"/>
                    <a:pt x="5293" y="1702"/>
                    <a:pt x="5198" y="1702"/>
                  </a:cubicBezTo>
                  <a:cubicBezTo>
                    <a:pt x="5135" y="1702"/>
                    <a:pt x="5009" y="1670"/>
                    <a:pt x="4978" y="1575"/>
                  </a:cubicBezTo>
                  <a:lnTo>
                    <a:pt x="4411" y="1040"/>
                  </a:lnTo>
                  <a:lnTo>
                    <a:pt x="3938" y="1512"/>
                  </a:lnTo>
                  <a:lnTo>
                    <a:pt x="4505" y="2048"/>
                  </a:lnTo>
                  <a:cubicBezTo>
                    <a:pt x="4631" y="2174"/>
                    <a:pt x="4631" y="2395"/>
                    <a:pt x="4505" y="2521"/>
                  </a:cubicBezTo>
                  <a:cubicBezTo>
                    <a:pt x="4411" y="2615"/>
                    <a:pt x="4348" y="2647"/>
                    <a:pt x="4253" y="2647"/>
                  </a:cubicBezTo>
                  <a:cubicBezTo>
                    <a:pt x="4190" y="2647"/>
                    <a:pt x="4064" y="2615"/>
                    <a:pt x="4033" y="2521"/>
                  </a:cubicBezTo>
                  <a:lnTo>
                    <a:pt x="3466" y="1985"/>
                  </a:lnTo>
                  <a:lnTo>
                    <a:pt x="3214" y="2237"/>
                  </a:lnTo>
                  <a:cubicBezTo>
                    <a:pt x="2773" y="2678"/>
                    <a:pt x="2458" y="3277"/>
                    <a:pt x="2363" y="3907"/>
                  </a:cubicBezTo>
                  <a:cubicBezTo>
                    <a:pt x="2300" y="4379"/>
                    <a:pt x="2111" y="4852"/>
                    <a:pt x="1733" y="5167"/>
                  </a:cubicBezTo>
                  <a:lnTo>
                    <a:pt x="410" y="6490"/>
                  </a:lnTo>
                  <a:cubicBezTo>
                    <a:pt x="0" y="6900"/>
                    <a:pt x="0" y="7561"/>
                    <a:pt x="410" y="7971"/>
                  </a:cubicBezTo>
                  <a:cubicBezTo>
                    <a:pt x="599" y="8160"/>
                    <a:pt x="882" y="8286"/>
                    <a:pt x="1166" y="8286"/>
                  </a:cubicBezTo>
                  <a:cubicBezTo>
                    <a:pt x="1418" y="8286"/>
                    <a:pt x="1701" y="8160"/>
                    <a:pt x="1890" y="7971"/>
                  </a:cubicBezTo>
                  <a:lnTo>
                    <a:pt x="3245" y="6616"/>
                  </a:lnTo>
                  <a:cubicBezTo>
                    <a:pt x="3592" y="6270"/>
                    <a:pt x="4033" y="6081"/>
                    <a:pt x="4505" y="5986"/>
                  </a:cubicBezTo>
                  <a:cubicBezTo>
                    <a:pt x="5135" y="5923"/>
                    <a:pt x="5734" y="5608"/>
                    <a:pt x="6144" y="5167"/>
                  </a:cubicBezTo>
                  <a:lnTo>
                    <a:pt x="8349" y="2962"/>
                  </a:ln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5" name="Google Shape;6645;p71"/>
          <p:cNvGrpSpPr/>
          <p:nvPr/>
        </p:nvGrpSpPr>
        <p:grpSpPr>
          <a:xfrm>
            <a:off x="7089388" y="2693698"/>
            <a:ext cx="351880" cy="352803"/>
            <a:chOff x="-23615075" y="3148525"/>
            <a:chExt cx="295375" cy="296150"/>
          </a:xfrm>
        </p:grpSpPr>
        <p:sp>
          <p:nvSpPr>
            <p:cNvPr id="6646" name="Google Shape;6646;p71"/>
            <p:cNvSpPr/>
            <p:nvPr/>
          </p:nvSpPr>
          <p:spPr>
            <a:xfrm>
              <a:off x="-23493775" y="3183950"/>
              <a:ext cx="52775" cy="53600"/>
            </a:xfrm>
            <a:custGeom>
              <a:avLst/>
              <a:gdLst/>
              <a:ahLst/>
              <a:cxnLst/>
              <a:rect l="l" t="t" r="r" b="b"/>
              <a:pathLst>
                <a:path w="2111" h="2144" extrusionOk="0">
                  <a:moveTo>
                    <a:pt x="1040" y="1"/>
                  </a:moveTo>
                  <a:cubicBezTo>
                    <a:pt x="851" y="1"/>
                    <a:pt x="693" y="158"/>
                    <a:pt x="693" y="347"/>
                  </a:cubicBezTo>
                  <a:lnTo>
                    <a:pt x="693" y="725"/>
                  </a:lnTo>
                  <a:lnTo>
                    <a:pt x="347" y="725"/>
                  </a:lnTo>
                  <a:cubicBezTo>
                    <a:pt x="158" y="725"/>
                    <a:pt x="0" y="883"/>
                    <a:pt x="0" y="1072"/>
                  </a:cubicBezTo>
                  <a:cubicBezTo>
                    <a:pt x="0" y="1261"/>
                    <a:pt x="158" y="1418"/>
                    <a:pt x="347" y="1418"/>
                  </a:cubicBezTo>
                  <a:lnTo>
                    <a:pt x="693" y="1418"/>
                  </a:lnTo>
                  <a:lnTo>
                    <a:pt x="693" y="1765"/>
                  </a:lnTo>
                  <a:cubicBezTo>
                    <a:pt x="693" y="1986"/>
                    <a:pt x="851" y="2143"/>
                    <a:pt x="1040" y="2143"/>
                  </a:cubicBezTo>
                  <a:cubicBezTo>
                    <a:pt x="1260" y="2143"/>
                    <a:pt x="1418" y="1986"/>
                    <a:pt x="1418" y="1765"/>
                  </a:cubicBezTo>
                  <a:lnTo>
                    <a:pt x="1418" y="1418"/>
                  </a:lnTo>
                  <a:lnTo>
                    <a:pt x="1764" y="1418"/>
                  </a:lnTo>
                  <a:cubicBezTo>
                    <a:pt x="1953" y="1418"/>
                    <a:pt x="2111" y="1261"/>
                    <a:pt x="2111" y="1072"/>
                  </a:cubicBezTo>
                  <a:cubicBezTo>
                    <a:pt x="2111" y="883"/>
                    <a:pt x="1953" y="725"/>
                    <a:pt x="1764" y="725"/>
                  </a:cubicBezTo>
                  <a:lnTo>
                    <a:pt x="1418" y="725"/>
                  </a:lnTo>
                  <a:lnTo>
                    <a:pt x="1418" y="347"/>
                  </a:lnTo>
                  <a:cubicBezTo>
                    <a:pt x="1418" y="158"/>
                    <a:pt x="1260"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1"/>
            <p:cNvSpPr/>
            <p:nvPr/>
          </p:nvSpPr>
          <p:spPr>
            <a:xfrm>
              <a:off x="-23615075" y="3268225"/>
              <a:ext cx="34675" cy="173300"/>
            </a:xfrm>
            <a:custGeom>
              <a:avLst/>
              <a:gdLst/>
              <a:ahLst/>
              <a:cxnLst/>
              <a:rect l="l" t="t" r="r" b="b"/>
              <a:pathLst>
                <a:path w="1387" h="6932" extrusionOk="0">
                  <a:moveTo>
                    <a:pt x="1008" y="1"/>
                  </a:moveTo>
                  <a:cubicBezTo>
                    <a:pt x="441" y="1"/>
                    <a:pt x="0" y="473"/>
                    <a:pt x="0" y="1040"/>
                  </a:cubicBezTo>
                  <a:lnTo>
                    <a:pt x="0" y="6585"/>
                  </a:lnTo>
                  <a:cubicBezTo>
                    <a:pt x="0" y="6774"/>
                    <a:pt x="158" y="6932"/>
                    <a:pt x="347" y="6932"/>
                  </a:cubicBezTo>
                  <a:lnTo>
                    <a:pt x="1386" y="6932"/>
                  </a:lnTo>
                  <a:lnTo>
                    <a:pt x="1386" y="4285"/>
                  </a:lnTo>
                  <a:lnTo>
                    <a:pt x="662" y="4285"/>
                  </a:lnTo>
                  <a:lnTo>
                    <a:pt x="662" y="3561"/>
                  </a:lnTo>
                  <a:lnTo>
                    <a:pt x="1386" y="3561"/>
                  </a:lnTo>
                  <a:lnTo>
                    <a:pt x="1386" y="2868"/>
                  </a:lnTo>
                  <a:lnTo>
                    <a:pt x="662" y="2868"/>
                  </a:lnTo>
                  <a:lnTo>
                    <a:pt x="662" y="2143"/>
                  </a:lnTo>
                  <a:lnTo>
                    <a:pt x="1386" y="2143"/>
                  </a:lnTo>
                  <a:lnTo>
                    <a:pt x="1386" y="1418"/>
                  </a:lnTo>
                  <a:lnTo>
                    <a:pt x="662" y="1418"/>
                  </a:lnTo>
                  <a:lnTo>
                    <a:pt x="662" y="1072"/>
                  </a:lnTo>
                  <a:cubicBezTo>
                    <a:pt x="662" y="883"/>
                    <a:pt x="819" y="725"/>
                    <a:pt x="1008" y="725"/>
                  </a:cubicBezTo>
                  <a:lnTo>
                    <a:pt x="1386" y="725"/>
                  </a:ln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1"/>
            <p:cNvSpPr/>
            <p:nvPr/>
          </p:nvSpPr>
          <p:spPr>
            <a:xfrm>
              <a:off x="-23354375" y="3270600"/>
              <a:ext cx="34675" cy="173300"/>
            </a:xfrm>
            <a:custGeom>
              <a:avLst/>
              <a:gdLst/>
              <a:ahLst/>
              <a:cxnLst/>
              <a:rect l="l" t="t" r="r" b="b"/>
              <a:pathLst>
                <a:path w="1387" h="6932" extrusionOk="0">
                  <a:moveTo>
                    <a:pt x="0" y="0"/>
                  </a:moveTo>
                  <a:lnTo>
                    <a:pt x="0" y="725"/>
                  </a:lnTo>
                  <a:lnTo>
                    <a:pt x="347" y="725"/>
                  </a:lnTo>
                  <a:cubicBezTo>
                    <a:pt x="568" y="725"/>
                    <a:pt x="725" y="882"/>
                    <a:pt x="725" y="1071"/>
                  </a:cubicBezTo>
                  <a:lnTo>
                    <a:pt x="725" y="1418"/>
                  </a:lnTo>
                  <a:lnTo>
                    <a:pt x="0" y="1418"/>
                  </a:lnTo>
                  <a:lnTo>
                    <a:pt x="0" y="2143"/>
                  </a:lnTo>
                  <a:lnTo>
                    <a:pt x="725" y="2143"/>
                  </a:lnTo>
                  <a:lnTo>
                    <a:pt x="725" y="2836"/>
                  </a:lnTo>
                  <a:lnTo>
                    <a:pt x="0" y="2836"/>
                  </a:lnTo>
                  <a:lnTo>
                    <a:pt x="0" y="3560"/>
                  </a:lnTo>
                  <a:lnTo>
                    <a:pt x="725" y="3560"/>
                  </a:lnTo>
                  <a:lnTo>
                    <a:pt x="725" y="4253"/>
                  </a:lnTo>
                  <a:lnTo>
                    <a:pt x="0" y="4253"/>
                  </a:lnTo>
                  <a:lnTo>
                    <a:pt x="0" y="6931"/>
                  </a:lnTo>
                  <a:lnTo>
                    <a:pt x="1040" y="6931"/>
                  </a:lnTo>
                  <a:cubicBezTo>
                    <a:pt x="1229" y="6931"/>
                    <a:pt x="1387" y="6774"/>
                    <a:pt x="1387" y="6585"/>
                  </a:cubicBezTo>
                  <a:lnTo>
                    <a:pt x="1387" y="1040"/>
                  </a:lnTo>
                  <a:cubicBezTo>
                    <a:pt x="1387" y="441"/>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1"/>
            <p:cNvSpPr/>
            <p:nvPr/>
          </p:nvSpPr>
          <p:spPr>
            <a:xfrm>
              <a:off x="-23562300" y="3148525"/>
              <a:ext cx="191400" cy="296150"/>
            </a:xfrm>
            <a:custGeom>
              <a:avLst/>
              <a:gdLst/>
              <a:ahLst/>
              <a:cxnLst/>
              <a:rect l="l" t="t" r="r" b="b"/>
              <a:pathLst>
                <a:path w="7656" h="11846" extrusionOk="0">
                  <a:moveTo>
                    <a:pt x="5545" y="662"/>
                  </a:moveTo>
                  <a:lnTo>
                    <a:pt x="5545" y="1764"/>
                  </a:lnTo>
                  <a:lnTo>
                    <a:pt x="5545" y="4222"/>
                  </a:lnTo>
                  <a:lnTo>
                    <a:pt x="2079" y="4222"/>
                  </a:lnTo>
                  <a:lnTo>
                    <a:pt x="2079" y="1764"/>
                  </a:lnTo>
                  <a:lnTo>
                    <a:pt x="2079" y="662"/>
                  </a:lnTo>
                  <a:close/>
                  <a:moveTo>
                    <a:pt x="3434" y="4883"/>
                  </a:moveTo>
                  <a:lnTo>
                    <a:pt x="3434" y="5608"/>
                  </a:lnTo>
                  <a:lnTo>
                    <a:pt x="2079" y="5608"/>
                  </a:lnTo>
                  <a:lnTo>
                    <a:pt x="2079" y="4883"/>
                  </a:lnTo>
                  <a:close/>
                  <a:moveTo>
                    <a:pt x="5513" y="4883"/>
                  </a:moveTo>
                  <a:lnTo>
                    <a:pt x="5513" y="5608"/>
                  </a:lnTo>
                  <a:lnTo>
                    <a:pt x="4159" y="5608"/>
                  </a:lnTo>
                  <a:lnTo>
                    <a:pt x="4159" y="4883"/>
                  </a:lnTo>
                  <a:close/>
                  <a:moveTo>
                    <a:pt x="3434" y="6301"/>
                  </a:moveTo>
                  <a:lnTo>
                    <a:pt x="3434" y="7026"/>
                  </a:lnTo>
                  <a:lnTo>
                    <a:pt x="2079" y="7026"/>
                  </a:lnTo>
                  <a:lnTo>
                    <a:pt x="2079" y="6301"/>
                  </a:lnTo>
                  <a:close/>
                  <a:moveTo>
                    <a:pt x="5513" y="6301"/>
                  </a:moveTo>
                  <a:lnTo>
                    <a:pt x="5513" y="7026"/>
                  </a:lnTo>
                  <a:lnTo>
                    <a:pt x="4159" y="7026"/>
                  </a:lnTo>
                  <a:lnTo>
                    <a:pt x="4159" y="6301"/>
                  </a:lnTo>
                  <a:close/>
                  <a:moveTo>
                    <a:pt x="3434" y="7687"/>
                  </a:moveTo>
                  <a:lnTo>
                    <a:pt x="3434" y="8380"/>
                  </a:lnTo>
                  <a:lnTo>
                    <a:pt x="2079" y="8380"/>
                  </a:lnTo>
                  <a:lnTo>
                    <a:pt x="2079" y="7687"/>
                  </a:lnTo>
                  <a:close/>
                  <a:moveTo>
                    <a:pt x="5513" y="7687"/>
                  </a:moveTo>
                  <a:lnTo>
                    <a:pt x="5513" y="8380"/>
                  </a:lnTo>
                  <a:lnTo>
                    <a:pt x="4159" y="8380"/>
                  </a:lnTo>
                  <a:lnTo>
                    <a:pt x="4159" y="7687"/>
                  </a:lnTo>
                  <a:close/>
                  <a:moveTo>
                    <a:pt x="1733" y="0"/>
                  </a:moveTo>
                  <a:cubicBezTo>
                    <a:pt x="1544" y="0"/>
                    <a:pt x="1386" y="158"/>
                    <a:pt x="1386" y="347"/>
                  </a:cubicBezTo>
                  <a:lnTo>
                    <a:pt x="1386" y="1449"/>
                  </a:lnTo>
                  <a:lnTo>
                    <a:pt x="1040" y="1449"/>
                  </a:lnTo>
                  <a:cubicBezTo>
                    <a:pt x="441" y="1449"/>
                    <a:pt x="0" y="1922"/>
                    <a:pt x="0" y="2489"/>
                  </a:cubicBezTo>
                  <a:lnTo>
                    <a:pt x="0" y="11846"/>
                  </a:lnTo>
                  <a:lnTo>
                    <a:pt x="2804" y="11846"/>
                  </a:lnTo>
                  <a:lnTo>
                    <a:pt x="2804" y="10491"/>
                  </a:lnTo>
                  <a:lnTo>
                    <a:pt x="4883" y="10491"/>
                  </a:lnTo>
                  <a:cubicBezTo>
                    <a:pt x="4852" y="10586"/>
                    <a:pt x="4852" y="11688"/>
                    <a:pt x="4852" y="11846"/>
                  </a:cubicBezTo>
                  <a:lnTo>
                    <a:pt x="7656" y="11846"/>
                  </a:lnTo>
                  <a:lnTo>
                    <a:pt x="7656" y="2489"/>
                  </a:lnTo>
                  <a:cubicBezTo>
                    <a:pt x="7656" y="1890"/>
                    <a:pt x="7183" y="1449"/>
                    <a:pt x="6616" y="1449"/>
                  </a:cubicBezTo>
                  <a:lnTo>
                    <a:pt x="6270" y="1449"/>
                  </a:lnTo>
                  <a:lnTo>
                    <a:pt x="6270" y="347"/>
                  </a:lnTo>
                  <a:cubicBezTo>
                    <a:pt x="6270" y="158"/>
                    <a:pt x="6112"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0" name="Google Shape;6650;p71"/>
          <p:cNvSpPr/>
          <p:nvPr/>
        </p:nvSpPr>
        <p:spPr>
          <a:xfrm>
            <a:off x="7087484" y="3172057"/>
            <a:ext cx="356586" cy="353876"/>
          </a:xfrm>
          <a:custGeom>
            <a:avLst/>
            <a:gdLst/>
            <a:ahLst/>
            <a:cxnLst/>
            <a:rect l="l" t="t" r="r" b="b"/>
            <a:pathLst>
              <a:path w="11973" h="11882" extrusionOk="0">
                <a:moveTo>
                  <a:pt x="6302" y="725"/>
                </a:moveTo>
                <a:lnTo>
                  <a:pt x="6302" y="1639"/>
                </a:lnTo>
                <a:cubicBezTo>
                  <a:pt x="6302" y="2111"/>
                  <a:pt x="6522" y="2552"/>
                  <a:pt x="6837" y="2867"/>
                </a:cubicBezTo>
                <a:lnTo>
                  <a:pt x="7152" y="3182"/>
                </a:lnTo>
                <a:cubicBezTo>
                  <a:pt x="6900" y="3340"/>
                  <a:pt x="6774" y="3560"/>
                  <a:pt x="6711" y="3749"/>
                </a:cubicBezTo>
                <a:cubicBezTo>
                  <a:pt x="6479" y="3517"/>
                  <a:pt x="6209" y="3407"/>
                  <a:pt x="5942" y="3407"/>
                </a:cubicBezTo>
                <a:cubicBezTo>
                  <a:pt x="5665" y="3407"/>
                  <a:pt x="5392" y="3525"/>
                  <a:pt x="5168" y="3749"/>
                </a:cubicBezTo>
                <a:cubicBezTo>
                  <a:pt x="5042" y="3497"/>
                  <a:pt x="4979" y="3340"/>
                  <a:pt x="4758" y="3151"/>
                </a:cubicBezTo>
                <a:lnTo>
                  <a:pt x="5105" y="2836"/>
                </a:lnTo>
                <a:cubicBezTo>
                  <a:pt x="5420" y="2521"/>
                  <a:pt x="5609" y="2080"/>
                  <a:pt x="5609" y="1607"/>
                </a:cubicBezTo>
                <a:lnTo>
                  <a:pt x="5609" y="725"/>
                </a:lnTo>
                <a:close/>
                <a:moveTo>
                  <a:pt x="5231" y="0"/>
                </a:moveTo>
                <a:cubicBezTo>
                  <a:pt x="5042" y="0"/>
                  <a:pt x="4884" y="158"/>
                  <a:pt x="4884" y="347"/>
                </a:cubicBezTo>
                <a:lnTo>
                  <a:pt x="4884" y="725"/>
                </a:lnTo>
                <a:lnTo>
                  <a:pt x="4884" y="1639"/>
                </a:lnTo>
                <a:cubicBezTo>
                  <a:pt x="4884" y="1922"/>
                  <a:pt x="4758" y="2206"/>
                  <a:pt x="4569" y="2395"/>
                </a:cubicBezTo>
                <a:lnTo>
                  <a:pt x="4096" y="2867"/>
                </a:lnTo>
                <a:lnTo>
                  <a:pt x="4033" y="2867"/>
                </a:lnTo>
                <a:cubicBezTo>
                  <a:pt x="2206" y="2867"/>
                  <a:pt x="127" y="7404"/>
                  <a:pt x="32" y="9830"/>
                </a:cubicBezTo>
                <a:cubicBezTo>
                  <a:pt x="1" y="11311"/>
                  <a:pt x="631" y="11846"/>
                  <a:pt x="1292" y="11846"/>
                </a:cubicBezTo>
                <a:cubicBezTo>
                  <a:pt x="1346" y="11852"/>
                  <a:pt x="1398" y="11855"/>
                  <a:pt x="1450" y="11855"/>
                </a:cubicBezTo>
                <a:cubicBezTo>
                  <a:pt x="2222" y="11855"/>
                  <a:pt x="2817" y="11224"/>
                  <a:pt x="3466" y="10869"/>
                </a:cubicBezTo>
                <a:cubicBezTo>
                  <a:pt x="4033" y="10554"/>
                  <a:pt x="4537" y="10271"/>
                  <a:pt x="4884" y="9767"/>
                </a:cubicBezTo>
                <a:cubicBezTo>
                  <a:pt x="5357" y="9137"/>
                  <a:pt x="5640" y="7593"/>
                  <a:pt x="5640" y="6144"/>
                </a:cubicBezTo>
                <a:lnTo>
                  <a:pt x="5640" y="6144"/>
                </a:lnTo>
                <a:lnTo>
                  <a:pt x="4222" y="7561"/>
                </a:lnTo>
                <a:cubicBezTo>
                  <a:pt x="4222" y="7593"/>
                  <a:pt x="4191" y="7593"/>
                  <a:pt x="4191" y="7624"/>
                </a:cubicBezTo>
                <a:cubicBezTo>
                  <a:pt x="4159" y="7687"/>
                  <a:pt x="4159" y="7687"/>
                  <a:pt x="4096" y="7687"/>
                </a:cubicBezTo>
                <a:lnTo>
                  <a:pt x="2773" y="9011"/>
                </a:lnTo>
                <a:cubicBezTo>
                  <a:pt x="2710" y="9074"/>
                  <a:pt x="2616" y="9105"/>
                  <a:pt x="2525" y="9105"/>
                </a:cubicBezTo>
                <a:cubicBezTo>
                  <a:pt x="2435" y="9105"/>
                  <a:pt x="2348" y="9074"/>
                  <a:pt x="2301" y="9011"/>
                </a:cubicBezTo>
                <a:cubicBezTo>
                  <a:pt x="2175" y="8885"/>
                  <a:pt x="2175" y="8664"/>
                  <a:pt x="2301" y="8538"/>
                </a:cubicBezTo>
                <a:lnTo>
                  <a:pt x="3435" y="7404"/>
                </a:lnTo>
                <a:lnTo>
                  <a:pt x="2994" y="6963"/>
                </a:lnTo>
                <a:cubicBezTo>
                  <a:pt x="2931" y="6900"/>
                  <a:pt x="2899" y="6805"/>
                  <a:pt x="2899" y="6742"/>
                </a:cubicBezTo>
                <a:cubicBezTo>
                  <a:pt x="2899" y="6648"/>
                  <a:pt x="2931" y="6585"/>
                  <a:pt x="2962" y="6490"/>
                </a:cubicBezTo>
                <a:cubicBezTo>
                  <a:pt x="3029" y="6424"/>
                  <a:pt x="3122" y="6384"/>
                  <a:pt x="3213" y="6384"/>
                </a:cubicBezTo>
                <a:cubicBezTo>
                  <a:pt x="3295" y="6384"/>
                  <a:pt x="3375" y="6416"/>
                  <a:pt x="3435" y="6490"/>
                </a:cubicBezTo>
                <a:lnTo>
                  <a:pt x="3907" y="6931"/>
                </a:lnTo>
                <a:lnTo>
                  <a:pt x="5546" y="5262"/>
                </a:lnTo>
                <a:lnTo>
                  <a:pt x="5451" y="4568"/>
                </a:lnTo>
                <a:lnTo>
                  <a:pt x="5703" y="4285"/>
                </a:lnTo>
                <a:cubicBezTo>
                  <a:pt x="5766" y="4222"/>
                  <a:pt x="5861" y="4190"/>
                  <a:pt x="5951" y="4190"/>
                </a:cubicBezTo>
                <a:cubicBezTo>
                  <a:pt x="6042" y="4190"/>
                  <a:pt x="6128" y="4222"/>
                  <a:pt x="6176" y="4285"/>
                </a:cubicBezTo>
                <a:lnTo>
                  <a:pt x="6459" y="4568"/>
                </a:lnTo>
                <a:cubicBezTo>
                  <a:pt x="6428" y="4789"/>
                  <a:pt x="6396" y="5010"/>
                  <a:pt x="6333" y="5262"/>
                </a:cubicBezTo>
                <a:lnTo>
                  <a:pt x="8035" y="6963"/>
                </a:lnTo>
                <a:lnTo>
                  <a:pt x="8476" y="6522"/>
                </a:lnTo>
                <a:cubicBezTo>
                  <a:pt x="8539" y="6475"/>
                  <a:pt x="8625" y="6451"/>
                  <a:pt x="8712" y="6451"/>
                </a:cubicBezTo>
                <a:cubicBezTo>
                  <a:pt x="8799" y="6451"/>
                  <a:pt x="8885" y="6475"/>
                  <a:pt x="8948" y="6522"/>
                </a:cubicBezTo>
                <a:cubicBezTo>
                  <a:pt x="9074" y="6648"/>
                  <a:pt x="9074" y="6900"/>
                  <a:pt x="8948" y="6994"/>
                </a:cubicBezTo>
                <a:lnTo>
                  <a:pt x="8507" y="7435"/>
                </a:lnTo>
                <a:lnTo>
                  <a:pt x="9641" y="8570"/>
                </a:lnTo>
                <a:cubicBezTo>
                  <a:pt x="9767" y="8696"/>
                  <a:pt x="9767" y="8948"/>
                  <a:pt x="9641" y="9042"/>
                </a:cubicBezTo>
                <a:cubicBezTo>
                  <a:pt x="9594" y="9105"/>
                  <a:pt x="9507" y="9137"/>
                  <a:pt x="9417" y="9137"/>
                </a:cubicBezTo>
                <a:cubicBezTo>
                  <a:pt x="9326" y="9137"/>
                  <a:pt x="9232" y="9105"/>
                  <a:pt x="9169" y="9042"/>
                </a:cubicBezTo>
                <a:lnTo>
                  <a:pt x="6302" y="6175"/>
                </a:lnTo>
                <a:lnTo>
                  <a:pt x="6302" y="6175"/>
                </a:lnTo>
                <a:cubicBezTo>
                  <a:pt x="6270" y="7624"/>
                  <a:pt x="6585" y="9168"/>
                  <a:pt x="7058" y="9798"/>
                </a:cubicBezTo>
                <a:cubicBezTo>
                  <a:pt x="7404" y="10302"/>
                  <a:pt x="7909" y="10617"/>
                  <a:pt x="8476" y="10901"/>
                </a:cubicBezTo>
                <a:cubicBezTo>
                  <a:pt x="9136" y="11291"/>
                  <a:pt x="9711" y="11882"/>
                  <a:pt x="10527" y="11882"/>
                </a:cubicBezTo>
                <a:cubicBezTo>
                  <a:pt x="10567" y="11882"/>
                  <a:pt x="10608" y="11881"/>
                  <a:pt x="10649" y="11878"/>
                </a:cubicBezTo>
                <a:cubicBezTo>
                  <a:pt x="11028" y="11846"/>
                  <a:pt x="11973" y="11626"/>
                  <a:pt x="11910" y="9893"/>
                </a:cubicBezTo>
                <a:cubicBezTo>
                  <a:pt x="11752" y="7372"/>
                  <a:pt x="9673" y="2836"/>
                  <a:pt x="7846" y="2836"/>
                </a:cubicBezTo>
                <a:lnTo>
                  <a:pt x="7751" y="2836"/>
                </a:lnTo>
                <a:lnTo>
                  <a:pt x="7310" y="2363"/>
                </a:lnTo>
                <a:cubicBezTo>
                  <a:pt x="7089" y="2174"/>
                  <a:pt x="6963" y="1891"/>
                  <a:pt x="6963" y="1607"/>
                </a:cubicBezTo>
                <a:lnTo>
                  <a:pt x="6963" y="725"/>
                </a:lnTo>
                <a:lnTo>
                  <a:pt x="6963" y="347"/>
                </a:lnTo>
                <a:cubicBezTo>
                  <a:pt x="6963" y="158"/>
                  <a:pt x="6806" y="0"/>
                  <a:pt x="6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1" name="Google Shape;6651;p71"/>
          <p:cNvGrpSpPr/>
          <p:nvPr/>
        </p:nvGrpSpPr>
        <p:grpSpPr>
          <a:xfrm>
            <a:off x="7088911" y="3632977"/>
            <a:ext cx="352833" cy="332194"/>
            <a:chOff x="-23615075" y="3906200"/>
            <a:chExt cx="296175" cy="278850"/>
          </a:xfrm>
        </p:grpSpPr>
        <p:sp>
          <p:nvSpPr>
            <p:cNvPr id="6652" name="Google Shape;6652;p71"/>
            <p:cNvSpPr/>
            <p:nvPr/>
          </p:nvSpPr>
          <p:spPr>
            <a:xfrm>
              <a:off x="-23615075" y="3954250"/>
              <a:ext cx="296175" cy="193775"/>
            </a:xfrm>
            <a:custGeom>
              <a:avLst/>
              <a:gdLst/>
              <a:ahLst/>
              <a:cxnLst/>
              <a:rect l="l" t="t" r="r" b="b"/>
              <a:pathLst>
                <a:path w="11847" h="7751" extrusionOk="0">
                  <a:moveTo>
                    <a:pt x="10838" y="2993"/>
                  </a:moveTo>
                  <a:cubicBezTo>
                    <a:pt x="11027" y="2993"/>
                    <a:pt x="11185" y="3119"/>
                    <a:pt x="11185" y="3340"/>
                  </a:cubicBezTo>
                  <a:cubicBezTo>
                    <a:pt x="11153" y="3403"/>
                    <a:pt x="11153" y="3497"/>
                    <a:pt x="11059" y="3529"/>
                  </a:cubicBezTo>
                  <a:cubicBezTo>
                    <a:pt x="10996" y="3592"/>
                    <a:pt x="10901" y="3687"/>
                    <a:pt x="10806" y="3687"/>
                  </a:cubicBezTo>
                  <a:lnTo>
                    <a:pt x="1040" y="3687"/>
                  </a:lnTo>
                  <a:cubicBezTo>
                    <a:pt x="914" y="3687"/>
                    <a:pt x="819" y="3655"/>
                    <a:pt x="756" y="3529"/>
                  </a:cubicBezTo>
                  <a:cubicBezTo>
                    <a:pt x="725" y="3497"/>
                    <a:pt x="662" y="3403"/>
                    <a:pt x="662" y="3340"/>
                  </a:cubicBezTo>
                  <a:cubicBezTo>
                    <a:pt x="662" y="3119"/>
                    <a:pt x="819" y="2993"/>
                    <a:pt x="1040" y="2993"/>
                  </a:cubicBezTo>
                  <a:close/>
                  <a:moveTo>
                    <a:pt x="9735" y="4411"/>
                  </a:moveTo>
                  <a:cubicBezTo>
                    <a:pt x="9641" y="4947"/>
                    <a:pt x="9357" y="5671"/>
                    <a:pt x="8507" y="6364"/>
                  </a:cubicBezTo>
                  <a:cubicBezTo>
                    <a:pt x="8444" y="6396"/>
                    <a:pt x="8349" y="6459"/>
                    <a:pt x="8318" y="6459"/>
                  </a:cubicBezTo>
                  <a:cubicBezTo>
                    <a:pt x="8192" y="6459"/>
                    <a:pt x="8129" y="6396"/>
                    <a:pt x="8034" y="6333"/>
                  </a:cubicBezTo>
                  <a:cubicBezTo>
                    <a:pt x="7908" y="6175"/>
                    <a:pt x="7971" y="5986"/>
                    <a:pt x="8066" y="5860"/>
                  </a:cubicBezTo>
                  <a:cubicBezTo>
                    <a:pt x="8696" y="5356"/>
                    <a:pt x="8948" y="4821"/>
                    <a:pt x="9011" y="4411"/>
                  </a:cubicBezTo>
                  <a:close/>
                  <a:moveTo>
                    <a:pt x="3497" y="0"/>
                  </a:moveTo>
                  <a:cubicBezTo>
                    <a:pt x="3434" y="95"/>
                    <a:pt x="3340" y="221"/>
                    <a:pt x="3214" y="347"/>
                  </a:cubicBezTo>
                  <a:lnTo>
                    <a:pt x="2237" y="1324"/>
                  </a:lnTo>
                  <a:cubicBezTo>
                    <a:pt x="2111" y="1450"/>
                    <a:pt x="1985" y="1576"/>
                    <a:pt x="1765" y="1639"/>
                  </a:cubicBezTo>
                  <a:lnTo>
                    <a:pt x="2174" y="2237"/>
                  </a:lnTo>
                  <a:lnTo>
                    <a:pt x="1040" y="2237"/>
                  </a:lnTo>
                  <a:cubicBezTo>
                    <a:pt x="441" y="2237"/>
                    <a:pt x="0" y="2710"/>
                    <a:pt x="0" y="3245"/>
                  </a:cubicBezTo>
                  <a:cubicBezTo>
                    <a:pt x="0" y="3497"/>
                    <a:pt x="63" y="3687"/>
                    <a:pt x="189" y="3876"/>
                  </a:cubicBezTo>
                  <a:cubicBezTo>
                    <a:pt x="315" y="4096"/>
                    <a:pt x="504" y="4191"/>
                    <a:pt x="756" y="4254"/>
                  </a:cubicBezTo>
                  <a:cubicBezTo>
                    <a:pt x="945" y="6018"/>
                    <a:pt x="1765" y="6932"/>
                    <a:pt x="2930" y="7719"/>
                  </a:cubicBezTo>
                  <a:cubicBezTo>
                    <a:pt x="2962" y="7751"/>
                    <a:pt x="3025" y="7751"/>
                    <a:pt x="3119" y="7751"/>
                  </a:cubicBezTo>
                  <a:lnTo>
                    <a:pt x="8696" y="7751"/>
                  </a:lnTo>
                  <a:cubicBezTo>
                    <a:pt x="8790" y="7751"/>
                    <a:pt x="8822" y="7719"/>
                    <a:pt x="8916" y="7719"/>
                  </a:cubicBezTo>
                  <a:cubicBezTo>
                    <a:pt x="10239" y="6805"/>
                    <a:pt x="10932" y="5671"/>
                    <a:pt x="11090" y="4254"/>
                  </a:cubicBezTo>
                  <a:cubicBezTo>
                    <a:pt x="11311" y="4159"/>
                    <a:pt x="11500" y="4033"/>
                    <a:pt x="11626" y="3876"/>
                  </a:cubicBezTo>
                  <a:cubicBezTo>
                    <a:pt x="11752" y="3687"/>
                    <a:pt x="11815" y="3497"/>
                    <a:pt x="11815" y="3245"/>
                  </a:cubicBezTo>
                  <a:cubicBezTo>
                    <a:pt x="11846" y="2741"/>
                    <a:pt x="11374" y="2269"/>
                    <a:pt x="10775" y="2269"/>
                  </a:cubicBezTo>
                  <a:lnTo>
                    <a:pt x="10712" y="2269"/>
                  </a:lnTo>
                  <a:cubicBezTo>
                    <a:pt x="10996" y="1733"/>
                    <a:pt x="11153" y="1135"/>
                    <a:pt x="11153" y="536"/>
                  </a:cubicBezTo>
                  <a:cubicBezTo>
                    <a:pt x="11153" y="347"/>
                    <a:pt x="10996" y="189"/>
                    <a:pt x="10775" y="189"/>
                  </a:cubicBezTo>
                  <a:cubicBezTo>
                    <a:pt x="9326" y="189"/>
                    <a:pt x="8034" y="1009"/>
                    <a:pt x="7404" y="2269"/>
                  </a:cubicBezTo>
                  <a:lnTo>
                    <a:pt x="6301" y="2269"/>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1"/>
            <p:cNvSpPr/>
            <p:nvPr/>
          </p:nvSpPr>
          <p:spPr>
            <a:xfrm>
              <a:off x="-23615075" y="3906200"/>
              <a:ext cx="77200" cy="77225"/>
            </a:xfrm>
            <a:custGeom>
              <a:avLst/>
              <a:gdLst/>
              <a:ahLst/>
              <a:cxnLst/>
              <a:rect l="l" t="t" r="r" b="b"/>
              <a:pathLst>
                <a:path w="3088" h="3089" extrusionOk="0">
                  <a:moveTo>
                    <a:pt x="2009" y="1"/>
                  </a:moveTo>
                  <a:cubicBezTo>
                    <a:pt x="1733" y="1"/>
                    <a:pt x="1465" y="95"/>
                    <a:pt x="1292" y="284"/>
                  </a:cubicBezTo>
                  <a:lnTo>
                    <a:pt x="315" y="1292"/>
                  </a:lnTo>
                  <a:cubicBezTo>
                    <a:pt x="126" y="1481"/>
                    <a:pt x="0" y="1765"/>
                    <a:pt x="0" y="2017"/>
                  </a:cubicBezTo>
                  <a:cubicBezTo>
                    <a:pt x="0" y="2301"/>
                    <a:pt x="126" y="2584"/>
                    <a:pt x="315" y="2773"/>
                  </a:cubicBezTo>
                  <a:cubicBezTo>
                    <a:pt x="504" y="2962"/>
                    <a:pt x="756" y="3088"/>
                    <a:pt x="1040" y="3088"/>
                  </a:cubicBezTo>
                  <a:cubicBezTo>
                    <a:pt x="1292" y="3088"/>
                    <a:pt x="1576" y="2962"/>
                    <a:pt x="1765" y="2773"/>
                  </a:cubicBezTo>
                  <a:lnTo>
                    <a:pt x="2773" y="1796"/>
                  </a:lnTo>
                  <a:cubicBezTo>
                    <a:pt x="2962" y="1576"/>
                    <a:pt x="3088" y="1324"/>
                    <a:pt x="3088" y="1040"/>
                  </a:cubicBezTo>
                  <a:cubicBezTo>
                    <a:pt x="3088" y="757"/>
                    <a:pt x="2962" y="505"/>
                    <a:pt x="2773" y="284"/>
                  </a:cubicBezTo>
                  <a:cubicBezTo>
                    <a:pt x="2568" y="95"/>
                    <a:pt x="2284" y="1"/>
                    <a:pt x="2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1"/>
            <p:cNvSpPr/>
            <p:nvPr/>
          </p:nvSpPr>
          <p:spPr>
            <a:xfrm>
              <a:off x="-23543400" y="4167700"/>
              <a:ext cx="153600" cy="17350"/>
            </a:xfrm>
            <a:custGeom>
              <a:avLst/>
              <a:gdLst/>
              <a:ahLst/>
              <a:cxnLst/>
              <a:rect l="l" t="t" r="r" b="b"/>
              <a:pathLst>
                <a:path w="6144" h="694" extrusionOk="0">
                  <a:moveTo>
                    <a:pt x="0" y="0"/>
                  </a:moveTo>
                  <a:cubicBezTo>
                    <a:pt x="158" y="378"/>
                    <a:pt x="536" y="693"/>
                    <a:pt x="1008" y="693"/>
                  </a:cubicBezTo>
                  <a:lnTo>
                    <a:pt x="5167" y="693"/>
                  </a:lnTo>
                  <a:cubicBezTo>
                    <a:pt x="5608" y="693"/>
                    <a:pt x="5986" y="441"/>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5" name="Google Shape;6655;p71"/>
          <p:cNvSpPr/>
          <p:nvPr/>
        </p:nvSpPr>
        <p:spPr>
          <a:xfrm>
            <a:off x="6207743" y="4064945"/>
            <a:ext cx="351880" cy="350957"/>
          </a:xfrm>
          <a:custGeom>
            <a:avLst/>
            <a:gdLst/>
            <a:ahLst/>
            <a:cxnLst/>
            <a:rect l="l" t="t" r="r" b="b"/>
            <a:pathLst>
              <a:path w="11815" h="11784" extrusionOk="0">
                <a:moveTo>
                  <a:pt x="6616" y="3434"/>
                </a:moveTo>
                <a:cubicBezTo>
                  <a:pt x="7215" y="3434"/>
                  <a:pt x="7625" y="3907"/>
                  <a:pt x="7625" y="4474"/>
                </a:cubicBezTo>
                <a:lnTo>
                  <a:pt x="7625" y="5514"/>
                </a:lnTo>
                <a:lnTo>
                  <a:pt x="6742" y="5514"/>
                </a:lnTo>
                <a:cubicBezTo>
                  <a:pt x="6648" y="5451"/>
                  <a:pt x="6585" y="5325"/>
                  <a:pt x="6490" y="5262"/>
                </a:cubicBezTo>
                <a:cubicBezTo>
                  <a:pt x="5986" y="4789"/>
                  <a:pt x="5388" y="4411"/>
                  <a:pt x="4695" y="4222"/>
                </a:cubicBezTo>
                <a:lnTo>
                  <a:pt x="4569" y="3434"/>
                </a:lnTo>
                <a:close/>
                <a:moveTo>
                  <a:pt x="3466" y="4884"/>
                </a:moveTo>
                <a:lnTo>
                  <a:pt x="3466" y="5577"/>
                </a:lnTo>
                <a:cubicBezTo>
                  <a:pt x="3056" y="5640"/>
                  <a:pt x="2678" y="5797"/>
                  <a:pt x="2363" y="6018"/>
                </a:cubicBezTo>
                <a:lnTo>
                  <a:pt x="1891" y="5577"/>
                </a:lnTo>
                <a:cubicBezTo>
                  <a:pt x="2332" y="5199"/>
                  <a:pt x="2867" y="4978"/>
                  <a:pt x="3466" y="4884"/>
                </a:cubicBezTo>
                <a:close/>
                <a:moveTo>
                  <a:pt x="4128" y="4852"/>
                </a:moveTo>
                <a:cubicBezTo>
                  <a:pt x="4726" y="4947"/>
                  <a:pt x="5262" y="5167"/>
                  <a:pt x="5703" y="5514"/>
                </a:cubicBezTo>
                <a:lnTo>
                  <a:pt x="5230" y="6049"/>
                </a:lnTo>
                <a:cubicBezTo>
                  <a:pt x="4915" y="5797"/>
                  <a:pt x="4537" y="5640"/>
                  <a:pt x="4128" y="5577"/>
                </a:cubicBezTo>
                <a:lnTo>
                  <a:pt x="4128" y="4852"/>
                </a:lnTo>
                <a:close/>
                <a:moveTo>
                  <a:pt x="1387" y="6049"/>
                </a:moveTo>
                <a:lnTo>
                  <a:pt x="1859" y="6522"/>
                </a:lnTo>
                <a:cubicBezTo>
                  <a:pt x="1607" y="6837"/>
                  <a:pt x="1450" y="7215"/>
                  <a:pt x="1387" y="7625"/>
                </a:cubicBezTo>
                <a:lnTo>
                  <a:pt x="662" y="7625"/>
                </a:lnTo>
                <a:cubicBezTo>
                  <a:pt x="788" y="7026"/>
                  <a:pt x="1009" y="6459"/>
                  <a:pt x="1387" y="6049"/>
                </a:cubicBezTo>
                <a:close/>
                <a:moveTo>
                  <a:pt x="6175" y="6049"/>
                </a:moveTo>
                <a:cubicBezTo>
                  <a:pt x="6553" y="6459"/>
                  <a:pt x="6774" y="7026"/>
                  <a:pt x="6837" y="7625"/>
                </a:cubicBezTo>
                <a:lnTo>
                  <a:pt x="6175" y="7625"/>
                </a:lnTo>
                <a:cubicBezTo>
                  <a:pt x="6112" y="7215"/>
                  <a:pt x="5955" y="6837"/>
                  <a:pt x="5703" y="6522"/>
                </a:cubicBezTo>
                <a:lnTo>
                  <a:pt x="6175" y="6049"/>
                </a:lnTo>
                <a:close/>
                <a:moveTo>
                  <a:pt x="1418" y="8318"/>
                </a:moveTo>
                <a:cubicBezTo>
                  <a:pt x="1481" y="8727"/>
                  <a:pt x="1670" y="9105"/>
                  <a:pt x="1891" y="9420"/>
                </a:cubicBezTo>
                <a:lnTo>
                  <a:pt x="1418" y="9893"/>
                </a:lnTo>
                <a:cubicBezTo>
                  <a:pt x="1009" y="9452"/>
                  <a:pt x="788" y="8916"/>
                  <a:pt x="693" y="8318"/>
                </a:cubicBezTo>
                <a:close/>
                <a:moveTo>
                  <a:pt x="6931" y="8318"/>
                </a:moveTo>
                <a:cubicBezTo>
                  <a:pt x="6805" y="8916"/>
                  <a:pt x="6585" y="9452"/>
                  <a:pt x="6207" y="9893"/>
                </a:cubicBezTo>
                <a:lnTo>
                  <a:pt x="5766" y="9420"/>
                </a:lnTo>
                <a:cubicBezTo>
                  <a:pt x="5986" y="9105"/>
                  <a:pt x="6144" y="8727"/>
                  <a:pt x="6207" y="8318"/>
                </a:cubicBezTo>
                <a:close/>
                <a:moveTo>
                  <a:pt x="2363" y="9893"/>
                </a:moveTo>
                <a:cubicBezTo>
                  <a:pt x="2678" y="10145"/>
                  <a:pt x="3056" y="10303"/>
                  <a:pt x="3466" y="10366"/>
                </a:cubicBezTo>
                <a:lnTo>
                  <a:pt x="3466" y="11027"/>
                </a:lnTo>
                <a:cubicBezTo>
                  <a:pt x="2867" y="10964"/>
                  <a:pt x="2332" y="10712"/>
                  <a:pt x="1891" y="10366"/>
                </a:cubicBezTo>
                <a:lnTo>
                  <a:pt x="2363" y="9893"/>
                </a:lnTo>
                <a:close/>
                <a:moveTo>
                  <a:pt x="5230" y="9861"/>
                </a:moveTo>
                <a:lnTo>
                  <a:pt x="5703" y="10334"/>
                </a:lnTo>
                <a:cubicBezTo>
                  <a:pt x="5262" y="10744"/>
                  <a:pt x="4726" y="10996"/>
                  <a:pt x="4128" y="11027"/>
                </a:cubicBezTo>
                <a:lnTo>
                  <a:pt x="4128" y="10334"/>
                </a:lnTo>
                <a:cubicBezTo>
                  <a:pt x="4537" y="10240"/>
                  <a:pt x="4915" y="10082"/>
                  <a:pt x="5230" y="9861"/>
                </a:cubicBezTo>
                <a:close/>
                <a:moveTo>
                  <a:pt x="9326" y="10366"/>
                </a:moveTo>
                <a:cubicBezTo>
                  <a:pt x="9546" y="10366"/>
                  <a:pt x="9704" y="10523"/>
                  <a:pt x="9704" y="10712"/>
                </a:cubicBezTo>
                <a:cubicBezTo>
                  <a:pt x="9672" y="10933"/>
                  <a:pt x="9546" y="11090"/>
                  <a:pt x="9326" y="11090"/>
                </a:cubicBezTo>
                <a:cubicBezTo>
                  <a:pt x="9137" y="11090"/>
                  <a:pt x="8979" y="10933"/>
                  <a:pt x="8979" y="10712"/>
                </a:cubicBezTo>
                <a:cubicBezTo>
                  <a:pt x="8979" y="10523"/>
                  <a:pt x="9137" y="10366"/>
                  <a:pt x="9326" y="10366"/>
                </a:cubicBezTo>
                <a:close/>
                <a:moveTo>
                  <a:pt x="1103" y="0"/>
                </a:moveTo>
                <a:cubicBezTo>
                  <a:pt x="504" y="0"/>
                  <a:pt x="63" y="473"/>
                  <a:pt x="63" y="1040"/>
                </a:cubicBezTo>
                <a:cubicBezTo>
                  <a:pt x="63" y="1576"/>
                  <a:pt x="536" y="2048"/>
                  <a:pt x="1103" y="2048"/>
                </a:cubicBezTo>
                <a:cubicBezTo>
                  <a:pt x="2048" y="2048"/>
                  <a:pt x="2363" y="2836"/>
                  <a:pt x="2489" y="3497"/>
                </a:cubicBezTo>
                <a:lnTo>
                  <a:pt x="2584" y="4348"/>
                </a:lnTo>
                <a:cubicBezTo>
                  <a:pt x="1072" y="4852"/>
                  <a:pt x="0" y="6301"/>
                  <a:pt x="0" y="7971"/>
                </a:cubicBezTo>
                <a:cubicBezTo>
                  <a:pt x="0" y="10050"/>
                  <a:pt x="1702" y="11783"/>
                  <a:pt x="3812" y="11783"/>
                </a:cubicBezTo>
                <a:cubicBezTo>
                  <a:pt x="5797" y="11783"/>
                  <a:pt x="7436" y="10240"/>
                  <a:pt x="7593" y="8318"/>
                </a:cubicBezTo>
                <a:lnTo>
                  <a:pt x="9011" y="8318"/>
                </a:lnTo>
                <a:lnTo>
                  <a:pt x="9011" y="9767"/>
                </a:lnTo>
                <a:cubicBezTo>
                  <a:pt x="8633" y="9924"/>
                  <a:pt x="8318" y="10271"/>
                  <a:pt x="8318" y="10744"/>
                </a:cubicBezTo>
                <a:cubicBezTo>
                  <a:pt x="8318" y="11342"/>
                  <a:pt x="8790" y="11783"/>
                  <a:pt x="9326" y="11783"/>
                </a:cubicBezTo>
                <a:cubicBezTo>
                  <a:pt x="9767" y="11783"/>
                  <a:pt x="10145" y="11500"/>
                  <a:pt x="10302" y="11059"/>
                </a:cubicBezTo>
                <a:lnTo>
                  <a:pt x="11468" y="11059"/>
                </a:lnTo>
                <a:cubicBezTo>
                  <a:pt x="11657" y="11059"/>
                  <a:pt x="11815" y="10901"/>
                  <a:pt x="11815" y="10712"/>
                </a:cubicBezTo>
                <a:cubicBezTo>
                  <a:pt x="11815" y="10555"/>
                  <a:pt x="11657" y="10397"/>
                  <a:pt x="11468" y="10397"/>
                </a:cubicBezTo>
                <a:lnTo>
                  <a:pt x="10302" y="10397"/>
                </a:lnTo>
                <a:cubicBezTo>
                  <a:pt x="10208" y="10145"/>
                  <a:pt x="9956" y="9893"/>
                  <a:pt x="9672" y="9767"/>
                </a:cubicBezTo>
                <a:lnTo>
                  <a:pt x="9672" y="8318"/>
                </a:lnTo>
                <a:lnTo>
                  <a:pt x="10744" y="8318"/>
                </a:lnTo>
                <a:cubicBezTo>
                  <a:pt x="10933" y="8318"/>
                  <a:pt x="11122" y="8160"/>
                  <a:pt x="11122" y="7971"/>
                </a:cubicBezTo>
                <a:cubicBezTo>
                  <a:pt x="11122" y="7782"/>
                  <a:pt x="10933" y="7593"/>
                  <a:pt x="10744" y="7593"/>
                </a:cubicBezTo>
                <a:lnTo>
                  <a:pt x="10397" y="7593"/>
                </a:lnTo>
                <a:lnTo>
                  <a:pt x="10397" y="7247"/>
                </a:lnTo>
                <a:cubicBezTo>
                  <a:pt x="10397" y="6301"/>
                  <a:pt x="9609" y="5514"/>
                  <a:pt x="8664" y="5514"/>
                </a:cubicBezTo>
                <a:lnTo>
                  <a:pt x="8318" y="5514"/>
                </a:lnTo>
                <a:lnTo>
                  <a:pt x="8318" y="4506"/>
                </a:lnTo>
                <a:cubicBezTo>
                  <a:pt x="8318" y="3560"/>
                  <a:pt x="7530" y="2773"/>
                  <a:pt x="6585" y="2773"/>
                </a:cubicBezTo>
                <a:lnTo>
                  <a:pt x="4411" y="2773"/>
                </a:lnTo>
                <a:cubicBezTo>
                  <a:pt x="3970" y="1040"/>
                  <a:pt x="274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6" name="Google Shape;6656;p71"/>
          <p:cNvGrpSpPr/>
          <p:nvPr/>
        </p:nvGrpSpPr>
        <p:grpSpPr>
          <a:xfrm>
            <a:off x="6637880" y="1306618"/>
            <a:ext cx="353757" cy="352565"/>
            <a:chOff x="-26980600" y="3175500"/>
            <a:chExt cx="296950" cy="295950"/>
          </a:xfrm>
        </p:grpSpPr>
        <p:sp>
          <p:nvSpPr>
            <p:cNvPr id="6657" name="Google Shape;6657;p71"/>
            <p:cNvSpPr/>
            <p:nvPr/>
          </p:nvSpPr>
          <p:spPr>
            <a:xfrm>
              <a:off x="-26798650" y="3175500"/>
              <a:ext cx="115000" cy="114025"/>
            </a:xfrm>
            <a:custGeom>
              <a:avLst/>
              <a:gdLst/>
              <a:ahLst/>
              <a:cxnLst/>
              <a:rect l="l" t="t" r="r" b="b"/>
              <a:pathLst>
                <a:path w="4600" h="4561" extrusionOk="0">
                  <a:moveTo>
                    <a:pt x="1115" y="0"/>
                  </a:moveTo>
                  <a:cubicBezTo>
                    <a:pt x="851" y="0"/>
                    <a:pt x="583" y="102"/>
                    <a:pt x="378" y="307"/>
                  </a:cubicBezTo>
                  <a:cubicBezTo>
                    <a:pt x="0" y="685"/>
                    <a:pt x="0" y="1378"/>
                    <a:pt x="378" y="1756"/>
                  </a:cubicBezTo>
                  <a:lnTo>
                    <a:pt x="2773" y="4245"/>
                  </a:lnTo>
                  <a:cubicBezTo>
                    <a:pt x="2962" y="4434"/>
                    <a:pt x="3245" y="4560"/>
                    <a:pt x="3529" y="4560"/>
                  </a:cubicBezTo>
                  <a:cubicBezTo>
                    <a:pt x="3812" y="4560"/>
                    <a:pt x="4064" y="4434"/>
                    <a:pt x="4285" y="4245"/>
                  </a:cubicBezTo>
                  <a:cubicBezTo>
                    <a:pt x="4474" y="4056"/>
                    <a:pt x="4600" y="3773"/>
                    <a:pt x="4600" y="3489"/>
                  </a:cubicBezTo>
                  <a:cubicBezTo>
                    <a:pt x="4600" y="3206"/>
                    <a:pt x="4474" y="2954"/>
                    <a:pt x="4285" y="2733"/>
                  </a:cubicBezTo>
                  <a:lnTo>
                    <a:pt x="1828" y="307"/>
                  </a:lnTo>
                  <a:cubicBezTo>
                    <a:pt x="1639" y="102"/>
                    <a:pt x="1379" y="0"/>
                    <a:pt x="11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1"/>
            <p:cNvSpPr/>
            <p:nvPr/>
          </p:nvSpPr>
          <p:spPr>
            <a:xfrm>
              <a:off x="-26980600" y="3325725"/>
              <a:ext cx="168575" cy="145725"/>
            </a:xfrm>
            <a:custGeom>
              <a:avLst/>
              <a:gdLst/>
              <a:ahLst/>
              <a:cxnLst/>
              <a:rect l="l" t="t" r="r" b="b"/>
              <a:pathLst>
                <a:path w="6743" h="5829" extrusionOk="0">
                  <a:moveTo>
                    <a:pt x="3797" y="2167"/>
                  </a:moveTo>
                  <a:cubicBezTo>
                    <a:pt x="3884" y="2167"/>
                    <a:pt x="3970" y="2190"/>
                    <a:pt x="4033" y="2237"/>
                  </a:cubicBezTo>
                  <a:cubicBezTo>
                    <a:pt x="4159" y="2363"/>
                    <a:pt x="4159" y="2616"/>
                    <a:pt x="4033" y="2710"/>
                  </a:cubicBezTo>
                  <a:cubicBezTo>
                    <a:pt x="3970" y="2773"/>
                    <a:pt x="3884" y="2805"/>
                    <a:pt x="3797" y="2805"/>
                  </a:cubicBezTo>
                  <a:cubicBezTo>
                    <a:pt x="3710" y="2805"/>
                    <a:pt x="3624" y="2773"/>
                    <a:pt x="3561" y="2710"/>
                  </a:cubicBezTo>
                  <a:cubicBezTo>
                    <a:pt x="3435" y="2616"/>
                    <a:pt x="3435" y="2363"/>
                    <a:pt x="3561" y="2237"/>
                  </a:cubicBezTo>
                  <a:cubicBezTo>
                    <a:pt x="3624" y="2190"/>
                    <a:pt x="3710" y="2167"/>
                    <a:pt x="3797" y="2167"/>
                  </a:cubicBezTo>
                  <a:close/>
                  <a:moveTo>
                    <a:pt x="2336" y="2639"/>
                  </a:moveTo>
                  <a:cubicBezTo>
                    <a:pt x="2426" y="2639"/>
                    <a:pt x="2521" y="2663"/>
                    <a:pt x="2584" y="2710"/>
                  </a:cubicBezTo>
                  <a:cubicBezTo>
                    <a:pt x="2679" y="2836"/>
                    <a:pt x="2679" y="3057"/>
                    <a:pt x="2584" y="3183"/>
                  </a:cubicBezTo>
                  <a:cubicBezTo>
                    <a:pt x="2521" y="3246"/>
                    <a:pt x="2426" y="3277"/>
                    <a:pt x="2336" y="3277"/>
                  </a:cubicBezTo>
                  <a:cubicBezTo>
                    <a:pt x="2245" y="3277"/>
                    <a:pt x="2159" y="3246"/>
                    <a:pt x="2111" y="3183"/>
                  </a:cubicBezTo>
                  <a:cubicBezTo>
                    <a:pt x="1985" y="3057"/>
                    <a:pt x="1985" y="2868"/>
                    <a:pt x="2111" y="2710"/>
                  </a:cubicBezTo>
                  <a:cubicBezTo>
                    <a:pt x="2159" y="2663"/>
                    <a:pt x="2245" y="2639"/>
                    <a:pt x="2336" y="2639"/>
                  </a:cubicBezTo>
                  <a:close/>
                  <a:moveTo>
                    <a:pt x="2931" y="1"/>
                  </a:moveTo>
                  <a:lnTo>
                    <a:pt x="599" y="2332"/>
                  </a:lnTo>
                  <a:cubicBezTo>
                    <a:pt x="221" y="2710"/>
                    <a:pt x="1" y="3214"/>
                    <a:pt x="1" y="3781"/>
                  </a:cubicBezTo>
                  <a:cubicBezTo>
                    <a:pt x="1" y="4317"/>
                    <a:pt x="221" y="4852"/>
                    <a:pt x="599" y="5230"/>
                  </a:cubicBezTo>
                  <a:cubicBezTo>
                    <a:pt x="1009" y="5608"/>
                    <a:pt x="1513" y="5829"/>
                    <a:pt x="2048" y="5829"/>
                  </a:cubicBezTo>
                  <a:cubicBezTo>
                    <a:pt x="2616" y="5829"/>
                    <a:pt x="3120" y="5640"/>
                    <a:pt x="3529" y="5230"/>
                  </a:cubicBezTo>
                  <a:lnTo>
                    <a:pt x="6743" y="2048"/>
                  </a:lnTo>
                  <a:cubicBezTo>
                    <a:pt x="6743" y="2017"/>
                    <a:pt x="6711" y="1954"/>
                    <a:pt x="6711" y="1922"/>
                  </a:cubicBezTo>
                  <a:cubicBezTo>
                    <a:pt x="6396" y="1418"/>
                    <a:pt x="5829" y="1103"/>
                    <a:pt x="5136" y="1103"/>
                  </a:cubicBezTo>
                  <a:lnTo>
                    <a:pt x="5104" y="1103"/>
                  </a:lnTo>
                  <a:cubicBezTo>
                    <a:pt x="5075" y="1104"/>
                    <a:pt x="5045" y="1105"/>
                    <a:pt x="5016" y="1105"/>
                  </a:cubicBezTo>
                  <a:cubicBezTo>
                    <a:pt x="4168" y="1105"/>
                    <a:pt x="3387" y="670"/>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1"/>
            <p:cNvSpPr/>
            <p:nvPr/>
          </p:nvSpPr>
          <p:spPr>
            <a:xfrm>
              <a:off x="-26893950" y="3226500"/>
              <a:ext cx="159125" cy="137850"/>
            </a:xfrm>
            <a:custGeom>
              <a:avLst/>
              <a:gdLst/>
              <a:ahLst/>
              <a:cxnLst/>
              <a:rect l="l" t="t" r="r" b="b"/>
              <a:pathLst>
                <a:path w="6365" h="5514" extrusionOk="0">
                  <a:moveTo>
                    <a:pt x="3403" y="0"/>
                  </a:moveTo>
                  <a:lnTo>
                    <a:pt x="2678" y="693"/>
                  </a:lnTo>
                  <a:lnTo>
                    <a:pt x="2300" y="1103"/>
                  </a:lnTo>
                  <a:lnTo>
                    <a:pt x="3056" y="1859"/>
                  </a:lnTo>
                  <a:cubicBezTo>
                    <a:pt x="3151" y="1953"/>
                    <a:pt x="3151" y="2205"/>
                    <a:pt x="3056" y="2331"/>
                  </a:cubicBezTo>
                  <a:cubicBezTo>
                    <a:pt x="2962" y="2394"/>
                    <a:pt x="2899" y="2426"/>
                    <a:pt x="2804" y="2426"/>
                  </a:cubicBezTo>
                  <a:cubicBezTo>
                    <a:pt x="2741" y="2426"/>
                    <a:pt x="2615" y="2394"/>
                    <a:pt x="2584" y="2331"/>
                  </a:cubicBezTo>
                  <a:lnTo>
                    <a:pt x="1827" y="1575"/>
                  </a:lnTo>
                  <a:lnTo>
                    <a:pt x="1355" y="2048"/>
                  </a:lnTo>
                  <a:lnTo>
                    <a:pt x="2111" y="2804"/>
                  </a:lnTo>
                  <a:cubicBezTo>
                    <a:pt x="2205" y="2898"/>
                    <a:pt x="2205" y="3150"/>
                    <a:pt x="2111" y="3277"/>
                  </a:cubicBezTo>
                  <a:cubicBezTo>
                    <a:pt x="2016" y="3340"/>
                    <a:pt x="1953" y="3371"/>
                    <a:pt x="1859" y="3371"/>
                  </a:cubicBezTo>
                  <a:cubicBezTo>
                    <a:pt x="1796" y="3371"/>
                    <a:pt x="1670" y="3340"/>
                    <a:pt x="1638" y="3277"/>
                  </a:cubicBezTo>
                  <a:lnTo>
                    <a:pt x="882" y="2520"/>
                  </a:lnTo>
                  <a:lnTo>
                    <a:pt x="0" y="3371"/>
                  </a:lnTo>
                  <a:cubicBezTo>
                    <a:pt x="0" y="3403"/>
                    <a:pt x="63" y="3466"/>
                    <a:pt x="63" y="3497"/>
                  </a:cubicBezTo>
                  <a:cubicBezTo>
                    <a:pt x="364" y="4068"/>
                    <a:pt x="894" y="4381"/>
                    <a:pt x="1490" y="4381"/>
                  </a:cubicBezTo>
                  <a:cubicBezTo>
                    <a:pt x="1518" y="4381"/>
                    <a:pt x="1547" y="4381"/>
                    <a:pt x="1575" y="4379"/>
                  </a:cubicBezTo>
                  <a:cubicBezTo>
                    <a:pt x="1890" y="4379"/>
                    <a:pt x="2174" y="4411"/>
                    <a:pt x="2458" y="4474"/>
                  </a:cubicBezTo>
                  <a:cubicBezTo>
                    <a:pt x="2993" y="4631"/>
                    <a:pt x="3529" y="5009"/>
                    <a:pt x="3781" y="5513"/>
                  </a:cubicBezTo>
                  <a:lnTo>
                    <a:pt x="6364" y="2961"/>
                  </a:lnTo>
                  <a:lnTo>
                    <a:pt x="34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60" name="Google Shape;6660;p71"/>
          <p:cNvSpPr/>
          <p:nvPr/>
        </p:nvSpPr>
        <p:spPr>
          <a:xfrm>
            <a:off x="6660447" y="1763639"/>
            <a:ext cx="309649" cy="351910"/>
          </a:xfrm>
          <a:custGeom>
            <a:avLst/>
            <a:gdLst/>
            <a:ahLst/>
            <a:cxnLst/>
            <a:rect l="l" t="t" r="r" b="b"/>
            <a:pathLst>
              <a:path w="10397" h="11816" extrusionOk="0">
                <a:moveTo>
                  <a:pt x="6939" y="1373"/>
                </a:moveTo>
                <a:cubicBezTo>
                  <a:pt x="7177" y="1373"/>
                  <a:pt x="7419" y="1418"/>
                  <a:pt x="7656" y="1513"/>
                </a:cubicBezTo>
                <a:cubicBezTo>
                  <a:pt x="8255" y="1734"/>
                  <a:pt x="8696" y="2206"/>
                  <a:pt x="8853" y="2836"/>
                </a:cubicBezTo>
                <a:cubicBezTo>
                  <a:pt x="8916" y="3435"/>
                  <a:pt x="8822" y="4065"/>
                  <a:pt x="8412" y="4538"/>
                </a:cubicBezTo>
                <a:cubicBezTo>
                  <a:pt x="8349" y="4601"/>
                  <a:pt x="8255" y="4664"/>
                  <a:pt x="8129" y="4664"/>
                </a:cubicBezTo>
                <a:cubicBezTo>
                  <a:pt x="8066" y="4664"/>
                  <a:pt x="7971" y="4601"/>
                  <a:pt x="7939" y="4569"/>
                </a:cubicBezTo>
                <a:cubicBezTo>
                  <a:pt x="7782" y="4443"/>
                  <a:pt x="7782" y="4223"/>
                  <a:pt x="7908" y="4097"/>
                </a:cubicBezTo>
                <a:cubicBezTo>
                  <a:pt x="8129" y="3782"/>
                  <a:pt x="8223" y="3403"/>
                  <a:pt x="8129" y="2962"/>
                </a:cubicBezTo>
                <a:cubicBezTo>
                  <a:pt x="8066" y="2553"/>
                  <a:pt x="7750" y="2238"/>
                  <a:pt x="7404" y="2143"/>
                </a:cubicBezTo>
                <a:cubicBezTo>
                  <a:pt x="7254" y="2086"/>
                  <a:pt x="7095" y="2057"/>
                  <a:pt x="6939" y="2057"/>
                </a:cubicBezTo>
                <a:cubicBezTo>
                  <a:pt x="6669" y="2057"/>
                  <a:pt x="6406" y="2141"/>
                  <a:pt x="6207" y="2301"/>
                </a:cubicBezTo>
                <a:cubicBezTo>
                  <a:pt x="6148" y="2336"/>
                  <a:pt x="6084" y="2354"/>
                  <a:pt x="6021" y="2354"/>
                </a:cubicBezTo>
                <a:cubicBezTo>
                  <a:pt x="5916" y="2354"/>
                  <a:pt x="5813" y="2305"/>
                  <a:pt x="5734" y="2206"/>
                </a:cubicBezTo>
                <a:cubicBezTo>
                  <a:pt x="5608" y="2049"/>
                  <a:pt x="5671" y="1860"/>
                  <a:pt x="5829" y="1734"/>
                </a:cubicBezTo>
                <a:cubicBezTo>
                  <a:pt x="6163" y="1498"/>
                  <a:pt x="6545" y="1373"/>
                  <a:pt x="6939" y="1373"/>
                </a:cubicBezTo>
                <a:close/>
                <a:moveTo>
                  <a:pt x="3466" y="1"/>
                </a:moveTo>
                <a:cubicBezTo>
                  <a:pt x="3182" y="1"/>
                  <a:pt x="2899" y="32"/>
                  <a:pt x="2678" y="95"/>
                </a:cubicBezTo>
                <a:cubicBezTo>
                  <a:pt x="1481" y="348"/>
                  <a:pt x="504" y="1293"/>
                  <a:pt x="221" y="2490"/>
                </a:cubicBezTo>
                <a:cubicBezTo>
                  <a:pt x="0" y="3498"/>
                  <a:pt x="189" y="4569"/>
                  <a:pt x="851" y="5388"/>
                </a:cubicBezTo>
                <a:cubicBezTo>
                  <a:pt x="1292" y="5955"/>
                  <a:pt x="1512" y="6711"/>
                  <a:pt x="1512" y="7499"/>
                </a:cubicBezTo>
                <a:lnTo>
                  <a:pt x="1512" y="10209"/>
                </a:lnTo>
                <a:cubicBezTo>
                  <a:pt x="1512" y="11122"/>
                  <a:pt x="2237" y="11815"/>
                  <a:pt x="3151" y="11815"/>
                </a:cubicBezTo>
                <a:cubicBezTo>
                  <a:pt x="4033" y="11815"/>
                  <a:pt x="4757" y="11122"/>
                  <a:pt x="4757" y="10209"/>
                </a:cubicBezTo>
                <a:lnTo>
                  <a:pt x="4757" y="8539"/>
                </a:lnTo>
                <a:cubicBezTo>
                  <a:pt x="4757" y="8318"/>
                  <a:pt x="4947" y="8066"/>
                  <a:pt x="5230" y="8066"/>
                </a:cubicBezTo>
                <a:cubicBezTo>
                  <a:pt x="5451" y="8066"/>
                  <a:pt x="5703" y="8287"/>
                  <a:pt x="5703" y="8539"/>
                </a:cubicBezTo>
                <a:lnTo>
                  <a:pt x="5703" y="10209"/>
                </a:lnTo>
                <a:cubicBezTo>
                  <a:pt x="5703" y="11122"/>
                  <a:pt x="6396" y="11815"/>
                  <a:pt x="7309" y="11815"/>
                </a:cubicBezTo>
                <a:cubicBezTo>
                  <a:pt x="8223" y="11815"/>
                  <a:pt x="8916" y="11122"/>
                  <a:pt x="8916" y="10209"/>
                </a:cubicBezTo>
                <a:lnTo>
                  <a:pt x="8916" y="7499"/>
                </a:lnTo>
                <a:cubicBezTo>
                  <a:pt x="8916" y="6711"/>
                  <a:pt x="9168" y="5955"/>
                  <a:pt x="9609" y="5388"/>
                </a:cubicBezTo>
                <a:cubicBezTo>
                  <a:pt x="10145" y="4569"/>
                  <a:pt x="10397" y="3498"/>
                  <a:pt x="10145" y="2490"/>
                </a:cubicBezTo>
                <a:cubicBezTo>
                  <a:pt x="9893" y="1293"/>
                  <a:pt x="8885" y="348"/>
                  <a:pt x="7719" y="95"/>
                </a:cubicBezTo>
                <a:cubicBezTo>
                  <a:pt x="7435" y="1"/>
                  <a:pt x="7152" y="1"/>
                  <a:pt x="6931" y="1"/>
                </a:cubicBezTo>
                <a:cubicBezTo>
                  <a:pt x="6333" y="1"/>
                  <a:pt x="5703" y="158"/>
                  <a:pt x="5199" y="474"/>
                </a:cubicBezTo>
                <a:cubicBezTo>
                  <a:pt x="4663" y="158"/>
                  <a:pt x="4033"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1" name="Google Shape;6661;p71"/>
          <p:cNvGrpSpPr/>
          <p:nvPr/>
        </p:nvGrpSpPr>
        <p:grpSpPr>
          <a:xfrm>
            <a:off x="6638357" y="2245154"/>
            <a:ext cx="352803" cy="289039"/>
            <a:chOff x="-26981375" y="3951875"/>
            <a:chExt cx="296150" cy="242625"/>
          </a:xfrm>
        </p:grpSpPr>
        <p:sp>
          <p:nvSpPr>
            <p:cNvPr id="6662" name="Google Shape;6662;p71"/>
            <p:cNvSpPr/>
            <p:nvPr/>
          </p:nvSpPr>
          <p:spPr>
            <a:xfrm>
              <a:off x="-26978225" y="3951875"/>
              <a:ext cx="173300" cy="155975"/>
            </a:xfrm>
            <a:custGeom>
              <a:avLst/>
              <a:gdLst/>
              <a:ahLst/>
              <a:cxnLst/>
              <a:rect l="l" t="t" r="r" b="b"/>
              <a:pathLst>
                <a:path w="6932" h="6239" extrusionOk="0">
                  <a:moveTo>
                    <a:pt x="3340" y="2364"/>
                  </a:moveTo>
                  <a:cubicBezTo>
                    <a:pt x="3529" y="2364"/>
                    <a:pt x="3686" y="2521"/>
                    <a:pt x="3686" y="2710"/>
                  </a:cubicBezTo>
                  <a:lnTo>
                    <a:pt x="3686" y="3435"/>
                  </a:lnTo>
                  <a:lnTo>
                    <a:pt x="4411" y="3435"/>
                  </a:lnTo>
                  <a:cubicBezTo>
                    <a:pt x="4600" y="3435"/>
                    <a:pt x="4757" y="3592"/>
                    <a:pt x="4757" y="3782"/>
                  </a:cubicBezTo>
                  <a:cubicBezTo>
                    <a:pt x="4757" y="3971"/>
                    <a:pt x="4600" y="4128"/>
                    <a:pt x="4411" y="4128"/>
                  </a:cubicBezTo>
                  <a:lnTo>
                    <a:pt x="3686" y="4128"/>
                  </a:lnTo>
                  <a:lnTo>
                    <a:pt x="3686" y="4853"/>
                  </a:lnTo>
                  <a:cubicBezTo>
                    <a:pt x="3686" y="5042"/>
                    <a:pt x="3529" y="5199"/>
                    <a:pt x="3340" y="5199"/>
                  </a:cubicBezTo>
                  <a:cubicBezTo>
                    <a:pt x="3151" y="5199"/>
                    <a:pt x="2993" y="5042"/>
                    <a:pt x="2993" y="4853"/>
                  </a:cubicBezTo>
                  <a:lnTo>
                    <a:pt x="2993" y="4128"/>
                  </a:lnTo>
                  <a:lnTo>
                    <a:pt x="2268" y="4128"/>
                  </a:lnTo>
                  <a:cubicBezTo>
                    <a:pt x="2079" y="4128"/>
                    <a:pt x="1922" y="3971"/>
                    <a:pt x="1922" y="3782"/>
                  </a:cubicBezTo>
                  <a:cubicBezTo>
                    <a:pt x="1922" y="3592"/>
                    <a:pt x="2079" y="3435"/>
                    <a:pt x="2268" y="3435"/>
                  </a:cubicBezTo>
                  <a:lnTo>
                    <a:pt x="2993" y="3435"/>
                  </a:lnTo>
                  <a:lnTo>
                    <a:pt x="2993" y="2710"/>
                  </a:lnTo>
                  <a:cubicBezTo>
                    <a:pt x="2993" y="2521"/>
                    <a:pt x="3151" y="2364"/>
                    <a:pt x="3340" y="2364"/>
                  </a:cubicBezTo>
                  <a:close/>
                  <a:moveTo>
                    <a:pt x="3434" y="1"/>
                  </a:moveTo>
                  <a:cubicBezTo>
                    <a:pt x="2836" y="1"/>
                    <a:pt x="2394" y="474"/>
                    <a:pt x="2394" y="1041"/>
                  </a:cubicBezTo>
                  <a:lnTo>
                    <a:pt x="2394" y="1387"/>
                  </a:lnTo>
                  <a:lnTo>
                    <a:pt x="1008" y="1387"/>
                  </a:lnTo>
                  <a:cubicBezTo>
                    <a:pt x="441" y="1387"/>
                    <a:pt x="0" y="1860"/>
                    <a:pt x="0" y="2395"/>
                  </a:cubicBezTo>
                  <a:lnTo>
                    <a:pt x="0" y="6239"/>
                  </a:lnTo>
                  <a:lnTo>
                    <a:pt x="6931" y="6239"/>
                  </a:lnTo>
                  <a:lnTo>
                    <a:pt x="6931" y="2395"/>
                  </a:lnTo>
                  <a:lnTo>
                    <a:pt x="6837" y="2395"/>
                  </a:lnTo>
                  <a:cubicBezTo>
                    <a:pt x="6837" y="1828"/>
                    <a:pt x="6364" y="1387"/>
                    <a:pt x="5829" y="1387"/>
                  </a:cubicBezTo>
                  <a:lnTo>
                    <a:pt x="4442" y="1387"/>
                  </a:lnTo>
                  <a:lnTo>
                    <a:pt x="4442" y="1041"/>
                  </a:lnTo>
                  <a:cubicBezTo>
                    <a:pt x="4442" y="442"/>
                    <a:pt x="3970" y="1"/>
                    <a:pt x="3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1"/>
            <p:cNvSpPr/>
            <p:nvPr/>
          </p:nvSpPr>
          <p:spPr>
            <a:xfrm>
              <a:off x="-26981375" y="4124375"/>
              <a:ext cx="174075" cy="70125"/>
            </a:xfrm>
            <a:custGeom>
              <a:avLst/>
              <a:gdLst/>
              <a:ahLst/>
              <a:cxnLst/>
              <a:rect l="l" t="t" r="r" b="b"/>
              <a:pathLst>
                <a:path w="6963" h="2805" extrusionOk="0">
                  <a:moveTo>
                    <a:pt x="2457" y="1418"/>
                  </a:moveTo>
                  <a:cubicBezTo>
                    <a:pt x="2647" y="1418"/>
                    <a:pt x="2804" y="1576"/>
                    <a:pt x="2804" y="1765"/>
                  </a:cubicBezTo>
                  <a:cubicBezTo>
                    <a:pt x="2804" y="1954"/>
                    <a:pt x="2647" y="2111"/>
                    <a:pt x="2457" y="2111"/>
                  </a:cubicBezTo>
                  <a:cubicBezTo>
                    <a:pt x="2237" y="2111"/>
                    <a:pt x="2079" y="1954"/>
                    <a:pt x="2079" y="1765"/>
                  </a:cubicBezTo>
                  <a:cubicBezTo>
                    <a:pt x="2079" y="1576"/>
                    <a:pt x="2237" y="1418"/>
                    <a:pt x="2457" y="1418"/>
                  </a:cubicBezTo>
                  <a:close/>
                  <a:moveTo>
                    <a:pt x="32" y="0"/>
                  </a:moveTo>
                  <a:lnTo>
                    <a:pt x="32" y="1009"/>
                  </a:lnTo>
                  <a:cubicBezTo>
                    <a:pt x="0" y="1607"/>
                    <a:pt x="473" y="2080"/>
                    <a:pt x="1071" y="2080"/>
                  </a:cubicBezTo>
                  <a:lnTo>
                    <a:pt x="1449" y="2080"/>
                  </a:lnTo>
                  <a:cubicBezTo>
                    <a:pt x="1607" y="2489"/>
                    <a:pt x="1985" y="2804"/>
                    <a:pt x="2457" y="2804"/>
                  </a:cubicBezTo>
                  <a:cubicBezTo>
                    <a:pt x="2867" y="2804"/>
                    <a:pt x="3277" y="2521"/>
                    <a:pt x="3434" y="2080"/>
                  </a:cubicBezTo>
                  <a:lnTo>
                    <a:pt x="6963" y="2080"/>
                  </a:lnTo>
                  <a:lnTo>
                    <a:pt x="69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1"/>
            <p:cNvSpPr/>
            <p:nvPr/>
          </p:nvSpPr>
          <p:spPr>
            <a:xfrm>
              <a:off x="-26790000" y="4002300"/>
              <a:ext cx="104775" cy="192200"/>
            </a:xfrm>
            <a:custGeom>
              <a:avLst/>
              <a:gdLst/>
              <a:ahLst/>
              <a:cxnLst/>
              <a:rect l="l" t="t" r="r" b="b"/>
              <a:pathLst>
                <a:path w="4191" h="7688" extrusionOk="0">
                  <a:moveTo>
                    <a:pt x="1513" y="693"/>
                  </a:moveTo>
                  <a:cubicBezTo>
                    <a:pt x="1954" y="693"/>
                    <a:pt x="2364" y="977"/>
                    <a:pt x="2521" y="1386"/>
                  </a:cubicBezTo>
                  <a:lnTo>
                    <a:pt x="3372" y="3497"/>
                  </a:lnTo>
                  <a:lnTo>
                    <a:pt x="1765" y="3497"/>
                  </a:lnTo>
                  <a:cubicBezTo>
                    <a:pt x="1576" y="3497"/>
                    <a:pt x="1419" y="3340"/>
                    <a:pt x="1419" y="3151"/>
                  </a:cubicBezTo>
                  <a:lnTo>
                    <a:pt x="1419" y="693"/>
                  </a:lnTo>
                  <a:close/>
                  <a:moveTo>
                    <a:pt x="1765" y="6270"/>
                  </a:moveTo>
                  <a:cubicBezTo>
                    <a:pt x="1954" y="6270"/>
                    <a:pt x="2112" y="6427"/>
                    <a:pt x="2112" y="6616"/>
                  </a:cubicBezTo>
                  <a:cubicBezTo>
                    <a:pt x="2112" y="6805"/>
                    <a:pt x="1954" y="6963"/>
                    <a:pt x="1765" y="6963"/>
                  </a:cubicBezTo>
                  <a:cubicBezTo>
                    <a:pt x="1576" y="6963"/>
                    <a:pt x="1419" y="6805"/>
                    <a:pt x="1419" y="6616"/>
                  </a:cubicBezTo>
                  <a:cubicBezTo>
                    <a:pt x="1419" y="6427"/>
                    <a:pt x="1576" y="6270"/>
                    <a:pt x="1765" y="6270"/>
                  </a:cubicBezTo>
                  <a:close/>
                  <a:moveTo>
                    <a:pt x="1" y="0"/>
                  </a:moveTo>
                  <a:lnTo>
                    <a:pt x="1" y="6963"/>
                  </a:lnTo>
                  <a:lnTo>
                    <a:pt x="788" y="6963"/>
                  </a:lnTo>
                  <a:cubicBezTo>
                    <a:pt x="946" y="7372"/>
                    <a:pt x="1293" y="7687"/>
                    <a:pt x="1765" y="7687"/>
                  </a:cubicBezTo>
                  <a:cubicBezTo>
                    <a:pt x="2206" y="7687"/>
                    <a:pt x="2584" y="7404"/>
                    <a:pt x="2742" y="6963"/>
                  </a:cubicBezTo>
                  <a:lnTo>
                    <a:pt x="3151" y="6963"/>
                  </a:lnTo>
                  <a:cubicBezTo>
                    <a:pt x="3718" y="6963"/>
                    <a:pt x="4159" y="6490"/>
                    <a:pt x="4159" y="5955"/>
                  </a:cubicBezTo>
                  <a:lnTo>
                    <a:pt x="4159" y="5577"/>
                  </a:lnTo>
                  <a:lnTo>
                    <a:pt x="3151" y="5577"/>
                  </a:lnTo>
                  <a:cubicBezTo>
                    <a:pt x="2931" y="5577"/>
                    <a:pt x="2773" y="5419"/>
                    <a:pt x="2773" y="5230"/>
                  </a:cubicBezTo>
                  <a:cubicBezTo>
                    <a:pt x="2773" y="5041"/>
                    <a:pt x="2994" y="4883"/>
                    <a:pt x="3183" y="4883"/>
                  </a:cubicBezTo>
                  <a:lnTo>
                    <a:pt x="4191" y="4883"/>
                  </a:lnTo>
                  <a:lnTo>
                    <a:pt x="4191" y="4096"/>
                  </a:lnTo>
                  <a:cubicBezTo>
                    <a:pt x="4191" y="3970"/>
                    <a:pt x="4159" y="3812"/>
                    <a:pt x="4159" y="3686"/>
                  </a:cubicBezTo>
                  <a:cubicBezTo>
                    <a:pt x="4096" y="3466"/>
                    <a:pt x="3246" y="1386"/>
                    <a:pt x="3151" y="1103"/>
                  </a:cubicBezTo>
                  <a:cubicBezTo>
                    <a:pt x="2868" y="410"/>
                    <a:pt x="2238" y="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5" name="Google Shape;6665;p71"/>
          <p:cNvGrpSpPr/>
          <p:nvPr/>
        </p:nvGrpSpPr>
        <p:grpSpPr>
          <a:xfrm>
            <a:off x="5303399" y="2692745"/>
            <a:ext cx="351910" cy="354710"/>
            <a:chOff x="-25094250" y="3176075"/>
            <a:chExt cx="295400" cy="297750"/>
          </a:xfrm>
        </p:grpSpPr>
        <p:sp>
          <p:nvSpPr>
            <p:cNvPr id="6666" name="Google Shape;6666;p71"/>
            <p:cNvSpPr/>
            <p:nvPr/>
          </p:nvSpPr>
          <p:spPr>
            <a:xfrm>
              <a:off x="-24989225" y="3176075"/>
              <a:ext cx="87200" cy="122500"/>
            </a:xfrm>
            <a:custGeom>
              <a:avLst/>
              <a:gdLst/>
              <a:ahLst/>
              <a:cxnLst/>
              <a:rect l="l" t="t" r="r" b="b"/>
              <a:pathLst>
                <a:path w="3488" h="4900" extrusionOk="0">
                  <a:moveTo>
                    <a:pt x="1408" y="1"/>
                  </a:moveTo>
                  <a:lnTo>
                    <a:pt x="1408" y="1922"/>
                  </a:lnTo>
                  <a:cubicBezTo>
                    <a:pt x="1408" y="2647"/>
                    <a:pt x="998" y="3277"/>
                    <a:pt x="463" y="3561"/>
                  </a:cubicBezTo>
                  <a:cubicBezTo>
                    <a:pt x="211" y="3655"/>
                    <a:pt x="53" y="3907"/>
                    <a:pt x="22" y="4128"/>
                  </a:cubicBezTo>
                  <a:cubicBezTo>
                    <a:pt x="1" y="4609"/>
                    <a:pt x="369" y="4896"/>
                    <a:pt x="738" y="4896"/>
                  </a:cubicBezTo>
                  <a:cubicBezTo>
                    <a:pt x="925" y="4896"/>
                    <a:pt x="1113" y="4822"/>
                    <a:pt x="1250" y="4663"/>
                  </a:cubicBezTo>
                  <a:cubicBezTo>
                    <a:pt x="1361" y="4506"/>
                    <a:pt x="1557" y="4427"/>
                    <a:pt x="1754" y="4427"/>
                  </a:cubicBezTo>
                  <a:cubicBezTo>
                    <a:pt x="1951" y="4427"/>
                    <a:pt x="2148" y="4506"/>
                    <a:pt x="2258" y="4663"/>
                  </a:cubicBezTo>
                  <a:cubicBezTo>
                    <a:pt x="2411" y="4826"/>
                    <a:pt x="2604" y="4899"/>
                    <a:pt x="2792" y="4899"/>
                  </a:cubicBezTo>
                  <a:cubicBezTo>
                    <a:pt x="3149" y="4899"/>
                    <a:pt x="3487" y="4635"/>
                    <a:pt x="3487" y="4222"/>
                  </a:cubicBezTo>
                  <a:cubicBezTo>
                    <a:pt x="3487" y="3939"/>
                    <a:pt x="3330" y="3718"/>
                    <a:pt x="3109" y="3592"/>
                  </a:cubicBezTo>
                  <a:cubicBezTo>
                    <a:pt x="2479" y="3277"/>
                    <a:pt x="2101" y="2710"/>
                    <a:pt x="2101" y="2143"/>
                  </a:cubicBezTo>
                  <a:lnTo>
                    <a:pt x="2101" y="32"/>
                  </a:lnTo>
                  <a:cubicBezTo>
                    <a:pt x="2006" y="32"/>
                    <a:pt x="1880" y="1"/>
                    <a:pt x="17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1"/>
            <p:cNvSpPr/>
            <p:nvPr/>
          </p:nvSpPr>
          <p:spPr>
            <a:xfrm>
              <a:off x="-25094250" y="3179225"/>
              <a:ext cx="295400" cy="291450"/>
            </a:xfrm>
            <a:custGeom>
              <a:avLst/>
              <a:gdLst/>
              <a:ahLst/>
              <a:cxnLst/>
              <a:rect l="l" t="t" r="r" b="b"/>
              <a:pathLst>
                <a:path w="11816" h="11658" extrusionOk="0">
                  <a:moveTo>
                    <a:pt x="4884" y="1"/>
                  </a:moveTo>
                  <a:cubicBezTo>
                    <a:pt x="2143" y="505"/>
                    <a:pt x="1" y="2899"/>
                    <a:pt x="1" y="5829"/>
                  </a:cubicBezTo>
                  <a:cubicBezTo>
                    <a:pt x="1" y="8696"/>
                    <a:pt x="2143" y="11153"/>
                    <a:pt x="4884" y="11657"/>
                  </a:cubicBezTo>
                  <a:lnTo>
                    <a:pt x="4884" y="9799"/>
                  </a:lnTo>
                  <a:cubicBezTo>
                    <a:pt x="4884" y="9358"/>
                    <a:pt x="4664" y="8980"/>
                    <a:pt x="4349" y="8822"/>
                  </a:cubicBezTo>
                  <a:cubicBezTo>
                    <a:pt x="3876" y="8633"/>
                    <a:pt x="3561" y="8160"/>
                    <a:pt x="3530" y="7625"/>
                  </a:cubicBezTo>
                  <a:cubicBezTo>
                    <a:pt x="3446" y="6731"/>
                    <a:pt x="4186" y="6180"/>
                    <a:pt x="4925" y="6180"/>
                  </a:cubicBezTo>
                  <a:cubicBezTo>
                    <a:pt x="5306" y="6180"/>
                    <a:pt x="5687" y="6327"/>
                    <a:pt x="5955" y="6648"/>
                  </a:cubicBezTo>
                  <a:cubicBezTo>
                    <a:pt x="6188" y="6316"/>
                    <a:pt x="6553" y="6163"/>
                    <a:pt x="6929" y="6163"/>
                  </a:cubicBezTo>
                  <a:cubicBezTo>
                    <a:pt x="7621" y="6163"/>
                    <a:pt x="8350" y="6684"/>
                    <a:pt x="8350" y="7562"/>
                  </a:cubicBezTo>
                  <a:cubicBezTo>
                    <a:pt x="8350" y="8066"/>
                    <a:pt x="8035" y="8570"/>
                    <a:pt x="7562" y="8822"/>
                  </a:cubicBezTo>
                  <a:cubicBezTo>
                    <a:pt x="7184" y="9011"/>
                    <a:pt x="6995" y="9326"/>
                    <a:pt x="6995" y="9641"/>
                  </a:cubicBezTo>
                  <a:lnTo>
                    <a:pt x="6995" y="11657"/>
                  </a:lnTo>
                  <a:cubicBezTo>
                    <a:pt x="9736" y="11153"/>
                    <a:pt x="11815" y="8728"/>
                    <a:pt x="11815" y="5829"/>
                  </a:cubicBezTo>
                  <a:cubicBezTo>
                    <a:pt x="11815" y="2899"/>
                    <a:pt x="9736" y="505"/>
                    <a:pt x="6995" y="1"/>
                  </a:cubicBezTo>
                  <a:lnTo>
                    <a:pt x="6995" y="2017"/>
                  </a:lnTo>
                  <a:cubicBezTo>
                    <a:pt x="6995" y="2364"/>
                    <a:pt x="7216" y="2679"/>
                    <a:pt x="7562" y="2836"/>
                  </a:cubicBezTo>
                  <a:cubicBezTo>
                    <a:pt x="8035" y="3057"/>
                    <a:pt x="8350" y="3529"/>
                    <a:pt x="8350" y="4096"/>
                  </a:cubicBezTo>
                  <a:cubicBezTo>
                    <a:pt x="8350" y="4945"/>
                    <a:pt x="7656" y="5495"/>
                    <a:pt x="6948" y="5495"/>
                  </a:cubicBezTo>
                  <a:cubicBezTo>
                    <a:pt x="6578" y="5495"/>
                    <a:pt x="6205" y="5345"/>
                    <a:pt x="5924" y="5010"/>
                  </a:cubicBezTo>
                  <a:cubicBezTo>
                    <a:pt x="5691" y="5321"/>
                    <a:pt x="5310" y="5471"/>
                    <a:pt x="4919" y="5471"/>
                  </a:cubicBezTo>
                  <a:cubicBezTo>
                    <a:pt x="4200" y="5471"/>
                    <a:pt x="3448" y="4961"/>
                    <a:pt x="3530" y="4002"/>
                  </a:cubicBezTo>
                  <a:cubicBezTo>
                    <a:pt x="3561" y="3498"/>
                    <a:pt x="3876" y="3057"/>
                    <a:pt x="4349" y="2836"/>
                  </a:cubicBezTo>
                  <a:cubicBezTo>
                    <a:pt x="4664" y="2679"/>
                    <a:pt x="4884" y="2269"/>
                    <a:pt x="4884" y="1859"/>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1"/>
            <p:cNvSpPr/>
            <p:nvPr/>
          </p:nvSpPr>
          <p:spPr>
            <a:xfrm>
              <a:off x="-24989225" y="3350975"/>
              <a:ext cx="87200" cy="122850"/>
            </a:xfrm>
            <a:custGeom>
              <a:avLst/>
              <a:gdLst/>
              <a:ahLst/>
              <a:cxnLst/>
              <a:rect l="l" t="t" r="r" b="b"/>
              <a:pathLst>
                <a:path w="3488" h="4914" extrusionOk="0">
                  <a:moveTo>
                    <a:pt x="2777" y="1"/>
                  </a:moveTo>
                  <a:cubicBezTo>
                    <a:pt x="2589" y="1"/>
                    <a:pt x="2399" y="77"/>
                    <a:pt x="2258" y="251"/>
                  </a:cubicBezTo>
                  <a:cubicBezTo>
                    <a:pt x="2148" y="408"/>
                    <a:pt x="1951" y="487"/>
                    <a:pt x="1754" y="487"/>
                  </a:cubicBezTo>
                  <a:cubicBezTo>
                    <a:pt x="1557" y="487"/>
                    <a:pt x="1361" y="408"/>
                    <a:pt x="1250" y="251"/>
                  </a:cubicBezTo>
                  <a:cubicBezTo>
                    <a:pt x="1122" y="91"/>
                    <a:pt x="936" y="17"/>
                    <a:pt x="748" y="17"/>
                  </a:cubicBezTo>
                  <a:cubicBezTo>
                    <a:pt x="379" y="17"/>
                    <a:pt x="1" y="297"/>
                    <a:pt x="22" y="755"/>
                  </a:cubicBezTo>
                  <a:cubicBezTo>
                    <a:pt x="22" y="1007"/>
                    <a:pt x="242" y="1227"/>
                    <a:pt x="463" y="1353"/>
                  </a:cubicBezTo>
                  <a:cubicBezTo>
                    <a:pt x="1061" y="1637"/>
                    <a:pt x="1408" y="2267"/>
                    <a:pt x="1408" y="2960"/>
                  </a:cubicBezTo>
                  <a:lnTo>
                    <a:pt x="1408" y="4914"/>
                  </a:lnTo>
                  <a:cubicBezTo>
                    <a:pt x="1534" y="4851"/>
                    <a:pt x="1660" y="4851"/>
                    <a:pt x="1754" y="4851"/>
                  </a:cubicBezTo>
                  <a:lnTo>
                    <a:pt x="2101" y="4851"/>
                  </a:lnTo>
                  <a:lnTo>
                    <a:pt x="2101" y="2771"/>
                  </a:lnTo>
                  <a:cubicBezTo>
                    <a:pt x="2101" y="2141"/>
                    <a:pt x="2479" y="1606"/>
                    <a:pt x="3109" y="1322"/>
                  </a:cubicBezTo>
                  <a:cubicBezTo>
                    <a:pt x="3330" y="1196"/>
                    <a:pt x="3487" y="975"/>
                    <a:pt x="3487" y="692"/>
                  </a:cubicBezTo>
                  <a:cubicBezTo>
                    <a:pt x="3487" y="279"/>
                    <a:pt x="3135" y="1"/>
                    <a:pt x="27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9" name="Google Shape;6669;p71"/>
          <p:cNvGrpSpPr/>
          <p:nvPr/>
        </p:nvGrpSpPr>
        <p:grpSpPr>
          <a:xfrm>
            <a:off x="5303399" y="3173106"/>
            <a:ext cx="351910" cy="351880"/>
            <a:chOff x="-25094250" y="3547050"/>
            <a:chExt cx="295400" cy="295375"/>
          </a:xfrm>
        </p:grpSpPr>
        <p:sp>
          <p:nvSpPr>
            <p:cNvPr id="6670" name="Google Shape;6670;p71"/>
            <p:cNvSpPr/>
            <p:nvPr/>
          </p:nvSpPr>
          <p:spPr>
            <a:xfrm>
              <a:off x="-24990275" y="358092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1"/>
            <p:cNvSpPr/>
            <p:nvPr/>
          </p:nvSpPr>
          <p:spPr>
            <a:xfrm>
              <a:off x="-25041475" y="3668350"/>
              <a:ext cx="52025" cy="52000"/>
            </a:xfrm>
            <a:custGeom>
              <a:avLst/>
              <a:gdLst/>
              <a:ahLst/>
              <a:cxnLst/>
              <a:rect l="l" t="t" r="r" b="b"/>
              <a:pathLst>
                <a:path w="2081" h="2080" extrusionOk="0">
                  <a:moveTo>
                    <a:pt x="1" y="0"/>
                  </a:moveTo>
                  <a:lnTo>
                    <a:pt x="1" y="2080"/>
                  </a:lnTo>
                  <a:lnTo>
                    <a:pt x="2080" y="2080"/>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1"/>
            <p:cNvSpPr/>
            <p:nvPr/>
          </p:nvSpPr>
          <p:spPr>
            <a:xfrm>
              <a:off x="-25094250" y="3547050"/>
              <a:ext cx="224500" cy="295375"/>
            </a:xfrm>
            <a:custGeom>
              <a:avLst/>
              <a:gdLst/>
              <a:ahLst/>
              <a:cxnLst/>
              <a:rect l="l" t="t" r="r" b="b"/>
              <a:pathLst>
                <a:path w="8980" h="11815" extrusionOk="0">
                  <a:moveTo>
                    <a:pt x="4538" y="694"/>
                  </a:moveTo>
                  <a:cubicBezTo>
                    <a:pt x="5136" y="694"/>
                    <a:pt x="5577" y="1166"/>
                    <a:pt x="5577" y="1702"/>
                  </a:cubicBezTo>
                  <a:cubicBezTo>
                    <a:pt x="5577" y="1891"/>
                    <a:pt x="5735" y="2048"/>
                    <a:pt x="5924" y="2048"/>
                  </a:cubicBezTo>
                  <a:lnTo>
                    <a:pt x="6649" y="2048"/>
                  </a:lnTo>
                  <a:cubicBezTo>
                    <a:pt x="6838" y="2048"/>
                    <a:pt x="6995" y="2206"/>
                    <a:pt x="6995" y="2426"/>
                  </a:cubicBezTo>
                  <a:lnTo>
                    <a:pt x="6995" y="2773"/>
                  </a:lnTo>
                  <a:lnTo>
                    <a:pt x="2143" y="2773"/>
                  </a:lnTo>
                  <a:lnTo>
                    <a:pt x="2143" y="2426"/>
                  </a:lnTo>
                  <a:lnTo>
                    <a:pt x="2112" y="2426"/>
                  </a:lnTo>
                  <a:cubicBezTo>
                    <a:pt x="2112" y="2206"/>
                    <a:pt x="2269" y="2048"/>
                    <a:pt x="2458" y="2048"/>
                  </a:cubicBezTo>
                  <a:lnTo>
                    <a:pt x="3183" y="2048"/>
                  </a:lnTo>
                  <a:cubicBezTo>
                    <a:pt x="3372" y="2048"/>
                    <a:pt x="3530" y="1891"/>
                    <a:pt x="3530" y="1702"/>
                  </a:cubicBezTo>
                  <a:cubicBezTo>
                    <a:pt x="3530" y="1103"/>
                    <a:pt x="4002" y="694"/>
                    <a:pt x="4538" y="694"/>
                  </a:cubicBezTo>
                  <a:close/>
                  <a:moveTo>
                    <a:pt x="7310" y="4159"/>
                  </a:moveTo>
                  <a:cubicBezTo>
                    <a:pt x="7499" y="4159"/>
                    <a:pt x="7657" y="4317"/>
                    <a:pt x="7657" y="4506"/>
                  </a:cubicBezTo>
                  <a:cubicBezTo>
                    <a:pt x="7657" y="4695"/>
                    <a:pt x="7499" y="4852"/>
                    <a:pt x="7310" y="4852"/>
                  </a:cubicBezTo>
                  <a:lnTo>
                    <a:pt x="5924" y="4852"/>
                  </a:lnTo>
                  <a:cubicBezTo>
                    <a:pt x="5735" y="4852"/>
                    <a:pt x="5577" y="4695"/>
                    <a:pt x="5577" y="4506"/>
                  </a:cubicBezTo>
                  <a:cubicBezTo>
                    <a:pt x="5577" y="4317"/>
                    <a:pt x="5735" y="4159"/>
                    <a:pt x="5924" y="4159"/>
                  </a:cubicBezTo>
                  <a:close/>
                  <a:moveTo>
                    <a:pt x="7310" y="5514"/>
                  </a:moveTo>
                  <a:cubicBezTo>
                    <a:pt x="7499" y="5514"/>
                    <a:pt x="7657" y="5671"/>
                    <a:pt x="7657" y="5892"/>
                  </a:cubicBezTo>
                  <a:cubicBezTo>
                    <a:pt x="7657" y="6081"/>
                    <a:pt x="7499" y="6238"/>
                    <a:pt x="7310" y="6238"/>
                  </a:cubicBezTo>
                  <a:lnTo>
                    <a:pt x="5924" y="6238"/>
                  </a:lnTo>
                  <a:cubicBezTo>
                    <a:pt x="5735" y="6238"/>
                    <a:pt x="5577" y="6081"/>
                    <a:pt x="5577" y="5892"/>
                  </a:cubicBezTo>
                  <a:cubicBezTo>
                    <a:pt x="5577" y="5671"/>
                    <a:pt x="5735" y="5514"/>
                    <a:pt x="5924" y="5514"/>
                  </a:cubicBezTo>
                  <a:close/>
                  <a:moveTo>
                    <a:pt x="4506" y="4159"/>
                  </a:moveTo>
                  <a:cubicBezTo>
                    <a:pt x="4695" y="4159"/>
                    <a:pt x="4853" y="4317"/>
                    <a:pt x="4853" y="4506"/>
                  </a:cubicBezTo>
                  <a:lnTo>
                    <a:pt x="4853" y="7247"/>
                  </a:lnTo>
                  <a:cubicBezTo>
                    <a:pt x="4853" y="7467"/>
                    <a:pt x="4695" y="7593"/>
                    <a:pt x="4506" y="7593"/>
                  </a:cubicBezTo>
                  <a:lnTo>
                    <a:pt x="1734" y="7593"/>
                  </a:lnTo>
                  <a:cubicBezTo>
                    <a:pt x="1545" y="7593"/>
                    <a:pt x="1387" y="7467"/>
                    <a:pt x="1387" y="7247"/>
                  </a:cubicBezTo>
                  <a:lnTo>
                    <a:pt x="1387" y="4506"/>
                  </a:lnTo>
                  <a:cubicBezTo>
                    <a:pt x="1387" y="4317"/>
                    <a:pt x="1545" y="4159"/>
                    <a:pt x="1734" y="4159"/>
                  </a:cubicBezTo>
                  <a:close/>
                  <a:moveTo>
                    <a:pt x="7310" y="6900"/>
                  </a:moveTo>
                  <a:cubicBezTo>
                    <a:pt x="7499" y="6900"/>
                    <a:pt x="7657" y="7058"/>
                    <a:pt x="7657" y="7247"/>
                  </a:cubicBezTo>
                  <a:cubicBezTo>
                    <a:pt x="7657" y="7467"/>
                    <a:pt x="7499" y="7593"/>
                    <a:pt x="7310" y="7593"/>
                  </a:cubicBezTo>
                  <a:lnTo>
                    <a:pt x="5924" y="7593"/>
                  </a:lnTo>
                  <a:cubicBezTo>
                    <a:pt x="5735" y="7593"/>
                    <a:pt x="5577" y="7467"/>
                    <a:pt x="5577" y="7247"/>
                  </a:cubicBezTo>
                  <a:cubicBezTo>
                    <a:pt x="5577" y="7058"/>
                    <a:pt x="5735" y="6900"/>
                    <a:pt x="5924" y="6900"/>
                  </a:cubicBezTo>
                  <a:close/>
                  <a:moveTo>
                    <a:pt x="7310" y="8318"/>
                  </a:moveTo>
                  <a:cubicBezTo>
                    <a:pt x="7499" y="8318"/>
                    <a:pt x="7657" y="8475"/>
                    <a:pt x="7657" y="8664"/>
                  </a:cubicBezTo>
                  <a:cubicBezTo>
                    <a:pt x="7657" y="8853"/>
                    <a:pt x="7499" y="9011"/>
                    <a:pt x="7310" y="9011"/>
                  </a:cubicBezTo>
                  <a:lnTo>
                    <a:pt x="1734" y="9011"/>
                  </a:lnTo>
                  <a:cubicBezTo>
                    <a:pt x="1545" y="9011"/>
                    <a:pt x="1387" y="8853"/>
                    <a:pt x="1387" y="8664"/>
                  </a:cubicBezTo>
                  <a:cubicBezTo>
                    <a:pt x="1387" y="8475"/>
                    <a:pt x="1545" y="8318"/>
                    <a:pt x="1734" y="8318"/>
                  </a:cubicBezTo>
                  <a:close/>
                  <a:moveTo>
                    <a:pt x="7310" y="9704"/>
                  </a:moveTo>
                  <a:cubicBezTo>
                    <a:pt x="7499" y="9704"/>
                    <a:pt x="7657" y="9861"/>
                    <a:pt x="7657" y="10050"/>
                  </a:cubicBezTo>
                  <a:cubicBezTo>
                    <a:pt x="7657" y="10240"/>
                    <a:pt x="7499" y="10397"/>
                    <a:pt x="7310" y="10397"/>
                  </a:cubicBezTo>
                  <a:lnTo>
                    <a:pt x="1734" y="10397"/>
                  </a:lnTo>
                  <a:cubicBezTo>
                    <a:pt x="1545" y="10397"/>
                    <a:pt x="1387" y="10240"/>
                    <a:pt x="1387" y="10050"/>
                  </a:cubicBezTo>
                  <a:cubicBezTo>
                    <a:pt x="1387" y="9861"/>
                    <a:pt x="1545" y="9704"/>
                    <a:pt x="1734" y="9704"/>
                  </a:cubicBezTo>
                  <a:close/>
                  <a:moveTo>
                    <a:pt x="4506" y="0"/>
                  </a:moveTo>
                  <a:cubicBezTo>
                    <a:pt x="3687" y="0"/>
                    <a:pt x="2962" y="599"/>
                    <a:pt x="2805" y="1387"/>
                  </a:cubicBezTo>
                  <a:lnTo>
                    <a:pt x="2427" y="1387"/>
                  </a:lnTo>
                  <a:cubicBezTo>
                    <a:pt x="1986" y="1387"/>
                    <a:pt x="1576" y="1670"/>
                    <a:pt x="1419" y="2080"/>
                  </a:cubicBezTo>
                  <a:lnTo>
                    <a:pt x="1041" y="2080"/>
                  </a:lnTo>
                  <a:cubicBezTo>
                    <a:pt x="442" y="2080"/>
                    <a:pt x="1" y="2552"/>
                    <a:pt x="1" y="3119"/>
                  </a:cubicBezTo>
                  <a:lnTo>
                    <a:pt x="1" y="10807"/>
                  </a:lnTo>
                  <a:cubicBezTo>
                    <a:pt x="1" y="11342"/>
                    <a:pt x="474" y="11815"/>
                    <a:pt x="1041" y="11815"/>
                  </a:cubicBezTo>
                  <a:lnTo>
                    <a:pt x="7972" y="11815"/>
                  </a:lnTo>
                  <a:cubicBezTo>
                    <a:pt x="8570" y="11815"/>
                    <a:pt x="8980" y="11342"/>
                    <a:pt x="8980" y="10807"/>
                  </a:cubicBezTo>
                  <a:lnTo>
                    <a:pt x="8980" y="3119"/>
                  </a:lnTo>
                  <a:cubicBezTo>
                    <a:pt x="8980" y="2521"/>
                    <a:pt x="8507" y="2080"/>
                    <a:pt x="7972" y="2080"/>
                  </a:cubicBezTo>
                  <a:lnTo>
                    <a:pt x="7562" y="2080"/>
                  </a:lnTo>
                  <a:cubicBezTo>
                    <a:pt x="7405" y="1702"/>
                    <a:pt x="7058" y="1387"/>
                    <a:pt x="6585" y="1387"/>
                  </a:cubicBezTo>
                  <a:lnTo>
                    <a:pt x="6207" y="1387"/>
                  </a:lnTo>
                  <a:cubicBezTo>
                    <a:pt x="6050" y="599"/>
                    <a:pt x="532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1"/>
            <p:cNvSpPr/>
            <p:nvPr/>
          </p:nvSpPr>
          <p:spPr>
            <a:xfrm>
              <a:off x="-24851650" y="3582300"/>
              <a:ext cx="52800" cy="190825"/>
            </a:xfrm>
            <a:custGeom>
              <a:avLst/>
              <a:gdLst/>
              <a:ahLst/>
              <a:cxnLst/>
              <a:rect l="l" t="t" r="r" b="b"/>
              <a:pathLst>
                <a:path w="2112" h="7633" extrusionOk="0">
                  <a:moveTo>
                    <a:pt x="1060" y="0"/>
                  </a:moveTo>
                  <a:cubicBezTo>
                    <a:pt x="930" y="0"/>
                    <a:pt x="804" y="55"/>
                    <a:pt x="757" y="166"/>
                  </a:cubicBezTo>
                  <a:lnTo>
                    <a:pt x="32" y="1552"/>
                  </a:lnTo>
                  <a:cubicBezTo>
                    <a:pt x="0" y="1583"/>
                    <a:pt x="0" y="1678"/>
                    <a:pt x="0" y="1709"/>
                  </a:cubicBezTo>
                  <a:lnTo>
                    <a:pt x="0" y="7632"/>
                  </a:lnTo>
                  <a:lnTo>
                    <a:pt x="2080" y="7632"/>
                  </a:lnTo>
                  <a:lnTo>
                    <a:pt x="2080" y="1709"/>
                  </a:lnTo>
                  <a:lnTo>
                    <a:pt x="2111" y="1709"/>
                  </a:lnTo>
                  <a:cubicBezTo>
                    <a:pt x="2111" y="1678"/>
                    <a:pt x="2111" y="1583"/>
                    <a:pt x="2080" y="1552"/>
                  </a:cubicBezTo>
                  <a:lnTo>
                    <a:pt x="1387" y="166"/>
                  </a:lnTo>
                  <a:cubicBezTo>
                    <a:pt x="1324" y="55"/>
                    <a:pt x="1190"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1"/>
            <p:cNvSpPr/>
            <p:nvPr/>
          </p:nvSpPr>
          <p:spPr>
            <a:xfrm>
              <a:off x="-24850875" y="3788050"/>
              <a:ext cx="52025" cy="53600"/>
            </a:xfrm>
            <a:custGeom>
              <a:avLst/>
              <a:gdLst/>
              <a:ahLst/>
              <a:cxnLst/>
              <a:rect l="l" t="t" r="r" b="b"/>
              <a:pathLst>
                <a:path w="2081" h="2144" extrusionOk="0">
                  <a:moveTo>
                    <a:pt x="1" y="1"/>
                  </a:moveTo>
                  <a:lnTo>
                    <a:pt x="1" y="1104"/>
                  </a:lnTo>
                  <a:lnTo>
                    <a:pt x="64" y="1104"/>
                  </a:lnTo>
                  <a:cubicBezTo>
                    <a:pt x="64" y="1702"/>
                    <a:pt x="505" y="2143"/>
                    <a:pt x="1072" y="2143"/>
                  </a:cubicBezTo>
                  <a:cubicBezTo>
                    <a:pt x="1671" y="2143"/>
                    <a:pt x="2080" y="1671"/>
                    <a:pt x="2080" y="1104"/>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75" name="Google Shape;6675;p71"/>
          <p:cNvSpPr/>
          <p:nvPr/>
        </p:nvSpPr>
        <p:spPr>
          <a:xfrm>
            <a:off x="5303415" y="3678086"/>
            <a:ext cx="352833" cy="241864"/>
          </a:xfrm>
          <a:custGeom>
            <a:avLst/>
            <a:gdLst/>
            <a:ahLst/>
            <a:cxnLst/>
            <a:rect l="l" t="t" r="r" b="b"/>
            <a:pathLst>
              <a:path w="11847" h="8121" extrusionOk="0">
                <a:moveTo>
                  <a:pt x="5640" y="1221"/>
                </a:moveTo>
                <a:lnTo>
                  <a:pt x="5640" y="1914"/>
                </a:lnTo>
                <a:lnTo>
                  <a:pt x="4916" y="1914"/>
                </a:lnTo>
                <a:lnTo>
                  <a:pt x="4916" y="1568"/>
                </a:lnTo>
                <a:cubicBezTo>
                  <a:pt x="4916" y="1379"/>
                  <a:pt x="5073" y="1221"/>
                  <a:pt x="5294" y="1221"/>
                </a:cubicBezTo>
                <a:close/>
                <a:moveTo>
                  <a:pt x="8066" y="1253"/>
                </a:moveTo>
                <a:cubicBezTo>
                  <a:pt x="8287" y="1253"/>
                  <a:pt x="8444" y="1410"/>
                  <a:pt x="8444" y="1599"/>
                </a:cubicBezTo>
                <a:lnTo>
                  <a:pt x="8444" y="1946"/>
                </a:lnTo>
                <a:lnTo>
                  <a:pt x="7720" y="1946"/>
                </a:lnTo>
                <a:lnTo>
                  <a:pt x="7720" y="1253"/>
                </a:lnTo>
                <a:close/>
                <a:moveTo>
                  <a:pt x="7027" y="1253"/>
                </a:moveTo>
                <a:lnTo>
                  <a:pt x="7027" y="1977"/>
                </a:lnTo>
                <a:lnTo>
                  <a:pt x="6302" y="1977"/>
                </a:lnTo>
                <a:lnTo>
                  <a:pt x="6302" y="1253"/>
                </a:lnTo>
                <a:close/>
                <a:moveTo>
                  <a:pt x="8098" y="3994"/>
                </a:moveTo>
                <a:lnTo>
                  <a:pt x="6648" y="4844"/>
                </a:lnTo>
                <a:lnTo>
                  <a:pt x="5199" y="3994"/>
                </a:lnTo>
                <a:close/>
                <a:moveTo>
                  <a:pt x="6648" y="5663"/>
                </a:moveTo>
                <a:lnTo>
                  <a:pt x="8665" y="6797"/>
                </a:lnTo>
                <a:lnTo>
                  <a:pt x="4664" y="6797"/>
                </a:lnTo>
                <a:lnTo>
                  <a:pt x="6648" y="5663"/>
                </a:lnTo>
                <a:close/>
                <a:moveTo>
                  <a:pt x="3183" y="6766"/>
                </a:moveTo>
                <a:cubicBezTo>
                  <a:pt x="3372" y="6766"/>
                  <a:pt x="3561" y="6924"/>
                  <a:pt x="3561" y="7113"/>
                </a:cubicBezTo>
                <a:cubicBezTo>
                  <a:pt x="3561" y="7333"/>
                  <a:pt x="3372" y="7491"/>
                  <a:pt x="3183" y="7491"/>
                </a:cubicBezTo>
                <a:cubicBezTo>
                  <a:pt x="2994" y="7491"/>
                  <a:pt x="2836" y="7333"/>
                  <a:pt x="2836" y="7113"/>
                </a:cubicBezTo>
                <a:cubicBezTo>
                  <a:pt x="2836" y="6924"/>
                  <a:pt x="2994" y="6766"/>
                  <a:pt x="3183" y="6766"/>
                </a:cubicBezTo>
                <a:close/>
                <a:moveTo>
                  <a:pt x="10114" y="6797"/>
                </a:moveTo>
                <a:cubicBezTo>
                  <a:pt x="10303" y="6797"/>
                  <a:pt x="10461" y="6955"/>
                  <a:pt x="10461" y="7144"/>
                </a:cubicBezTo>
                <a:cubicBezTo>
                  <a:pt x="10461" y="7365"/>
                  <a:pt x="10303" y="7522"/>
                  <a:pt x="10114" y="7522"/>
                </a:cubicBezTo>
                <a:cubicBezTo>
                  <a:pt x="9925" y="7522"/>
                  <a:pt x="9767" y="7365"/>
                  <a:pt x="9767" y="7144"/>
                </a:cubicBezTo>
                <a:cubicBezTo>
                  <a:pt x="9767" y="6955"/>
                  <a:pt x="9925" y="6797"/>
                  <a:pt x="10114" y="6797"/>
                </a:cubicBezTo>
                <a:close/>
                <a:moveTo>
                  <a:pt x="1123" y="0"/>
                </a:moveTo>
                <a:cubicBezTo>
                  <a:pt x="859" y="0"/>
                  <a:pt x="600" y="103"/>
                  <a:pt x="411" y="308"/>
                </a:cubicBezTo>
                <a:cubicBezTo>
                  <a:pt x="1" y="686"/>
                  <a:pt x="1" y="1379"/>
                  <a:pt x="411" y="1757"/>
                </a:cubicBezTo>
                <a:lnTo>
                  <a:pt x="2017" y="3426"/>
                </a:lnTo>
                <a:cubicBezTo>
                  <a:pt x="2395" y="3805"/>
                  <a:pt x="2931" y="4025"/>
                  <a:pt x="3466" y="4025"/>
                </a:cubicBezTo>
                <a:lnTo>
                  <a:pt x="3782" y="4025"/>
                </a:lnTo>
                <a:lnTo>
                  <a:pt x="5955" y="5222"/>
                </a:lnTo>
                <a:lnTo>
                  <a:pt x="3908" y="6388"/>
                </a:lnTo>
                <a:cubicBezTo>
                  <a:pt x="3719" y="6167"/>
                  <a:pt x="3466" y="6073"/>
                  <a:pt x="3151" y="6073"/>
                </a:cubicBezTo>
                <a:cubicBezTo>
                  <a:pt x="2553" y="6073"/>
                  <a:pt x="2143" y="6545"/>
                  <a:pt x="2143" y="7081"/>
                </a:cubicBezTo>
                <a:cubicBezTo>
                  <a:pt x="2143" y="7680"/>
                  <a:pt x="2584" y="8121"/>
                  <a:pt x="3151" y="8121"/>
                </a:cubicBezTo>
                <a:cubicBezTo>
                  <a:pt x="3593" y="8121"/>
                  <a:pt x="3971" y="7837"/>
                  <a:pt x="4128" y="7396"/>
                </a:cubicBezTo>
                <a:lnTo>
                  <a:pt x="9137" y="7396"/>
                </a:lnTo>
                <a:cubicBezTo>
                  <a:pt x="9295" y="7806"/>
                  <a:pt x="9641" y="8121"/>
                  <a:pt x="10114" y="8121"/>
                </a:cubicBezTo>
                <a:cubicBezTo>
                  <a:pt x="10713" y="8121"/>
                  <a:pt x="11154" y="7648"/>
                  <a:pt x="11154" y="7081"/>
                </a:cubicBezTo>
                <a:cubicBezTo>
                  <a:pt x="11154" y="6482"/>
                  <a:pt x="10681" y="6073"/>
                  <a:pt x="10114" y="6073"/>
                </a:cubicBezTo>
                <a:cubicBezTo>
                  <a:pt x="9862" y="6073"/>
                  <a:pt x="9578" y="6167"/>
                  <a:pt x="9358" y="6388"/>
                </a:cubicBezTo>
                <a:lnTo>
                  <a:pt x="7310" y="5222"/>
                </a:lnTo>
                <a:lnTo>
                  <a:pt x="9484" y="4025"/>
                </a:lnTo>
                <a:lnTo>
                  <a:pt x="10839" y="4025"/>
                </a:lnTo>
                <a:cubicBezTo>
                  <a:pt x="11437" y="4025"/>
                  <a:pt x="11847" y="3552"/>
                  <a:pt x="11847" y="2985"/>
                </a:cubicBezTo>
                <a:cubicBezTo>
                  <a:pt x="11847" y="2387"/>
                  <a:pt x="11374" y="1946"/>
                  <a:pt x="10839" y="1946"/>
                </a:cubicBezTo>
                <a:lnTo>
                  <a:pt x="9074" y="1946"/>
                </a:lnTo>
                <a:lnTo>
                  <a:pt x="9074" y="1599"/>
                </a:lnTo>
                <a:cubicBezTo>
                  <a:pt x="9074" y="1032"/>
                  <a:pt x="8602" y="591"/>
                  <a:pt x="8035" y="591"/>
                </a:cubicBezTo>
                <a:lnTo>
                  <a:pt x="5294" y="591"/>
                </a:lnTo>
                <a:cubicBezTo>
                  <a:pt x="4695" y="591"/>
                  <a:pt x="4254" y="1064"/>
                  <a:pt x="4254" y="1599"/>
                </a:cubicBezTo>
                <a:lnTo>
                  <a:pt x="4254" y="1946"/>
                </a:lnTo>
                <a:lnTo>
                  <a:pt x="4097" y="1946"/>
                </a:lnTo>
                <a:cubicBezTo>
                  <a:pt x="3750" y="1946"/>
                  <a:pt x="3372" y="1820"/>
                  <a:pt x="3120" y="1568"/>
                </a:cubicBezTo>
                <a:lnTo>
                  <a:pt x="1860" y="308"/>
                </a:lnTo>
                <a:cubicBezTo>
                  <a:pt x="1655" y="103"/>
                  <a:pt x="1387" y="0"/>
                  <a:pt x="11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76" name="Google Shape;6676;p71"/>
          <p:cNvGrpSpPr/>
          <p:nvPr/>
        </p:nvGrpSpPr>
        <p:grpSpPr>
          <a:xfrm>
            <a:off x="7535476" y="2693698"/>
            <a:ext cx="352803" cy="352803"/>
            <a:chOff x="-23245675" y="3148525"/>
            <a:chExt cx="296150" cy="296150"/>
          </a:xfrm>
        </p:grpSpPr>
        <p:sp>
          <p:nvSpPr>
            <p:cNvPr id="6677" name="Google Shape;6677;p71"/>
            <p:cNvSpPr/>
            <p:nvPr/>
          </p:nvSpPr>
          <p:spPr>
            <a:xfrm>
              <a:off x="-23192925" y="3251700"/>
              <a:ext cx="192225" cy="105550"/>
            </a:xfrm>
            <a:custGeom>
              <a:avLst/>
              <a:gdLst/>
              <a:ahLst/>
              <a:cxnLst/>
              <a:rect l="l" t="t" r="r" b="b"/>
              <a:pathLst>
                <a:path w="7689" h="4222" extrusionOk="0">
                  <a:moveTo>
                    <a:pt x="3151" y="0"/>
                  </a:moveTo>
                  <a:lnTo>
                    <a:pt x="2616" y="1260"/>
                  </a:lnTo>
                  <a:cubicBezTo>
                    <a:pt x="2584" y="1386"/>
                    <a:pt x="2427" y="1481"/>
                    <a:pt x="2301" y="1481"/>
                  </a:cubicBezTo>
                  <a:lnTo>
                    <a:pt x="1" y="1481"/>
                  </a:lnTo>
                  <a:lnTo>
                    <a:pt x="1" y="4222"/>
                  </a:lnTo>
                  <a:lnTo>
                    <a:pt x="7688" y="4222"/>
                  </a:lnTo>
                  <a:lnTo>
                    <a:pt x="7688" y="1481"/>
                  </a:lnTo>
                  <a:lnTo>
                    <a:pt x="5672" y="1481"/>
                  </a:lnTo>
                  <a:lnTo>
                    <a:pt x="4884" y="3371"/>
                  </a:lnTo>
                  <a:cubicBezTo>
                    <a:pt x="4827" y="3513"/>
                    <a:pt x="4713" y="3578"/>
                    <a:pt x="4593" y="3578"/>
                  </a:cubicBezTo>
                  <a:cubicBezTo>
                    <a:pt x="4447" y="3578"/>
                    <a:pt x="4292" y="3481"/>
                    <a:pt x="4223" y="3308"/>
                  </a:cubicBez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1"/>
            <p:cNvSpPr/>
            <p:nvPr/>
          </p:nvSpPr>
          <p:spPr>
            <a:xfrm>
              <a:off x="-23193700" y="3200500"/>
              <a:ext cx="192200" cy="106350"/>
            </a:xfrm>
            <a:custGeom>
              <a:avLst/>
              <a:gdLst/>
              <a:ahLst/>
              <a:cxnLst/>
              <a:rect l="l" t="t" r="r" b="b"/>
              <a:pathLst>
                <a:path w="7688" h="4254" extrusionOk="0">
                  <a:moveTo>
                    <a:pt x="0" y="0"/>
                  </a:moveTo>
                  <a:lnTo>
                    <a:pt x="0" y="2836"/>
                  </a:lnTo>
                  <a:lnTo>
                    <a:pt x="2111" y="2836"/>
                  </a:lnTo>
                  <a:lnTo>
                    <a:pt x="2962" y="945"/>
                  </a:lnTo>
                  <a:cubicBezTo>
                    <a:pt x="3020" y="800"/>
                    <a:pt x="3138" y="735"/>
                    <a:pt x="3258" y="735"/>
                  </a:cubicBezTo>
                  <a:cubicBezTo>
                    <a:pt x="3399" y="735"/>
                    <a:pt x="3541" y="824"/>
                    <a:pt x="3592" y="977"/>
                  </a:cubicBezTo>
                  <a:lnTo>
                    <a:pt x="4632" y="4253"/>
                  </a:lnTo>
                  <a:lnTo>
                    <a:pt x="5104" y="3056"/>
                  </a:lnTo>
                  <a:cubicBezTo>
                    <a:pt x="5167" y="2930"/>
                    <a:pt x="5325" y="2836"/>
                    <a:pt x="5419" y="2836"/>
                  </a:cubicBezTo>
                  <a:lnTo>
                    <a:pt x="7688" y="2836"/>
                  </a:lnTo>
                  <a:lnTo>
                    <a:pt x="76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1"/>
            <p:cNvSpPr/>
            <p:nvPr/>
          </p:nvSpPr>
          <p:spPr>
            <a:xfrm>
              <a:off x="-23245675" y="3148525"/>
              <a:ext cx="296150" cy="296150"/>
            </a:xfrm>
            <a:custGeom>
              <a:avLst/>
              <a:gdLst/>
              <a:ahLst/>
              <a:cxnLst/>
              <a:rect l="l" t="t" r="r" b="b"/>
              <a:pathLst>
                <a:path w="11846" h="11846" extrusionOk="0">
                  <a:moveTo>
                    <a:pt x="10113" y="1386"/>
                  </a:moveTo>
                  <a:cubicBezTo>
                    <a:pt x="10302" y="1386"/>
                    <a:pt x="10460" y="1544"/>
                    <a:pt x="10460" y="1733"/>
                  </a:cubicBezTo>
                  <a:lnTo>
                    <a:pt x="10460" y="8758"/>
                  </a:lnTo>
                  <a:cubicBezTo>
                    <a:pt x="10460" y="8947"/>
                    <a:pt x="10302" y="9105"/>
                    <a:pt x="10113" y="9105"/>
                  </a:cubicBezTo>
                  <a:lnTo>
                    <a:pt x="1733" y="9105"/>
                  </a:lnTo>
                  <a:cubicBezTo>
                    <a:pt x="1512" y="9105"/>
                    <a:pt x="1355" y="8947"/>
                    <a:pt x="1355" y="8758"/>
                  </a:cubicBezTo>
                  <a:lnTo>
                    <a:pt x="1355" y="1733"/>
                  </a:lnTo>
                  <a:cubicBezTo>
                    <a:pt x="1355" y="1544"/>
                    <a:pt x="1512" y="1386"/>
                    <a:pt x="1733" y="1386"/>
                  </a:cubicBezTo>
                  <a:close/>
                  <a:moveTo>
                    <a:pt x="2426" y="9767"/>
                  </a:moveTo>
                  <a:cubicBezTo>
                    <a:pt x="2615" y="9767"/>
                    <a:pt x="2804" y="9924"/>
                    <a:pt x="2804" y="10113"/>
                  </a:cubicBezTo>
                  <a:cubicBezTo>
                    <a:pt x="2804" y="10334"/>
                    <a:pt x="2615" y="10491"/>
                    <a:pt x="2426" y="10491"/>
                  </a:cubicBezTo>
                  <a:cubicBezTo>
                    <a:pt x="2237" y="10491"/>
                    <a:pt x="2079" y="10334"/>
                    <a:pt x="2079" y="10113"/>
                  </a:cubicBezTo>
                  <a:cubicBezTo>
                    <a:pt x="2079" y="9924"/>
                    <a:pt x="2237" y="9767"/>
                    <a:pt x="2426" y="9767"/>
                  </a:cubicBezTo>
                  <a:close/>
                  <a:moveTo>
                    <a:pt x="3844" y="9767"/>
                  </a:moveTo>
                  <a:cubicBezTo>
                    <a:pt x="4033" y="9767"/>
                    <a:pt x="4190" y="9924"/>
                    <a:pt x="4190" y="10113"/>
                  </a:cubicBezTo>
                  <a:cubicBezTo>
                    <a:pt x="4190" y="10334"/>
                    <a:pt x="4001" y="10491"/>
                    <a:pt x="3844" y="10491"/>
                  </a:cubicBezTo>
                  <a:cubicBezTo>
                    <a:pt x="3655" y="10491"/>
                    <a:pt x="3497" y="10334"/>
                    <a:pt x="3497" y="10113"/>
                  </a:cubicBezTo>
                  <a:cubicBezTo>
                    <a:pt x="3497" y="9924"/>
                    <a:pt x="3655" y="9767"/>
                    <a:pt x="3844" y="9767"/>
                  </a:cubicBezTo>
                  <a:close/>
                  <a:moveTo>
                    <a:pt x="1733" y="0"/>
                  </a:moveTo>
                  <a:cubicBezTo>
                    <a:pt x="788" y="0"/>
                    <a:pt x="0" y="788"/>
                    <a:pt x="0" y="1733"/>
                  </a:cubicBezTo>
                  <a:lnTo>
                    <a:pt x="0" y="10113"/>
                  </a:lnTo>
                  <a:cubicBezTo>
                    <a:pt x="0" y="11058"/>
                    <a:pt x="788" y="11846"/>
                    <a:pt x="1733" y="11846"/>
                  </a:cubicBezTo>
                  <a:lnTo>
                    <a:pt x="10113" y="11846"/>
                  </a:lnTo>
                  <a:cubicBezTo>
                    <a:pt x="11058" y="11846"/>
                    <a:pt x="11846" y="11058"/>
                    <a:pt x="11846" y="10113"/>
                  </a:cubicBezTo>
                  <a:lnTo>
                    <a:pt x="11846" y="1733"/>
                  </a:lnTo>
                  <a:cubicBezTo>
                    <a:pt x="11846" y="788"/>
                    <a:pt x="11058" y="0"/>
                    <a:pt x="101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80" name="Google Shape;6680;p71"/>
          <p:cNvSpPr/>
          <p:nvPr/>
        </p:nvSpPr>
        <p:spPr>
          <a:xfrm>
            <a:off x="7577658" y="3173040"/>
            <a:ext cx="269323" cy="351910"/>
          </a:xfrm>
          <a:custGeom>
            <a:avLst/>
            <a:gdLst/>
            <a:ahLst/>
            <a:cxnLst/>
            <a:rect l="l" t="t" r="r" b="b"/>
            <a:pathLst>
              <a:path w="9043" h="11816" extrusionOk="0">
                <a:moveTo>
                  <a:pt x="6392" y="3395"/>
                </a:moveTo>
                <a:cubicBezTo>
                  <a:pt x="6483" y="3395"/>
                  <a:pt x="6569" y="3419"/>
                  <a:pt x="6616" y="3466"/>
                </a:cubicBezTo>
                <a:cubicBezTo>
                  <a:pt x="7310" y="4159"/>
                  <a:pt x="7656" y="5010"/>
                  <a:pt x="7656" y="5924"/>
                </a:cubicBezTo>
                <a:cubicBezTo>
                  <a:pt x="7656" y="6837"/>
                  <a:pt x="7310" y="7719"/>
                  <a:pt x="6616" y="8350"/>
                </a:cubicBezTo>
                <a:cubicBezTo>
                  <a:pt x="5955" y="9043"/>
                  <a:pt x="5104" y="9389"/>
                  <a:pt x="4191" y="9389"/>
                </a:cubicBezTo>
                <a:cubicBezTo>
                  <a:pt x="4002" y="9389"/>
                  <a:pt x="3844" y="9232"/>
                  <a:pt x="3844" y="9043"/>
                </a:cubicBezTo>
                <a:cubicBezTo>
                  <a:pt x="3844" y="8822"/>
                  <a:pt x="4002" y="8665"/>
                  <a:pt x="4191" y="8665"/>
                </a:cubicBezTo>
                <a:cubicBezTo>
                  <a:pt x="4947" y="8665"/>
                  <a:pt x="5608" y="8413"/>
                  <a:pt x="6144" y="7845"/>
                </a:cubicBezTo>
                <a:cubicBezTo>
                  <a:pt x="6679" y="7341"/>
                  <a:pt x="6994" y="6617"/>
                  <a:pt x="6994" y="5892"/>
                </a:cubicBezTo>
                <a:cubicBezTo>
                  <a:pt x="6931" y="5168"/>
                  <a:pt x="6679" y="4474"/>
                  <a:pt x="6144" y="3939"/>
                </a:cubicBezTo>
                <a:cubicBezTo>
                  <a:pt x="6049" y="3844"/>
                  <a:pt x="6049" y="3592"/>
                  <a:pt x="6144" y="3466"/>
                </a:cubicBezTo>
                <a:cubicBezTo>
                  <a:pt x="6207" y="3419"/>
                  <a:pt x="6301" y="3395"/>
                  <a:pt x="6392" y="3395"/>
                </a:cubicBezTo>
                <a:close/>
                <a:moveTo>
                  <a:pt x="378" y="1"/>
                </a:moveTo>
                <a:cubicBezTo>
                  <a:pt x="189" y="1"/>
                  <a:pt x="0" y="158"/>
                  <a:pt x="0" y="379"/>
                </a:cubicBezTo>
                <a:lnTo>
                  <a:pt x="0" y="1482"/>
                </a:lnTo>
                <a:cubicBezTo>
                  <a:pt x="0" y="2742"/>
                  <a:pt x="977" y="3750"/>
                  <a:pt x="2206" y="3876"/>
                </a:cubicBezTo>
                <a:cubicBezTo>
                  <a:pt x="2489" y="4695"/>
                  <a:pt x="3277" y="5294"/>
                  <a:pt x="4191" y="5294"/>
                </a:cubicBezTo>
                <a:cubicBezTo>
                  <a:pt x="4569" y="5294"/>
                  <a:pt x="4915" y="5609"/>
                  <a:pt x="4915" y="5987"/>
                </a:cubicBezTo>
                <a:cubicBezTo>
                  <a:pt x="4852" y="6302"/>
                  <a:pt x="4537" y="6617"/>
                  <a:pt x="4191" y="6617"/>
                </a:cubicBezTo>
                <a:cubicBezTo>
                  <a:pt x="3277" y="6617"/>
                  <a:pt x="2489" y="7215"/>
                  <a:pt x="2206" y="8035"/>
                </a:cubicBezTo>
                <a:cubicBezTo>
                  <a:pt x="1009" y="8161"/>
                  <a:pt x="0" y="9200"/>
                  <a:pt x="0" y="10460"/>
                </a:cubicBezTo>
                <a:lnTo>
                  <a:pt x="0" y="11469"/>
                </a:lnTo>
                <a:cubicBezTo>
                  <a:pt x="0" y="11658"/>
                  <a:pt x="189" y="11815"/>
                  <a:pt x="378" y="11815"/>
                </a:cubicBezTo>
                <a:lnTo>
                  <a:pt x="1765" y="11815"/>
                </a:lnTo>
                <a:cubicBezTo>
                  <a:pt x="1954" y="11815"/>
                  <a:pt x="2111" y="11658"/>
                  <a:pt x="2111" y="11469"/>
                </a:cubicBezTo>
                <a:lnTo>
                  <a:pt x="2111" y="10460"/>
                </a:lnTo>
                <a:cubicBezTo>
                  <a:pt x="2111" y="10240"/>
                  <a:pt x="2269" y="10082"/>
                  <a:pt x="2458" y="10082"/>
                </a:cubicBezTo>
                <a:lnTo>
                  <a:pt x="2647" y="10082"/>
                </a:lnTo>
                <a:cubicBezTo>
                  <a:pt x="3056" y="10523"/>
                  <a:pt x="3592" y="10807"/>
                  <a:pt x="4191" y="10807"/>
                </a:cubicBezTo>
                <a:cubicBezTo>
                  <a:pt x="6868" y="10807"/>
                  <a:pt x="9042" y="8633"/>
                  <a:pt x="9042" y="5955"/>
                </a:cubicBezTo>
                <a:cubicBezTo>
                  <a:pt x="9042" y="3277"/>
                  <a:pt x="6868" y="1103"/>
                  <a:pt x="4191" y="1103"/>
                </a:cubicBezTo>
                <a:cubicBezTo>
                  <a:pt x="3592" y="1103"/>
                  <a:pt x="3056" y="1356"/>
                  <a:pt x="2647" y="1828"/>
                </a:cubicBezTo>
                <a:lnTo>
                  <a:pt x="2458" y="1828"/>
                </a:lnTo>
                <a:cubicBezTo>
                  <a:pt x="2269" y="1828"/>
                  <a:pt x="2111" y="1671"/>
                  <a:pt x="2111" y="1482"/>
                </a:cubicBezTo>
                <a:lnTo>
                  <a:pt x="2111" y="379"/>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81" name="Google Shape;6681;p71"/>
          <p:cNvGrpSpPr/>
          <p:nvPr/>
        </p:nvGrpSpPr>
        <p:grpSpPr>
          <a:xfrm>
            <a:off x="7535938" y="3622672"/>
            <a:ext cx="351880" cy="352803"/>
            <a:chOff x="-23244900" y="3888100"/>
            <a:chExt cx="295375" cy="296150"/>
          </a:xfrm>
        </p:grpSpPr>
        <p:sp>
          <p:nvSpPr>
            <p:cNvPr id="6682" name="Google Shape;6682;p71"/>
            <p:cNvSpPr/>
            <p:nvPr/>
          </p:nvSpPr>
          <p:spPr>
            <a:xfrm>
              <a:off x="-23106275" y="3958975"/>
              <a:ext cx="18150" cy="17350"/>
            </a:xfrm>
            <a:custGeom>
              <a:avLst/>
              <a:gdLst/>
              <a:ahLst/>
              <a:cxnLst/>
              <a:rect l="l" t="t" r="r" b="b"/>
              <a:pathLst>
                <a:path w="726" h="694" extrusionOk="0">
                  <a:moveTo>
                    <a:pt x="0" y="0"/>
                  </a:moveTo>
                  <a:lnTo>
                    <a:pt x="0" y="694"/>
                  </a:lnTo>
                  <a:lnTo>
                    <a:pt x="725" y="694"/>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1"/>
            <p:cNvSpPr/>
            <p:nvPr/>
          </p:nvSpPr>
          <p:spPr>
            <a:xfrm>
              <a:off x="-23106275" y="399285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1"/>
            <p:cNvSpPr/>
            <p:nvPr/>
          </p:nvSpPr>
          <p:spPr>
            <a:xfrm>
              <a:off x="-23106275" y="4062950"/>
              <a:ext cx="18150" cy="34675"/>
            </a:xfrm>
            <a:custGeom>
              <a:avLst/>
              <a:gdLst/>
              <a:ahLst/>
              <a:cxnLst/>
              <a:rect l="l" t="t" r="r" b="b"/>
              <a:pathLst>
                <a:path w="726" h="1387" extrusionOk="0">
                  <a:moveTo>
                    <a:pt x="0" y="0"/>
                  </a:moveTo>
                  <a:lnTo>
                    <a:pt x="0" y="1040"/>
                  </a:lnTo>
                  <a:cubicBezTo>
                    <a:pt x="0" y="1229"/>
                    <a:pt x="158" y="1386"/>
                    <a:pt x="379" y="1386"/>
                  </a:cubicBezTo>
                  <a:cubicBezTo>
                    <a:pt x="568" y="1386"/>
                    <a:pt x="725" y="1229"/>
                    <a:pt x="725" y="1040"/>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1"/>
            <p:cNvSpPr/>
            <p:nvPr/>
          </p:nvSpPr>
          <p:spPr>
            <a:xfrm>
              <a:off x="-23070825" y="3940850"/>
              <a:ext cx="52775" cy="26825"/>
            </a:xfrm>
            <a:custGeom>
              <a:avLst/>
              <a:gdLst/>
              <a:ahLst/>
              <a:cxnLst/>
              <a:rect l="l" t="t" r="r" b="b"/>
              <a:pathLst>
                <a:path w="2111" h="1073" extrusionOk="0">
                  <a:moveTo>
                    <a:pt x="0" y="1"/>
                  </a:moveTo>
                  <a:lnTo>
                    <a:pt x="0" y="725"/>
                  </a:lnTo>
                  <a:lnTo>
                    <a:pt x="1040" y="725"/>
                  </a:lnTo>
                  <a:cubicBezTo>
                    <a:pt x="1386" y="725"/>
                    <a:pt x="1701" y="883"/>
                    <a:pt x="1985" y="1072"/>
                  </a:cubicBezTo>
                  <a:cubicBezTo>
                    <a:pt x="2048" y="946"/>
                    <a:pt x="2111" y="851"/>
                    <a:pt x="2111" y="725"/>
                  </a:cubicBezTo>
                  <a:cubicBezTo>
                    <a:pt x="2111" y="316"/>
                    <a:pt x="1764"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1"/>
            <p:cNvSpPr/>
            <p:nvPr/>
          </p:nvSpPr>
          <p:spPr>
            <a:xfrm>
              <a:off x="-23106275" y="3923525"/>
              <a:ext cx="18150" cy="17350"/>
            </a:xfrm>
            <a:custGeom>
              <a:avLst/>
              <a:gdLst/>
              <a:ahLst/>
              <a:cxnLst/>
              <a:rect l="l" t="t" r="r" b="b"/>
              <a:pathLst>
                <a:path w="726" h="694" extrusionOk="0">
                  <a:moveTo>
                    <a:pt x="347" y="1"/>
                  </a:moveTo>
                  <a:cubicBezTo>
                    <a:pt x="158" y="1"/>
                    <a:pt x="0" y="158"/>
                    <a:pt x="0" y="347"/>
                  </a:cubicBezTo>
                  <a:lnTo>
                    <a:pt x="0" y="694"/>
                  </a:lnTo>
                  <a:lnTo>
                    <a:pt x="725" y="694"/>
                  </a:lnTo>
                  <a:lnTo>
                    <a:pt x="725" y="347"/>
                  </a:ln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1"/>
            <p:cNvSpPr/>
            <p:nvPr/>
          </p:nvSpPr>
          <p:spPr>
            <a:xfrm>
              <a:off x="-23106275" y="402750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1"/>
            <p:cNvSpPr/>
            <p:nvPr/>
          </p:nvSpPr>
          <p:spPr>
            <a:xfrm>
              <a:off x="-23244900" y="3888100"/>
              <a:ext cx="295375" cy="296150"/>
            </a:xfrm>
            <a:custGeom>
              <a:avLst/>
              <a:gdLst/>
              <a:ahLst/>
              <a:cxnLst/>
              <a:rect l="l" t="t" r="r" b="b"/>
              <a:pathLst>
                <a:path w="11815" h="11846" extrusionOk="0">
                  <a:moveTo>
                    <a:pt x="5892" y="725"/>
                  </a:moveTo>
                  <a:cubicBezTo>
                    <a:pt x="6333" y="725"/>
                    <a:pt x="6743" y="1008"/>
                    <a:pt x="6900" y="1449"/>
                  </a:cubicBezTo>
                  <a:lnTo>
                    <a:pt x="8349" y="1449"/>
                  </a:lnTo>
                  <a:cubicBezTo>
                    <a:pt x="9106" y="1449"/>
                    <a:pt x="9736" y="2079"/>
                    <a:pt x="9736" y="2835"/>
                  </a:cubicBezTo>
                  <a:cubicBezTo>
                    <a:pt x="9736" y="3214"/>
                    <a:pt x="9578" y="3529"/>
                    <a:pt x="9295" y="3812"/>
                  </a:cubicBezTo>
                  <a:cubicBezTo>
                    <a:pt x="9326" y="3938"/>
                    <a:pt x="9358" y="4096"/>
                    <a:pt x="9358" y="4190"/>
                  </a:cubicBezTo>
                  <a:cubicBezTo>
                    <a:pt x="9358" y="4600"/>
                    <a:pt x="9200" y="4915"/>
                    <a:pt x="8948" y="5198"/>
                  </a:cubicBezTo>
                  <a:cubicBezTo>
                    <a:pt x="8980" y="5324"/>
                    <a:pt x="9011" y="5450"/>
                    <a:pt x="9011" y="5576"/>
                  </a:cubicBezTo>
                  <a:cubicBezTo>
                    <a:pt x="9011" y="6333"/>
                    <a:pt x="8381" y="6963"/>
                    <a:pt x="7625" y="6963"/>
                  </a:cubicBezTo>
                  <a:cubicBezTo>
                    <a:pt x="7436" y="6963"/>
                    <a:pt x="7278" y="6805"/>
                    <a:pt x="7278" y="6616"/>
                  </a:cubicBezTo>
                  <a:cubicBezTo>
                    <a:pt x="7278" y="6427"/>
                    <a:pt x="7436" y="6269"/>
                    <a:pt x="7625" y="6269"/>
                  </a:cubicBezTo>
                  <a:cubicBezTo>
                    <a:pt x="8034" y="6269"/>
                    <a:pt x="8349" y="5954"/>
                    <a:pt x="8349" y="5545"/>
                  </a:cubicBezTo>
                  <a:cubicBezTo>
                    <a:pt x="8349" y="5167"/>
                    <a:pt x="8034" y="4852"/>
                    <a:pt x="7625" y="4852"/>
                  </a:cubicBezTo>
                  <a:lnTo>
                    <a:pt x="6932" y="4852"/>
                  </a:lnTo>
                  <a:lnTo>
                    <a:pt x="6932" y="7593"/>
                  </a:lnTo>
                  <a:lnTo>
                    <a:pt x="7940" y="7593"/>
                  </a:lnTo>
                  <a:cubicBezTo>
                    <a:pt x="8538" y="7593"/>
                    <a:pt x="8980" y="8065"/>
                    <a:pt x="8980" y="8632"/>
                  </a:cubicBezTo>
                  <a:cubicBezTo>
                    <a:pt x="8980" y="9105"/>
                    <a:pt x="8664" y="9514"/>
                    <a:pt x="8192" y="9609"/>
                  </a:cubicBezTo>
                  <a:cubicBezTo>
                    <a:pt x="7562" y="9767"/>
                    <a:pt x="7058" y="10145"/>
                    <a:pt x="6680" y="10586"/>
                  </a:cubicBezTo>
                  <a:cubicBezTo>
                    <a:pt x="6459" y="10869"/>
                    <a:pt x="6176" y="11027"/>
                    <a:pt x="5861" y="11027"/>
                  </a:cubicBezTo>
                  <a:cubicBezTo>
                    <a:pt x="5545" y="11027"/>
                    <a:pt x="5230" y="10869"/>
                    <a:pt x="5041" y="10586"/>
                  </a:cubicBezTo>
                  <a:cubicBezTo>
                    <a:pt x="4695" y="10113"/>
                    <a:pt x="4128" y="9767"/>
                    <a:pt x="3529" y="9609"/>
                  </a:cubicBezTo>
                  <a:cubicBezTo>
                    <a:pt x="3057" y="9483"/>
                    <a:pt x="2742" y="9042"/>
                    <a:pt x="2742" y="8569"/>
                  </a:cubicBezTo>
                  <a:cubicBezTo>
                    <a:pt x="2742" y="8002"/>
                    <a:pt x="3214" y="7561"/>
                    <a:pt x="3781" y="7561"/>
                  </a:cubicBezTo>
                  <a:lnTo>
                    <a:pt x="4789" y="7561"/>
                  </a:lnTo>
                  <a:lnTo>
                    <a:pt x="4789" y="4789"/>
                  </a:lnTo>
                  <a:lnTo>
                    <a:pt x="4096" y="4789"/>
                  </a:lnTo>
                  <a:cubicBezTo>
                    <a:pt x="3687" y="4789"/>
                    <a:pt x="3372" y="5104"/>
                    <a:pt x="3372" y="5513"/>
                  </a:cubicBezTo>
                  <a:cubicBezTo>
                    <a:pt x="3372" y="5891"/>
                    <a:pt x="3687" y="6206"/>
                    <a:pt x="4096" y="6206"/>
                  </a:cubicBezTo>
                  <a:cubicBezTo>
                    <a:pt x="4285" y="6206"/>
                    <a:pt x="4443" y="6364"/>
                    <a:pt x="4443" y="6553"/>
                  </a:cubicBezTo>
                  <a:cubicBezTo>
                    <a:pt x="4443" y="6774"/>
                    <a:pt x="4285" y="6931"/>
                    <a:pt x="4096" y="6931"/>
                  </a:cubicBezTo>
                  <a:cubicBezTo>
                    <a:pt x="3340" y="6931"/>
                    <a:pt x="2710" y="6301"/>
                    <a:pt x="2710" y="5545"/>
                  </a:cubicBezTo>
                  <a:cubicBezTo>
                    <a:pt x="2710" y="5387"/>
                    <a:pt x="2742" y="5261"/>
                    <a:pt x="2805" y="5135"/>
                  </a:cubicBezTo>
                  <a:cubicBezTo>
                    <a:pt x="2521" y="4883"/>
                    <a:pt x="2363" y="4568"/>
                    <a:pt x="2363" y="4159"/>
                  </a:cubicBezTo>
                  <a:cubicBezTo>
                    <a:pt x="2363" y="4001"/>
                    <a:pt x="2395" y="3875"/>
                    <a:pt x="2426" y="3781"/>
                  </a:cubicBezTo>
                  <a:cubicBezTo>
                    <a:pt x="2174" y="3497"/>
                    <a:pt x="2017" y="3182"/>
                    <a:pt x="2017" y="2772"/>
                  </a:cubicBezTo>
                  <a:cubicBezTo>
                    <a:pt x="2080" y="2048"/>
                    <a:pt x="2710" y="1449"/>
                    <a:pt x="3466" y="1449"/>
                  </a:cubicBezTo>
                  <a:lnTo>
                    <a:pt x="4915" y="1449"/>
                  </a:lnTo>
                  <a:cubicBezTo>
                    <a:pt x="5073" y="1040"/>
                    <a:pt x="5419" y="725"/>
                    <a:pt x="5892" y="725"/>
                  </a:cubicBezTo>
                  <a:close/>
                  <a:moveTo>
                    <a:pt x="1009" y="0"/>
                  </a:moveTo>
                  <a:cubicBezTo>
                    <a:pt x="473" y="32"/>
                    <a:pt x="1" y="504"/>
                    <a:pt x="1" y="1040"/>
                  </a:cubicBezTo>
                  <a:lnTo>
                    <a:pt x="1" y="10838"/>
                  </a:lnTo>
                  <a:cubicBezTo>
                    <a:pt x="1" y="11405"/>
                    <a:pt x="473" y="11846"/>
                    <a:pt x="1009" y="11846"/>
                  </a:cubicBezTo>
                  <a:lnTo>
                    <a:pt x="10807" y="11846"/>
                  </a:lnTo>
                  <a:cubicBezTo>
                    <a:pt x="11374" y="11846"/>
                    <a:pt x="11815" y="11373"/>
                    <a:pt x="11815" y="10775"/>
                  </a:cubicBezTo>
                  <a:lnTo>
                    <a:pt x="11815" y="1071"/>
                  </a:lnTo>
                  <a:cubicBezTo>
                    <a:pt x="11815" y="504"/>
                    <a:pt x="11342" y="32"/>
                    <a:pt x="10807" y="32"/>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1"/>
            <p:cNvSpPr/>
            <p:nvPr/>
          </p:nvSpPr>
          <p:spPr>
            <a:xfrm>
              <a:off x="-23070825" y="3975525"/>
              <a:ext cx="43325" cy="26800"/>
            </a:xfrm>
            <a:custGeom>
              <a:avLst/>
              <a:gdLst/>
              <a:ahLst/>
              <a:cxnLst/>
              <a:rect l="l" t="t" r="r" b="b"/>
              <a:pathLst>
                <a:path w="1733" h="1072" extrusionOk="0">
                  <a:moveTo>
                    <a:pt x="0" y="0"/>
                  </a:moveTo>
                  <a:lnTo>
                    <a:pt x="0" y="725"/>
                  </a:lnTo>
                  <a:lnTo>
                    <a:pt x="725" y="725"/>
                  </a:lnTo>
                  <a:cubicBezTo>
                    <a:pt x="748" y="722"/>
                    <a:pt x="772" y="721"/>
                    <a:pt x="795" y="721"/>
                  </a:cubicBezTo>
                  <a:cubicBezTo>
                    <a:pt x="1086" y="721"/>
                    <a:pt x="1374" y="896"/>
                    <a:pt x="1607" y="1071"/>
                  </a:cubicBezTo>
                  <a:cubicBezTo>
                    <a:pt x="1701" y="945"/>
                    <a:pt x="1733" y="819"/>
                    <a:pt x="1733" y="725"/>
                  </a:cubicBezTo>
                  <a:cubicBezTo>
                    <a:pt x="1733" y="31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1"/>
            <p:cNvSpPr/>
            <p:nvPr/>
          </p:nvSpPr>
          <p:spPr>
            <a:xfrm>
              <a:off x="-23158250" y="4097600"/>
              <a:ext cx="121300" cy="52000"/>
            </a:xfrm>
            <a:custGeom>
              <a:avLst/>
              <a:gdLst/>
              <a:ahLst/>
              <a:cxnLst/>
              <a:rect l="l" t="t" r="r" b="b"/>
              <a:pathLst>
                <a:path w="4852" h="2080" extrusionOk="0">
                  <a:moveTo>
                    <a:pt x="315" y="0"/>
                  </a:moveTo>
                  <a:cubicBezTo>
                    <a:pt x="158" y="0"/>
                    <a:pt x="0" y="158"/>
                    <a:pt x="0" y="347"/>
                  </a:cubicBezTo>
                  <a:cubicBezTo>
                    <a:pt x="0" y="567"/>
                    <a:pt x="158" y="662"/>
                    <a:pt x="284" y="693"/>
                  </a:cubicBezTo>
                  <a:cubicBezTo>
                    <a:pt x="1008" y="914"/>
                    <a:pt x="1701" y="1355"/>
                    <a:pt x="2174" y="1922"/>
                  </a:cubicBezTo>
                  <a:cubicBezTo>
                    <a:pt x="2205" y="2017"/>
                    <a:pt x="2269" y="2080"/>
                    <a:pt x="2426" y="2080"/>
                  </a:cubicBezTo>
                  <a:cubicBezTo>
                    <a:pt x="2584" y="2080"/>
                    <a:pt x="2678" y="2017"/>
                    <a:pt x="2710" y="1922"/>
                  </a:cubicBezTo>
                  <a:cubicBezTo>
                    <a:pt x="3151" y="1355"/>
                    <a:pt x="3812" y="882"/>
                    <a:pt x="4568" y="662"/>
                  </a:cubicBezTo>
                  <a:cubicBezTo>
                    <a:pt x="4726" y="630"/>
                    <a:pt x="4852" y="504"/>
                    <a:pt x="4852" y="347"/>
                  </a:cubicBezTo>
                  <a:cubicBezTo>
                    <a:pt x="4852" y="158"/>
                    <a:pt x="4694" y="0"/>
                    <a:pt x="4474" y="0"/>
                  </a:cubicBezTo>
                  <a:lnTo>
                    <a:pt x="3371" y="0"/>
                  </a:lnTo>
                  <a:cubicBezTo>
                    <a:pt x="3214" y="410"/>
                    <a:pt x="2867" y="725"/>
                    <a:pt x="2395" y="725"/>
                  </a:cubicBezTo>
                  <a:cubicBezTo>
                    <a:pt x="1922" y="725"/>
                    <a:pt x="1575" y="441"/>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1"/>
            <p:cNvSpPr/>
            <p:nvPr/>
          </p:nvSpPr>
          <p:spPr>
            <a:xfrm>
              <a:off x="-23176375" y="3940850"/>
              <a:ext cx="52800" cy="26825"/>
            </a:xfrm>
            <a:custGeom>
              <a:avLst/>
              <a:gdLst/>
              <a:ahLst/>
              <a:cxnLst/>
              <a:rect l="l" t="t" r="r" b="b"/>
              <a:pathLst>
                <a:path w="2112" h="1073" extrusionOk="0">
                  <a:moveTo>
                    <a:pt x="725" y="1"/>
                  </a:moveTo>
                  <a:cubicBezTo>
                    <a:pt x="316" y="1"/>
                    <a:pt x="1" y="316"/>
                    <a:pt x="1" y="725"/>
                  </a:cubicBezTo>
                  <a:cubicBezTo>
                    <a:pt x="1" y="851"/>
                    <a:pt x="64" y="978"/>
                    <a:pt x="127" y="1072"/>
                  </a:cubicBezTo>
                  <a:cubicBezTo>
                    <a:pt x="410" y="883"/>
                    <a:pt x="725" y="725"/>
                    <a:pt x="1072" y="725"/>
                  </a:cubicBezTo>
                  <a:lnTo>
                    <a:pt x="2111" y="725"/>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1"/>
            <p:cNvSpPr/>
            <p:nvPr/>
          </p:nvSpPr>
          <p:spPr>
            <a:xfrm>
              <a:off x="-23166125" y="3976300"/>
              <a:ext cx="44125" cy="26800"/>
            </a:xfrm>
            <a:custGeom>
              <a:avLst/>
              <a:gdLst/>
              <a:ahLst/>
              <a:cxnLst/>
              <a:rect l="l" t="t" r="r" b="b"/>
              <a:pathLst>
                <a:path w="1765" h="1072" extrusionOk="0">
                  <a:moveTo>
                    <a:pt x="693" y="1"/>
                  </a:moveTo>
                  <a:cubicBezTo>
                    <a:pt x="315" y="1"/>
                    <a:pt x="0" y="316"/>
                    <a:pt x="0" y="725"/>
                  </a:cubicBezTo>
                  <a:cubicBezTo>
                    <a:pt x="0" y="851"/>
                    <a:pt x="32" y="1009"/>
                    <a:pt x="126" y="1072"/>
                  </a:cubicBezTo>
                  <a:cubicBezTo>
                    <a:pt x="347" y="820"/>
                    <a:pt x="693" y="725"/>
                    <a:pt x="1071" y="725"/>
                  </a:cubicBezTo>
                  <a:lnTo>
                    <a:pt x="1764" y="725"/>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93" name="Google Shape;6693;p71"/>
          <p:cNvSpPr/>
          <p:nvPr/>
        </p:nvSpPr>
        <p:spPr>
          <a:xfrm>
            <a:off x="6612202" y="4063538"/>
            <a:ext cx="353786" cy="353757"/>
          </a:xfrm>
          <a:custGeom>
            <a:avLst/>
            <a:gdLst/>
            <a:ahLst/>
            <a:cxnLst/>
            <a:rect l="l" t="t" r="r" b="b"/>
            <a:pathLst>
              <a:path w="11879" h="11878" extrusionOk="0">
                <a:moveTo>
                  <a:pt x="5451" y="6995"/>
                </a:moveTo>
                <a:lnTo>
                  <a:pt x="5451" y="7688"/>
                </a:lnTo>
                <a:lnTo>
                  <a:pt x="4443" y="7688"/>
                </a:lnTo>
                <a:cubicBezTo>
                  <a:pt x="4223" y="7688"/>
                  <a:pt x="4065" y="7530"/>
                  <a:pt x="4065" y="7341"/>
                </a:cubicBezTo>
                <a:cubicBezTo>
                  <a:pt x="4065" y="7152"/>
                  <a:pt x="4223" y="6995"/>
                  <a:pt x="4443" y="6995"/>
                </a:cubicBezTo>
                <a:close/>
                <a:moveTo>
                  <a:pt x="6491" y="8349"/>
                </a:moveTo>
                <a:lnTo>
                  <a:pt x="6491" y="8381"/>
                </a:lnTo>
                <a:cubicBezTo>
                  <a:pt x="6680" y="8381"/>
                  <a:pt x="6837" y="8538"/>
                  <a:pt x="6837" y="8727"/>
                </a:cubicBezTo>
                <a:cubicBezTo>
                  <a:pt x="6837" y="8916"/>
                  <a:pt x="6680" y="9074"/>
                  <a:pt x="6491" y="9074"/>
                </a:cubicBezTo>
                <a:lnTo>
                  <a:pt x="6113" y="9074"/>
                </a:lnTo>
                <a:lnTo>
                  <a:pt x="6113" y="8349"/>
                </a:lnTo>
                <a:close/>
                <a:moveTo>
                  <a:pt x="5451" y="9736"/>
                </a:moveTo>
                <a:lnTo>
                  <a:pt x="5451" y="10460"/>
                </a:lnTo>
                <a:lnTo>
                  <a:pt x="5105" y="10460"/>
                </a:lnTo>
                <a:cubicBezTo>
                  <a:pt x="4916" y="10460"/>
                  <a:pt x="4758" y="10303"/>
                  <a:pt x="4758" y="10114"/>
                </a:cubicBezTo>
                <a:cubicBezTo>
                  <a:pt x="4758" y="9893"/>
                  <a:pt x="4916" y="9736"/>
                  <a:pt x="5105" y="9736"/>
                </a:cubicBezTo>
                <a:close/>
                <a:moveTo>
                  <a:pt x="5861" y="1"/>
                </a:moveTo>
                <a:cubicBezTo>
                  <a:pt x="5262" y="1"/>
                  <a:pt x="4821" y="473"/>
                  <a:pt x="4821" y="1040"/>
                </a:cubicBezTo>
                <a:cubicBezTo>
                  <a:pt x="4821" y="1481"/>
                  <a:pt x="5105" y="1859"/>
                  <a:pt x="5546" y="2017"/>
                </a:cubicBezTo>
                <a:lnTo>
                  <a:pt x="5546" y="3340"/>
                </a:lnTo>
                <a:cubicBezTo>
                  <a:pt x="4441" y="2451"/>
                  <a:pt x="3936" y="2115"/>
                  <a:pt x="3379" y="2115"/>
                </a:cubicBezTo>
                <a:cubicBezTo>
                  <a:pt x="3285" y="2115"/>
                  <a:pt x="3189" y="2125"/>
                  <a:pt x="3088" y="2143"/>
                </a:cubicBezTo>
                <a:cubicBezTo>
                  <a:pt x="2584" y="2237"/>
                  <a:pt x="2301" y="2679"/>
                  <a:pt x="2080" y="3183"/>
                </a:cubicBezTo>
                <a:cubicBezTo>
                  <a:pt x="1734" y="3750"/>
                  <a:pt x="1324" y="4506"/>
                  <a:pt x="221" y="4947"/>
                </a:cubicBezTo>
                <a:cubicBezTo>
                  <a:pt x="64" y="5010"/>
                  <a:pt x="1" y="5167"/>
                  <a:pt x="32" y="5325"/>
                </a:cubicBezTo>
                <a:cubicBezTo>
                  <a:pt x="64" y="5482"/>
                  <a:pt x="190" y="5608"/>
                  <a:pt x="379" y="5608"/>
                </a:cubicBezTo>
                <a:lnTo>
                  <a:pt x="1104" y="5608"/>
                </a:lnTo>
                <a:cubicBezTo>
                  <a:pt x="1104" y="5608"/>
                  <a:pt x="2584" y="5577"/>
                  <a:pt x="3372" y="3750"/>
                </a:cubicBezTo>
                <a:cubicBezTo>
                  <a:pt x="3446" y="3626"/>
                  <a:pt x="3579" y="3541"/>
                  <a:pt x="3724" y="3541"/>
                </a:cubicBezTo>
                <a:cubicBezTo>
                  <a:pt x="3764" y="3541"/>
                  <a:pt x="3804" y="3547"/>
                  <a:pt x="3844" y="3561"/>
                </a:cubicBezTo>
                <a:cubicBezTo>
                  <a:pt x="4002" y="3655"/>
                  <a:pt x="4128" y="3844"/>
                  <a:pt x="4034" y="4033"/>
                </a:cubicBezTo>
                <a:cubicBezTo>
                  <a:pt x="3718" y="4789"/>
                  <a:pt x="3309" y="5293"/>
                  <a:pt x="2868" y="5640"/>
                </a:cubicBezTo>
                <a:lnTo>
                  <a:pt x="3655" y="5640"/>
                </a:lnTo>
                <a:cubicBezTo>
                  <a:pt x="3971" y="5388"/>
                  <a:pt x="4254" y="5010"/>
                  <a:pt x="4254" y="4632"/>
                </a:cubicBezTo>
                <a:cubicBezTo>
                  <a:pt x="4254" y="4443"/>
                  <a:pt x="4412" y="4285"/>
                  <a:pt x="4601" y="4285"/>
                </a:cubicBezTo>
                <a:cubicBezTo>
                  <a:pt x="4790" y="4285"/>
                  <a:pt x="4947" y="4443"/>
                  <a:pt x="4947" y="4632"/>
                </a:cubicBezTo>
                <a:cubicBezTo>
                  <a:pt x="4947" y="5010"/>
                  <a:pt x="4821" y="5388"/>
                  <a:pt x="4601" y="5640"/>
                </a:cubicBezTo>
                <a:lnTo>
                  <a:pt x="5609" y="5640"/>
                </a:lnTo>
                <a:lnTo>
                  <a:pt x="5609" y="6365"/>
                </a:lnTo>
                <a:lnTo>
                  <a:pt x="4601" y="6365"/>
                </a:lnTo>
                <a:cubicBezTo>
                  <a:pt x="4002" y="6365"/>
                  <a:pt x="3561" y="6837"/>
                  <a:pt x="3561" y="7373"/>
                </a:cubicBezTo>
                <a:cubicBezTo>
                  <a:pt x="3561" y="7971"/>
                  <a:pt x="4034" y="8412"/>
                  <a:pt x="4601" y="8412"/>
                </a:cubicBezTo>
                <a:lnTo>
                  <a:pt x="5609" y="8412"/>
                </a:lnTo>
                <a:lnTo>
                  <a:pt x="5609" y="9106"/>
                </a:lnTo>
                <a:lnTo>
                  <a:pt x="5262" y="9106"/>
                </a:lnTo>
                <a:cubicBezTo>
                  <a:pt x="4664" y="9106"/>
                  <a:pt x="4254" y="9578"/>
                  <a:pt x="4254" y="10145"/>
                </a:cubicBezTo>
                <a:cubicBezTo>
                  <a:pt x="4254" y="10744"/>
                  <a:pt x="4727" y="11153"/>
                  <a:pt x="5262" y="11153"/>
                </a:cubicBezTo>
                <a:lnTo>
                  <a:pt x="5609" y="11153"/>
                </a:lnTo>
                <a:lnTo>
                  <a:pt x="5609" y="11531"/>
                </a:lnTo>
                <a:cubicBezTo>
                  <a:pt x="5609" y="11720"/>
                  <a:pt x="5766" y="11878"/>
                  <a:pt x="5987" y="11878"/>
                </a:cubicBezTo>
                <a:cubicBezTo>
                  <a:pt x="6176" y="11878"/>
                  <a:pt x="6333" y="11720"/>
                  <a:pt x="6333" y="11531"/>
                </a:cubicBezTo>
                <a:lnTo>
                  <a:pt x="6333" y="11153"/>
                </a:lnTo>
                <a:lnTo>
                  <a:pt x="6680" y="11153"/>
                </a:lnTo>
                <a:cubicBezTo>
                  <a:pt x="6869" y="11153"/>
                  <a:pt x="7026" y="10996"/>
                  <a:pt x="7026" y="10807"/>
                </a:cubicBezTo>
                <a:cubicBezTo>
                  <a:pt x="7026" y="10618"/>
                  <a:pt x="6869" y="10460"/>
                  <a:pt x="6680" y="10460"/>
                </a:cubicBezTo>
                <a:lnTo>
                  <a:pt x="6333" y="10460"/>
                </a:lnTo>
                <a:lnTo>
                  <a:pt x="6333" y="9736"/>
                </a:lnTo>
                <a:lnTo>
                  <a:pt x="6680" y="9736"/>
                </a:lnTo>
                <a:cubicBezTo>
                  <a:pt x="7279" y="9736"/>
                  <a:pt x="7720" y="9263"/>
                  <a:pt x="7720" y="8727"/>
                </a:cubicBezTo>
                <a:cubicBezTo>
                  <a:pt x="7720" y="8129"/>
                  <a:pt x="7247" y="7688"/>
                  <a:pt x="6680" y="7688"/>
                </a:cubicBezTo>
                <a:lnTo>
                  <a:pt x="6333" y="7688"/>
                </a:lnTo>
                <a:lnTo>
                  <a:pt x="6333" y="6995"/>
                </a:lnTo>
                <a:lnTo>
                  <a:pt x="7342" y="6995"/>
                </a:lnTo>
                <a:cubicBezTo>
                  <a:pt x="7751" y="6995"/>
                  <a:pt x="8098" y="6743"/>
                  <a:pt x="8255" y="6428"/>
                </a:cubicBezTo>
                <a:cubicBezTo>
                  <a:pt x="8066" y="6333"/>
                  <a:pt x="7877" y="6176"/>
                  <a:pt x="7657" y="6018"/>
                </a:cubicBezTo>
                <a:cubicBezTo>
                  <a:pt x="7625" y="6176"/>
                  <a:pt x="7499" y="6270"/>
                  <a:pt x="7310" y="6270"/>
                </a:cubicBezTo>
                <a:lnTo>
                  <a:pt x="6302" y="6270"/>
                </a:lnTo>
                <a:lnTo>
                  <a:pt x="6302" y="5577"/>
                </a:lnTo>
                <a:lnTo>
                  <a:pt x="7310" y="5577"/>
                </a:lnTo>
                <a:cubicBezTo>
                  <a:pt x="7121" y="5262"/>
                  <a:pt x="6963" y="4947"/>
                  <a:pt x="6963" y="4537"/>
                </a:cubicBezTo>
                <a:cubicBezTo>
                  <a:pt x="6963" y="4348"/>
                  <a:pt x="7121" y="4191"/>
                  <a:pt x="7310" y="4191"/>
                </a:cubicBezTo>
                <a:cubicBezTo>
                  <a:pt x="7499" y="4191"/>
                  <a:pt x="7657" y="4348"/>
                  <a:pt x="7657" y="4537"/>
                </a:cubicBezTo>
                <a:cubicBezTo>
                  <a:pt x="7657" y="4978"/>
                  <a:pt x="7940" y="5293"/>
                  <a:pt x="8255" y="5577"/>
                </a:cubicBezTo>
                <a:lnTo>
                  <a:pt x="9043" y="5577"/>
                </a:lnTo>
                <a:cubicBezTo>
                  <a:pt x="8602" y="5230"/>
                  <a:pt x="8224" y="4758"/>
                  <a:pt x="7877" y="3970"/>
                </a:cubicBezTo>
                <a:cubicBezTo>
                  <a:pt x="7783" y="3813"/>
                  <a:pt x="7877" y="3561"/>
                  <a:pt x="8066" y="3498"/>
                </a:cubicBezTo>
                <a:cubicBezTo>
                  <a:pt x="8108" y="3472"/>
                  <a:pt x="8155" y="3461"/>
                  <a:pt x="8203" y="3461"/>
                </a:cubicBezTo>
                <a:cubicBezTo>
                  <a:pt x="8333" y="3461"/>
                  <a:pt x="8470" y="3548"/>
                  <a:pt x="8539" y="3687"/>
                </a:cubicBezTo>
                <a:cubicBezTo>
                  <a:pt x="9326" y="5545"/>
                  <a:pt x="10807" y="5545"/>
                  <a:pt x="10807" y="5545"/>
                </a:cubicBezTo>
                <a:lnTo>
                  <a:pt x="11532" y="5545"/>
                </a:lnTo>
                <a:cubicBezTo>
                  <a:pt x="11689" y="5545"/>
                  <a:pt x="11847" y="5419"/>
                  <a:pt x="11878" y="5262"/>
                </a:cubicBezTo>
                <a:cubicBezTo>
                  <a:pt x="11721" y="5167"/>
                  <a:pt x="11626" y="5010"/>
                  <a:pt x="11469" y="4947"/>
                </a:cubicBezTo>
                <a:cubicBezTo>
                  <a:pt x="10366" y="4506"/>
                  <a:pt x="9988" y="3750"/>
                  <a:pt x="9641" y="3183"/>
                </a:cubicBezTo>
                <a:cubicBezTo>
                  <a:pt x="9358" y="2710"/>
                  <a:pt x="9106" y="2269"/>
                  <a:pt x="8602" y="2143"/>
                </a:cubicBezTo>
                <a:cubicBezTo>
                  <a:pt x="8535" y="2127"/>
                  <a:pt x="8466" y="2119"/>
                  <a:pt x="8393" y="2119"/>
                </a:cubicBezTo>
                <a:cubicBezTo>
                  <a:pt x="7880" y="2119"/>
                  <a:pt x="7197" y="2512"/>
                  <a:pt x="6176" y="3340"/>
                </a:cubicBezTo>
                <a:lnTo>
                  <a:pt x="6176" y="2017"/>
                </a:lnTo>
                <a:cubicBezTo>
                  <a:pt x="6554" y="1859"/>
                  <a:pt x="6869" y="1513"/>
                  <a:pt x="6869" y="1040"/>
                </a:cubicBezTo>
                <a:cubicBezTo>
                  <a:pt x="6869" y="442"/>
                  <a:pt x="6396"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1"/>
          <p:cNvSpPr txBox="1"/>
          <p:nvPr/>
        </p:nvSpPr>
        <p:spPr>
          <a:xfrm>
            <a:off x="849675"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Educational Icons</a:t>
            </a:r>
            <a:endParaRPr sz="2400">
              <a:solidFill>
                <a:srgbClr val="FFFFFF"/>
              </a:solidFill>
            </a:endParaRPr>
          </a:p>
        </p:txBody>
      </p:sp>
      <p:sp>
        <p:nvSpPr>
          <p:cNvPr id="6695" name="Google Shape;6695;p71"/>
          <p:cNvSpPr txBox="1"/>
          <p:nvPr/>
        </p:nvSpPr>
        <p:spPr>
          <a:xfrm>
            <a:off x="4858400"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Medical Icons</a:t>
            </a:r>
            <a:endParaRPr sz="2400">
              <a:solidFill>
                <a:srgbClr val="FFFFFF"/>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699"/>
        <p:cNvGrpSpPr/>
        <p:nvPr/>
      </p:nvGrpSpPr>
      <p:grpSpPr>
        <a:xfrm>
          <a:off x="0" y="0"/>
          <a:ext cx="0" cy="0"/>
          <a:chOff x="0" y="0"/>
          <a:chExt cx="0" cy="0"/>
        </a:xfrm>
      </p:grpSpPr>
      <p:sp>
        <p:nvSpPr>
          <p:cNvPr id="6700" name="Google Shape;6700;p72"/>
          <p:cNvSpPr/>
          <p:nvPr/>
        </p:nvSpPr>
        <p:spPr>
          <a:xfrm>
            <a:off x="849879" y="1380449"/>
            <a:ext cx="367261" cy="366364"/>
          </a:xfrm>
          <a:custGeom>
            <a:avLst/>
            <a:gdLst/>
            <a:ahLst/>
            <a:cxnLst/>
            <a:rect l="l" t="t" r="r" b="b"/>
            <a:pathLst>
              <a:path w="12697" h="12666" extrusionOk="0">
                <a:moveTo>
                  <a:pt x="6301" y="1356"/>
                </a:moveTo>
                <a:cubicBezTo>
                  <a:pt x="6522" y="1356"/>
                  <a:pt x="6711" y="1576"/>
                  <a:pt x="6711" y="1797"/>
                </a:cubicBezTo>
                <a:lnTo>
                  <a:pt x="6711" y="2269"/>
                </a:lnTo>
                <a:cubicBezTo>
                  <a:pt x="7656" y="2458"/>
                  <a:pt x="8349" y="3309"/>
                  <a:pt x="8349" y="4285"/>
                </a:cubicBezTo>
                <a:cubicBezTo>
                  <a:pt x="8349" y="4538"/>
                  <a:pt x="8160" y="4727"/>
                  <a:pt x="7971" y="4727"/>
                </a:cubicBezTo>
                <a:cubicBezTo>
                  <a:pt x="7719" y="4727"/>
                  <a:pt x="7530" y="4538"/>
                  <a:pt x="7530" y="4285"/>
                </a:cubicBezTo>
                <a:cubicBezTo>
                  <a:pt x="7530" y="3624"/>
                  <a:pt x="6994" y="3057"/>
                  <a:pt x="6301" y="3057"/>
                </a:cubicBezTo>
                <a:cubicBezTo>
                  <a:pt x="5640" y="3057"/>
                  <a:pt x="5073" y="3624"/>
                  <a:pt x="5073" y="4285"/>
                </a:cubicBezTo>
                <a:cubicBezTo>
                  <a:pt x="5073" y="4947"/>
                  <a:pt x="5829" y="5483"/>
                  <a:pt x="6585" y="6018"/>
                </a:cubicBezTo>
                <a:cubicBezTo>
                  <a:pt x="7435" y="6648"/>
                  <a:pt x="8412" y="7310"/>
                  <a:pt x="8412" y="8413"/>
                </a:cubicBezTo>
                <a:cubicBezTo>
                  <a:pt x="8412" y="9421"/>
                  <a:pt x="7687" y="10271"/>
                  <a:pt x="6742" y="10429"/>
                </a:cubicBezTo>
                <a:lnTo>
                  <a:pt x="6742" y="10901"/>
                </a:lnTo>
                <a:cubicBezTo>
                  <a:pt x="6742" y="11154"/>
                  <a:pt x="6553" y="11311"/>
                  <a:pt x="6364" y="11311"/>
                </a:cubicBezTo>
                <a:cubicBezTo>
                  <a:pt x="6144" y="11311"/>
                  <a:pt x="5955" y="11091"/>
                  <a:pt x="5955" y="10901"/>
                </a:cubicBezTo>
                <a:lnTo>
                  <a:pt x="5955" y="10429"/>
                </a:lnTo>
                <a:cubicBezTo>
                  <a:pt x="5010" y="10240"/>
                  <a:pt x="4316" y="9421"/>
                  <a:pt x="4316" y="8413"/>
                </a:cubicBezTo>
                <a:cubicBezTo>
                  <a:pt x="4316" y="8192"/>
                  <a:pt x="4505" y="8035"/>
                  <a:pt x="4694" y="8035"/>
                </a:cubicBezTo>
                <a:cubicBezTo>
                  <a:pt x="4884" y="8035"/>
                  <a:pt x="5136" y="8224"/>
                  <a:pt x="5136" y="8413"/>
                </a:cubicBezTo>
                <a:cubicBezTo>
                  <a:pt x="5136" y="9106"/>
                  <a:pt x="5671" y="9641"/>
                  <a:pt x="6364" y="9641"/>
                </a:cubicBezTo>
                <a:cubicBezTo>
                  <a:pt x="7026" y="9641"/>
                  <a:pt x="7561" y="9106"/>
                  <a:pt x="7561" y="8413"/>
                </a:cubicBezTo>
                <a:cubicBezTo>
                  <a:pt x="7561" y="7751"/>
                  <a:pt x="6868" y="7247"/>
                  <a:pt x="6081" y="6680"/>
                </a:cubicBezTo>
                <a:cubicBezTo>
                  <a:pt x="5199" y="6050"/>
                  <a:pt x="4253" y="5388"/>
                  <a:pt x="4253" y="4285"/>
                </a:cubicBezTo>
                <a:cubicBezTo>
                  <a:pt x="4253" y="3309"/>
                  <a:pt x="4978" y="2427"/>
                  <a:pt x="5923" y="2269"/>
                </a:cubicBezTo>
                <a:lnTo>
                  <a:pt x="5923" y="1797"/>
                </a:lnTo>
                <a:cubicBezTo>
                  <a:pt x="5923" y="1576"/>
                  <a:pt x="6112" y="1356"/>
                  <a:pt x="6301" y="1356"/>
                </a:cubicBezTo>
                <a:close/>
                <a:moveTo>
                  <a:pt x="6333" y="1"/>
                </a:moveTo>
                <a:cubicBezTo>
                  <a:pt x="2836" y="1"/>
                  <a:pt x="0" y="2836"/>
                  <a:pt x="0" y="6333"/>
                </a:cubicBezTo>
                <a:cubicBezTo>
                  <a:pt x="0" y="9830"/>
                  <a:pt x="2836" y="12666"/>
                  <a:pt x="6333" y="12666"/>
                </a:cubicBezTo>
                <a:cubicBezTo>
                  <a:pt x="9861" y="12666"/>
                  <a:pt x="12697" y="9830"/>
                  <a:pt x="12697" y="6333"/>
                </a:cubicBezTo>
                <a:cubicBezTo>
                  <a:pt x="12697" y="2836"/>
                  <a:pt x="9861"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1" name="Google Shape;6701;p72"/>
          <p:cNvGrpSpPr/>
          <p:nvPr/>
        </p:nvGrpSpPr>
        <p:grpSpPr>
          <a:xfrm>
            <a:off x="850004" y="1823018"/>
            <a:ext cx="367261" cy="367261"/>
            <a:chOff x="-65145700" y="3727425"/>
            <a:chExt cx="317425" cy="317425"/>
          </a:xfrm>
        </p:grpSpPr>
        <p:sp>
          <p:nvSpPr>
            <p:cNvPr id="6702" name="Google Shape;6702;p72"/>
            <p:cNvSpPr/>
            <p:nvPr/>
          </p:nvSpPr>
          <p:spPr>
            <a:xfrm>
              <a:off x="-65145700" y="3769150"/>
              <a:ext cx="275675" cy="275700"/>
            </a:xfrm>
            <a:custGeom>
              <a:avLst/>
              <a:gdLst/>
              <a:ahLst/>
              <a:cxnLst/>
              <a:rect l="l" t="t" r="r" b="b"/>
              <a:pathLst>
                <a:path w="11027" h="11028" extrusionOk="0">
                  <a:moveTo>
                    <a:pt x="5514" y="1"/>
                  </a:moveTo>
                  <a:cubicBezTo>
                    <a:pt x="2489" y="1"/>
                    <a:pt x="0" y="2458"/>
                    <a:pt x="0" y="5514"/>
                  </a:cubicBezTo>
                  <a:cubicBezTo>
                    <a:pt x="0" y="8539"/>
                    <a:pt x="2489" y="11027"/>
                    <a:pt x="5514" y="11027"/>
                  </a:cubicBezTo>
                  <a:cubicBezTo>
                    <a:pt x="8538" y="11027"/>
                    <a:pt x="11027" y="8539"/>
                    <a:pt x="11027" y="5514"/>
                  </a:cubicBezTo>
                  <a:cubicBezTo>
                    <a:pt x="11027" y="5294"/>
                    <a:pt x="10869" y="5105"/>
                    <a:pt x="10649" y="5105"/>
                  </a:cubicBezTo>
                  <a:lnTo>
                    <a:pt x="5955" y="5105"/>
                  </a:lnTo>
                  <a:lnTo>
                    <a:pt x="5955" y="410"/>
                  </a:lnTo>
                  <a:cubicBezTo>
                    <a:pt x="5955" y="190"/>
                    <a:pt x="5766"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2"/>
            <p:cNvSpPr/>
            <p:nvPr/>
          </p:nvSpPr>
          <p:spPr>
            <a:xfrm>
              <a:off x="-64977150" y="3727425"/>
              <a:ext cx="148875" cy="147300"/>
            </a:xfrm>
            <a:custGeom>
              <a:avLst/>
              <a:gdLst/>
              <a:ahLst/>
              <a:cxnLst/>
              <a:rect l="l" t="t" r="r" b="b"/>
              <a:pathLst>
                <a:path w="5955" h="5892" extrusionOk="0">
                  <a:moveTo>
                    <a:pt x="441" y="0"/>
                  </a:moveTo>
                  <a:cubicBezTo>
                    <a:pt x="189" y="0"/>
                    <a:pt x="0" y="158"/>
                    <a:pt x="0" y="378"/>
                  </a:cubicBezTo>
                  <a:lnTo>
                    <a:pt x="0" y="5513"/>
                  </a:lnTo>
                  <a:cubicBezTo>
                    <a:pt x="0" y="5702"/>
                    <a:pt x="189" y="5891"/>
                    <a:pt x="441" y="5891"/>
                  </a:cubicBezTo>
                  <a:lnTo>
                    <a:pt x="5514" y="5891"/>
                  </a:lnTo>
                  <a:cubicBezTo>
                    <a:pt x="5734" y="5891"/>
                    <a:pt x="5955" y="5702"/>
                    <a:pt x="5955" y="5513"/>
                  </a:cubicBezTo>
                  <a:cubicBezTo>
                    <a:pt x="5955" y="2489"/>
                    <a:pt x="3466"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04" name="Google Shape;6704;p72"/>
          <p:cNvGrpSpPr/>
          <p:nvPr/>
        </p:nvGrpSpPr>
        <p:grpSpPr>
          <a:xfrm>
            <a:off x="853201" y="2251933"/>
            <a:ext cx="360868" cy="367261"/>
            <a:chOff x="-65144125" y="4094450"/>
            <a:chExt cx="311900" cy="317425"/>
          </a:xfrm>
        </p:grpSpPr>
        <p:sp>
          <p:nvSpPr>
            <p:cNvPr id="6705" name="Google Shape;6705;p72"/>
            <p:cNvSpPr/>
            <p:nvPr/>
          </p:nvSpPr>
          <p:spPr>
            <a:xfrm>
              <a:off x="-65079550" y="4183450"/>
              <a:ext cx="185900" cy="185900"/>
            </a:xfrm>
            <a:custGeom>
              <a:avLst/>
              <a:gdLst/>
              <a:ahLst/>
              <a:cxnLst/>
              <a:rect l="l" t="t" r="r" b="b"/>
              <a:pathLst>
                <a:path w="7436" h="7436" extrusionOk="0">
                  <a:moveTo>
                    <a:pt x="3687" y="0"/>
                  </a:moveTo>
                  <a:cubicBezTo>
                    <a:pt x="1639" y="0"/>
                    <a:pt x="1" y="1639"/>
                    <a:pt x="1" y="3686"/>
                  </a:cubicBezTo>
                  <a:cubicBezTo>
                    <a:pt x="1" y="5734"/>
                    <a:pt x="1639" y="7435"/>
                    <a:pt x="3687" y="7435"/>
                  </a:cubicBezTo>
                  <a:cubicBezTo>
                    <a:pt x="5735" y="7435"/>
                    <a:pt x="7436" y="5797"/>
                    <a:pt x="7436" y="3686"/>
                  </a:cubicBezTo>
                  <a:cubicBezTo>
                    <a:pt x="7436" y="3466"/>
                    <a:pt x="7247" y="3308"/>
                    <a:pt x="7058" y="3308"/>
                  </a:cubicBezTo>
                  <a:lnTo>
                    <a:pt x="4096" y="3308"/>
                  </a:lnTo>
                  <a:lnTo>
                    <a:pt x="4096" y="378"/>
                  </a:lnTo>
                  <a:cubicBezTo>
                    <a:pt x="4096" y="158"/>
                    <a:pt x="3907" y="0"/>
                    <a:pt x="36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2"/>
            <p:cNvSpPr/>
            <p:nvPr/>
          </p:nvSpPr>
          <p:spPr>
            <a:xfrm>
              <a:off x="-65039375" y="4094450"/>
              <a:ext cx="104775" cy="19700"/>
            </a:xfrm>
            <a:custGeom>
              <a:avLst/>
              <a:gdLst/>
              <a:ahLst/>
              <a:cxnLst/>
              <a:rect l="l" t="t" r="r" b="b"/>
              <a:pathLst>
                <a:path w="4191" h="788" extrusionOk="0">
                  <a:moveTo>
                    <a:pt x="473" y="0"/>
                  </a:moveTo>
                  <a:cubicBezTo>
                    <a:pt x="252" y="0"/>
                    <a:pt x="32" y="221"/>
                    <a:pt x="32" y="410"/>
                  </a:cubicBezTo>
                  <a:cubicBezTo>
                    <a:pt x="0" y="599"/>
                    <a:pt x="158" y="756"/>
                    <a:pt x="347" y="788"/>
                  </a:cubicBezTo>
                  <a:lnTo>
                    <a:pt x="3813" y="788"/>
                  </a:lnTo>
                  <a:cubicBezTo>
                    <a:pt x="4033" y="756"/>
                    <a:pt x="4191" y="599"/>
                    <a:pt x="4191" y="410"/>
                  </a:cubicBezTo>
                  <a:cubicBezTo>
                    <a:pt x="4191" y="158"/>
                    <a:pt x="3970"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2"/>
            <p:cNvSpPr/>
            <p:nvPr/>
          </p:nvSpPr>
          <p:spPr>
            <a:xfrm>
              <a:off x="-65144125" y="4121025"/>
              <a:ext cx="311900" cy="290850"/>
            </a:xfrm>
            <a:custGeom>
              <a:avLst/>
              <a:gdLst/>
              <a:ahLst/>
              <a:cxnLst/>
              <a:rect l="l" t="t" r="r" b="b"/>
              <a:pathLst>
                <a:path w="12476" h="11634" extrusionOk="0">
                  <a:moveTo>
                    <a:pt x="6321" y="1678"/>
                  </a:moveTo>
                  <a:cubicBezTo>
                    <a:pt x="7437" y="1678"/>
                    <a:pt x="8570" y="2088"/>
                    <a:pt x="9483" y="3001"/>
                  </a:cubicBezTo>
                  <a:cubicBezTo>
                    <a:pt x="10334" y="3884"/>
                    <a:pt x="10806" y="5018"/>
                    <a:pt x="10806" y="6246"/>
                  </a:cubicBezTo>
                  <a:cubicBezTo>
                    <a:pt x="10806" y="8767"/>
                    <a:pt x="8759" y="10815"/>
                    <a:pt x="6238" y="10815"/>
                  </a:cubicBezTo>
                  <a:cubicBezTo>
                    <a:pt x="3718" y="10815"/>
                    <a:pt x="1702" y="8767"/>
                    <a:pt x="1702" y="6246"/>
                  </a:cubicBezTo>
                  <a:cubicBezTo>
                    <a:pt x="1702" y="3492"/>
                    <a:pt x="3974" y="1678"/>
                    <a:pt x="6321" y="1678"/>
                  </a:cubicBezTo>
                  <a:close/>
                  <a:moveTo>
                    <a:pt x="1367" y="1"/>
                  </a:moveTo>
                  <a:cubicBezTo>
                    <a:pt x="1048" y="1"/>
                    <a:pt x="725" y="119"/>
                    <a:pt x="473" y="355"/>
                  </a:cubicBezTo>
                  <a:cubicBezTo>
                    <a:pt x="0" y="828"/>
                    <a:pt x="0" y="1615"/>
                    <a:pt x="473" y="2119"/>
                  </a:cubicBezTo>
                  <a:cubicBezTo>
                    <a:pt x="696" y="2363"/>
                    <a:pt x="997" y="2488"/>
                    <a:pt x="1327" y="2488"/>
                  </a:cubicBezTo>
                  <a:cubicBezTo>
                    <a:pt x="1509" y="2488"/>
                    <a:pt x="1700" y="2450"/>
                    <a:pt x="1891" y="2371"/>
                  </a:cubicBezTo>
                  <a:lnTo>
                    <a:pt x="2237" y="2718"/>
                  </a:lnTo>
                  <a:cubicBezTo>
                    <a:pt x="1386" y="3695"/>
                    <a:pt x="914" y="4923"/>
                    <a:pt x="914" y="6215"/>
                  </a:cubicBezTo>
                  <a:cubicBezTo>
                    <a:pt x="914" y="9176"/>
                    <a:pt x="3340" y="11634"/>
                    <a:pt x="6301" y="11634"/>
                  </a:cubicBezTo>
                  <a:cubicBezTo>
                    <a:pt x="9231" y="11634"/>
                    <a:pt x="11689" y="9208"/>
                    <a:pt x="11689" y="6215"/>
                  </a:cubicBezTo>
                  <a:cubicBezTo>
                    <a:pt x="11689" y="4923"/>
                    <a:pt x="11216" y="3695"/>
                    <a:pt x="10365" y="2718"/>
                  </a:cubicBezTo>
                  <a:lnTo>
                    <a:pt x="10743" y="2371"/>
                  </a:lnTo>
                  <a:cubicBezTo>
                    <a:pt x="10901" y="2466"/>
                    <a:pt x="11059" y="2497"/>
                    <a:pt x="11248" y="2497"/>
                  </a:cubicBezTo>
                  <a:cubicBezTo>
                    <a:pt x="11909" y="2497"/>
                    <a:pt x="12476" y="1930"/>
                    <a:pt x="12476" y="1269"/>
                  </a:cubicBezTo>
                  <a:cubicBezTo>
                    <a:pt x="12476" y="607"/>
                    <a:pt x="11909" y="8"/>
                    <a:pt x="11248" y="8"/>
                  </a:cubicBezTo>
                  <a:cubicBezTo>
                    <a:pt x="10586" y="8"/>
                    <a:pt x="10019" y="544"/>
                    <a:pt x="10019" y="1269"/>
                  </a:cubicBezTo>
                  <a:cubicBezTo>
                    <a:pt x="10019" y="1458"/>
                    <a:pt x="10050" y="1615"/>
                    <a:pt x="10145" y="1773"/>
                  </a:cubicBezTo>
                  <a:lnTo>
                    <a:pt x="9798" y="2119"/>
                  </a:lnTo>
                  <a:cubicBezTo>
                    <a:pt x="9137" y="1584"/>
                    <a:pt x="8381" y="1206"/>
                    <a:pt x="7561" y="985"/>
                  </a:cubicBezTo>
                  <a:lnTo>
                    <a:pt x="7561" y="544"/>
                  </a:lnTo>
                  <a:lnTo>
                    <a:pt x="5073" y="544"/>
                  </a:lnTo>
                  <a:lnTo>
                    <a:pt x="5073" y="985"/>
                  </a:lnTo>
                  <a:cubicBezTo>
                    <a:pt x="4222" y="1206"/>
                    <a:pt x="3434" y="1584"/>
                    <a:pt x="2836" y="2119"/>
                  </a:cubicBezTo>
                  <a:lnTo>
                    <a:pt x="2458" y="1773"/>
                  </a:lnTo>
                  <a:cubicBezTo>
                    <a:pt x="2710" y="1269"/>
                    <a:pt x="2584" y="733"/>
                    <a:pt x="2237" y="355"/>
                  </a:cubicBezTo>
                  <a:cubicBezTo>
                    <a:pt x="2001" y="119"/>
                    <a:pt x="1686" y="1"/>
                    <a:pt x="13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08" name="Google Shape;6708;p72"/>
          <p:cNvSpPr/>
          <p:nvPr/>
        </p:nvSpPr>
        <p:spPr>
          <a:xfrm>
            <a:off x="3057429" y="1379076"/>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9" name="Google Shape;6709;p72"/>
          <p:cNvGrpSpPr/>
          <p:nvPr/>
        </p:nvGrpSpPr>
        <p:grpSpPr>
          <a:xfrm>
            <a:off x="3056770" y="1822628"/>
            <a:ext cx="370645" cy="368042"/>
            <a:chOff x="-63250675" y="3744075"/>
            <a:chExt cx="320350" cy="318100"/>
          </a:xfrm>
        </p:grpSpPr>
        <p:sp>
          <p:nvSpPr>
            <p:cNvPr id="6710" name="Google Shape;6710;p72"/>
            <p:cNvSpPr/>
            <p:nvPr/>
          </p:nvSpPr>
          <p:spPr>
            <a:xfrm>
              <a:off x="-63126250" y="3744075"/>
              <a:ext cx="195925" cy="192875"/>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2"/>
            <p:cNvSpPr/>
            <p:nvPr/>
          </p:nvSpPr>
          <p:spPr>
            <a:xfrm>
              <a:off x="-63190025" y="3814050"/>
              <a:ext cx="186675" cy="185900"/>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2"/>
            <p:cNvSpPr/>
            <p:nvPr/>
          </p:nvSpPr>
          <p:spPr>
            <a:xfrm>
              <a:off x="-63250675" y="3751050"/>
              <a:ext cx="311125" cy="311125"/>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13" name="Google Shape;6713;p72"/>
          <p:cNvGrpSpPr/>
          <p:nvPr/>
        </p:nvGrpSpPr>
        <p:grpSpPr>
          <a:xfrm>
            <a:off x="3058462" y="2251933"/>
            <a:ext cx="367261" cy="367261"/>
            <a:chOff x="-63250675" y="4110200"/>
            <a:chExt cx="317425" cy="317425"/>
          </a:xfrm>
        </p:grpSpPr>
        <p:sp>
          <p:nvSpPr>
            <p:cNvPr id="6714" name="Google Shape;6714;p72"/>
            <p:cNvSpPr/>
            <p:nvPr/>
          </p:nvSpPr>
          <p:spPr>
            <a:xfrm>
              <a:off x="-63007300" y="4153725"/>
              <a:ext cx="30725" cy="29750"/>
            </a:xfrm>
            <a:custGeom>
              <a:avLst/>
              <a:gdLst/>
              <a:ahLst/>
              <a:cxnLst/>
              <a:rect l="l" t="t" r="r" b="b"/>
              <a:pathLst>
                <a:path w="1229" h="1190" extrusionOk="0">
                  <a:moveTo>
                    <a:pt x="772" y="0"/>
                  </a:moveTo>
                  <a:cubicBezTo>
                    <a:pt x="662" y="0"/>
                    <a:pt x="552" y="39"/>
                    <a:pt x="473" y="118"/>
                  </a:cubicBezTo>
                  <a:lnTo>
                    <a:pt x="0" y="591"/>
                  </a:lnTo>
                  <a:cubicBezTo>
                    <a:pt x="252" y="780"/>
                    <a:pt x="441" y="1000"/>
                    <a:pt x="599" y="1189"/>
                  </a:cubicBezTo>
                  <a:lnTo>
                    <a:pt x="1071" y="717"/>
                  </a:lnTo>
                  <a:cubicBezTo>
                    <a:pt x="1229" y="559"/>
                    <a:pt x="1229" y="276"/>
                    <a:pt x="1071" y="118"/>
                  </a:cubicBezTo>
                  <a:cubicBezTo>
                    <a:pt x="993" y="39"/>
                    <a:pt x="882"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2"/>
            <p:cNvSpPr/>
            <p:nvPr/>
          </p:nvSpPr>
          <p:spPr>
            <a:xfrm>
              <a:off x="-63203425" y="4159025"/>
              <a:ext cx="222925" cy="222150"/>
            </a:xfrm>
            <a:custGeom>
              <a:avLst/>
              <a:gdLst/>
              <a:ahLst/>
              <a:cxnLst/>
              <a:rect l="l" t="t" r="r" b="b"/>
              <a:pathLst>
                <a:path w="8917" h="8886" extrusionOk="0">
                  <a:moveTo>
                    <a:pt x="4033" y="1418"/>
                  </a:moveTo>
                  <a:lnTo>
                    <a:pt x="4033" y="3088"/>
                  </a:lnTo>
                  <a:cubicBezTo>
                    <a:pt x="3939" y="3151"/>
                    <a:pt x="3876" y="3151"/>
                    <a:pt x="3781" y="3183"/>
                  </a:cubicBezTo>
                  <a:lnTo>
                    <a:pt x="2615" y="1985"/>
                  </a:lnTo>
                  <a:cubicBezTo>
                    <a:pt x="2993" y="1670"/>
                    <a:pt x="3529" y="1481"/>
                    <a:pt x="4033" y="1418"/>
                  </a:cubicBezTo>
                  <a:close/>
                  <a:moveTo>
                    <a:pt x="4852" y="1418"/>
                  </a:moveTo>
                  <a:cubicBezTo>
                    <a:pt x="5356" y="1481"/>
                    <a:pt x="5892" y="1670"/>
                    <a:pt x="6270" y="1985"/>
                  </a:cubicBezTo>
                  <a:lnTo>
                    <a:pt x="5104" y="3183"/>
                  </a:lnTo>
                  <a:cubicBezTo>
                    <a:pt x="5010" y="3151"/>
                    <a:pt x="4947" y="3088"/>
                    <a:pt x="4852" y="3088"/>
                  </a:cubicBezTo>
                  <a:lnTo>
                    <a:pt x="4852" y="1418"/>
                  </a:lnTo>
                  <a:close/>
                  <a:moveTo>
                    <a:pt x="2017" y="2553"/>
                  </a:moveTo>
                  <a:lnTo>
                    <a:pt x="3214" y="3718"/>
                  </a:lnTo>
                  <a:cubicBezTo>
                    <a:pt x="3151" y="3813"/>
                    <a:pt x="3119" y="3876"/>
                    <a:pt x="3119" y="3970"/>
                  </a:cubicBezTo>
                  <a:lnTo>
                    <a:pt x="1418" y="3970"/>
                  </a:lnTo>
                  <a:cubicBezTo>
                    <a:pt x="1513" y="3466"/>
                    <a:pt x="1733" y="2994"/>
                    <a:pt x="2017" y="2553"/>
                  </a:cubicBezTo>
                  <a:close/>
                  <a:moveTo>
                    <a:pt x="6869" y="2553"/>
                  </a:moveTo>
                  <a:cubicBezTo>
                    <a:pt x="7184" y="2994"/>
                    <a:pt x="7373" y="3466"/>
                    <a:pt x="7467" y="3970"/>
                  </a:cubicBezTo>
                  <a:lnTo>
                    <a:pt x="5766" y="3970"/>
                  </a:lnTo>
                  <a:cubicBezTo>
                    <a:pt x="5734" y="3876"/>
                    <a:pt x="5734" y="3813"/>
                    <a:pt x="5671" y="3718"/>
                  </a:cubicBezTo>
                  <a:lnTo>
                    <a:pt x="6869" y="2553"/>
                  </a:lnTo>
                  <a:close/>
                  <a:moveTo>
                    <a:pt x="3119" y="4789"/>
                  </a:moveTo>
                  <a:cubicBezTo>
                    <a:pt x="3182" y="4884"/>
                    <a:pt x="3182" y="4947"/>
                    <a:pt x="3214" y="5041"/>
                  </a:cubicBezTo>
                  <a:lnTo>
                    <a:pt x="2017" y="6207"/>
                  </a:lnTo>
                  <a:cubicBezTo>
                    <a:pt x="1733" y="5829"/>
                    <a:pt x="1513" y="5357"/>
                    <a:pt x="1418" y="4789"/>
                  </a:cubicBezTo>
                  <a:close/>
                  <a:moveTo>
                    <a:pt x="7467" y="4789"/>
                  </a:moveTo>
                  <a:cubicBezTo>
                    <a:pt x="7373" y="5357"/>
                    <a:pt x="7184" y="5829"/>
                    <a:pt x="6869" y="6207"/>
                  </a:cubicBezTo>
                  <a:lnTo>
                    <a:pt x="5671" y="5041"/>
                  </a:lnTo>
                  <a:cubicBezTo>
                    <a:pt x="5734" y="4947"/>
                    <a:pt x="5766" y="4884"/>
                    <a:pt x="5766" y="4789"/>
                  </a:cubicBezTo>
                  <a:close/>
                  <a:moveTo>
                    <a:pt x="3781" y="5609"/>
                  </a:moveTo>
                  <a:cubicBezTo>
                    <a:pt x="3876" y="5672"/>
                    <a:pt x="3939" y="5703"/>
                    <a:pt x="4033" y="5703"/>
                  </a:cubicBezTo>
                  <a:lnTo>
                    <a:pt x="4033" y="7404"/>
                  </a:lnTo>
                  <a:cubicBezTo>
                    <a:pt x="3529" y="7310"/>
                    <a:pt x="2993" y="7121"/>
                    <a:pt x="2615" y="6806"/>
                  </a:cubicBezTo>
                  <a:lnTo>
                    <a:pt x="3781" y="5609"/>
                  </a:lnTo>
                  <a:close/>
                  <a:moveTo>
                    <a:pt x="5104" y="5609"/>
                  </a:moveTo>
                  <a:lnTo>
                    <a:pt x="6270" y="6806"/>
                  </a:lnTo>
                  <a:cubicBezTo>
                    <a:pt x="5892" y="7121"/>
                    <a:pt x="5419" y="7310"/>
                    <a:pt x="4852" y="7404"/>
                  </a:cubicBezTo>
                  <a:lnTo>
                    <a:pt x="4852" y="5703"/>
                  </a:lnTo>
                  <a:cubicBezTo>
                    <a:pt x="4947" y="5672"/>
                    <a:pt x="5010" y="5672"/>
                    <a:pt x="5104" y="5609"/>
                  </a:cubicBezTo>
                  <a:close/>
                  <a:moveTo>
                    <a:pt x="4474" y="1"/>
                  </a:moveTo>
                  <a:cubicBezTo>
                    <a:pt x="2017" y="1"/>
                    <a:pt x="0" y="1985"/>
                    <a:pt x="0" y="4443"/>
                  </a:cubicBezTo>
                  <a:cubicBezTo>
                    <a:pt x="0" y="6869"/>
                    <a:pt x="2017" y="8885"/>
                    <a:pt x="4474" y="8885"/>
                  </a:cubicBezTo>
                  <a:cubicBezTo>
                    <a:pt x="6900" y="8885"/>
                    <a:pt x="8916" y="6869"/>
                    <a:pt x="8916" y="4443"/>
                  </a:cubicBezTo>
                  <a:cubicBezTo>
                    <a:pt x="8916" y="1954"/>
                    <a:pt x="6900" y="1"/>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2"/>
            <p:cNvSpPr/>
            <p:nvPr/>
          </p:nvSpPr>
          <p:spPr>
            <a:xfrm>
              <a:off x="-63102600" y="4401625"/>
              <a:ext cx="20500" cy="26000"/>
            </a:xfrm>
            <a:custGeom>
              <a:avLst/>
              <a:gdLst/>
              <a:ahLst/>
              <a:cxnLst/>
              <a:rect l="l" t="t" r="r" b="b"/>
              <a:pathLst>
                <a:path w="820" h="1040" extrusionOk="0">
                  <a:moveTo>
                    <a:pt x="0" y="0"/>
                  </a:moveTo>
                  <a:lnTo>
                    <a:pt x="0" y="630"/>
                  </a:lnTo>
                  <a:cubicBezTo>
                    <a:pt x="0" y="882"/>
                    <a:pt x="189" y="1040"/>
                    <a:pt x="441" y="1040"/>
                  </a:cubicBezTo>
                  <a:cubicBezTo>
                    <a:pt x="662" y="1040"/>
                    <a:pt x="819" y="851"/>
                    <a:pt x="819" y="630"/>
                  </a:cubicBezTo>
                  <a:lnTo>
                    <a:pt x="8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2"/>
            <p:cNvSpPr/>
            <p:nvPr/>
          </p:nvSpPr>
          <p:spPr>
            <a:xfrm>
              <a:off x="-63006525" y="4354350"/>
              <a:ext cx="29950" cy="29975"/>
            </a:xfrm>
            <a:custGeom>
              <a:avLst/>
              <a:gdLst/>
              <a:ahLst/>
              <a:cxnLst/>
              <a:rect l="l" t="t" r="r" b="b"/>
              <a:pathLst>
                <a:path w="1198" h="1199" extrusionOk="0">
                  <a:moveTo>
                    <a:pt x="599" y="1"/>
                  </a:moveTo>
                  <a:cubicBezTo>
                    <a:pt x="410" y="221"/>
                    <a:pt x="253" y="410"/>
                    <a:pt x="1" y="599"/>
                  </a:cubicBezTo>
                  <a:lnTo>
                    <a:pt x="473" y="1072"/>
                  </a:lnTo>
                  <a:cubicBezTo>
                    <a:pt x="568" y="1167"/>
                    <a:pt x="694" y="1198"/>
                    <a:pt x="757" y="1198"/>
                  </a:cubicBezTo>
                  <a:cubicBezTo>
                    <a:pt x="851" y="1198"/>
                    <a:pt x="946" y="1167"/>
                    <a:pt x="1040" y="1072"/>
                  </a:cubicBezTo>
                  <a:cubicBezTo>
                    <a:pt x="1198" y="915"/>
                    <a:pt x="1198" y="631"/>
                    <a:pt x="1040" y="473"/>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2"/>
            <p:cNvSpPr/>
            <p:nvPr/>
          </p:nvSpPr>
          <p:spPr>
            <a:xfrm>
              <a:off x="-62960825" y="4258275"/>
              <a:ext cx="27575" cy="20500"/>
            </a:xfrm>
            <a:custGeom>
              <a:avLst/>
              <a:gdLst/>
              <a:ahLst/>
              <a:cxnLst/>
              <a:rect l="l" t="t" r="r" b="b"/>
              <a:pathLst>
                <a:path w="1103" h="820" extrusionOk="0">
                  <a:moveTo>
                    <a:pt x="0" y="0"/>
                  </a:moveTo>
                  <a:lnTo>
                    <a:pt x="0" y="441"/>
                  </a:lnTo>
                  <a:lnTo>
                    <a:pt x="0" y="819"/>
                  </a:lnTo>
                  <a:lnTo>
                    <a:pt x="662" y="819"/>
                  </a:lnTo>
                  <a:cubicBezTo>
                    <a:pt x="914" y="819"/>
                    <a:pt x="1071" y="630"/>
                    <a:pt x="1071" y="378"/>
                  </a:cubicBezTo>
                  <a:cubicBezTo>
                    <a:pt x="1103" y="189"/>
                    <a:pt x="914"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2"/>
            <p:cNvSpPr/>
            <p:nvPr/>
          </p:nvSpPr>
          <p:spPr>
            <a:xfrm>
              <a:off x="-63250675" y="4259050"/>
              <a:ext cx="26800" cy="20500"/>
            </a:xfrm>
            <a:custGeom>
              <a:avLst/>
              <a:gdLst/>
              <a:ahLst/>
              <a:cxnLst/>
              <a:rect l="l" t="t" r="r" b="b"/>
              <a:pathLst>
                <a:path w="1072" h="820" extrusionOk="0">
                  <a:moveTo>
                    <a:pt x="410" y="1"/>
                  </a:moveTo>
                  <a:cubicBezTo>
                    <a:pt x="158" y="1"/>
                    <a:pt x="0" y="190"/>
                    <a:pt x="0" y="410"/>
                  </a:cubicBezTo>
                  <a:cubicBezTo>
                    <a:pt x="0" y="631"/>
                    <a:pt x="221" y="820"/>
                    <a:pt x="410" y="820"/>
                  </a:cubicBezTo>
                  <a:lnTo>
                    <a:pt x="1071" y="820"/>
                  </a:lnTo>
                  <a:lnTo>
                    <a:pt x="1071" y="442"/>
                  </a:lnTo>
                  <a:lnTo>
                    <a:pt x="10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2"/>
            <p:cNvSpPr/>
            <p:nvPr/>
          </p:nvSpPr>
          <p:spPr>
            <a:xfrm>
              <a:off x="-63208950" y="4354350"/>
              <a:ext cx="29175" cy="29975"/>
            </a:xfrm>
            <a:custGeom>
              <a:avLst/>
              <a:gdLst/>
              <a:ahLst/>
              <a:cxnLst/>
              <a:rect l="l" t="t" r="r" b="b"/>
              <a:pathLst>
                <a:path w="1167" h="1199" extrusionOk="0">
                  <a:moveTo>
                    <a:pt x="631" y="1"/>
                  </a:moveTo>
                  <a:lnTo>
                    <a:pt x="158" y="473"/>
                  </a:lnTo>
                  <a:cubicBezTo>
                    <a:pt x="1" y="631"/>
                    <a:pt x="1" y="915"/>
                    <a:pt x="158" y="1072"/>
                  </a:cubicBezTo>
                  <a:cubicBezTo>
                    <a:pt x="221" y="1167"/>
                    <a:pt x="348" y="1198"/>
                    <a:pt x="442" y="1198"/>
                  </a:cubicBezTo>
                  <a:cubicBezTo>
                    <a:pt x="505" y="1198"/>
                    <a:pt x="631" y="1167"/>
                    <a:pt x="694" y="1072"/>
                  </a:cubicBezTo>
                  <a:lnTo>
                    <a:pt x="1167" y="599"/>
                  </a:lnTo>
                  <a:cubicBezTo>
                    <a:pt x="1009" y="442"/>
                    <a:pt x="820"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2"/>
            <p:cNvSpPr/>
            <p:nvPr/>
          </p:nvSpPr>
          <p:spPr>
            <a:xfrm>
              <a:off x="-63208150" y="4153725"/>
              <a:ext cx="30725" cy="29750"/>
            </a:xfrm>
            <a:custGeom>
              <a:avLst/>
              <a:gdLst/>
              <a:ahLst/>
              <a:cxnLst/>
              <a:rect l="l" t="t" r="r" b="b"/>
              <a:pathLst>
                <a:path w="1229" h="1190" extrusionOk="0">
                  <a:moveTo>
                    <a:pt x="457" y="0"/>
                  </a:moveTo>
                  <a:cubicBezTo>
                    <a:pt x="347" y="0"/>
                    <a:pt x="237" y="39"/>
                    <a:pt x="158" y="118"/>
                  </a:cubicBezTo>
                  <a:cubicBezTo>
                    <a:pt x="0" y="276"/>
                    <a:pt x="0" y="559"/>
                    <a:pt x="158" y="717"/>
                  </a:cubicBezTo>
                  <a:lnTo>
                    <a:pt x="631" y="1189"/>
                  </a:lnTo>
                  <a:lnTo>
                    <a:pt x="1229" y="591"/>
                  </a:lnTo>
                  <a:lnTo>
                    <a:pt x="757" y="118"/>
                  </a:lnTo>
                  <a:cubicBezTo>
                    <a:pt x="678" y="39"/>
                    <a:pt x="568" y="0"/>
                    <a:pt x="4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2"/>
            <p:cNvSpPr/>
            <p:nvPr/>
          </p:nvSpPr>
          <p:spPr>
            <a:xfrm>
              <a:off x="-63102600" y="4110200"/>
              <a:ext cx="20500" cy="27600"/>
            </a:xfrm>
            <a:custGeom>
              <a:avLst/>
              <a:gdLst/>
              <a:ahLst/>
              <a:cxnLst/>
              <a:rect l="l" t="t" r="r" b="b"/>
              <a:pathLst>
                <a:path w="820" h="1104" extrusionOk="0">
                  <a:moveTo>
                    <a:pt x="441" y="0"/>
                  </a:moveTo>
                  <a:cubicBezTo>
                    <a:pt x="221" y="0"/>
                    <a:pt x="0" y="221"/>
                    <a:pt x="0" y="410"/>
                  </a:cubicBezTo>
                  <a:lnTo>
                    <a:pt x="0" y="1103"/>
                  </a:lnTo>
                  <a:lnTo>
                    <a:pt x="819" y="1103"/>
                  </a:lnTo>
                  <a:lnTo>
                    <a:pt x="819" y="410"/>
                  </a:lnTo>
                  <a:cubicBezTo>
                    <a:pt x="819" y="158"/>
                    <a:pt x="630"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3" name="Google Shape;6723;p72"/>
          <p:cNvGrpSpPr/>
          <p:nvPr/>
        </p:nvGrpSpPr>
        <p:grpSpPr>
          <a:xfrm>
            <a:off x="1737509" y="2749028"/>
            <a:ext cx="359075" cy="358844"/>
            <a:chOff x="-61351725" y="3372400"/>
            <a:chExt cx="310350" cy="310150"/>
          </a:xfrm>
        </p:grpSpPr>
        <p:sp>
          <p:nvSpPr>
            <p:cNvPr id="6724" name="Google Shape;6724;p72"/>
            <p:cNvSpPr/>
            <p:nvPr/>
          </p:nvSpPr>
          <p:spPr>
            <a:xfrm>
              <a:off x="-61165050" y="355887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599" y="788"/>
                    <a:pt x="788" y="630"/>
                    <a:pt x="788" y="410"/>
                  </a:cubicBezTo>
                  <a:cubicBezTo>
                    <a:pt x="788" y="189"/>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2"/>
            <p:cNvSpPr/>
            <p:nvPr/>
          </p:nvSpPr>
          <p:spPr>
            <a:xfrm>
              <a:off x="-61247750" y="3476175"/>
              <a:ext cx="19700" cy="19700"/>
            </a:xfrm>
            <a:custGeom>
              <a:avLst/>
              <a:gdLst/>
              <a:ahLst/>
              <a:cxnLst/>
              <a:rect l="l" t="t" r="r" b="b"/>
              <a:pathLst>
                <a:path w="788" h="788" extrusionOk="0">
                  <a:moveTo>
                    <a:pt x="378" y="0"/>
                  </a:moveTo>
                  <a:cubicBezTo>
                    <a:pt x="189" y="0"/>
                    <a:pt x="0" y="189"/>
                    <a:pt x="0" y="410"/>
                  </a:cubicBezTo>
                  <a:cubicBezTo>
                    <a:pt x="0" y="630"/>
                    <a:pt x="189"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2"/>
            <p:cNvSpPr/>
            <p:nvPr/>
          </p:nvSpPr>
          <p:spPr>
            <a:xfrm>
              <a:off x="-61351725" y="3372400"/>
              <a:ext cx="310350" cy="310150"/>
            </a:xfrm>
            <a:custGeom>
              <a:avLst/>
              <a:gdLst/>
              <a:ahLst/>
              <a:cxnLst/>
              <a:rect l="l" t="t" r="r" b="b"/>
              <a:pathLst>
                <a:path w="12414" h="12406" extrusionOk="0">
                  <a:moveTo>
                    <a:pt x="4506" y="3332"/>
                  </a:moveTo>
                  <a:cubicBezTo>
                    <a:pt x="5167" y="3332"/>
                    <a:pt x="5735" y="3867"/>
                    <a:pt x="5735" y="4561"/>
                  </a:cubicBezTo>
                  <a:cubicBezTo>
                    <a:pt x="5735" y="5222"/>
                    <a:pt x="5199" y="5821"/>
                    <a:pt x="4506" y="5821"/>
                  </a:cubicBezTo>
                  <a:cubicBezTo>
                    <a:pt x="3844" y="5821"/>
                    <a:pt x="3277" y="5254"/>
                    <a:pt x="3277" y="4561"/>
                  </a:cubicBezTo>
                  <a:cubicBezTo>
                    <a:pt x="3277" y="3899"/>
                    <a:pt x="3844" y="3332"/>
                    <a:pt x="4506" y="3332"/>
                  </a:cubicBezTo>
                  <a:close/>
                  <a:moveTo>
                    <a:pt x="7830" y="4159"/>
                  </a:moveTo>
                  <a:cubicBezTo>
                    <a:pt x="7940" y="4159"/>
                    <a:pt x="8050" y="4198"/>
                    <a:pt x="8129" y="4277"/>
                  </a:cubicBezTo>
                  <a:cubicBezTo>
                    <a:pt x="8286" y="4435"/>
                    <a:pt x="8286" y="4718"/>
                    <a:pt x="8129" y="4876"/>
                  </a:cubicBezTo>
                  <a:lnTo>
                    <a:pt x="4821" y="8184"/>
                  </a:lnTo>
                  <a:cubicBezTo>
                    <a:pt x="4742" y="8262"/>
                    <a:pt x="4632" y="8302"/>
                    <a:pt x="4522" y="8302"/>
                  </a:cubicBezTo>
                  <a:cubicBezTo>
                    <a:pt x="4411" y="8302"/>
                    <a:pt x="4301" y="8262"/>
                    <a:pt x="4222" y="8184"/>
                  </a:cubicBezTo>
                  <a:cubicBezTo>
                    <a:pt x="4065" y="8026"/>
                    <a:pt x="4065" y="7743"/>
                    <a:pt x="4222" y="7585"/>
                  </a:cubicBezTo>
                  <a:lnTo>
                    <a:pt x="7530" y="4277"/>
                  </a:lnTo>
                  <a:cubicBezTo>
                    <a:pt x="7609" y="4198"/>
                    <a:pt x="7719" y="4159"/>
                    <a:pt x="7830" y="4159"/>
                  </a:cubicBezTo>
                  <a:close/>
                  <a:moveTo>
                    <a:pt x="7845" y="6640"/>
                  </a:moveTo>
                  <a:cubicBezTo>
                    <a:pt x="8539" y="6640"/>
                    <a:pt x="9074" y="7175"/>
                    <a:pt x="9074" y="7900"/>
                  </a:cubicBezTo>
                  <a:cubicBezTo>
                    <a:pt x="9074" y="8562"/>
                    <a:pt x="8539" y="9129"/>
                    <a:pt x="7845" y="9129"/>
                  </a:cubicBezTo>
                  <a:cubicBezTo>
                    <a:pt x="7184" y="9129"/>
                    <a:pt x="6648" y="8562"/>
                    <a:pt x="6648" y="7900"/>
                  </a:cubicBezTo>
                  <a:cubicBezTo>
                    <a:pt x="6648" y="7239"/>
                    <a:pt x="7184" y="6640"/>
                    <a:pt x="7845" y="6640"/>
                  </a:cubicBezTo>
                  <a:close/>
                  <a:moveTo>
                    <a:pt x="6223" y="0"/>
                  </a:moveTo>
                  <a:cubicBezTo>
                    <a:pt x="6113" y="0"/>
                    <a:pt x="6002" y="40"/>
                    <a:pt x="5924" y="118"/>
                  </a:cubicBezTo>
                  <a:lnTo>
                    <a:pt x="4348" y="1694"/>
                  </a:lnTo>
                  <a:lnTo>
                    <a:pt x="2111" y="1694"/>
                  </a:lnTo>
                  <a:cubicBezTo>
                    <a:pt x="1859" y="1694"/>
                    <a:pt x="1702" y="1883"/>
                    <a:pt x="1702" y="2072"/>
                  </a:cubicBezTo>
                  <a:lnTo>
                    <a:pt x="1702" y="4309"/>
                  </a:lnTo>
                  <a:lnTo>
                    <a:pt x="127" y="5884"/>
                  </a:lnTo>
                  <a:cubicBezTo>
                    <a:pt x="1" y="6041"/>
                    <a:pt x="1" y="6325"/>
                    <a:pt x="127" y="6482"/>
                  </a:cubicBezTo>
                  <a:lnTo>
                    <a:pt x="1702" y="8058"/>
                  </a:lnTo>
                  <a:lnTo>
                    <a:pt x="1702" y="10294"/>
                  </a:lnTo>
                  <a:cubicBezTo>
                    <a:pt x="1702" y="10547"/>
                    <a:pt x="1922" y="10704"/>
                    <a:pt x="2111" y="10704"/>
                  </a:cubicBezTo>
                  <a:lnTo>
                    <a:pt x="4348" y="10704"/>
                  </a:lnTo>
                  <a:lnTo>
                    <a:pt x="5924" y="12279"/>
                  </a:lnTo>
                  <a:cubicBezTo>
                    <a:pt x="6018" y="12342"/>
                    <a:pt x="6113" y="12405"/>
                    <a:pt x="6207" y="12405"/>
                  </a:cubicBezTo>
                  <a:cubicBezTo>
                    <a:pt x="6333" y="12405"/>
                    <a:pt x="6396" y="12342"/>
                    <a:pt x="6491" y="12279"/>
                  </a:cubicBezTo>
                  <a:lnTo>
                    <a:pt x="8066" y="10704"/>
                  </a:lnTo>
                  <a:lnTo>
                    <a:pt x="10303" y="10704"/>
                  </a:lnTo>
                  <a:cubicBezTo>
                    <a:pt x="10523" y="10704"/>
                    <a:pt x="10744" y="10515"/>
                    <a:pt x="10744" y="10294"/>
                  </a:cubicBezTo>
                  <a:lnTo>
                    <a:pt x="10744" y="8058"/>
                  </a:lnTo>
                  <a:lnTo>
                    <a:pt x="12319" y="6482"/>
                  </a:lnTo>
                  <a:cubicBezTo>
                    <a:pt x="12382" y="6419"/>
                    <a:pt x="12414" y="6293"/>
                    <a:pt x="12414" y="6199"/>
                  </a:cubicBezTo>
                  <a:cubicBezTo>
                    <a:pt x="12414" y="6104"/>
                    <a:pt x="12382" y="6010"/>
                    <a:pt x="12319" y="5947"/>
                  </a:cubicBezTo>
                  <a:lnTo>
                    <a:pt x="10744" y="4372"/>
                  </a:lnTo>
                  <a:lnTo>
                    <a:pt x="10744" y="2103"/>
                  </a:lnTo>
                  <a:cubicBezTo>
                    <a:pt x="10744" y="1851"/>
                    <a:pt x="10523" y="1694"/>
                    <a:pt x="10334" y="1694"/>
                  </a:cubicBezTo>
                  <a:lnTo>
                    <a:pt x="8097" y="1694"/>
                  </a:lnTo>
                  <a:lnTo>
                    <a:pt x="6522" y="118"/>
                  </a:lnTo>
                  <a:cubicBezTo>
                    <a:pt x="6443" y="40"/>
                    <a:pt x="6333" y="0"/>
                    <a:pt x="62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7" name="Google Shape;6727;p72"/>
          <p:cNvGrpSpPr/>
          <p:nvPr/>
        </p:nvGrpSpPr>
        <p:grpSpPr>
          <a:xfrm>
            <a:off x="1733864" y="3212084"/>
            <a:ext cx="366364" cy="333534"/>
            <a:chOff x="-61354875" y="3751050"/>
            <a:chExt cx="316650" cy="288275"/>
          </a:xfrm>
        </p:grpSpPr>
        <p:sp>
          <p:nvSpPr>
            <p:cNvPr id="6728" name="Google Shape;6728;p72"/>
            <p:cNvSpPr/>
            <p:nvPr/>
          </p:nvSpPr>
          <p:spPr>
            <a:xfrm>
              <a:off x="-61200500" y="3875475"/>
              <a:ext cx="41775" cy="41000"/>
            </a:xfrm>
            <a:custGeom>
              <a:avLst/>
              <a:gdLst/>
              <a:ahLst/>
              <a:cxnLst/>
              <a:rect l="l" t="t" r="r" b="b"/>
              <a:pathLst>
                <a:path w="1671" h="1640" extrusionOk="0">
                  <a:moveTo>
                    <a:pt x="820" y="1"/>
                  </a:moveTo>
                  <a:cubicBezTo>
                    <a:pt x="379" y="1"/>
                    <a:pt x="1" y="348"/>
                    <a:pt x="1" y="820"/>
                  </a:cubicBezTo>
                  <a:cubicBezTo>
                    <a:pt x="1" y="1261"/>
                    <a:pt x="379" y="1639"/>
                    <a:pt x="820" y="1639"/>
                  </a:cubicBezTo>
                  <a:cubicBezTo>
                    <a:pt x="1292" y="1639"/>
                    <a:pt x="1670" y="1261"/>
                    <a:pt x="1670" y="820"/>
                  </a:cubicBezTo>
                  <a:cubicBezTo>
                    <a:pt x="1670" y="348"/>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2"/>
            <p:cNvSpPr/>
            <p:nvPr/>
          </p:nvSpPr>
          <p:spPr>
            <a:xfrm>
              <a:off x="-61293425" y="3813275"/>
              <a:ext cx="192975" cy="165425"/>
            </a:xfrm>
            <a:custGeom>
              <a:avLst/>
              <a:gdLst/>
              <a:ahLst/>
              <a:cxnLst/>
              <a:rect l="l" t="t" r="r" b="b"/>
              <a:pathLst>
                <a:path w="7719" h="6617" extrusionOk="0">
                  <a:moveTo>
                    <a:pt x="6191" y="1260"/>
                  </a:moveTo>
                  <a:cubicBezTo>
                    <a:pt x="6301" y="1260"/>
                    <a:pt x="6411" y="1292"/>
                    <a:pt x="6490" y="1355"/>
                  </a:cubicBezTo>
                  <a:cubicBezTo>
                    <a:pt x="6648" y="1512"/>
                    <a:pt x="6648" y="1796"/>
                    <a:pt x="6490" y="1953"/>
                  </a:cubicBezTo>
                  <a:lnTo>
                    <a:pt x="5954" y="2457"/>
                  </a:lnTo>
                  <a:cubicBezTo>
                    <a:pt x="6112" y="2709"/>
                    <a:pt x="6207" y="3025"/>
                    <a:pt x="6207" y="3308"/>
                  </a:cubicBezTo>
                  <a:cubicBezTo>
                    <a:pt x="6207" y="3592"/>
                    <a:pt x="6112" y="3907"/>
                    <a:pt x="5954" y="4127"/>
                  </a:cubicBezTo>
                  <a:lnTo>
                    <a:pt x="6490" y="4631"/>
                  </a:lnTo>
                  <a:cubicBezTo>
                    <a:pt x="6648" y="4789"/>
                    <a:pt x="6648" y="5072"/>
                    <a:pt x="6490" y="5230"/>
                  </a:cubicBezTo>
                  <a:cubicBezTo>
                    <a:pt x="6396" y="5324"/>
                    <a:pt x="6270" y="5356"/>
                    <a:pt x="6207" y="5356"/>
                  </a:cubicBezTo>
                  <a:cubicBezTo>
                    <a:pt x="6080" y="5356"/>
                    <a:pt x="6017" y="5324"/>
                    <a:pt x="5923" y="5230"/>
                  </a:cubicBezTo>
                  <a:lnTo>
                    <a:pt x="5419" y="4726"/>
                  </a:lnTo>
                  <a:cubicBezTo>
                    <a:pt x="5167" y="4883"/>
                    <a:pt x="4852" y="4946"/>
                    <a:pt x="4600" y="4946"/>
                  </a:cubicBezTo>
                  <a:cubicBezTo>
                    <a:pt x="4316" y="4946"/>
                    <a:pt x="4001" y="4883"/>
                    <a:pt x="3749" y="4726"/>
                  </a:cubicBezTo>
                  <a:lnTo>
                    <a:pt x="3245" y="5230"/>
                  </a:lnTo>
                  <a:cubicBezTo>
                    <a:pt x="3182" y="5324"/>
                    <a:pt x="3056" y="5356"/>
                    <a:pt x="2961" y="5356"/>
                  </a:cubicBezTo>
                  <a:cubicBezTo>
                    <a:pt x="2835" y="5356"/>
                    <a:pt x="2772" y="5324"/>
                    <a:pt x="2709" y="5230"/>
                  </a:cubicBezTo>
                  <a:cubicBezTo>
                    <a:pt x="2552" y="5072"/>
                    <a:pt x="2552" y="4789"/>
                    <a:pt x="2709" y="4631"/>
                  </a:cubicBezTo>
                  <a:lnTo>
                    <a:pt x="3214" y="4127"/>
                  </a:lnTo>
                  <a:cubicBezTo>
                    <a:pt x="2961" y="3907"/>
                    <a:pt x="2898" y="3623"/>
                    <a:pt x="2898" y="3308"/>
                  </a:cubicBezTo>
                  <a:cubicBezTo>
                    <a:pt x="2898" y="2993"/>
                    <a:pt x="2961" y="2709"/>
                    <a:pt x="3119" y="2457"/>
                  </a:cubicBezTo>
                  <a:lnTo>
                    <a:pt x="2615" y="1953"/>
                  </a:lnTo>
                  <a:cubicBezTo>
                    <a:pt x="2457" y="1796"/>
                    <a:pt x="2457" y="1512"/>
                    <a:pt x="2615" y="1355"/>
                  </a:cubicBezTo>
                  <a:cubicBezTo>
                    <a:pt x="2694" y="1292"/>
                    <a:pt x="2804" y="1260"/>
                    <a:pt x="2914" y="1260"/>
                  </a:cubicBezTo>
                  <a:cubicBezTo>
                    <a:pt x="3025" y="1260"/>
                    <a:pt x="3135" y="1292"/>
                    <a:pt x="3214" y="1355"/>
                  </a:cubicBezTo>
                  <a:lnTo>
                    <a:pt x="3718" y="1890"/>
                  </a:lnTo>
                  <a:cubicBezTo>
                    <a:pt x="3970" y="1733"/>
                    <a:pt x="4253" y="1638"/>
                    <a:pt x="4537" y="1638"/>
                  </a:cubicBezTo>
                  <a:cubicBezTo>
                    <a:pt x="4820" y="1638"/>
                    <a:pt x="5135" y="1733"/>
                    <a:pt x="5387" y="1890"/>
                  </a:cubicBezTo>
                  <a:lnTo>
                    <a:pt x="5891" y="1355"/>
                  </a:lnTo>
                  <a:cubicBezTo>
                    <a:pt x="5970" y="1292"/>
                    <a:pt x="6080" y="1260"/>
                    <a:pt x="6191" y="1260"/>
                  </a:cubicBezTo>
                  <a:close/>
                  <a:moveTo>
                    <a:pt x="0" y="0"/>
                  </a:moveTo>
                  <a:lnTo>
                    <a:pt x="0" y="1260"/>
                  </a:lnTo>
                  <a:lnTo>
                    <a:pt x="851" y="1260"/>
                  </a:lnTo>
                  <a:cubicBezTo>
                    <a:pt x="1071" y="1260"/>
                    <a:pt x="1260" y="1449"/>
                    <a:pt x="1260" y="1638"/>
                  </a:cubicBezTo>
                  <a:cubicBezTo>
                    <a:pt x="1260" y="1859"/>
                    <a:pt x="1071" y="2079"/>
                    <a:pt x="851" y="2079"/>
                  </a:cubicBezTo>
                  <a:lnTo>
                    <a:pt x="0" y="2079"/>
                  </a:lnTo>
                  <a:lnTo>
                    <a:pt x="0" y="4568"/>
                  </a:lnTo>
                  <a:lnTo>
                    <a:pt x="851" y="4568"/>
                  </a:lnTo>
                  <a:cubicBezTo>
                    <a:pt x="1071" y="4568"/>
                    <a:pt x="1260" y="4757"/>
                    <a:pt x="1260" y="4946"/>
                  </a:cubicBezTo>
                  <a:cubicBezTo>
                    <a:pt x="1260" y="5198"/>
                    <a:pt x="1071" y="5387"/>
                    <a:pt x="851" y="5387"/>
                  </a:cubicBezTo>
                  <a:lnTo>
                    <a:pt x="0" y="5387"/>
                  </a:lnTo>
                  <a:lnTo>
                    <a:pt x="0" y="6616"/>
                  </a:lnTo>
                  <a:lnTo>
                    <a:pt x="7719" y="6616"/>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2"/>
            <p:cNvSpPr/>
            <p:nvPr/>
          </p:nvSpPr>
          <p:spPr>
            <a:xfrm>
              <a:off x="-61354875" y="3751050"/>
              <a:ext cx="316650" cy="288275"/>
            </a:xfrm>
            <a:custGeom>
              <a:avLst/>
              <a:gdLst/>
              <a:ahLst/>
              <a:cxnLst/>
              <a:rect l="l" t="t" r="r" b="b"/>
              <a:pathLst>
                <a:path w="12666" h="11531" extrusionOk="0">
                  <a:moveTo>
                    <a:pt x="10618" y="1701"/>
                  </a:moveTo>
                  <a:cubicBezTo>
                    <a:pt x="10870" y="1701"/>
                    <a:pt x="11027" y="1890"/>
                    <a:pt x="11027" y="2080"/>
                  </a:cubicBezTo>
                  <a:lnTo>
                    <a:pt x="11027" y="9546"/>
                  </a:lnTo>
                  <a:cubicBezTo>
                    <a:pt x="11027" y="9767"/>
                    <a:pt x="10807" y="9956"/>
                    <a:pt x="10618" y="9956"/>
                  </a:cubicBezTo>
                  <a:lnTo>
                    <a:pt x="2080" y="9956"/>
                  </a:lnTo>
                  <a:cubicBezTo>
                    <a:pt x="1828" y="9956"/>
                    <a:pt x="1670" y="9767"/>
                    <a:pt x="1670" y="9546"/>
                  </a:cubicBezTo>
                  <a:lnTo>
                    <a:pt x="1670" y="2080"/>
                  </a:lnTo>
                  <a:cubicBezTo>
                    <a:pt x="1670" y="1859"/>
                    <a:pt x="1891" y="1701"/>
                    <a:pt x="2080" y="1701"/>
                  </a:cubicBezTo>
                  <a:close/>
                  <a:moveTo>
                    <a:pt x="1198" y="0"/>
                  </a:moveTo>
                  <a:cubicBezTo>
                    <a:pt x="536" y="0"/>
                    <a:pt x="1" y="567"/>
                    <a:pt x="1" y="1229"/>
                  </a:cubicBezTo>
                  <a:lnTo>
                    <a:pt x="1" y="10334"/>
                  </a:lnTo>
                  <a:cubicBezTo>
                    <a:pt x="1" y="10995"/>
                    <a:pt x="536" y="11531"/>
                    <a:pt x="1198" y="11531"/>
                  </a:cubicBezTo>
                  <a:lnTo>
                    <a:pt x="11405" y="11531"/>
                  </a:lnTo>
                  <a:cubicBezTo>
                    <a:pt x="12067" y="11531"/>
                    <a:pt x="12666" y="10995"/>
                    <a:pt x="12666" y="10334"/>
                  </a:cubicBezTo>
                  <a:lnTo>
                    <a:pt x="12666" y="1260"/>
                  </a:lnTo>
                  <a:cubicBezTo>
                    <a:pt x="12666" y="567"/>
                    <a:pt x="12130"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1" name="Google Shape;6731;p72"/>
          <p:cNvGrpSpPr/>
          <p:nvPr/>
        </p:nvGrpSpPr>
        <p:grpSpPr>
          <a:xfrm>
            <a:off x="1733864" y="3653724"/>
            <a:ext cx="366364" cy="367290"/>
            <a:chOff x="-61354875" y="4101525"/>
            <a:chExt cx="316650" cy="317450"/>
          </a:xfrm>
        </p:grpSpPr>
        <p:sp>
          <p:nvSpPr>
            <p:cNvPr id="6732" name="Google Shape;6732;p72"/>
            <p:cNvSpPr/>
            <p:nvPr/>
          </p:nvSpPr>
          <p:spPr>
            <a:xfrm>
              <a:off x="-61172925" y="4240150"/>
              <a:ext cx="62225" cy="145750"/>
            </a:xfrm>
            <a:custGeom>
              <a:avLst/>
              <a:gdLst/>
              <a:ahLst/>
              <a:cxnLst/>
              <a:rect l="l" t="t" r="r" b="b"/>
              <a:pathLst>
                <a:path w="2489" h="5830" extrusionOk="0">
                  <a:moveTo>
                    <a:pt x="1260" y="1"/>
                  </a:moveTo>
                  <a:cubicBezTo>
                    <a:pt x="1071" y="1"/>
                    <a:pt x="819" y="221"/>
                    <a:pt x="819" y="442"/>
                  </a:cubicBezTo>
                  <a:lnTo>
                    <a:pt x="819" y="725"/>
                  </a:lnTo>
                  <a:cubicBezTo>
                    <a:pt x="347" y="883"/>
                    <a:pt x="0" y="1355"/>
                    <a:pt x="0" y="1891"/>
                  </a:cubicBezTo>
                  <a:cubicBezTo>
                    <a:pt x="0" y="2584"/>
                    <a:pt x="536" y="2962"/>
                    <a:pt x="977" y="3277"/>
                  </a:cubicBezTo>
                  <a:cubicBezTo>
                    <a:pt x="1292" y="3529"/>
                    <a:pt x="1639" y="3750"/>
                    <a:pt x="1639" y="4002"/>
                  </a:cubicBezTo>
                  <a:cubicBezTo>
                    <a:pt x="1639" y="4222"/>
                    <a:pt x="1450" y="4411"/>
                    <a:pt x="1260" y="4411"/>
                  </a:cubicBezTo>
                  <a:cubicBezTo>
                    <a:pt x="1008" y="4411"/>
                    <a:pt x="819" y="4222"/>
                    <a:pt x="819" y="4002"/>
                  </a:cubicBezTo>
                  <a:cubicBezTo>
                    <a:pt x="819" y="3750"/>
                    <a:pt x="630" y="3592"/>
                    <a:pt x="441" y="3592"/>
                  </a:cubicBezTo>
                  <a:cubicBezTo>
                    <a:pt x="221" y="3592"/>
                    <a:pt x="0" y="3781"/>
                    <a:pt x="0" y="4002"/>
                  </a:cubicBezTo>
                  <a:cubicBezTo>
                    <a:pt x="0" y="4537"/>
                    <a:pt x="347" y="4978"/>
                    <a:pt x="819" y="5167"/>
                  </a:cubicBezTo>
                  <a:lnTo>
                    <a:pt x="819" y="5451"/>
                  </a:lnTo>
                  <a:cubicBezTo>
                    <a:pt x="819" y="5672"/>
                    <a:pt x="1008" y="5829"/>
                    <a:pt x="1260" y="5829"/>
                  </a:cubicBezTo>
                  <a:cubicBezTo>
                    <a:pt x="1481" y="5829"/>
                    <a:pt x="1639" y="5640"/>
                    <a:pt x="1639" y="5451"/>
                  </a:cubicBezTo>
                  <a:lnTo>
                    <a:pt x="1639" y="5167"/>
                  </a:lnTo>
                  <a:cubicBezTo>
                    <a:pt x="2111" y="5010"/>
                    <a:pt x="2489" y="4537"/>
                    <a:pt x="2489" y="4002"/>
                  </a:cubicBezTo>
                  <a:cubicBezTo>
                    <a:pt x="2489" y="3309"/>
                    <a:pt x="1922" y="2931"/>
                    <a:pt x="1481" y="2616"/>
                  </a:cubicBezTo>
                  <a:cubicBezTo>
                    <a:pt x="1166" y="2364"/>
                    <a:pt x="819" y="2143"/>
                    <a:pt x="819" y="1891"/>
                  </a:cubicBezTo>
                  <a:cubicBezTo>
                    <a:pt x="819" y="1702"/>
                    <a:pt x="1008" y="1513"/>
                    <a:pt x="1260" y="1513"/>
                  </a:cubicBezTo>
                  <a:cubicBezTo>
                    <a:pt x="1513" y="1513"/>
                    <a:pt x="1639" y="1702"/>
                    <a:pt x="1639" y="1891"/>
                  </a:cubicBezTo>
                  <a:cubicBezTo>
                    <a:pt x="1639" y="2143"/>
                    <a:pt x="1859" y="2332"/>
                    <a:pt x="2048" y="2332"/>
                  </a:cubicBezTo>
                  <a:cubicBezTo>
                    <a:pt x="2300" y="2332"/>
                    <a:pt x="2489" y="2143"/>
                    <a:pt x="2489" y="1891"/>
                  </a:cubicBezTo>
                  <a:cubicBezTo>
                    <a:pt x="2489" y="1355"/>
                    <a:pt x="2143" y="914"/>
                    <a:pt x="1639" y="725"/>
                  </a:cubicBezTo>
                  <a:lnTo>
                    <a:pt x="1639" y="442"/>
                  </a:lnTo>
                  <a:cubicBezTo>
                    <a:pt x="1639" y="221"/>
                    <a:pt x="1450"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2"/>
            <p:cNvSpPr/>
            <p:nvPr/>
          </p:nvSpPr>
          <p:spPr>
            <a:xfrm>
              <a:off x="-61354875" y="4101525"/>
              <a:ext cx="316650" cy="317450"/>
            </a:xfrm>
            <a:custGeom>
              <a:avLst/>
              <a:gdLst/>
              <a:ahLst/>
              <a:cxnLst/>
              <a:rect l="l" t="t" r="r" b="b"/>
              <a:pathLst>
                <a:path w="12666" h="12698" extrusionOk="0">
                  <a:moveTo>
                    <a:pt x="11405" y="1608"/>
                  </a:moveTo>
                  <a:cubicBezTo>
                    <a:pt x="11657" y="1608"/>
                    <a:pt x="11847" y="1797"/>
                    <a:pt x="11847" y="2049"/>
                  </a:cubicBezTo>
                  <a:lnTo>
                    <a:pt x="11847" y="3277"/>
                  </a:lnTo>
                  <a:lnTo>
                    <a:pt x="820" y="3277"/>
                  </a:lnTo>
                  <a:lnTo>
                    <a:pt x="820" y="2049"/>
                  </a:lnTo>
                  <a:cubicBezTo>
                    <a:pt x="820" y="1797"/>
                    <a:pt x="1009" y="1608"/>
                    <a:pt x="1198" y="1608"/>
                  </a:cubicBezTo>
                  <a:lnTo>
                    <a:pt x="1639" y="1608"/>
                  </a:lnTo>
                  <a:lnTo>
                    <a:pt x="1639" y="2049"/>
                  </a:lnTo>
                  <a:cubicBezTo>
                    <a:pt x="1639" y="2301"/>
                    <a:pt x="1828" y="2458"/>
                    <a:pt x="2048" y="2458"/>
                  </a:cubicBezTo>
                  <a:cubicBezTo>
                    <a:pt x="2237" y="2458"/>
                    <a:pt x="2427" y="2238"/>
                    <a:pt x="2427" y="2049"/>
                  </a:cubicBezTo>
                  <a:lnTo>
                    <a:pt x="2427" y="1608"/>
                  </a:lnTo>
                  <a:lnTo>
                    <a:pt x="5892" y="1608"/>
                  </a:lnTo>
                  <a:lnTo>
                    <a:pt x="5892" y="2049"/>
                  </a:lnTo>
                  <a:cubicBezTo>
                    <a:pt x="5892" y="2301"/>
                    <a:pt x="6081" y="2458"/>
                    <a:pt x="6333" y="2458"/>
                  </a:cubicBezTo>
                  <a:cubicBezTo>
                    <a:pt x="6585" y="2458"/>
                    <a:pt x="6743" y="2238"/>
                    <a:pt x="6743" y="2049"/>
                  </a:cubicBezTo>
                  <a:lnTo>
                    <a:pt x="6743" y="1608"/>
                  </a:lnTo>
                  <a:lnTo>
                    <a:pt x="10208" y="1608"/>
                  </a:lnTo>
                  <a:lnTo>
                    <a:pt x="10208" y="2049"/>
                  </a:lnTo>
                  <a:cubicBezTo>
                    <a:pt x="10208" y="2301"/>
                    <a:pt x="10397" y="2458"/>
                    <a:pt x="10618" y="2458"/>
                  </a:cubicBezTo>
                  <a:cubicBezTo>
                    <a:pt x="10870" y="2458"/>
                    <a:pt x="11027" y="2238"/>
                    <a:pt x="11027" y="2049"/>
                  </a:cubicBezTo>
                  <a:lnTo>
                    <a:pt x="11027" y="1608"/>
                  </a:lnTo>
                  <a:close/>
                  <a:moveTo>
                    <a:pt x="2868" y="4916"/>
                  </a:moveTo>
                  <a:cubicBezTo>
                    <a:pt x="3088" y="4916"/>
                    <a:pt x="3246" y="5136"/>
                    <a:pt x="3246" y="5357"/>
                  </a:cubicBezTo>
                  <a:cubicBezTo>
                    <a:pt x="3309" y="5546"/>
                    <a:pt x="3088" y="5766"/>
                    <a:pt x="2868" y="5766"/>
                  </a:cubicBezTo>
                  <a:lnTo>
                    <a:pt x="2048" y="5766"/>
                  </a:lnTo>
                  <a:cubicBezTo>
                    <a:pt x="1796" y="5766"/>
                    <a:pt x="1639" y="5546"/>
                    <a:pt x="1639" y="5357"/>
                  </a:cubicBezTo>
                  <a:cubicBezTo>
                    <a:pt x="1639" y="5136"/>
                    <a:pt x="1828" y="4916"/>
                    <a:pt x="2048" y="4916"/>
                  </a:cubicBezTo>
                  <a:close/>
                  <a:moveTo>
                    <a:pt x="2868" y="6585"/>
                  </a:moveTo>
                  <a:cubicBezTo>
                    <a:pt x="3088" y="6585"/>
                    <a:pt x="3246" y="6774"/>
                    <a:pt x="3246" y="6963"/>
                  </a:cubicBezTo>
                  <a:cubicBezTo>
                    <a:pt x="3309" y="7215"/>
                    <a:pt x="3088" y="7404"/>
                    <a:pt x="2868" y="7404"/>
                  </a:cubicBezTo>
                  <a:lnTo>
                    <a:pt x="2048" y="7404"/>
                  </a:lnTo>
                  <a:cubicBezTo>
                    <a:pt x="1796" y="7404"/>
                    <a:pt x="1639" y="7215"/>
                    <a:pt x="1639" y="6963"/>
                  </a:cubicBezTo>
                  <a:cubicBezTo>
                    <a:pt x="1639" y="6743"/>
                    <a:pt x="1828" y="6585"/>
                    <a:pt x="2048" y="6585"/>
                  </a:cubicBezTo>
                  <a:close/>
                  <a:moveTo>
                    <a:pt x="2868" y="8287"/>
                  </a:moveTo>
                  <a:cubicBezTo>
                    <a:pt x="3088" y="8287"/>
                    <a:pt x="3246" y="8476"/>
                    <a:pt x="3246" y="8665"/>
                  </a:cubicBezTo>
                  <a:cubicBezTo>
                    <a:pt x="3309" y="8854"/>
                    <a:pt x="3088" y="9074"/>
                    <a:pt x="2868" y="9074"/>
                  </a:cubicBezTo>
                  <a:lnTo>
                    <a:pt x="2048" y="9074"/>
                  </a:lnTo>
                  <a:cubicBezTo>
                    <a:pt x="1796" y="9074"/>
                    <a:pt x="1639" y="8854"/>
                    <a:pt x="1639" y="8665"/>
                  </a:cubicBezTo>
                  <a:cubicBezTo>
                    <a:pt x="1639" y="8413"/>
                    <a:pt x="1828" y="8287"/>
                    <a:pt x="2048" y="8287"/>
                  </a:cubicBezTo>
                  <a:close/>
                  <a:moveTo>
                    <a:pt x="8538" y="5199"/>
                  </a:moveTo>
                  <a:cubicBezTo>
                    <a:pt x="10366" y="5199"/>
                    <a:pt x="11847" y="6711"/>
                    <a:pt x="11847" y="8507"/>
                  </a:cubicBezTo>
                  <a:cubicBezTo>
                    <a:pt x="11847" y="10334"/>
                    <a:pt x="10334" y="11815"/>
                    <a:pt x="8538" y="11815"/>
                  </a:cubicBezTo>
                  <a:cubicBezTo>
                    <a:pt x="6711" y="11815"/>
                    <a:pt x="5230" y="10334"/>
                    <a:pt x="5230" y="8507"/>
                  </a:cubicBezTo>
                  <a:cubicBezTo>
                    <a:pt x="5230" y="6711"/>
                    <a:pt x="6743" y="5199"/>
                    <a:pt x="8538" y="5199"/>
                  </a:cubicBezTo>
                  <a:close/>
                  <a:moveTo>
                    <a:pt x="2048" y="1"/>
                  </a:moveTo>
                  <a:cubicBezTo>
                    <a:pt x="1828" y="1"/>
                    <a:pt x="1639" y="190"/>
                    <a:pt x="1639" y="410"/>
                  </a:cubicBezTo>
                  <a:lnTo>
                    <a:pt x="1639" y="788"/>
                  </a:lnTo>
                  <a:lnTo>
                    <a:pt x="1198" y="788"/>
                  </a:lnTo>
                  <a:cubicBezTo>
                    <a:pt x="536" y="788"/>
                    <a:pt x="1" y="1324"/>
                    <a:pt x="1" y="2049"/>
                  </a:cubicBezTo>
                  <a:lnTo>
                    <a:pt x="1" y="9767"/>
                  </a:lnTo>
                  <a:cubicBezTo>
                    <a:pt x="1" y="10429"/>
                    <a:pt x="536" y="11028"/>
                    <a:pt x="1198" y="11028"/>
                  </a:cubicBezTo>
                  <a:lnTo>
                    <a:pt x="5230" y="11028"/>
                  </a:lnTo>
                  <a:cubicBezTo>
                    <a:pt x="5987" y="12004"/>
                    <a:pt x="7184" y="12697"/>
                    <a:pt x="8538" y="12697"/>
                  </a:cubicBezTo>
                  <a:cubicBezTo>
                    <a:pt x="10807" y="12697"/>
                    <a:pt x="12666" y="10838"/>
                    <a:pt x="12666" y="8539"/>
                  </a:cubicBezTo>
                  <a:lnTo>
                    <a:pt x="12666" y="2080"/>
                  </a:lnTo>
                  <a:cubicBezTo>
                    <a:pt x="12666" y="1356"/>
                    <a:pt x="12130" y="788"/>
                    <a:pt x="11405" y="788"/>
                  </a:cubicBezTo>
                  <a:lnTo>
                    <a:pt x="11027" y="788"/>
                  </a:lnTo>
                  <a:lnTo>
                    <a:pt x="11027" y="410"/>
                  </a:lnTo>
                  <a:cubicBezTo>
                    <a:pt x="11027" y="158"/>
                    <a:pt x="10807" y="1"/>
                    <a:pt x="10618" y="1"/>
                  </a:cubicBezTo>
                  <a:cubicBezTo>
                    <a:pt x="10429" y="1"/>
                    <a:pt x="10177" y="190"/>
                    <a:pt x="10177" y="410"/>
                  </a:cubicBezTo>
                  <a:lnTo>
                    <a:pt x="10177" y="788"/>
                  </a:lnTo>
                  <a:lnTo>
                    <a:pt x="6711" y="788"/>
                  </a:lnTo>
                  <a:lnTo>
                    <a:pt x="6711" y="410"/>
                  </a:lnTo>
                  <a:cubicBezTo>
                    <a:pt x="6711" y="158"/>
                    <a:pt x="6522" y="1"/>
                    <a:pt x="6333" y="1"/>
                  </a:cubicBezTo>
                  <a:cubicBezTo>
                    <a:pt x="6144" y="1"/>
                    <a:pt x="5892" y="190"/>
                    <a:pt x="5892" y="410"/>
                  </a:cubicBezTo>
                  <a:lnTo>
                    <a:pt x="5892" y="788"/>
                  </a:lnTo>
                  <a:lnTo>
                    <a:pt x="2427" y="788"/>
                  </a:lnTo>
                  <a:lnTo>
                    <a:pt x="2427" y="410"/>
                  </a:lnTo>
                  <a:cubicBezTo>
                    <a:pt x="2427" y="158"/>
                    <a:pt x="2237"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4" name="Google Shape;6734;p72"/>
          <p:cNvGrpSpPr/>
          <p:nvPr/>
        </p:nvGrpSpPr>
        <p:grpSpPr>
          <a:xfrm>
            <a:off x="3950299" y="2745600"/>
            <a:ext cx="368157" cy="365699"/>
            <a:chOff x="-59470075" y="3308975"/>
            <a:chExt cx="318200" cy="316075"/>
          </a:xfrm>
        </p:grpSpPr>
        <p:sp>
          <p:nvSpPr>
            <p:cNvPr id="6735" name="Google Shape;6735;p72"/>
            <p:cNvSpPr/>
            <p:nvPr/>
          </p:nvSpPr>
          <p:spPr>
            <a:xfrm>
              <a:off x="-59403925" y="3522625"/>
              <a:ext cx="21275" cy="20500"/>
            </a:xfrm>
            <a:custGeom>
              <a:avLst/>
              <a:gdLst/>
              <a:ahLst/>
              <a:cxnLst/>
              <a:rect l="l" t="t" r="r" b="b"/>
              <a:pathLst>
                <a:path w="851" h="820" extrusionOk="0">
                  <a:moveTo>
                    <a:pt x="0" y="1"/>
                  </a:moveTo>
                  <a:lnTo>
                    <a:pt x="0" y="820"/>
                  </a:lnTo>
                  <a:lnTo>
                    <a:pt x="851" y="820"/>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2"/>
            <p:cNvSpPr/>
            <p:nvPr/>
          </p:nvSpPr>
          <p:spPr>
            <a:xfrm>
              <a:off x="-593621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2"/>
            <p:cNvSpPr/>
            <p:nvPr/>
          </p:nvSpPr>
          <p:spPr>
            <a:xfrm>
              <a:off x="-593212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2"/>
            <p:cNvSpPr/>
            <p:nvPr/>
          </p:nvSpPr>
          <p:spPr>
            <a:xfrm>
              <a:off x="-592794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2"/>
            <p:cNvSpPr/>
            <p:nvPr/>
          </p:nvSpPr>
          <p:spPr>
            <a:xfrm>
              <a:off x="-59470075" y="3418825"/>
              <a:ext cx="317425" cy="206225"/>
            </a:xfrm>
            <a:custGeom>
              <a:avLst/>
              <a:gdLst/>
              <a:ahLst/>
              <a:cxnLst/>
              <a:rect l="l" t="t" r="r" b="b"/>
              <a:pathLst>
                <a:path w="12697" h="8249" extrusionOk="0">
                  <a:moveTo>
                    <a:pt x="10523" y="3334"/>
                  </a:moveTo>
                  <a:cubicBezTo>
                    <a:pt x="10775" y="3334"/>
                    <a:pt x="10932" y="3523"/>
                    <a:pt x="10932" y="3775"/>
                  </a:cubicBezTo>
                  <a:lnTo>
                    <a:pt x="10932" y="5413"/>
                  </a:lnTo>
                  <a:cubicBezTo>
                    <a:pt x="10932" y="5665"/>
                    <a:pt x="10712" y="5854"/>
                    <a:pt x="10523" y="5854"/>
                  </a:cubicBezTo>
                  <a:lnTo>
                    <a:pt x="2268" y="5854"/>
                  </a:lnTo>
                  <a:cubicBezTo>
                    <a:pt x="2016" y="5854"/>
                    <a:pt x="1827" y="5665"/>
                    <a:pt x="1827" y="5413"/>
                  </a:cubicBezTo>
                  <a:lnTo>
                    <a:pt x="1827" y="3775"/>
                  </a:lnTo>
                  <a:cubicBezTo>
                    <a:pt x="1827" y="3523"/>
                    <a:pt x="2016" y="3334"/>
                    <a:pt x="2268" y="3334"/>
                  </a:cubicBezTo>
                  <a:close/>
                  <a:moveTo>
                    <a:pt x="2893" y="1"/>
                  </a:moveTo>
                  <a:cubicBezTo>
                    <a:pt x="2822" y="1"/>
                    <a:pt x="2748" y="18"/>
                    <a:pt x="2678" y="57"/>
                  </a:cubicBezTo>
                  <a:lnTo>
                    <a:pt x="221" y="1727"/>
                  </a:lnTo>
                  <a:cubicBezTo>
                    <a:pt x="95" y="1790"/>
                    <a:pt x="0" y="1916"/>
                    <a:pt x="0" y="2073"/>
                  </a:cubicBezTo>
                  <a:lnTo>
                    <a:pt x="0" y="7870"/>
                  </a:lnTo>
                  <a:cubicBezTo>
                    <a:pt x="0" y="8091"/>
                    <a:pt x="221" y="8248"/>
                    <a:pt x="410" y="8248"/>
                  </a:cubicBezTo>
                  <a:lnTo>
                    <a:pt x="12255" y="8248"/>
                  </a:lnTo>
                  <a:cubicBezTo>
                    <a:pt x="12507" y="8248"/>
                    <a:pt x="12665" y="8059"/>
                    <a:pt x="12665" y="7870"/>
                  </a:cubicBezTo>
                  <a:lnTo>
                    <a:pt x="12665" y="2073"/>
                  </a:lnTo>
                  <a:cubicBezTo>
                    <a:pt x="12697" y="1884"/>
                    <a:pt x="12507" y="1664"/>
                    <a:pt x="12287" y="1664"/>
                  </a:cubicBezTo>
                  <a:lnTo>
                    <a:pt x="5797" y="1664"/>
                  </a:lnTo>
                  <a:lnTo>
                    <a:pt x="5797" y="404"/>
                  </a:lnTo>
                  <a:cubicBezTo>
                    <a:pt x="5797" y="166"/>
                    <a:pt x="5600" y="1"/>
                    <a:pt x="5382" y="1"/>
                  </a:cubicBezTo>
                  <a:cubicBezTo>
                    <a:pt x="5311" y="1"/>
                    <a:pt x="5237" y="18"/>
                    <a:pt x="5167" y="57"/>
                  </a:cubicBezTo>
                  <a:lnTo>
                    <a:pt x="3308" y="1286"/>
                  </a:lnTo>
                  <a:lnTo>
                    <a:pt x="3308" y="404"/>
                  </a:lnTo>
                  <a:cubicBezTo>
                    <a:pt x="3308" y="166"/>
                    <a:pt x="3111" y="1"/>
                    <a:pt x="28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2"/>
            <p:cNvSpPr/>
            <p:nvPr/>
          </p:nvSpPr>
          <p:spPr>
            <a:xfrm>
              <a:off x="-592385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2"/>
            <p:cNvSpPr/>
            <p:nvPr/>
          </p:nvSpPr>
          <p:spPr>
            <a:xfrm>
              <a:off x="-59292875" y="3308975"/>
              <a:ext cx="106350" cy="41400"/>
            </a:xfrm>
            <a:custGeom>
              <a:avLst/>
              <a:gdLst/>
              <a:ahLst/>
              <a:cxnLst/>
              <a:rect l="l" t="t" r="r" b="b"/>
              <a:pathLst>
                <a:path w="4254" h="1656" extrusionOk="0">
                  <a:moveTo>
                    <a:pt x="1305" y="1"/>
                  </a:moveTo>
                  <a:cubicBezTo>
                    <a:pt x="904" y="1"/>
                    <a:pt x="497" y="175"/>
                    <a:pt x="158" y="545"/>
                  </a:cubicBezTo>
                  <a:cubicBezTo>
                    <a:pt x="1" y="702"/>
                    <a:pt x="64" y="986"/>
                    <a:pt x="221" y="1143"/>
                  </a:cubicBezTo>
                  <a:cubicBezTo>
                    <a:pt x="311" y="1218"/>
                    <a:pt x="409" y="1258"/>
                    <a:pt x="503" y="1258"/>
                  </a:cubicBezTo>
                  <a:cubicBezTo>
                    <a:pt x="606" y="1258"/>
                    <a:pt x="706" y="1210"/>
                    <a:pt x="788" y="1112"/>
                  </a:cubicBezTo>
                  <a:cubicBezTo>
                    <a:pt x="946" y="938"/>
                    <a:pt x="1127" y="852"/>
                    <a:pt x="1308" y="852"/>
                  </a:cubicBezTo>
                  <a:cubicBezTo>
                    <a:pt x="1489" y="852"/>
                    <a:pt x="1670" y="938"/>
                    <a:pt x="1828" y="1112"/>
                  </a:cubicBezTo>
                  <a:cubicBezTo>
                    <a:pt x="2150" y="1466"/>
                    <a:pt x="2562" y="1655"/>
                    <a:pt x="2977" y="1655"/>
                  </a:cubicBezTo>
                  <a:cubicBezTo>
                    <a:pt x="3374" y="1655"/>
                    <a:pt x="3773" y="1482"/>
                    <a:pt x="4096" y="1112"/>
                  </a:cubicBezTo>
                  <a:cubicBezTo>
                    <a:pt x="4254" y="954"/>
                    <a:pt x="4222" y="671"/>
                    <a:pt x="4065" y="513"/>
                  </a:cubicBezTo>
                  <a:cubicBezTo>
                    <a:pt x="3990" y="438"/>
                    <a:pt x="3886" y="399"/>
                    <a:pt x="3781" y="399"/>
                  </a:cubicBezTo>
                  <a:cubicBezTo>
                    <a:pt x="3665" y="399"/>
                    <a:pt x="3549" y="446"/>
                    <a:pt x="3466" y="545"/>
                  </a:cubicBezTo>
                  <a:cubicBezTo>
                    <a:pt x="3309" y="734"/>
                    <a:pt x="3135" y="828"/>
                    <a:pt x="2962" y="828"/>
                  </a:cubicBezTo>
                  <a:cubicBezTo>
                    <a:pt x="2789" y="828"/>
                    <a:pt x="2616" y="734"/>
                    <a:pt x="2458" y="545"/>
                  </a:cubicBezTo>
                  <a:cubicBezTo>
                    <a:pt x="2136" y="191"/>
                    <a:pt x="1724" y="1"/>
                    <a:pt x="13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2"/>
            <p:cNvSpPr/>
            <p:nvPr/>
          </p:nvSpPr>
          <p:spPr>
            <a:xfrm>
              <a:off x="-59214100" y="3371400"/>
              <a:ext cx="62225" cy="68550"/>
            </a:xfrm>
            <a:custGeom>
              <a:avLst/>
              <a:gdLst/>
              <a:ahLst/>
              <a:cxnLst/>
              <a:rect l="l" t="t" r="r" b="b"/>
              <a:pathLst>
                <a:path w="2489" h="2742" extrusionOk="0">
                  <a:moveTo>
                    <a:pt x="410" y="1"/>
                  </a:moveTo>
                  <a:cubicBezTo>
                    <a:pt x="158" y="1"/>
                    <a:pt x="0" y="190"/>
                    <a:pt x="0" y="379"/>
                  </a:cubicBezTo>
                  <a:lnTo>
                    <a:pt x="0" y="2742"/>
                  </a:lnTo>
                  <a:lnTo>
                    <a:pt x="2489" y="2742"/>
                  </a:lnTo>
                  <a:lnTo>
                    <a:pt x="2489" y="379"/>
                  </a:lnTo>
                  <a:cubicBezTo>
                    <a:pt x="2458" y="190"/>
                    <a:pt x="2268"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2"/>
            <p:cNvSpPr/>
            <p:nvPr/>
          </p:nvSpPr>
          <p:spPr>
            <a:xfrm>
              <a:off x="-59297600" y="3392600"/>
              <a:ext cx="62250" cy="48150"/>
            </a:xfrm>
            <a:custGeom>
              <a:avLst/>
              <a:gdLst/>
              <a:ahLst/>
              <a:cxnLst/>
              <a:rect l="l" t="t" r="r" b="b"/>
              <a:pathLst>
                <a:path w="2490" h="1926" extrusionOk="0">
                  <a:moveTo>
                    <a:pt x="387" y="0"/>
                  </a:moveTo>
                  <a:cubicBezTo>
                    <a:pt x="163" y="0"/>
                    <a:pt x="1" y="177"/>
                    <a:pt x="1" y="382"/>
                  </a:cubicBezTo>
                  <a:lnTo>
                    <a:pt x="1" y="1925"/>
                  </a:lnTo>
                  <a:lnTo>
                    <a:pt x="2489" y="1925"/>
                  </a:lnTo>
                  <a:lnTo>
                    <a:pt x="2489" y="382"/>
                  </a:lnTo>
                  <a:cubicBezTo>
                    <a:pt x="2489" y="161"/>
                    <a:pt x="2300" y="4"/>
                    <a:pt x="2080" y="4"/>
                  </a:cubicBezTo>
                  <a:lnTo>
                    <a:pt x="442" y="4"/>
                  </a:lnTo>
                  <a:cubicBezTo>
                    <a:pt x="423" y="1"/>
                    <a:pt x="405"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44" name="Google Shape;6744;p72"/>
          <p:cNvGrpSpPr/>
          <p:nvPr/>
        </p:nvGrpSpPr>
        <p:grpSpPr>
          <a:xfrm>
            <a:off x="1295729" y="1381305"/>
            <a:ext cx="367261" cy="364686"/>
            <a:chOff x="-64781025" y="3361050"/>
            <a:chExt cx="317425" cy="315200"/>
          </a:xfrm>
        </p:grpSpPr>
        <p:sp>
          <p:nvSpPr>
            <p:cNvPr id="6745" name="Google Shape;6745;p72"/>
            <p:cNvSpPr/>
            <p:nvPr/>
          </p:nvSpPr>
          <p:spPr>
            <a:xfrm>
              <a:off x="-64764500" y="3388725"/>
              <a:ext cx="272550" cy="272550"/>
            </a:xfrm>
            <a:custGeom>
              <a:avLst/>
              <a:gdLst/>
              <a:ahLst/>
              <a:cxnLst/>
              <a:rect l="l" t="t" r="r" b="b"/>
              <a:pathLst>
                <a:path w="10902" h="10902" extrusionOk="0">
                  <a:moveTo>
                    <a:pt x="6554" y="2647"/>
                  </a:moveTo>
                  <a:cubicBezTo>
                    <a:pt x="6979" y="2647"/>
                    <a:pt x="7404" y="2805"/>
                    <a:pt x="7719" y="3120"/>
                  </a:cubicBezTo>
                  <a:cubicBezTo>
                    <a:pt x="8381" y="3782"/>
                    <a:pt x="8381" y="4821"/>
                    <a:pt x="7751" y="5483"/>
                  </a:cubicBezTo>
                  <a:cubicBezTo>
                    <a:pt x="7436" y="5798"/>
                    <a:pt x="7058" y="5955"/>
                    <a:pt x="6585" y="5955"/>
                  </a:cubicBezTo>
                  <a:cubicBezTo>
                    <a:pt x="6144" y="5955"/>
                    <a:pt x="5703" y="5798"/>
                    <a:pt x="5388" y="5483"/>
                  </a:cubicBezTo>
                  <a:cubicBezTo>
                    <a:pt x="5073" y="5168"/>
                    <a:pt x="4915" y="4758"/>
                    <a:pt x="4915" y="4286"/>
                  </a:cubicBezTo>
                  <a:cubicBezTo>
                    <a:pt x="4915" y="3813"/>
                    <a:pt x="5073" y="3435"/>
                    <a:pt x="5388" y="3120"/>
                  </a:cubicBezTo>
                  <a:cubicBezTo>
                    <a:pt x="5703" y="2805"/>
                    <a:pt x="6128" y="2647"/>
                    <a:pt x="6554" y="2647"/>
                  </a:cubicBezTo>
                  <a:close/>
                  <a:moveTo>
                    <a:pt x="2175" y="6901"/>
                  </a:moveTo>
                  <a:lnTo>
                    <a:pt x="4065" y="8791"/>
                  </a:lnTo>
                  <a:lnTo>
                    <a:pt x="3592" y="9484"/>
                  </a:lnTo>
                  <a:lnTo>
                    <a:pt x="1418" y="7342"/>
                  </a:lnTo>
                  <a:lnTo>
                    <a:pt x="2175" y="6901"/>
                  </a:lnTo>
                  <a:close/>
                  <a:moveTo>
                    <a:pt x="6907" y="1"/>
                  </a:moveTo>
                  <a:cubicBezTo>
                    <a:pt x="6851" y="1"/>
                    <a:pt x="6795" y="11"/>
                    <a:pt x="6743" y="33"/>
                  </a:cubicBezTo>
                  <a:cubicBezTo>
                    <a:pt x="5546" y="663"/>
                    <a:pt x="4474" y="1576"/>
                    <a:pt x="3655" y="2616"/>
                  </a:cubicBezTo>
                  <a:cubicBezTo>
                    <a:pt x="3025" y="3341"/>
                    <a:pt x="2553" y="4223"/>
                    <a:pt x="2175" y="5136"/>
                  </a:cubicBezTo>
                  <a:cubicBezTo>
                    <a:pt x="2048" y="5451"/>
                    <a:pt x="1922" y="5766"/>
                    <a:pt x="1859" y="6050"/>
                  </a:cubicBezTo>
                  <a:lnTo>
                    <a:pt x="505" y="6838"/>
                  </a:lnTo>
                  <a:cubicBezTo>
                    <a:pt x="379" y="6932"/>
                    <a:pt x="316" y="7058"/>
                    <a:pt x="316" y="7184"/>
                  </a:cubicBezTo>
                  <a:cubicBezTo>
                    <a:pt x="316" y="7279"/>
                    <a:pt x="347" y="7405"/>
                    <a:pt x="442" y="7531"/>
                  </a:cubicBezTo>
                  <a:lnTo>
                    <a:pt x="1072" y="8161"/>
                  </a:lnTo>
                  <a:cubicBezTo>
                    <a:pt x="631" y="8696"/>
                    <a:pt x="1" y="9673"/>
                    <a:pt x="1" y="10272"/>
                  </a:cubicBezTo>
                  <a:cubicBezTo>
                    <a:pt x="1" y="10524"/>
                    <a:pt x="64" y="10681"/>
                    <a:pt x="158" y="10744"/>
                  </a:cubicBezTo>
                  <a:cubicBezTo>
                    <a:pt x="221" y="10839"/>
                    <a:pt x="379" y="10902"/>
                    <a:pt x="631" y="10902"/>
                  </a:cubicBezTo>
                  <a:cubicBezTo>
                    <a:pt x="1229" y="10902"/>
                    <a:pt x="2238" y="10240"/>
                    <a:pt x="2742" y="9830"/>
                  </a:cubicBezTo>
                  <a:lnTo>
                    <a:pt x="3372" y="10461"/>
                  </a:lnTo>
                  <a:cubicBezTo>
                    <a:pt x="3466" y="10555"/>
                    <a:pt x="3592" y="10587"/>
                    <a:pt x="3655" y="10587"/>
                  </a:cubicBezTo>
                  <a:lnTo>
                    <a:pt x="3687" y="10587"/>
                  </a:lnTo>
                  <a:cubicBezTo>
                    <a:pt x="3813" y="10587"/>
                    <a:pt x="3939" y="10524"/>
                    <a:pt x="4002" y="10398"/>
                  </a:cubicBezTo>
                  <a:lnTo>
                    <a:pt x="4789" y="9074"/>
                  </a:lnTo>
                  <a:cubicBezTo>
                    <a:pt x="5104" y="8980"/>
                    <a:pt x="5420" y="8854"/>
                    <a:pt x="5735" y="8759"/>
                  </a:cubicBezTo>
                  <a:cubicBezTo>
                    <a:pt x="6648" y="8381"/>
                    <a:pt x="7530" y="7877"/>
                    <a:pt x="8255" y="7279"/>
                  </a:cubicBezTo>
                  <a:cubicBezTo>
                    <a:pt x="9295" y="6459"/>
                    <a:pt x="10208" y="5388"/>
                    <a:pt x="10838" y="4223"/>
                  </a:cubicBezTo>
                  <a:cubicBezTo>
                    <a:pt x="10901" y="4065"/>
                    <a:pt x="10870" y="3876"/>
                    <a:pt x="10744" y="3750"/>
                  </a:cubicBezTo>
                  <a:lnTo>
                    <a:pt x="7215" y="127"/>
                  </a:lnTo>
                  <a:cubicBezTo>
                    <a:pt x="7131" y="43"/>
                    <a:pt x="7019" y="1"/>
                    <a:pt x="69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2"/>
            <p:cNvSpPr/>
            <p:nvPr/>
          </p:nvSpPr>
          <p:spPr>
            <a:xfrm>
              <a:off x="-64568375" y="3361050"/>
              <a:ext cx="104775" cy="105675"/>
            </a:xfrm>
            <a:custGeom>
              <a:avLst/>
              <a:gdLst/>
              <a:ahLst/>
              <a:cxnLst/>
              <a:rect l="l" t="t" r="r" b="b"/>
              <a:pathLst>
                <a:path w="4191" h="4227" extrusionOk="0">
                  <a:moveTo>
                    <a:pt x="2941" y="1"/>
                  </a:moveTo>
                  <a:cubicBezTo>
                    <a:pt x="2906" y="1"/>
                    <a:pt x="2871" y="2"/>
                    <a:pt x="2836" y="5"/>
                  </a:cubicBezTo>
                  <a:cubicBezTo>
                    <a:pt x="1828" y="100"/>
                    <a:pt x="883" y="320"/>
                    <a:pt x="0" y="667"/>
                  </a:cubicBezTo>
                  <a:lnTo>
                    <a:pt x="3529" y="4227"/>
                  </a:lnTo>
                  <a:cubicBezTo>
                    <a:pt x="3876" y="3313"/>
                    <a:pt x="4128" y="2368"/>
                    <a:pt x="4191" y="1392"/>
                  </a:cubicBezTo>
                  <a:cubicBezTo>
                    <a:pt x="4191" y="982"/>
                    <a:pt x="4033" y="635"/>
                    <a:pt x="3812" y="352"/>
                  </a:cubicBezTo>
                  <a:cubicBezTo>
                    <a:pt x="3558" y="125"/>
                    <a:pt x="3252" y="1"/>
                    <a:pt x="29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2"/>
            <p:cNvSpPr/>
            <p:nvPr/>
          </p:nvSpPr>
          <p:spPr>
            <a:xfrm>
              <a:off x="-64645575" y="3596675"/>
              <a:ext cx="85100" cy="79575"/>
            </a:xfrm>
            <a:custGeom>
              <a:avLst/>
              <a:gdLst/>
              <a:ahLst/>
              <a:cxnLst/>
              <a:rect l="l" t="t" r="r" b="b"/>
              <a:pathLst>
                <a:path w="3404" h="3183" extrusionOk="0">
                  <a:moveTo>
                    <a:pt x="3403" y="0"/>
                  </a:moveTo>
                  <a:lnTo>
                    <a:pt x="3403" y="0"/>
                  </a:lnTo>
                  <a:cubicBezTo>
                    <a:pt x="2710" y="473"/>
                    <a:pt x="2017" y="819"/>
                    <a:pt x="1261" y="1134"/>
                  </a:cubicBezTo>
                  <a:cubicBezTo>
                    <a:pt x="1041" y="1292"/>
                    <a:pt x="726" y="1386"/>
                    <a:pt x="442" y="1449"/>
                  </a:cubicBezTo>
                  <a:cubicBezTo>
                    <a:pt x="347" y="1859"/>
                    <a:pt x="253" y="2237"/>
                    <a:pt x="95" y="2584"/>
                  </a:cubicBezTo>
                  <a:cubicBezTo>
                    <a:pt x="1" y="2741"/>
                    <a:pt x="32" y="2930"/>
                    <a:pt x="158" y="3056"/>
                  </a:cubicBezTo>
                  <a:cubicBezTo>
                    <a:pt x="253" y="3151"/>
                    <a:pt x="347" y="3182"/>
                    <a:pt x="442" y="3182"/>
                  </a:cubicBezTo>
                  <a:cubicBezTo>
                    <a:pt x="505" y="3182"/>
                    <a:pt x="568" y="3182"/>
                    <a:pt x="600" y="3151"/>
                  </a:cubicBezTo>
                  <a:cubicBezTo>
                    <a:pt x="1135" y="2867"/>
                    <a:pt x="1671" y="2521"/>
                    <a:pt x="2080" y="2080"/>
                  </a:cubicBezTo>
                  <a:cubicBezTo>
                    <a:pt x="2679" y="1481"/>
                    <a:pt x="3151" y="756"/>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2"/>
            <p:cNvSpPr/>
            <p:nvPr/>
          </p:nvSpPr>
          <p:spPr>
            <a:xfrm>
              <a:off x="-64781025" y="3456475"/>
              <a:ext cx="80350" cy="85075"/>
            </a:xfrm>
            <a:custGeom>
              <a:avLst/>
              <a:gdLst/>
              <a:ahLst/>
              <a:cxnLst/>
              <a:rect l="l" t="t" r="r" b="b"/>
              <a:pathLst>
                <a:path w="3214" h="3403" extrusionOk="0">
                  <a:moveTo>
                    <a:pt x="3214" y="0"/>
                  </a:moveTo>
                  <a:cubicBezTo>
                    <a:pt x="2426" y="252"/>
                    <a:pt x="1733" y="725"/>
                    <a:pt x="1134" y="1324"/>
                  </a:cubicBezTo>
                  <a:cubicBezTo>
                    <a:pt x="693" y="1733"/>
                    <a:pt x="347" y="2269"/>
                    <a:pt x="63" y="2804"/>
                  </a:cubicBezTo>
                  <a:cubicBezTo>
                    <a:pt x="0" y="2962"/>
                    <a:pt x="32" y="3151"/>
                    <a:pt x="158" y="3277"/>
                  </a:cubicBezTo>
                  <a:cubicBezTo>
                    <a:pt x="221" y="3371"/>
                    <a:pt x="347" y="3403"/>
                    <a:pt x="410" y="3403"/>
                  </a:cubicBezTo>
                  <a:cubicBezTo>
                    <a:pt x="504" y="3403"/>
                    <a:pt x="536" y="3403"/>
                    <a:pt x="630" y="3371"/>
                  </a:cubicBezTo>
                  <a:cubicBezTo>
                    <a:pt x="977" y="3214"/>
                    <a:pt x="1355" y="3088"/>
                    <a:pt x="1764" y="2993"/>
                  </a:cubicBezTo>
                  <a:cubicBezTo>
                    <a:pt x="1827" y="2678"/>
                    <a:pt x="1953" y="2426"/>
                    <a:pt x="2079" y="2143"/>
                  </a:cubicBezTo>
                  <a:cubicBezTo>
                    <a:pt x="2394" y="1387"/>
                    <a:pt x="2741" y="694"/>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49" name="Google Shape;6749;p72"/>
          <p:cNvSpPr/>
          <p:nvPr/>
        </p:nvSpPr>
        <p:spPr>
          <a:xfrm>
            <a:off x="1295604" y="1823911"/>
            <a:ext cx="367261" cy="365438"/>
          </a:xfrm>
          <a:custGeom>
            <a:avLst/>
            <a:gdLst/>
            <a:ahLst/>
            <a:cxnLst/>
            <a:rect l="l" t="t" r="r" b="b"/>
            <a:pathLst>
              <a:path w="12697" h="12634" extrusionOk="0">
                <a:moveTo>
                  <a:pt x="11437" y="819"/>
                </a:moveTo>
                <a:cubicBezTo>
                  <a:pt x="11657" y="819"/>
                  <a:pt x="11815" y="1040"/>
                  <a:pt x="11815" y="1260"/>
                </a:cubicBezTo>
                <a:cubicBezTo>
                  <a:pt x="11815" y="1512"/>
                  <a:pt x="11657" y="1670"/>
                  <a:pt x="11437" y="1670"/>
                </a:cubicBezTo>
                <a:lnTo>
                  <a:pt x="1229" y="1670"/>
                </a:lnTo>
                <a:cubicBezTo>
                  <a:pt x="1009" y="1670"/>
                  <a:pt x="788" y="1449"/>
                  <a:pt x="788" y="1260"/>
                </a:cubicBezTo>
                <a:cubicBezTo>
                  <a:pt x="788" y="1071"/>
                  <a:pt x="1009" y="819"/>
                  <a:pt x="1229" y="819"/>
                </a:cubicBezTo>
                <a:close/>
                <a:moveTo>
                  <a:pt x="8790" y="3277"/>
                </a:moveTo>
                <a:cubicBezTo>
                  <a:pt x="9042" y="3277"/>
                  <a:pt x="9200" y="3466"/>
                  <a:pt x="9200" y="3655"/>
                </a:cubicBezTo>
                <a:lnTo>
                  <a:pt x="9200" y="5356"/>
                </a:lnTo>
                <a:lnTo>
                  <a:pt x="9232" y="5356"/>
                </a:lnTo>
                <a:cubicBezTo>
                  <a:pt x="9232" y="5608"/>
                  <a:pt x="9042" y="5765"/>
                  <a:pt x="8822" y="5765"/>
                </a:cubicBezTo>
                <a:cubicBezTo>
                  <a:pt x="8633" y="5765"/>
                  <a:pt x="8412" y="5545"/>
                  <a:pt x="8412" y="5356"/>
                </a:cubicBezTo>
                <a:lnTo>
                  <a:pt x="8412" y="4694"/>
                </a:lnTo>
                <a:lnTo>
                  <a:pt x="6617" y="6459"/>
                </a:lnTo>
                <a:cubicBezTo>
                  <a:pt x="6538" y="6537"/>
                  <a:pt x="6435" y="6577"/>
                  <a:pt x="6333" y="6577"/>
                </a:cubicBezTo>
                <a:cubicBezTo>
                  <a:pt x="6231" y="6577"/>
                  <a:pt x="6128" y="6537"/>
                  <a:pt x="6050" y="6459"/>
                </a:cubicBezTo>
                <a:lnTo>
                  <a:pt x="5482" y="5923"/>
                </a:lnTo>
                <a:lnTo>
                  <a:pt x="4096" y="7278"/>
                </a:lnTo>
                <a:cubicBezTo>
                  <a:pt x="4033" y="7356"/>
                  <a:pt x="3931" y="7396"/>
                  <a:pt x="3824" y="7396"/>
                </a:cubicBezTo>
                <a:cubicBezTo>
                  <a:pt x="3718" y="7396"/>
                  <a:pt x="3608" y="7356"/>
                  <a:pt x="3529" y="7278"/>
                </a:cubicBezTo>
                <a:cubicBezTo>
                  <a:pt x="3372" y="7120"/>
                  <a:pt x="3372" y="6868"/>
                  <a:pt x="3529" y="6711"/>
                </a:cubicBezTo>
                <a:lnTo>
                  <a:pt x="5167" y="5041"/>
                </a:lnTo>
                <a:cubicBezTo>
                  <a:pt x="5246" y="4962"/>
                  <a:pt x="5356" y="4923"/>
                  <a:pt x="5467" y="4923"/>
                </a:cubicBezTo>
                <a:cubicBezTo>
                  <a:pt x="5577" y="4923"/>
                  <a:pt x="5687" y="4962"/>
                  <a:pt x="5766" y="5041"/>
                </a:cubicBezTo>
                <a:lnTo>
                  <a:pt x="6302" y="5608"/>
                </a:lnTo>
                <a:lnTo>
                  <a:pt x="7814" y="4096"/>
                </a:lnTo>
                <a:lnTo>
                  <a:pt x="7152" y="4096"/>
                </a:lnTo>
                <a:cubicBezTo>
                  <a:pt x="6900" y="4096"/>
                  <a:pt x="6743" y="3907"/>
                  <a:pt x="6743" y="3655"/>
                </a:cubicBezTo>
                <a:cubicBezTo>
                  <a:pt x="6743" y="3434"/>
                  <a:pt x="6932" y="3277"/>
                  <a:pt x="7152" y="3277"/>
                </a:cubicBezTo>
                <a:close/>
                <a:moveTo>
                  <a:pt x="6302" y="11058"/>
                </a:moveTo>
                <a:cubicBezTo>
                  <a:pt x="6554" y="11058"/>
                  <a:pt x="6743" y="11279"/>
                  <a:pt x="6743" y="11468"/>
                </a:cubicBezTo>
                <a:cubicBezTo>
                  <a:pt x="6743" y="11657"/>
                  <a:pt x="6554" y="11846"/>
                  <a:pt x="6302" y="11846"/>
                </a:cubicBezTo>
                <a:cubicBezTo>
                  <a:pt x="6081" y="11846"/>
                  <a:pt x="5924" y="11657"/>
                  <a:pt x="5924" y="11468"/>
                </a:cubicBezTo>
                <a:cubicBezTo>
                  <a:pt x="5924" y="11279"/>
                  <a:pt x="6113" y="11058"/>
                  <a:pt x="6302" y="11058"/>
                </a:cubicBezTo>
                <a:close/>
                <a:moveTo>
                  <a:pt x="1229" y="0"/>
                </a:moveTo>
                <a:cubicBezTo>
                  <a:pt x="568" y="0"/>
                  <a:pt x="1" y="536"/>
                  <a:pt x="1" y="1229"/>
                </a:cubicBezTo>
                <a:cubicBezTo>
                  <a:pt x="1" y="1764"/>
                  <a:pt x="379" y="2205"/>
                  <a:pt x="851" y="2394"/>
                </a:cubicBezTo>
                <a:lnTo>
                  <a:pt x="851" y="8254"/>
                </a:lnTo>
                <a:lnTo>
                  <a:pt x="442" y="8254"/>
                </a:lnTo>
                <a:cubicBezTo>
                  <a:pt x="221" y="8254"/>
                  <a:pt x="64" y="8475"/>
                  <a:pt x="64" y="8664"/>
                </a:cubicBezTo>
                <a:cubicBezTo>
                  <a:pt x="64" y="8916"/>
                  <a:pt x="253" y="9042"/>
                  <a:pt x="442" y="9042"/>
                </a:cubicBezTo>
                <a:lnTo>
                  <a:pt x="5955" y="9042"/>
                </a:lnTo>
                <a:lnTo>
                  <a:pt x="5955" y="10239"/>
                </a:lnTo>
                <a:cubicBezTo>
                  <a:pt x="5482" y="10397"/>
                  <a:pt x="5136" y="10869"/>
                  <a:pt x="5136" y="11405"/>
                </a:cubicBezTo>
                <a:cubicBezTo>
                  <a:pt x="5136" y="12098"/>
                  <a:pt x="5671" y="12633"/>
                  <a:pt x="6365" y="12633"/>
                </a:cubicBezTo>
                <a:cubicBezTo>
                  <a:pt x="7026" y="12633"/>
                  <a:pt x="7625" y="12098"/>
                  <a:pt x="7625" y="11405"/>
                </a:cubicBezTo>
                <a:cubicBezTo>
                  <a:pt x="7625" y="10869"/>
                  <a:pt x="7247" y="10428"/>
                  <a:pt x="6774" y="10239"/>
                </a:cubicBezTo>
                <a:lnTo>
                  <a:pt x="6774" y="9042"/>
                </a:lnTo>
                <a:lnTo>
                  <a:pt x="12288" y="9042"/>
                </a:lnTo>
                <a:cubicBezTo>
                  <a:pt x="12540" y="9042"/>
                  <a:pt x="12697" y="8853"/>
                  <a:pt x="12697" y="8664"/>
                </a:cubicBezTo>
                <a:cubicBezTo>
                  <a:pt x="12666" y="8443"/>
                  <a:pt x="12508" y="8254"/>
                  <a:pt x="12256" y="8254"/>
                </a:cubicBezTo>
                <a:lnTo>
                  <a:pt x="11815" y="8254"/>
                </a:lnTo>
                <a:lnTo>
                  <a:pt x="11815" y="2394"/>
                </a:lnTo>
                <a:cubicBezTo>
                  <a:pt x="12288" y="2237"/>
                  <a:pt x="12666" y="1764"/>
                  <a:pt x="12666" y="1229"/>
                </a:cubicBezTo>
                <a:cubicBezTo>
                  <a:pt x="12666" y="567"/>
                  <a:pt x="12098" y="0"/>
                  <a:pt x="11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2"/>
          <p:cNvSpPr/>
          <p:nvPr/>
        </p:nvSpPr>
        <p:spPr>
          <a:xfrm>
            <a:off x="1322938" y="2251913"/>
            <a:ext cx="312592" cy="367261"/>
          </a:xfrm>
          <a:custGeom>
            <a:avLst/>
            <a:gdLst/>
            <a:ahLst/>
            <a:cxnLst/>
            <a:rect l="l" t="t" r="r" b="b"/>
            <a:pathLst>
              <a:path w="10807" h="12697" extrusionOk="0">
                <a:moveTo>
                  <a:pt x="6617" y="9924"/>
                </a:moveTo>
                <a:lnTo>
                  <a:pt x="6617" y="10775"/>
                </a:lnTo>
                <a:lnTo>
                  <a:pt x="4159" y="10775"/>
                </a:lnTo>
                <a:lnTo>
                  <a:pt x="4159" y="9924"/>
                </a:lnTo>
                <a:close/>
                <a:moveTo>
                  <a:pt x="4159" y="0"/>
                </a:moveTo>
                <a:cubicBezTo>
                  <a:pt x="3561" y="0"/>
                  <a:pt x="2994" y="315"/>
                  <a:pt x="2742" y="851"/>
                </a:cubicBezTo>
                <a:lnTo>
                  <a:pt x="2490" y="851"/>
                </a:lnTo>
                <a:cubicBezTo>
                  <a:pt x="1797" y="851"/>
                  <a:pt x="1166" y="1324"/>
                  <a:pt x="914" y="1954"/>
                </a:cubicBezTo>
                <a:cubicBezTo>
                  <a:pt x="1324" y="1985"/>
                  <a:pt x="1702" y="2143"/>
                  <a:pt x="1986" y="2426"/>
                </a:cubicBezTo>
                <a:cubicBezTo>
                  <a:pt x="2143" y="2584"/>
                  <a:pt x="2143" y="2836"/>
                  <a:pt x="1986" y="2993"/>
                </a:cubicBezTo>
                <a:cubicBezTo>
                  <a:pt x="1907" y="3072"/>
                  <a:pt x="1797" y="3111"/>
                  <a:pt x="1686" y="3111"/>
                </a:cubicBezTo>
                <a:cubicBezTo>
                  <a:pt x="1576" y="3111"/>
                  <a:pt x="1466" y="3072"/>
                  <a:pt x="1387" y="2993"/>
                </a:cubicBezTo>
                <a:cubicBezTo>
                  <a:pt x="1198" y="2804"/>
                  <a:pt x="946" y="2773"/>
                  <a:pt x="725" y="2773"/>
                </a:cubicBezTo>
                <a:cubicBezTo>
                  <a:pt x="284" y="3088"/>
                  <a:pt x="1" y="3560"/>
                  <a:pt x="1" y="4159"/>
                </a:cubicBezTo>
                <a:cubicBezTo>
                  <a:pt x="1" y="4411"/>
                  <a:pt x="95" y="4726"/>
                  <a:pt x="253" y="4978"/>
                </a:cubicBezTo>
                <a:cubicBezTo>
                  <a:pt x="95" y="5199"/>
                  <a:pt x="1" y="5514"/>
                  <a:pt x="1" y="5797"/>
                </a:cubicBezTo>
                <a:cubicBezTo>
                  <a:pt x="1" y="6144"/>
                  <a:pt x="127" y="6459"/>
                  <a:pt x="316" y="6742"/>
                </a:cubicBezTo>
                <a:cubicBezTo>
                  <a:pt x="599" y="6522"/>
                  <a:pt x="1009" y="6364"/>
                  <a:pt x="1387" y="6364"/>
                </a:cubicBezTo>
                <a:cubicBezTo>
                  <a:pt x="1639" y="6364"/>
                  <a:pt x="1797" y="6553"/>
                  <a:pt x="1797" y="6742"/>
                </a:cubicBezTo>
                <a:cubicBezTo>
                  <a:pt x="1797" y="6994"/>
                  <a:pt x="1576" y="7152"/>
                  <a:pt x="1387" y="7152"/>
                </a:cubicBezTo>
                <a:cubicBezTo>
                  <a:pt x="1198" y="7152"/>
                  <a:pt x="1009" y="7215"/>
                  <a:pt x="851" y="7341"/>
                </a:cubicBezTo>
                <a:lnTo>
                  <a:pt x="851" y="7404"/>
                </a:lnTo>
                <a:cubicBezTo>
                  <a:pt x="851" y="8318"/>
                  <a:pt x="1576" y="9074"/>
                  <a:pt x="2490" y="9074"/>
                </a:cubicBezTo>
                <a:lnTo>
                  <a:pt x="2742" y="9074"/>
                </a:lnTo>
                <a:cubicBezTo>
                  <a:pt x="2899" y="9357"/>
                  <a:pt x="3088" y="9546"/>
                  <a:pt x="3309" y="9704"/>
                </a:cubicBezTo>
                <a:lnTo>
                  <a:pt x="3309" y="10617"/>
                </a:lnTo>
                <a:cubicBezTo>
                  <a:pt x="3309" y="11752"/>
                  <a:pt x="4254" y="12697"/>
                  <a:pt x="5420" y="12697"/>
                </a:cubicBezTo>
                <a:cubicBezTo>
                  <a:pt x="6554" y="12697"/>
                  <a:pt x="7499" y="11752"/>
                  <a:pt x="7499" y="10617"/>
                </a:cubicBezTo>
                <a:lnTo>
                  <a:pt x="7499" y="9704"/>
                </a:lnTo>
                <a:cubicBezTo>
                  <a:pt x="7719" y="9546"/>
                  <a:pt x="7971" y="9357"/>
                  <a:pt x="8097" y="9074"/>
                </a:cubicBezTo>
                <a:lnTo>
                  <a:pt x="8318" y="9074"/>
                </a:lnTo>
                <a:cubicBezTo>
                  <a:pt x="9232" y="9074"/>
                  <a:pt x="9988" y="8318"/>
                  <a:pt x="9988" y="7404"/>
                </a:cubicBezTo>
                <a:lnTo>
                  <a:pt x="9988" y="7341"/>
                </a:lnTo>
                <a:cubicBezTo>
                  <a:pt x="9830" y="7215"/>
                  <a:pt x="9610" y="7152"/>
                  <a:pt x="9421" y="7152"/>
                </a:cubicBezTo>
                <a:cubicBezTo>
                  <a:pt x="9200" y="7152"/>
                  <a:pt x="9043" y="6931"/>
                  <a:pt x="9043" y="6742"/>
                </a:cubicBezTo>
                <a:cubicBezTo>
                  <a:pt x="9043" y="6522"/>
                  <a:pt x="9232" y="6364"/>
                  <a:pt x="9421" y="6364"/>
                </a:cubicBezTo>
                <a:cubicBezTo>
                  <a:pt x="9830" y="6364"/>
                  <a:pt x="10208" y="6522"/>
                  <a:pt x="10492" y="6742"/>
                </a:cubicBezTo>
                <a:cubicBezTo>
                  <a:pt x="10681" y="6459"/>
                  <a:pt x="10807" y="6144"/>
                  <a:pt x="10807" y="5797"/>
                </a:cubicBezTo>
                <a:cubicBezTo>
                  <a:pt x="10807" y="5514"/>
                  <a:pt x="10712" y="5199"/>
                  <a:pt x="10555" y="4978"/>
                </a:cubicBezTo>
                <a:cubicBezTo>
                  <a:pt x="10681" y="4726"/>
                  <a:pt x="10775" y="4411"/>
                  <a:pt x="10775" y="4159"/>
                </a:cubicBezTo>
                <a:cubicBezTo>
                  <a:pt x="10775" y="3592"/>
                  <a:pt x="10492" y="3088"/>
                  <a:pt x="10051" y="2773"/>
                </a:cubicBezTo>
                <a:cubicBezTo>
                  <a:pt x="10015" y="2768"/>
                  <a:pt x="9978" y="2765"/>
                  <a:pt x="9939" y="2765"/>
                </a:cubicBezTo>
                <a:cubicBezTo>
                  <a:pt x="9742" y="2765"/>
                  <a:pt x="9521" y="2835"/>
                  <a:pt x="9389" y="2993"/>
                </a:cubicBezTo>
                <a:cubicBezTo>
                  <a:pt x="9310" y="3072"/>
                  <a:pt x="9200" y="3111"/>
                  <a:pt x="9090" y="3111"/>
                </a:cubicBezTo>
                <a:cubicBezTo>
                  <a:pt x="8980" y="3111"/>
                  <a:pt x="8869" y="3072"/>
                  <a:pt x="8791" y="2993"/>
                </a:cubicBezTo>
                <a:cubicBezTo>
                  <a:pt x="8633" y="2836"/>
                  <a:pt x="8633" y="2584"/>
                  <a:pt x="8791" y="2426"/>
                </a:cubicBezTo>
                <a:cubicBezTo>
                  <a:pt x="9074" y="2143"/>
                  <a:pt x="9452" y="1954"/>
                  <a:pt x="9862" y="1954"/>
                </a:cubicBezTo>
                <a:cubicBezTo>
                  <a:pt x="9610" y="1324"/>
                  <a:pt x="9043" y="851"/>
                  <a:pt x="8287" y="851"/>
                </a:cubicBezTo>
                <a:lnTo>
                  <a:pt x="8034" y="851"/>
                </a:lnTo>
                <a:cubicBezTo>
                  <a:pt x="7782" y="315"/>
                  <a:pt x="7215" y="0"/>
                  <a:pt x="6617" y="0"/>
                </a:cubicBezTo>
                <a:cubicBezTo>
                  <a:pt x="6302" y="0"/>
                  <a:pt x="6050" y="95"/>
                  <a:pt x="5798" y="252"/>
                </a:cubicBezTo>
                <a:lnTo>
                  <a:pt x="5798" y="4190"/>
                </a:lnTo>
                <a:cubicBezTo>
                  <a:pt x="6743" y="4379"/>
                  <a:pt x="7467" y="5199"/>
                  <a:pt x="7467" y="6207"/>
                </a:cubicBezTo>
                <a:cubicBezTo>
                  <a:pt x="7467" y="6427"/>
                  <a:pt x="7247" y="6585"/>
                  <a:pt x="7058" y="6585"/>
                </a:cubicBezTo>
                <a:cubicBezTo>
                  <a:pt x="6869" y="6585"/>
                  <a:pt x="6617" y="6396"/>
                  <a:pt x="6617" y="6207"/>
                </a:cubicBezTo>
                <a:cubicBezTo>
                  <a:pt x="6617" y="5640"/>
                  <a:pt x="6270" y="5199"/>
                  <a:pt x="5798" y="5010"/>
                </a:cubicBezTo>
                <a:lnTo>
                  <a:pt x="5798" y="9074"/>
                </a:lnTo>
                <a:lnTo>
                  <a:pt x="4979" y="9074"/>
                </a:lnTo>
                <a:lnTo>
                  <a:pt x="4979" y="5010"/>
                </a:lnTo>
                <a:cubicBezTo>
                  <a:pt x="4506" y="5167"/>
                  <a:pt x="4159" y="5640"/>
                  <a:pt x="4159" y="6207"/>
                </a:cubicBezTo>
                <a:cubicBezTo>
                  <a:pt x="4159" y="6427"/>
                  <a:pt x="3939" y="6585"/>
                  <a:pt x="3718" y="6585"/>
                </a:cubicBezTo>
                <a:cubicBezTo>
                  <a:pt x="3466" y="6585"/>
                  <a:pt x="3309" y="6396"/>
                  <a:pt x="3309" y="6207"/>
                </a:cubicBezTo>
                <a:cubicBezTo>
                  <a:pt x="3309" y="5199"/>
                  <a:pt x="4033" y="4348"/>
                  <a:pt x="4979" y="4190"/>
                </a:cubicBezTo>
                <a:lnTo>
                  <a:pt x="4979" y="252"/>
                </a:lnTo>
                <a:cubicBezTo>
                  <a:pt x="4726" y="95"/>
                  <a:pt x="4474"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2"/>
          <p:cNvSpPr/>
          <p:nvPr/>
        </p:nvSpPr>
        <p:spPr>
          <a:xfrm>
            <a:off x="3508223" y="1420554"/>
            <a:ext cx="366335" cy="286155"/>
          </a:xfrm>
          <a:custGeom>
            <a:avLst/>
            <a:gdLst/>
            <a:ahLst/>
            <a:cxnLst/>
            <a:rect l="l" t="t" r="r" b="b"/>
            <a:pathLst>
              <a:path w="12665" h="9893" extrusionOk="0">
                <a:moveTo>
                  <a:pt x="8538" y="2458"/>
                </a:moveTo>
                <a:cubicBezTo>
                  <a:pt x="8758" y="2458"/>
                  <a:pt x="8916" y="2678"/>
                  <a:pt x="8916" y="2899"/>
                </a:cubicBezTo>
                <a:lnTo>
                  <a:pt x="8916" y="4569"/>
                </a:lnTo>
                <a:cubicBezTo>
                  <a:pt x="8916" y="4789"/>
                  <a:pt x="8727" y="4978"/>
                  <a:pt x="8538" y="4978"/>
                </a:cubicBezTo>
                <a:cubicBezTo>
                  <a:pt x="8349" y="4978"/>
                  <a:pt x="8128" y="4789"/>
                  <a:pt x="8128" y="4569"/>
                </a:cubicBezTo>
                <a:lnTo>
                  <a:pt x="8128" y="3875"/>
                </a:lnTo>
                <a:lnTo>
                  <a:pt x="6364" y="5671"/>
                </a:lnTo>
                <a:cubicBezTo>
                  <a:pt x="6285" y="5750"/>
                  <a:pt x="6175" y="5789"/>
                  <a:pt x="6065" y="5789"/>
                </a:cubicBezTo>
                <a:cubicBezTo>
                  <a:pt x="5954" y="5789"/>
                  <a:pt x="5844" y="5750"/>
                  <a:pt x="5765" y="5671"/>
                </a:cubicBezTo>
                <a:lnTo>
                  <a:pt x="5230" y="5104"/>
                </a:lnTo>
                <a:lnTo>
                  <a:pt x="3844" y="6490"/>
                </a:lnTo>
                <a:cubicBezTo>
                  <a:pt x="3765" y="6569"/>
                  <a:pt x="3655" y="6608"/>
                  <a:pt x="3544" y="6608"/>
                </a:cubicBezTo>
                <a:cubicBezTo>
                  <a:pt x="3434" y="6608"/>
                  <a:pt x="3324" y="6569"/>
                  <a:pt x="3245" y="6490"/>
                </a:cubicBezTo>
                <a:cubicBezTo>
                  <a:pt x="3087" y="6333"/>
                  <a:pt x="3087" y="6049"/>
                  <a:pt x="3245" y="5892"/>
                </a:cubicBezTo>
                <a:lnTo>
                  <a:pt x="4915" y="4254"/>
                </a:lnTo>
                <a:cubicBezTo>
                  <a:pt x="4994" y="4175"/>
                  <a:pt x="5104" y="4135"/>
                  <a:pt x="5214" y="4135"/>
                </a:cubicBezTo>
                <a:cubicBezTo>
                  <a:pt x="5324" y="4135"/>
                  <a:pt x="5435" y="4175"/>
                  <a:pt x="5513" y="4254"/>
                </a:cubicBezTo>
                <a:lnTo>
                  <a:pt x="6049" y="4789"/>
                </a:lnTo>
                <a:lnTo>
                  <a:pt x="7561" y="3308"/>
                </a:lnTo>
                <a:lnTo>
                  <a:pt x="6868" y="3308"/>
                </a:lnTo>
                <a:cubicBezTo>
                  <a:pt x="6648" y="3308"/>
                  <a:pt x="6490" y="3088"/>
                  <a:pt x="6490" y="2899"/>
                </a:cubicBezTo>
                <a:cubicBezTo>
                  <a:pt x="6490" y="2678"/>
                  <a:pt x="6679" y="2458"/>
                  <a:pt x="6868" y="2458"/>
                </a:cubicBezTo>
                <a:close/>
                <a:moveTo>
                  <a:pt x="11814" y="8255"/>
                </a:moveTo>
                <a:cubicBezTo>
                  <a:pt x="11814" y="8538"/>
                  <a:pt x="11877" y="9105"/>
                  <a:pt x="11405" y="9105"/>
                </a:cubicBezTo>
                <a:lnTo>
                  <a:pt x="1197" y="9105"/>
                </a:lnTo>
                <a:cubicBezTo>
                  <a:pt x="977" y="9105"/>
                  <a:pt x="788" y="8885"/>
                  <a:pt x="788" y="8664"/>
                </a:cubicBezTo>
                <a:lnTo>
                  <a:pt x="788" y="8255"/>
                </a:lnTo>
                <a:close/>
                <a:moveTo>
                  <a:pt x="2048" y="0"/>
                </a:moveTo>
                <a:cubicBezTo>
                  <a:pt x="1355" y="0"/>
                  <a:pt x="819" y="536"/>
                  <a:pt x="819" y="1229"/>
                </a:cubicBezTo>
                <a:lnTo>
                  <a:pt x="819" y="7435"/>
                </a:lnTo>
                <a:lnTo>
                  <a:pt x="410" y="7435"/>
                </a:lnTo>
                <a:cubicBezTo>
                  <a:pt x="189" y="7435"/>
                  <a:pt x="0" y="7625"/>
                  <a:pt x="0" y="7845"/>
                </a:cubicBezTo>
                <a:lnTo>
                  <a:pt x="0" y="8664"/>
                </a:lnTo>
                <a:cubicBezTo>
                  <a:pt x="0" y="9326"/>
                  <a:pt x="536" y="9893"/>
                  <a:pt x="1260" y="9893"/>
                </a:cubicBezTo>
                <a:lnTo>
                  <a:pt x="11436" y="9893"/>
                </a:lnTo>
                <a:cubicBezTo>
                  <a:pt x="12129" y="9893"/>
                  <a:pt x="12665" y="9326"/>
                  <a:pt x="12665" y="8664"/>
                </a:cubicBezTo>
                <a:lnTo>
                  <a:pt x="12665" y="7845"/>
                </a:lnTo>
                <a:cubicBezTo>
                  <a:pt x="12634" y="7593"/>
                  <a:pt x="12444" y="7435"/>
                  <a:pt x="12224" y="7435"/>
                </a:cubicBezTo>
                <a:lnTo>
                  <a:pt x="11814" y="7435"/>
                </a:lnTo>
                <a:lnTo>
                  <a:pt x="11814" y="1229"/>
                </a:lnTo>
                <a:cubicBezTo>
                  <a:pt x="11814" y="536"/>
                  <a:pt x="1124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2" name="Google Shape;6752;p72"/>
          <p:cNvGrpSpPr/>
          <p:nvPr/>
        </p:nvGrpSpPr>
        <p:grpSpPr>
          <a:xfrm>
            <a:off x="3500129" y="1822744"/>
            <a:ext cx="382765" cy="367810"/>
            <a:chOff x="-62890750" y="3747425"/>
            <a:chExt cx="330825" cy="317900"/>
          </a:xfrm>
        </p:grpSpPr>
        <p:sp>
          <p:nvSpPr>
            <p:cNvPr id="6753" name="Google Shape;6753;p72"/>
            <p:cNvSpPr/>
            <p:nvPr/>
          </p:nvSpPr>
          <p:spPr>
            <a:xfrm>
              <a:off x="-62890750" y="3747425"/>
              <a:ext cx="313500" cy="195825"/>
            </a:xfrm>
            <a:custGeom>
              <a:avLst/>
              <a:gdLst/>
              <a:ahLst/>
              <a:cxnLst/>
              <a:rect l="l" t="t" r="r" b="b"/>
              <a:pathLst>
                <a:path w="12540" h="7833" extrusionOk="0">
                  <a:moveTo>
                    <a:pt x="6591" y="0"/>
                  </a:moveTo>
                  <a:cubicBezTo>
                    <a:pt x="4966" y="0"/>
                    <a:pt x="3342" y="616"/>
                    <a:pt x="2112" y="1846"/>
                  </a:cubicBezTo>
                  <a:cubicBezTo>
                    <a:pt x="663" y="3296"/>
                    <a:pt x="1" y="5438"/>
                    <a:pt x="379" y="7454"/>
                  </a:cubicBezTo>
                  <a:cubicBezTo>
                    <a:pt x="442" y="7675"/>
                    <a:pt x="568" y="7832"/>
                    <a:pt x="789" y="7832"/>
                  </a:cubicBezTo>
                  <a:lnTo>
                    <a:pt x="852" y="7832"/>
                  </a:lnTo>
                  <a:cubicBezTo>
                    <a:pt x="1104" y="7801"/>
                    <a:pt x="1198" y="7549"/>
                    <a:pt x="1167" y="7360"/>
                  </a:cubicBezTo>
                  <a:cubicBezTo>
                    <a:pt x="852" y="5596"/>
                    <a:pt x="1419" y="3737"/>
                    <a:pt x="2710" y="2477"/>
                  </a:cubicBezTo>
                  <a:cubicBezTo>
                    <a:pt x="3719" y="1437"/>
                    <a:pt x="5136" y="870"/>
                    <a:pt x="6617" y="870"/>
                  </a:cubicBezTo>
                  <a:cubicBezTo>
                    <a:pt x="7940" y="870"/>
                    <a:pt x="9200" y="1342"/>
                    <a:pt x="10177" y="2193"/>
                  </a:cubicBezTo>
                  <a:lnTo>
                    <a:pt x="9610" y="2792"/>
                  </a:lnTo>
                  <a:cubicBezTo>
                    <a:pt x="9484" y="2918"/>
                    <a:pt x="9452" y="3075"/>
                    <a:pt x="9484" y="3170"/>
                  </a:cubicBezTo>
                  <a:cubicBezTo>
                    <a:pt x="9515" y="3327"/>
                    <a:pt x="9641" y="3422"/>
                    <a:pt x="9799" y="3453"/>
                  </a:cubicBezTo>
                  <a:lnTo>
                    <a:pt x="12036" y="3926"/>
                  </a:lnTo>
                  <a:lnTo>
                    <a:pt x="12130" y="3926"/>
                  </a:lnTo>
                  <a:cubicBezTo>
                    <a:pt x="12225" y="3926"/>
                    <a:pt x="12319" y="3894"/>
                    <a:pt x="12382" y="3800"/>
                  </a:cubicBezTo>
                  <a:cubicBezTo>
                    <a:pt x="12508" y="3674"/>
                    <a:pt x="12540" y="3579"/>
                    <a:pt x="12508" y="3422"/>
                  </a:cubicBezTo>
                  <a:lnTo>
                    <a:pt x="12036" y="1153"/>
                  </a:lnTo>
                  <a:cubicBezTo>
                    <a:pt x="12004" y="1027"/>
                    <a:pt x="11878" y="901"/>
                    <a:pt x="11752" y="838"/>
                  </a:cubicBezTo>
                  <a:cubicBezTo>
                    <a:pt x="11715" y="831"/>
                    <a:pt x="11678" y="827"/>
                    <a:pt x="11642" y="827"/>
                  </a:cubicBezTo>
                  <a:cubicBezTo>
                    <a:pt x="11526" y="827"/>
                    <a:pt x="11422" y="868"/>
                    <a:pt x="11374" y="964"/>
                  </a:cubicBezTo>
                  <a:lnTo>
                    <a:pt x="10776" y="1563"/>
                  </a:lnTo>
                  <a:cubicBezTo>
                    <a:pt x="9583" y="521"/>
                    <a:pt x="8087" y="0"/>
                    <a:pt x="65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2"/>
            <p:cNvSpPr/>
            <p:nvPr/>
          </p:nvSpPr>
          <p:spPr>
            <a:xfrm>
              <a:off x="-62874975" y="3869075"/>
              <a:ext cx="315050" cy="196250"/>
            </a:xfrm>
            <a:custGeom>
              <a:avLst/>
              <a:gdLst/>
              <a:ahLst/>
              <a:cxnLst/>
              <a:rect l="l" t="t" r="r" b="b"/>
              <a:pathLst>
                <a:path w="12602" h="7850" extrusionOk="0">
                  <a:moveTo>
                    <a:pt x="11779" y="0"/>
                  </a:moveTo>
                  <a:cubicBezTo>
                    <a:pt x="11759" y="0"/>
                    <a:pt x="11739" y="2"/>
                    <a:pt x="11720" y="5"/>
                  </a:cubicBezTo>
                  <a:cubicBezTo>
                    <a:pt x="11499" y="36"/>
                    <a:pt x="11373" y="288"/>
                    <a:pt x="11405" y="477"/>
                  </a:cubicBezTo>
                  <a:cubicBezTo>
                    <a:pt x="11720" y="2242"/>
                    <a:pt x="11184" y="4101"/>
                    <a:pt x="9861" y="5361"/>
                  </a:cubicBezTo>
                  <a:cubicBezTo>
                    <a:pt x="8853" y="6400"/>
                    <a:pt x="7435" y="6967"/>
                    <a:pt x="5986" y="6967"/>
                  </a:cubicBezTo>
                  <a:cubicBezTo>
                    <a:pt x="4631" y="6967"/>
                    <a:pt x="3371" y="6495"/>
                    <a:pt x="2394" y="5644"/>
                  </a:cubicBezTo>
                  <a:lnTo>
                    <a:pt x="2993" y="5046"/>
                  </a:lnTo>
                  <a:cubicBezTo>
                    <a:pt x="3088" y="4920"/>
                    <a:pt x="3151" y="4762"/>
                    <a:pt x="3088" y="4668"/>
                  </a:cubicBezTo>
                  <a:cubicBezTo>
                    <a:pt x="3056" y="4510"/>
                    <a:pt x="2962" y="4416"/>
                    <a:pt x="2772" y="4384"/>
                  </a:cubicBezTo>
                  <a:lnTo>
                    <a:pt x="536" y="3912"/>
                  </a:lnTo>
                  <a:cubicBezTo>
                    <a:pt x="498" y="3904"/>
                    <a:pt x="465" y="3900"/>
                    <a:pt x="433" y="3900"/>
                  </a:cubicBezTo>
                  <a:cubicBezTo>
                    <a:pt x="332" y="3900"/>
                    <a:pt x="254" y="3941"/>
                    <a:pt x="158" y="4038"/>
                  </a:cubicBezTo>
                  <a:cubicBezTo>
                    <a:pt x="32" y="4132"/>
                    <a:pt x="0" y="4258"/>
                    <a:pt x="32" y="4416"/>
                  </a:cubicBezTo>
                  <a:lnTo>
                    <a:pt x="504" y="6652"/>
                  </a:lnTo>
                  <a:cubicBezTo>
                    <a:pt x="536" y="6810"/>
                    <a:pt x="662" y="6936"/>
                    <a:pt x="788" y="6967"/>
                  </a:cubicBezTo>
                  <a:lnTo>
                    <a:pt x="882" y="6967"/>
                  </a:lnTo>
                  <a:cubicBezTo>
                    <a:pt x="1008" y="6967"/>
                    <a:pt x="1103" y="6936"/>
                    <a:pt x="1166" y="6873"/>
                  </a:cubicBezTo>
                  <a:lnTo>
                    <a:pt x="1764" y="6274"/>
                  </a:lnTo>
                  <a:cubicBezTo>
                    <a:pt x="2930" y="7346"/>
                    <a:pt x="4442" y="7850"/>
                    <a:pt x="5923" y="7850"/>
                  </a:cubicBezTo>
                  <a:cubicBezTo>
                    <a:pt x="7561" y="7850"/>
                    <a:pt x="9168" y="7220"/>
                    <a:pt x="10428" y="5991"/>
                  </a:cubicBezTo>
                  <a:cubicBezTo>
                    <a:pt x="11909" y="4510"/>
                    <a:pt x="12602" y="2368"/>
                    <a:pt x="12192" y="320"/>
                  </a:cubicBezTo>
                  <a:cubicBezTo>
                    <a:pt x="12164" y="122"/>
                    <a:pt x="11958" y="0"/>
                    <a:pt x="11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2"/>
            <p:cNvSpPr/>
            <p:nvPr/>
          </p:nvSpPr>
          <p:spPr>
            <a:xfrm>
              <a:off x="-62751325" y="3834525"/>
              <a:ext cx="15775" cy="26800"/>
            </a:xfrm>
            <a:custGeom>
              <a:avLst/>
              <a:gdLst/>
              <a:ahLst/>
              <a:cxnLst/>
              <a:rect l="l" t="t" r="r" b="b"/>
              <a:pathLst>
                <a:path w="631" h="1072" extrusionOk="0">
                  <a:moveTo>
                    <a:pt x="630" y="1"/>
                  </a:moveTo>
                  <a:cubicBezTo>
                    <a:pt x="410" y="221"/>
                    <a:pt x="158" y="599"/>
                    <a:pt x="0" y="1072"/>
                  </a:cubicBezTo>
                  <a:lnTo>
                    <a:pt x="630" y="1072"/>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2"/>
            <p:cNvSpPr/>
            <p:nvPr/>
          </p:nvSpPr>
          <p:spPr>
            <a:xfrm>
              <a:off x="-62715100" y="3950300"/>
              <a:ext cx="15775" cy="26025"/>
            </a:xfrm>
            <a:custGeom>
              <a:avLst/>
              <a:gdLst/>
              <a:ahLst/>
              <a:cxnLst/>
              <a:rect l="l" t="t" r="r" b="b"/>
              <a:pathLst>
                <a:path w="631" h="1041" extrusionOk="0">
                  <a:moveTo>
                    <a:pt x="1" y="1"/>
                  </a:moveTo>
                  <a:lnTo>
                    <a:pt x="1" y="1041"/>
                  </a:lnTo>
                  <a:cubicBezTo>
                    <a:pt x="253" y="852"/>
                    <a:pt x="473" y="47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2"/>
            <p:cNvSpPr/>
            <p:nvPr/>
          </p:nvSpPr>
          <p:spPr>
            <a:xfrm>
              <a:off x="-62751325" y="3950300"/>
              <a:ext cx="15775" cy="26025"/>
            </a:xfrm>
            <a:custGeom>
              <a:avLst/>
              <a:gdLst/>
              <a:ahLst/>
              <a:cxnLst/>
              <a:rect l="l" t="t" r="r" b="b"/>
              <a:pathLst>
                <a:path w="631" h="1041" extrusionOk="0">
                  <a:moveTo>
                    <a:pt x="0" y="1"/>
                  </a:moveTo>
                  <a:cubicBezTo>
                    <a:pt x="158" y="473"/>
                    <a:pt x="410" y="852"/>
                    <a:pt x="630" y="1041"/>
                  </a:cubicBez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2"/>
            <p:cNvSpPr/>
            <p:nvPr/>
          </p:nvSpPr>
          <p:spPr>
            <a:xfrm>
              <a:off x="-62822225" y="3881000"/>
              <a:ext cx="44125" cy="48075"/>
            </a:xfrm>
            <a:custGeom>
              <a:avLst/>
              <a:gdLst/>
              <a:ahLst/>
              <a:cxnLst/>
              <a:rect l="l" t="t" r="r" b="b"/>
              <a:pathLst>
                <a:path w="1765" h="1923" extrusionOk="0">
                  <a:moveTo>
                    <a:pt x="127" y="0"/>
                  </a:moveTo>
                  <a:cubicBezTo>
                    <a:pt x="32" y="316"/>
                    <a:pt x="1" y="631"/>
                    <a:pt x="1" y="977"/>
                  </a:cubicBezTo>
                  <a:cubicBezTo>
                    <a:pt x="1" y="1324"/>
                    <a:pt x="32" y="1670"/>
                    <a:pt x="127" y="1922"/>
                  </a:cubicBezTo>
                  <a:lnTo>
                    <a:pt x="1765" y="1922"/>
                  </a:lnTo>
                  <a:cubicBezTo>
                    <a:pt x="1734" y="1607"/>
                    <a:pt x="1702" y="1292"/>
                    <a:pt x="1702" y="977"/>
                  </a:cubicBezTo>
                  <a:cubicBezTo>
                    <a:pt x="1702" y="662"/>
                    <a:pt x="1734" y="316"/>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2"/>
            <p:cNvSpPr/>
            <p:nvPr/>
          </p:nvSpPr>
          <p:spPr>
            <a:xfrm>
              <a:off x="-62715100" y="3833750"/>
              <a:ext cx="15775" cy="26800"/>
            </a:xfrm>
            <a:custGeom>
              <a:avLst/>
              <a:gdLst/>
              <a:ahLst/>
              <a:cxnLst/>
              <a:rect l="l" t="t" r="r" b="b"/>
              <a:pathLst>
                <a:path w="631" h="1072" extrusionOk="0">
                  <a:moveTo>
                    <a:pt x="1" y="0"/>
                  </a:moveTo>
                  <a:lnTo>
                    <a:pt x="1" y="1071"/>
                  </a:lnTo>
                  <a:lnTo>
                    <a:pt x="631" y="1071"/>
                  </a:lnTo>
                  <a:cubicBezTo>
                    <a:pt x="505" y="599"/>
                    <a:pt x="253" y="189"/>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2"/>
            <p:cNvSpPr/>
            <p:nvPr/>
          </p:nvSpPr>
          <p:spPr>
            <a:xfrm>
              <a:off x="-62758425" y="3881000"/>
              <a:ext cx="22875" cy="48075"/>
            </a:xfrm>
            <a:custGeom>
              <a:avLst/>
              <a:gdLst/>
              <a:ahLst/>
              <a:cxnLst/>
              <a:rect l="l" t="t" r="r" b="b"/>
              <a:pathLst>
                <a:path w="915" h="1923" extrusionOk="0">
                  <a:moveTo>
                    <a:pt x="95" y="0"/>
                  </a:moveTo>
                  <a:cubicBezTo>
                    <a:pt x="64" y="316"/>
                    <a:pt x="1" y="631"/>
                    <a:pt x="1" y="977"/>
                  </a:cubicBezTo>
                  <a:cubicBezTo>
                    <a:pt x="1" y="1324"/>
                    <a:pt x="64" y="1670"/>
                    <a:pt x="95" y="1922"/>
                  </a:cubicBezTo>
                  <a:lnTo>
                    <a:pt x="914" y="1922"/>
                  </a:lnTo>
                  <a:lnTo>
                    <a:pt x="9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2"/>
            <p:cNvSpPr/>
            <p:nvPr/>
          </p:nvSpPr>
          <p:spPr>
            <a:xfrm>
              <a:off x="-62715100" y="3809325"/>
              <a:ext cx="74850" cy="51225"/>
            </a:xfrm>
            <a:custGeom>
              <a:avLst/>
              <a:gdLst/>
              <a:ahLst/>
              <a:cxnLst/>
              <a:rect l="l" t="t" r="r" b="b"/>
              <a:pathLst>
                <a:path w="2994" h="2049" extrusionOk="0">
                  <a:moveTo>
                    <a:pt x="1" y="1"/>
                  </a:moveTo>
                  <a:lnTo>
                    <a:pt x="1" y="32"/>
                  </a:lnTo>
                  <a:cubicBezTo>
                    <a:pt x="631" y="253"/>
                    <a:pt x="1198" y="1009"/>
                    <a:pt x="1481" y="2048"/>
                  </a:cubicBezTo>
                  <a:lnTo>
                    <a:pt x="2994" y="2048"/>
                  </a:lnTo>
                  <a:cubicBezTo>
                    <a:pt x="2426" y="946"/>
                    <a:pt x="1324"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2"/>
            <p:cNvSpPr/>
            <p:nvPr/>
          </p:nvSpPr>
          <p:spPr>
            <a:xfrm>
              <a:off x="-62715875" y="3950300"/>
              <a:ext cx="75625" cy="51225"/>
            </a:xfrm>
            <a:custGeom>
              <a:avLst/>
              <a:gdLst/>
              <a:ahLst/>
              <a:cxnLst/>
              <a:rect l="l" t="t" r="r" b="b"/>
              <a:pathLst>
                <a:path w="3025" h="2049" extrusionOk="0">
                  <a:moveTo>
                    <a:pt x="1512" y="1"/>
                  </a:moveTo>
                  <a:cubicBezTo>
                    <a:pt x="1229" y="1009"/>
                    <a:pt x="662" y="1765"/>
                    <a:pt x="0" y="1986"/>
                  </a:cubicBezTo>
                  <a:lnTo>
                    <a:pt x="0" y="2049"/>
                  </a:lnTo>
                  <a:lnTo>
                    <a:pt x="32" y="2049"/>
                  </a:lnTo>
                  <a:cubicBezTo>
                    <a:pt x="1355" y="1891"/>
                    <a:pt x="2457" y="1104"/>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2"/>
            <p:cNvSpPr/>
            <p:nvPr/>
          </p:nvSpPr>
          <p:spPr>
            <a:xfrm>
              <a:off x="-62811200" y="3949525"/>
              <a:ext cx="75650" cy="52000"/>
            </a:xfrm>
            <a:custGeom>
              <a:avLst/>
              <a:gdLst/>
              <a:ahLst/>
              <a:cxnLst/>
              <a:rect l="l" t="t" r="r" b="b"/>
              <a:pathLst>
                <a:path w="3026" h="2080" extrusionOk="0">
                  <a:moveTo>
                    <a:pt x="1" y="0"/>
                  </a:moveTo>
                  <a:cubicBezTo>
                    <a:pt x="600" y="1166"/>
                    <a:pt x="1702" y="1954"/>
                    <a:pt x="3025" y="2080"/>
                  </a:cubicBezTo>
                  <a:lnTo>
                    <a:pt x="3025" y="2017"/>
                  </a:lnTo>
                  <a:cubicBezTo>
                    <a:pt x="2364" y="1796"/>
                    <a:pt x="1860" y="104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2"/>
            <p:cNvSpPr/>
            <p:nvPr/>
          </p:nvSpPr>
          <p:spPr>
            <a:xfrm>
              <a:off x="-62673350" y="3881000"/>
              <a:ext cx="44125" cy="48075"/>
            </a:xfrm>
            <a:custGeom>
              <a:avLst/>
              <a:gdLst/>
              <a:ahLst/>
              <a:cxnLst/>
              <a:rect l="l" t="t" r="r" b="b"/>
              <a:pathLst>
                <a:path w="1765" h="1923" extrusionOk="0">
                  <a:moveTo>
                    <a:pt x="0" y="0"/>
                  </a:moveTo>
                  <a:cubicBezTo>
                    <a:pt x="32" y="316"/>
                    <a:pt x="63" y="631"/>
                    <a:pt x="63" y="977"/>
                  </a:cubicBezTo>
                  <a:cubicBezTo>
                    <a:pt x="63" y="1324"/>
                    <a:pt x="32" y="1670"/>
                    <a:pt x="0" y="1922"/>
                  </a:cubicBezTo>
                  <a:lnTo>
                    <a:pt x="1639" y="1922"/>
                  </a:lnTo>
                  <a:cubicBezTo>
                    <a:pt x="1733" y="1670"/>
                    <a:pt x="1765" y="1292"/>
                    <a:pt x="1765" y="977"/>
                  </a:cubicBezTo>
                  <a:cubicBezTo>
                    <a:pt x="1765" y="662"/>
                    <a:pt x="1733" y="316"/>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2"/>
            <p:cNvSpPr/>
            <p:nvPr/>
          </p:nvSpPr>
          <p:spPr>
            <a:xfrm>
              <a:off x="-62810400" y="3810125"/>
              <a:ext cx="75625" cy="51200"/>
            </a:xfrm>
            <a:custGeom>
              <a:avLst/>
              <a:gdLst/>
              <a:ahLst/>
              <a:cxnLst/>
              <a:rect l="l" t="t" r="r" b="b"/>
              <a:pathLst>
                <a:path w="3025" h="2048" extrusionOk="0">
                  <a:moveTo>
                    <a:pt x="2993" y="0"/>
                  </a:moveTo>
                  <a:cubicBezTo>
                    <a:pt x="1702" y="158"/>
                    <a:pt x="599" y="945"/>
                    <a:pt x="0" y="2048"/>
                  </a:cubicBezTo>
                  <a:lnTo>
                    <a:pt x="1544" y="2048"/>
                  </a:lnTo>
                  <a:cubicBezTo>
                    <a:pt x="1828" y="1008"/>
                    <a:pt x="2363" y="284"/>
                    <a:pt x="3025" y="32"/>
                  </a:cubicBezTo>
                  <a:lnTo>
                    <a:pt x="3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2"/>
            <p:cNvSpPr/>
            <p:nvPr/>
          </p:nvSpPr>
          <p:spPr>
            <a:xfrm>
              <a:off x="-62715100" y="3881000"/>
              <a:ext cx="22850" cy="48075"/>
            </a:xfrm>
            <a:custGeom>
              <a:avLst/>
              <a:gdLst/>
              <a:ahLst/>
              <a:cxnLst/>
              <a:rect l="l" t="t" r="r" b="b"/>
              <a:pathLst>
                <a:path w="914" h="1923" extrusionOk="0">
                  <a:moveTo>
                    <a:pt x="1" y="0"/>
                  </a:moveTo>
                  <a:lnTo>
                    <a:pt x="1" y="1922"/>
                  </a:lnTo>
                  <a:lnTo>
                    <a:pt x="851" y="1922"/>
                  </a:lnTo>
                  <a:cubicBezTo>
                    <a:pt x="883" y="1607"/>
                    <a:pt x="914" y="1292"/>
                    <a:pt x="914" y="977"/>
                  </a:cubicBezTo>
                  <a:cubicBezTo>
                    <a:pt x="914" y="662"/>
                    <a:pt x="883" y="316"/>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7" name="Google Shape;6767;p72"/>
          <p:cNvGrpSpPr/>
          <p:nvPr/>
        </p:nvGrpSpPr>
        <p:grpSpPr>
          <a:xfrm>
            <a:off x="3507881" y="2252381"/>
            <a:ext cx="367261" cy="366364"/>
            <a:chOff x="-62884425" y="4111775"/>
            <a:chExt cx="317425" cy="316650"/>
          </a:xfrm>
        </p:grpSpPr>
        <p:sp>
          <p:nvSpPr>
            <p:cNvPr id="6768" name="Google Shape;6768;p72"/>
            <p:cNvSpPr/>
            <p:nvPr/>
          </p:nvSpPr>
          <p:spPr>
            <a:xfrm>
              <a:off x="-62884425" y="4325225"/>
              <a:ext cx="317425" cy="103200"/>
            </a:xfrm>
            <a:custGeom>
              <a:avLst/>
              <a:gdLst/>
              <a:ahLst/>
              <a:cxnLst/>
              <a:rect l="l" t="t" r="r" b="b"/>
              <a:pathLst>
                <a:path w="12697" h="4128" extrusionOk="0">
                  <a:moveTo>
                    <a:pt x="0" y="0"/>
                  </a:moveTo>
                  <a:lnTo>
                    <a:pt x="0" y="378"/>
                  </a:lnTo>
                  <a:cubicBezTo>
                    <a:pt x="0" y="1071"/>
                    <a:pt x="567" y="1638"/>
                    <a:pt x="1260" y="1638"/>
                  </a:cubicBezTo>
                  <a:lnTo>
                    <a:pt x="4001" y="1638"/>
                  </a:lnTo>
                  <a:lnTo>
                    <a:pt x="3434" y="3308"/>
                  </a:lnTo>
                  <a:lnTo>
                    <a:pt x="2930" y="3308"/>
                  </a:lnTo>
                  <a:cubicBezTo>
                    <a:pt x="2678" y="3308"/>
                    <a:pt x="2520" y="3497"/>
                    <a:pt x="2520" y="3749"/>
                  </a:cubicBezTo>
                  <a:cubicBezTo>
                    <a:pt x="2520" y="3970"/>
                    <a:pt x="2741" y="4127"/>
                    <a:pt x="2930" y="4127"/>
                  </a:cubicBezTo>
                  <a:lnTo>
                    <a:pt x="9830" y="4127"/>
                  </a:lnTo>
                  <a:cubicBezTo>
                    <a:pt x="10050" y="4127"/>
                    <a:pt x="10239" y="3938"/>
                    <a:pt x="10239" y="3749"/>
                  </a:cubicBezTo>
                  <a:cubicBezTo>
                    <a:pt x="10239" y="3497"/>
                    <a:pt x="10050" y="3308"/>
                    <a:pt x="9830" y="3308"/>
                  </a:cubicBezTo>
                  <a:lnTo>
                    <a:pt x="9294" y="3308"/>
                  </a:lnTo>
                  <a:lnTo>
                    <a:pt x="8758" y="1638"/>
                  </a:lnTo>
                  <a:lnTo>
                    <a:pt x="11468" y="1638"/>
                  </a:lnTo>
                  <a:cubicBezTo>
                    <a:pt x="12129" y="1638"/>
                    <a:pt x="12697" y="1103"/>
                    <a:pt x="12697" y="378"/>
                  </a:cubicBezTo>
                  <a:lnTo>
                    <a:pt x="126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2"/>
            <p:cNvSpPr/>
            <p:nvPr/>
          </p:nvSpPr>
          <p:spPr>
            <a:xfrm>
              <a:off x="-62884425" y="4111775"/>
              <a:ext cx="317425" cy="193000"/>
            </a:xfrm>
            <a:custGeom>
              <a:avLst/>
              <a:gdLst/>
              <a:ahLst/>
              <a:cxnLst/>
              <a:rect l="l" t="t" r="r" b="b"/>
              <a:pathLst>
                <a:path w="12697" h="7720" extrusionOk="0">
                  <a:moveTo>
                    <a:pt x="6301" y="946"/>
                  </a:moveTo>
                  <a:cubicBezTo>
                    <a:pt x="6522" y="946"/>
                    <a:pt x="6742" y="1135"/>
                    <a:pt x="6742" y="1324"/>
                  </a:cubicBezTo>
                  <a:lnTo>
                    <a:pt x="6742" y="1607"/>
                  </a:lnTo>
                  <a:cubicBezTo>
                    <a:pt x="7215" y="1765"/>
                    <a:pt x="7593" y="2237"/>
                    <a:pt x="7593" y="2773"/>
                  </a:cubicBezTo>
                  <a:cubicBezTo>
                    <a:pt x="7593" y="3025"/>
                    <a:pt x="7372" y="3182"/>
                    <a:pt x="7183" y="3182"/>
                  </a:cubicBezTo>
                  <a:cubicBezTo>
                    <a:pt x="6994" y="3182"/>
                    <a:pt x="6805" y="2993"/>
                    <a:pt x="6805" y="2773"/>
                  </a:cubicBezTo>
                  <a:cubicBezTo>
                    <a:pt x="6805" y="2552"/>
                    <a:pt x="6585" y="2363"/>
                    <a:pt x="6364" y="2363"/>
                  </a:cubicBezTo>
                  <a:cubicBezTo>
                    <a:pt x="6112" y="2363"/>
                    <a:pt x="5954" y="2552"/>
                    <a:pt x="5954" y="2773"/>
                  </a:cubicBezTo>
                  <a:cubicBezTo>
                    <a:pt x="5954" y="3025"/>
                    <a:pt x="6269" y="3245"/>
                    <a:pt x="6585" y="3497"/>
                  </a:cubicBezTo>
                  <a:cubicBezTo>
                    <a:pt x="7026" y="3812"/>
                    <a:pt x="7561" y="4191"/>
                    <a:pt x="7561" y="4884"/>
                  </a:cubicBezTo>
                  <a:cubicBezTo>
                    <a:pt x="7561" y="5419"/>
                    <a:pt x="7215" y="5860"/>
                    <a:pt x="6742" y="6049"/>
                  </a:cubicBezTo>
                  <a:lnTo>
                    <a:pt x="6742" y="6333"/>
                  </a:lnTo>
                  <a:cubicBezTo>
                    <a:pt x="6742" y="6553"/>
                    <a:pt x="6553" y="6774"/>
                    <a:pt x="6301" y="6774"/>
                  </a:cubicBezTo>
                  <a:cubicBezTo>
                    <a:pt x="6080" y="6774"/>
                    <a:pt x="5923" y="6553"/>
                    <a:pt x="5923" y="6333"/>
                  </a:cubicBezTo>
                  <a:lnTo>
                    <a:pt x="5923" y="6049"/>
                  </a:lnTo>
                  <a:cubicBezTo>
                    <a:pt x="5450" y="5892"/>
                    <a:pt x="5104" y="5419"/>
                    <a:pt x="5104" y="4884"/>
                  </a:cubicBezTo>
                  <a:cubicBezTo>
                    <a:pt x="5104" y="4632"/>
                    <a:pt x="5293" y="4443"/>
                    <a:pt x="5482" y="4443"/>
                  </a:cubicBezTo>
                  <a:cubicBezTo>
                    <a:pt x="5734" y="4443"/>
                    <a:pt x="5923" y="4632"/>
                    <a:pt x="5923" y="4884"/>
                  </a:cubicBezTo>
                  <a:cubicBezTo>
                    <a:pt x="5923" y="5104"/>
                    <a:pt x="6112" y="5262"/>
                    <a:pt x="6301" y="5262"/>
                  </a:cubicBezTo>
                  <a:cubicBezTo>
                    <a:pt x="6522" y="5262"/>
                    <a:pt x="6742" y="5073"/>
                    <a:pt x="6742" y="4884"/>
                  </a:cubicBezTo>
                  <a:cubicBezTo>
                    <a:pt x="6742" y="4632"/>
                    <a:pt x="6427" y="4411"/>
                    <a:pt x="6080" y="4159"/>
                  </a:cubicBezTo>
                  <a:cubicBezTo>
                    <a:pt x="5639" y="3844"/>
                    <a:pt x="5104" y="3466"/>
                    <a:pt x="5104" y="2773"/>
                  </a:cubicBezTo>
                  <a:cubicBezTo>
                    <a:pt x="5104" y="2237"/>
                    <a:pt x="5450" y="1796"/>
                    <a:pt x="5923" y="1607"/>
                  </a:cubicBezTo>
                  <a:lnTo>
                    <a:pt x="5923" y="1324"/>
                  </a:lnTo>
                  <a:cubicBezTo>
                    <a:pt x="5923" y="1103"/>
                    <a:pt x="6112" y="946"/>
                    <a:pt x="6301" y="946"/>
                  </a:cubicBezTo>
                  <a:close/>
                  <a:moveTo>
                    <a:pt x="1260" y="0"/>
                  </a:moveTo>
                  <a:cubicBezTo>
                    <a:pt x="599" y="0"/>
                    <a:pt x="0" y="536"/>
                    <a:pt x="0" y="1261"/>
                  </a:cubicBezTo>
                  <a:lnTo>
                    <a:pt x="0" y="7719"/>
                  </a:lnTo>
                  <a:lnTo>
                    <a:pt x="12697" y="7719"/>
                  </a:lnTo>
                  <a:lnTo>
                    <a:pt x="12697" y="1261"/>
                  </a:lnTo>
                  <a:cubicBezTo>
                    <a:pt x="12697" y="536"/>
                    <a:pt x="12129" y="0"/>
                    <a:pt x="114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0" name="Google Shape;6770;p72"/>
          <p:cNvGrpSpPr/>
          <p:nvPr/>
        </p:nvGrpSpPr>
        <p:grpSpPr>
          <a:xfrm>
            <a:off x="2180515" y="2748450"/>
            <a:ext cx="365438" cy="360001"/>
            <a:chOff x="-60991775" y="3376900"/>
            <a:chExt cx="315850" cy="311150"/>
          </a:xfrm>
        </p:grpSpPr>
        <p:sp>
          <p:nvSpPr>
            <p:cNvPr id="6771" name="Google Shape;6771;p72"/>
            <p:cNvSpPr/>
            <p:nvPr/>
          </p:nvSpPr>
          <p:spPr>
            <a:xfrm>
              <a:off x="-60991000" y="3376900"/>
              <a:ext cx="315075" cy="311150"/>
            </a:xfrm>
            <a:custGeom>
              <a:avLst/>
              <a:gdLst/>
              <a:ahLst/>
              <a:cxnLst/>
              <a:rect l="l" t="t" r="r" b="b"/>
              <a:pathLst>
                <a:path w="12603" h="12446" extrusionOk="0">
                  <a:moveTo>
                    <a:pt x="11136" y="1"/>
                  </a:moveTo>
                  <a:cubicBezTo>
                    <a:pt x="11054" y="1"/>
                    <a:pt x="10975" y="1"/>
                    <a:pt x="10902" y="1"/>
                  </a:cubicBezTo>
                  <a:cubicBezTo>
                    <a:pt x="10429" y="1"/>
                    <a:pt x="10051" y="159"/>
                    <a:pt x="9736" y="474"/>
                  </a:cubicBezTo>
                  <a:lnTo>
                    <a:pt x="3561" y="6649"/>
                  </a:lnTo>
                  <a:lnTo>
                    <a:pt x="2301" y="6428"/>
                  </a:lnTo>
                  <a:cubicBezTo>
                    <a:pt x="2278" y="6423"/>
                    <a:pt x="2253" y="6420"/>
                    <a:pt x="2229" y="6420"/>
                  </a:cubicBezTo>
                  <a:cubicBezTo>
                    <a:pt x="2119" y="6420"/>
                    <a:pt x="2000" y="6471"/>
                    <a:pt x="1923" y="6523"/>
                  </a:cubicBezTo>
                  <a:lnTo>
                    <a:pt x="158" y="8319"/>
                  </a:lnTo>
                  <a:cubicBezTo>
                    <a:pt x="32" y="8382"/>
                    <a:pt x="1" y="8539"/>
                    <a:pt x="32" y="8697"/>
                  </a:cubicBezTo>
                  <a:cubicBezTo>
                    <a:pt x="95" y="8823"/>
                    <a:pt x="190" y="8949"/>
                    <a:pt x="347" y="8980"/>
                  </a:cubicBezTo>
                  <a:lnTo>
                    <a:pt x="2994" y="9484"/>
                  </a:lnTo>
                  <a:lnTo>
                    <a:pt x="3498" y="12131"/>
                  </a:lnTo>
                  <a:cubicBezTo>
                    <a:pt x="3561" y="12288"/>
                    <a:pt x="3624" y="12414"/>
                    <a:pt x="3782" y="12446"/>
                  </a:cubicBezTo>
                  <a:lnTo>
                    <a:pt x="3908" y="12446"/>
                  </a:lnTo>
                  <a:cubicBezTo>
                    <a:pt x="4034" y="12446"/>
                    <a:pt x="4128" y="12414"/>
                    <a:pt x="4254" y="12414"/>
                  </a:cubicBezTo>
                  <a:lnTo>
                    <a:pt x="6018" y="10619"/>
                  </a:lnTo>
                  <a:cubicBezTo>
                    <a:pt x="6144" y="10556"/>
                    <a:pt x="6176" y="10398"/>
                    <a:pt x="6144" y="10272"/>
                  </a:cubicBezTo>
                  <a:lnTo>
                    <a:pt x="5924" y="9012"/>
                  </a:lnTo>
                  <a:lnTo>
                    <a:pt x="12099" y="2837"/>
                  </a:lnTo>
                  <a:cubicBezTo>
                    <a:pt x="12414" y="2522"/>
                    <a:pt x="12571" y="2081"/>
                    <a:pt x="12571" y="1671"/>
                  </a:cubicBezTo>
                  <a:cubicBezTo>
                    <a:pt x="12571" y="1199"/>
                    <a:pt x="12603" y="600"/>
                    <a:pt x="12288" y="285"/>
                  </a:cubicBezTo>
                  <a:cubicBezTo>
                    <a:pt x="12025" y="22"/>
                    <a:pt x="11544" y="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2"/>
            <p:cNvSpPr/>
            <p:nvPr/>
          </p:nvSpPr>
          <p:spPr>
            <a:xfrm>
              <a:off x="-60991775" y="3404275"/>
              <a:ext cx="174875" cy="89250"/>
            </a:xfrm>
            <a:custGeom>
              <a:avLst/>
              <a:gdLst/>
              <a:ahLst/>
              <a:cxnLst/>
              <a:rect l="l" t="t" r="r" b="b"/>
              <a:pathLst>
                <a:path w="6995" h="3570" extrusionOk="0">
                  <a:moveTo>
                    <a:pt x="1632" y="1"/>
                  </a:moveTo>
                  <a:cubicBezTo>
                    <a:pt x="1523" y="1"/>
                    <a:pt x="1407" y="57"/>
                    <a:pt x="1355" y="135"/>
                  </a:cubicBezTo>
                  <a:lnTo>
                    <a:pt x="158" y="1301"/>
                  </a:lnTo>
                  <a:cubicBezTo>
                    <a:pt x="95" y="1395"/>
                    <a:pt x="0" y="1553"/>
                    <a:pt x="32" y="1710"/>
                  </a:cubicBezTo>
                  <a:cubicBezTo>
                    <a:pt x="126" y="1773"/>
                    <a:pt x="189" y="1899"/>
                    <a:pt x="315" y="1931"/>
                  </a:cubicBezTo>
                  <a:lnTo>
                    <a:pt x="4317" y="3569"/>
                  </a:lnTo>
                  <a:lnTo>
                    <a:pt x="6995" y="891"/>
                  </a:lnTo>
                  <a:lnTo>
                    <a:pt x="1702" y="9"/>
                  </a:lnTo>
                  <a:cubicBezTo>
                    <a:pt x="1679" y="4"/>
                    <a:pt x="1656" y="1"/>
                    <a:pt x="1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72"/>
            <p:cNvSpPr/>
            <p:nvPr/>
          </p:nvSpPr>
          <p:spPr>
            <a:xfrm>
              <a:off x="-60795650" y="3513975"/>
              <a:ext cx="89000" cy="173300"/>
            </a:xfrm>
            <a:custGeom>
              <a:avLst/>
              <a:gdLst/>
              <a:ahLst/>
              <a:cxnLst/>
              <a:rect l="l" t="t" r="r" b="b"/>
              <a:pathLst>
                <a:path w="3560" h="6932" extrusionOk="0">
                  <a:moveTo>
                    <a:pt x="2678" y="0"/>
                  </a:moveTo>
                  <a:lnTo>
                    <a:pt x="0" y="2678"/>
                  </a:lnTo>
                  <a:lnTo>
                    <a:pt x="1607" y="6679"/>
                  </a:lnTo>
                  <a:cubicBezTo>
                    <a:pt x="1638" y="6805"/>
                    <a:pt x="1764" y="6931"/>
                    <a:pt x="1922" y="6931"/>
                  </a:cubicBezTo>
                  <a:lnTo>
                    <a:pt x="1985" y="6931"/>
                  </a:lnTo>
                  <a:cubicBezTo>
                    <a:pt x="2111" y="6931"/>
                    <a:pt x="2206" y="6900"/>
                    <a:pt x="2269" y="6805"/>
                  </a:cubicBezTo>
                  <a:lnTo>
                    <a:pt x="3466" y="5640"/>
                  </a:lnTo>
                  <a:cubicBezTo>
                    <a:pt x="3529" y="5545"/>
                    <a:pt x="3560" y="5388"/>
                    <a:pt x="3560" y="5262"/>
                  </a:cubicBezTo>
                  <a:lnTo>
                    <a:pt x="267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4" name="Google Shape;6774;p72"/>
          <p:cNvGrpSpPr/>
          <p:nvPr/>
        </p:nvGrpSpPr>
        <p:grpSpPr>
          <a:xfrm>
            <a:off x="2180052" y="3199314"/>
            <a:ext cx="366364" cy="359075"/>
            <a:chOff x="-60988625" y="3740800"/>
            <a:chExt cx="316650" cy="310350"/>
          </a:xfrm>
        </p:grpSpPr>
        <p:sp>
          <p:nvSpPr>
            <p:cNvPr id="6775" name="Google Shape;6775;p72"/>
            <p:cNvSpPr/>
            <p:nvPr/>
          </p:nvSpPr>
          <p:spPr>
            <a:xfrm>
              <a:off x="-60988625" y="3740800"/>
              <a:ext cx="311125" cy="310350"/>
            </a:xfrm>
            <a:custGeom>
              <a:avLst/>
              <a:gdLst/>
              <a:ahLst/>
              <a:cxnLst/>
              <a:rect l="l" t="t" r="r" b="b"/>
              <a:pathLst>
                <a:path w="12445" h="12414" extrusionOk="0">
                  <a:moveTo>
                    <a:pt x="7026" y="1670"/>
                  </a:moveTo>
                  <a:cubicBezTo>
                    <a:pt x="7278" y="1670"/>
                    <a:pt x="7467" y="1859"/>
                    <a:pt x="7467" y="2111"/>
                  </a:cubicBezTo>
                  <a:cubicBezTo>
                    <a:pt x="7467" y="2332"/>
                    <a:pt x="7278" y="2490"/>
                    <a:pt x="7026" y="2490"/>
                  </a:cubicBezTo>
                  <a:lnTo>
                    <a:pt x="2080" y="2490"/>
                  </a:lnTo>
                  <a:cubicBezTo>
                    <a:pt x="1828" y="2490"/>
                    <a:pt x="1639" y="2300"/>
                    <a:pt x="1639" y="2111"/>
                  </a:cubicBezTo>
                  <a:cubicBezTo>
                    <a:pt x="1639" y="1828"/>
                    <a:pt x="1828" y="1670"/>
                    <a:pt x="2080" y="1670"/>
                  </a:cubicBezTo>
                  <a:close/>
                  <a:moveTo>
                    <a:pt x="7026" y="4159"/>
                  </a:moveTo>
                  <a:cubicBezTo>
                    <a:pt x="7278" y="4159"/>
                    <a:pt x="7467" y="4348"/>
                    <a:pt x="7467" y="4537"/>
                  </a:cubicBezTo>
                  <a:cubicBezTo>
                    <a:pt x="7467" y="4789"/>
                    <a:pt x="7278" y="4978"/>
                    <a:pt x="7026" y="4978"/>
                  </a:cubicBezTo>
                  <a:lnTo>
                    <a:pt x="2080" y="4978"/>
                  </a:lnTo>
                  <a:cubicBezTo>
                    <a:pt x="1828" y="4978"/>
                    <a:pt x="1639" y="4789"/>
                    <a:pt x="1639" y="4537"/>
                  </a:cubicBezTo>
                  <a:cubicBezTo>
                    <a:pt x="1639" y="4317"/>
                    <a:pt x="1828" y="4159"/>
                    <a:pt x="2080" y="4159"/>
                  </a:cubicBezTo>
                  <a:close/>
                  <a:moveTo>
                    <a:pt x="7026" y="6648"/>
                  </a:moveTo>
                  <a:cubicBezTo>
                    <a:pt x="7278" y="6648"/>
                    <a:pt x="7467" y="6837"/>
                    <a:pt x="7467" y="7058"/>
                  </a:cubicBezTo>
                  <a:cubicBezTo>
                    <a:pt x="7467" y="7310"/>
                    <a:pt x="7278" y="7467"/>
                    <a:pt x="7026" y="7467"/>
                  </a:cubicBezTo>
                  <a:lnTo>
                    <a:pt x="2080" y="7467"/>
                  </a:lnTo>
                  <a:cubicBezTo>
                    <a:pt x="1828" y="7467"/>
                    <a:pt x="1639" y="7278"/>
                    <a:pt x="1639" y="7058"/>
                  </a:cubicBezTo>
                  <a:cubicBezTo>
                    <a:pt x="1639" y="6806"/>
                    <a:pt x="1828" y="6648"/>
                    <a:pt x="2080" y="6648"/>
                  </a:cubicBezTo>
                  <a:close/>
                  <a:moveTo>
                    <a:pt x="7026" y="9106"/>
                  </a:moveTo>
                  <a:cubicBezTo>
                    <a:pt x="7278" y="9106"/>
                    <a:pt x="7467" y="9295"/>
                    <a:pt x="7467" y="9515"/>
                  </a:cubicBezTo>
                  <a:cubicBezTo>
                    <a:pt x="7467" y="9736"/>
                    <a:pt x="7278" y="9893"/>
                    <a:pt x="7026" y="9893"/>
                  </a:cubicBezTo>
                  <a:lnTo>
                    <a:pt x="2080" y="9893"/>
                  </a:lnTo>
                  <a:cubicBezTo>
                    <a:pt x="1828" y="9893"/>
                    <a:pt x="1639" y="9704"/>
                    <a:pt x="1639" y="9515"/>
                  </a:cubicBezTo>
                  <a:cubicBezTo>
                    <a:pt x="1639" y="9263"/>
                    <a:pt x="1828" y="9106"/>
                    <a:pt x="2080" y="9106"/>
                  </a:cubicBezTo>
                  <a:close/>
                  <a:moveTo>
                    <a:pt x="11500" y="10775"/>
                  </a:moveTo>
                  <a:cubicBezTo>
                    <a:pt x="11342" y="11248"/>
                    <a:pt x="10870" y="11594"/>
                    <a:pt x="10303" y="11594"/>
                  </a:cubicBezTo>
                  <a:cubicBezTo>
                    <a:pt x="9767" y="11594"/>
                    <a:pt x="9326" y="11248"/>
                    <a:pt x="9137" y="10775"/>
                  </a:cubicBezTo>
                  <a:close/>
                  <a:moveTo>
                    <a:pt x="1261" y="1"/>
                  </a:moveTo>
                  <a:cubicBezTo>
                    <a:pt x="568" y="1"/>
                    <a:pt x="32" y="568"/>
                    <a:pt x="32" y="1229"/>
                  </a:cubicBezTo>
                  <a:lnTo>
                    <a:pt x="32" y="10334"/>
                  </a:lnTo>
                  <a:cubicBezTo>
                    <a:pt x="0" y="11468"/>
                    <a:pt x="946" y="12414"/>
                    <a:pt x="2080" y="12414"/>
                  </a:cubicBezTo>
                  <a:lnTo>
                    <a:pt x="10334" y="12414"/>
                  </a:lnTo>
                  <a:cubicBezTo>
                    <a:pt x="11500" y="12414"/>
                    <a:pt x="12445" y="11468"/>
                    <a:pt x="12445" y="10334"/>
                  </a:cubicBezTo>
                  <a:cubicBezTo>
                    <a:pt x="12445" y="10082"/>
                    <a:pt x="12224" y="9893"/>
                    <a:pt x="12004" y="9893"/>
                  </a:cubicBezTo>
                  <a:lnTo>
                    <a:pt x="9074" y="9893"/>
                  </a:lnTo>
                  <a:lnTo>
                    <a:pt x="9074" y="1229"/>
                  </a:lnTo>
                  <a:cubicBezTo>
                    <a:pt x="9074" y="568"/>
                    <a:pt x="8538"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2"/>
            <p:cNvSpPr/>
            <p:nvPr/>
          </p:nvSpPr>
          <p:spPr>
            <a:xfrm>
              <a:off x="-60742100" y="3920375"/>
              <a:ext cx="68550" cy="55175"/>
            </a:xfrm>
            <a:custGeom>
              <a:avLst/>
              <a:gdLst/>
              <a:ahLst/>
              <a:cxnLst/>
              <a:rect l="l" t="t" r="r" b="b"/>
              <a:pathLst>
                <a:path w="2742" h="2207" extrusionOk="0">
                  <a:moveTo>
                    <a:pt x="0" y="1"/>
                  </a:moveTo>
                  <a:lnTo>
                    <a:pt x="0" y="32"/>
                  </a:lnTo>
                  <a:lnTo>
                    <a:pt x="1009" y="1986"/>
                  </a:lnTo>
                  <a:cubicBezTo>
                    <a:pt x="1103" y="2080"/>
                    <a:pt x="1261" y="2206"/>
                    <a:pt x="1418" y="2206"/>
                  </a:cubicBezTo>
                  <a:cubicBezTo>
                    <a:pt x="1576" y="2206"/>
                    <a:pt x="1733" y="2143"/>
                    <a:pt x="1796" y="1986"/>
                  </a:cubicBezTo>
                  <a:lnTo>
                    <a:pt x="2741" y="32"/>
                  </a:lnTo>
                  <a:lnTo>
                    <a:pt x="274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2"/>
            <p:cNvSpPr/>
            <p:nvPr/>
          </p:nvSpPr>
          <p:spPr>
            <a:xfrm>
              <a:off x="-60740525" y="3741600"/>
              <a:ext cx="68550" cy="158325"/>
            </a:xfrm>
            <a:custGeom>
              <a:avLst/>
              <a:gdLst/>
              <a:ahLst/>
              <a:cxnLst/>
              <a:rect l="l" t="t" r="r" b="b"/>
              <a:pathLst>
                <a:path w="2742" h="6333" extrusionOk="0">
                  <a:moveTo>
                    <a:pt x="1796" y="819"/>
                  </a:moveTo>
                  <a:cubicBezTo>
                    <a:pt x="1891" y="819"/>
                    <a:pt x="1922" y="882"/>
                    <a:pt x="1922" y="945"/>
                  </a:cubicBezTo>
                  <a:lnTo>
                    <a:pt x="1922" y="1638"/>
                  </a:lnTo>
                  <a:lnTo>
                    <a:pt x="820" y="1638"/>
                  </a:lnTo>
                  <a:lnTo>
                    <a:pt x="820" y="945"/>
                  </a:lnTo>
                  <a:cubicBezTo>
                    <a:pt x="820" y="851"/>
                    <a:pt x="883" y="819"/>
                    <a:pt x="977" y="819"/>
                  </a:cubicBezTo>
                  <a:close/>
                  <a:moveTo>
                    <a:pt x="977" y="0"/>
                  </a:moveTo>
                  <a:cubicBezTo>
                    <a:pt x="410" y="0"/>
                    <a:pt x="1" y="410"/>
                    <a:pt x="1" y="945"/>
                  </a:cubicBezTo>
                  <a:lnTo>
                    <a:pt x="1" y="6333"/>
                  </a:lnTo>
                  <a:lnTo>
                    <a:pt x="2741" y="6333"/>
                  </a:lnTo>
                  <a:lnTo>
                    <a:pt x="2741" y="945"/>
                  </a:lnTo>
                  <a:cubicBezTo>
                    <a:pt x="2741" y="410"/>
                    <a:pt x="230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8" name="Google Shape;6778;p72"/>
          <p:cNvGrpSpPr/>
          <p:nvPr/>
        </p:nvGrpSpPr>
        <p:grpSpPr>
          <a:xfrm>
            <a:off x="2180052" y="3654765"/>
            <a:ext cx="366364" cy="365207"/>
            <a:chOff x="-60987850" y="4100950"/>
            <a:chExt cx="316650" cy="315650"/>
          </a:xfrm>
        </p:grpSpPr>
        <p:sp>
          <p:nvSpPr>
            <p:cNvPr id="6779" name="Google Shape;6779;p72"/>
            <p:cNvSpPr/>
            <p:nvPr/>
          </p:nvSpPr>
          <p:spPr>
            <a:xfrm>
              <a:off x="-60987850" y="4355925"/>
              <a:ext cx="315875" cy="60675"/>
            </a:xfrm>
            <a:custGeom>
              <a:avLst/>
              <a:gdLst/>
              <a:ahLst/>
              <a:cxnLst/>
              <a:rect l="l" t="t" r="r" b="b"/>
              <a:pathLst>
                <a:path w="12635" h="2427" extrusionOk="0">
                  <a:moveTo>
                    <a:pt x="1230" y="1"/>
                  </a:moveTo>
                  <a:cubicBezTo>
                    <a:pt x="537" y="1"/>
                    <a:pt x="1" y="536"/>
                    <a:pt x="1" y="1198"/>
                  </a:cubicBezTo>
                  <a:lnTo>
                    <a:pt x="1" y="2049"/>
                  </a:lnTo>
                  <a:cubicBezTo>
                    <a:pt x="1" y="2269"/>
                    <a:pt x="190" y="2427"/>
                    <a:pt x="379" y="2427"/>
                  </a:cubicBezTo>
                  <a:lnTo>
                    <a:pt x="12256" y="2427"/>
                  </a:lnTo>
                  <a:cubicBezTo>
                    <a:pt x="12477" y="2427"/>
                    <a:pt x="12634" y="2238"/>
                    <a:pt x="12634" y="2049"/>
                  </a:cubicBezTo>
                  <a:lnTo>
                    <a:pt x="12634" y="1198"/>
                  </a:lnTo>
                  <a:cubicBezTo>
                    <a:pt x="12634" y="536"/>
                    <a:pt x="12099" y="1"/>
                    <a:pt x="11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2"/>
            <p:cNvSpPr/>
            <p:nvPr/>
          </p:nvSpPr>
          <p:spPr>
            <a:xfrm>
              <a:off x="-60987050" y="4100950"/>
              <a:ext cx="315850" cy="123475"/>
            </a:xfrm>
            <a:custGeom>
              <a:avLst/>
              <a:gdLst/>
              <a:ahLst/>
              <a:cxnLst/>
              <a:rect l="l" t="t" r="r" b="b"/>
              <a:pathLst>
                <a:path w="12634" h="4939" extrusionOk="0">
                  <a:moveTo>
                    <a:pt x="6270" y="2355"/>
                  </a:moveTo>
                  <a:cubicBezTo>
                    <a:pt x="6490" y="2355"/>
                    <a:pt x="6711" y="2544"/>
                    <a:pt x="6711" y="2796"/>
                  </a:cubicBezTo>
                  <a:cubicBezTo>
                    <a:pt x="6711" y="2985"/>
                    <a:pt x="6490" y="3174"/>
                    <a:pt x="6270" y="3174"/>
                  </a:cubicBezTo>
                  <a:cubicBezTo>
                    <a:pt x="6018" y="3174"/>
                    <a:pt x="5860" y="2985"/>
                    <a:pt x="5860" y="2796"/>
                  </a:cubicBezTo>
                  <a:cubicBezTo>
                    <a:pt x="5860" y="2544"/>
                    <a:pt x="6081" y="2355"/>
                    <a:pt x="6270" y="2355"/>
                  </a:cubicBezTo>
                  <a:close/>
                  <a:moveTo>
                    <a:pt x="6290" y="0"/>
                  </a:moveTo>
                  <a:cubicBezTo>
                    <a:pt x="6238" y="0"/>
                    <a:pt x="6191" y="8"/>
                    <a:pt x="6144" y="24"/>
                  </a:cubicBezTo>
                  <a:lnTo>
                    <a:pt x="252" y="2513"/>
                  </a:lnTo>
                  <a:cubicBezTo>
                    <a:pt x="95" y="2576"/>
                    <a:pt x="0" y="2702"/>
                    <a:pt x="0" y="2891"/>
                  </a:cubicBezTo>
                  <a:lnTo>
                    <a:pt x="0" y="4561"/>
                  </a:lnTo>
                  <a:cubicBezTo>
                    <a:pt x="0" y="4781"/>
                    <a:pt x="189" y="4939"/>
                    <a:pt x="410" y="4939"/>
                  </a:cubicBezTo>
                  <a:lnTo>
                    <a:pt x="12256" y="4939"/>
                  </a:lnTo>
                  <a:cubicBezTo>
                    <a:pt x="12476" y="4939"/>
                    <a:pt x="12634" y="4750"/>
                    <a:pt x="12634" y="4561"/>
                  </a:cubicBezTo>
                  <a:lnTo>
                    <a:pt x="12634" y="2891"/>
                  </a:lnTo>
                  <a:cubicBezTo>
                    <a:pt x="12602" y="2702"/>
                    <a:pt x="12539" y="2544"/>
                    <a:pt x="12382" y="2513"/>
                  </a:cubicBezTo>
                  <a:lnTo>
                    <a:pt x="6459" y="24"/>
                  </a:lnTo>
                  <a:cubicBezTo>
                    <a:pt x="6396" y="8"/>
                    <a:pt x="6341" y="0"/>
                    <a:pt x="62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2"/>
            <p:cNvSpPr/>
            <p:nvPr/>
          </p:nvSpPr>
          <p:spPr>
            <a:xfrm>
              <a:off x="-60757075" y="4245675"/>
              <a:ext cx="61475" cy="89025"/>
            </a:xfrm>
            <a:custGeom>
              <a:avLst/>
              <a:gdLst/>
              <a:ahLst/>
              <a:cxnLst/>
              <a:rect l="l" t="t" r="r" b="b"/>
              <a:pathLst>
                <a:path w="2459" h="3561" extrusionOk="0">
                  <a:moveTo>
                    <a:pt x="1" y="0"/>
                  </a:moveTo>
                  <a:lnTo>
                    <a:pt x="1" y="3560"/>
                  </a:lnTo>
                  <a:lnTo>
                    <a:pt x="2458" y="3560"/>
                  </a:lnTo>
                  <a:lnTo>
                    <a:pt x="24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2"/>
            <p:cNvSpPr/>
            <p:nvPr/>
          </p:nvSpPr>
          <p:spPr>
            <a:xfrm>
              <a:off x="-60861025"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2"/>
            <p:cNvSpPr/>
            <p:nvPr/>
          </p:nvSpPr>
          <p:spPr>
            <a:xfrm>
              <a:off x="-60964200"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4" name="Google Shape;6784;p72"/>
          <p:cNvGrpSpPr/>
          <p:nvPr/>
        </p:nvGrpSpPr>
        <p:grpSpPr>
          <a:xfrm>
            <a:off x="3949836" y="3200225"/>
            <a:ext cx="369083" cy="357253"/>
            <a:chOff x="-59447250" y="3706150"/>
            <a:chExt cx="319000" cy="308775"/>
          </a:xfrm>
        </p:grpSpPr>
        <p:sp>
          <p:nvSpPr>
            <p:cNvPr id="6785" name="Google Shape;6785;p72"/>
            <p:cNvSpPr/>
            <p:nvPr/>
          </p:nvSpPr>
          <p:spPr>
            <a:xfrm>
              <a:off x="-59381875" y="3922750"/>
              <a:ext cx="79575" cy="29950"/>
            </a:xfrm>
            <a:custGeom>
              <a:avLst/>
              <a:gdLst/>
              <a:ahLst/>
              <a:cxnLst/>
              <a:rect l="l" t="t" r="r" b="b"/>
              <a:pathLst>
                <a:path w="3183" h="1198" extrusionOk="0">
                  <a:moveTo>
                    <a:pt x="1607" y="0"/>
                  </a:moveTo>
                  <a:cubicBezTo>
                    <a:pt x="820" y="0"/>
                    <a:pt x="190" y="504"/>
                    <a:pt x="1" y="1197"/>
                  </a:cubicBezTo>
                  <a:lnTo>
                    <a:pt x="3183" y="1197"/>
                  </a:lnTo>
                  <a:cubicBezTo>
                    <a:pt x="3025" y="536"/>
                    <a:pt x="2363"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2"/>
            <p:cNvSpPr/>
            <p:nvPr/>
          </p:nvSpPr>
          <p:spPr>
            <a:xfrm>
              <a:off x="-59364550" y="3861525"/>
              <a:ext cx="43350" cy="40900"/>
            </a:xfrm>
            <a:custGeom>
              <a:avLst/>
              <a:gdLst/>
              <a:ahLst/>
              <a:cxnLst/>
              <a:rect l="l" t="t" r="r" b="b"/>
              <a:pathLst>
                <a:path w="1734" h="1636" extrusionOk="0">
                  <a:moveTo>
                    <a:pt x="858" y="0"/>
                  </a:moveTo>
                  <a:cubicBezTo>
                    <a:pt x="784" y="0"/>
                    <a:pt x="707" y="8"/>
                    <a:pt x="631" y="23"/>
                  </a:cubicBezTo>
                  <a:cubicBezTo>
                    <a:pt x="347" y="118"/>
                    <a:pt x="127" y="307"/>
                    <a:pt x="95" y="590"/>
                  </a:cubicBezTo>
                  <a:cubicBezTo>
                    <a:pt x="1" y="906"/>
                    <a:pt x="95" y="1189"/>
                    <a:pt x="284" y="1410"/>
                  </a:cubicBezTo>
                  <a:cubicBezTo>
                    <a:pt x="446" y="1548"/>
                    <a:pt x="658" y="1636"/>
                    <a:pt x="871" y="1636"/>
                  </a:cubicBezTo>
                  <a:cubicBezTo>
                    <a:pt x="949" y="1636"/>
                    <a:pt x="1027" y="1624"/>
                    <a:pt x="1103" y="1599"/>
                  </a:cubicBezTo>
                  <a:cubicBezTo>
                    <a:pt x="1387" y="1536"/>
                    <a:pt x="1607" y="1347"/>
                    <a:pt x="1670" y="1063"/>
                  </a:cubicBezTo>
                  <a:cubicBezTo>
                    <a:pt x="1733" y="748"/>
                    <a:pt x="1670" y="464"/>
                    <a:pt x="1450" y="244"/>
                  </a:cubicBezTo>
                  <a:cubicBezTo>
                    <a:pt x="1307" y="77"/>
                    <a:pt x="1091" y="0"/>
                    <a:pt x="8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2"/>
            <p:cNvSpPr/>
            <p:nvPr/>
          </p:nvSpPr>
          <p:spPr>
            <a:xfrm>
              <a:off x="-59447250" y="3706150"/>
              <a:ext cx="319000" cy="308775"/>
            </a:xfrm>
            <a:custGeom>
              <a:avLst/>
              <a:gdLst/>
              <a:ahLst/>
              <a:cxnLst/>
              <a:rect l="l" t="t" r="r" b="b"/>
              <a:pathLst>
                <a:path w="12760" h="12351" extrusionOk="0">
                  <a:moveTo>
                    <a:pt x="6428" y="820"/>
                  </a:moveTo>
                  <a:cubicBezTo>
                    <a:pt x="6900" y="820"/>
                    <a:pt x="7247" y="1166"/>
                    <a:pt x="7247" y="1639"/>
                  </a:cubicBezTo>
                  <a:lnTo>
                    <a:pt x="7247" y="4128"/>
                  </a:lnTo>
                  <a:lnTo>
                    <a:pt x="5609" y="4128"/>
                  </a:lnTo>
                  <a:lnTo>
                    <a:pt x="5609" y="1639"/>
                  </a:lnTo>
                  <a:cubicBezTo>
                    <a:pt x="5609" y="1166"/>
                    <a:pt x="5955" y="820"/>
                    <a:pt x="6428" y="820"/>
                  </a:cubicBezTo>
                  <a:close/>
                  <a:moveTo>
                    <a:pt x="10681" y="6616"/>
                  </a:moveTo>
                  <a:cubicBezTo>
                    <a:pt x="10901" y="6616"/>
                    <a:pt x="11059" y="6805"/>
                    <a:pt x="11059" y="6994"/>
                  </a:cubicBezTo>
                  <a:cubicBezTo>
                    <a:pt x="11122" y="7247"/>
                    <a:pt x="10901" y="7436"/>
                    <a:pt x="10681" y="7436"/>
                  </a:cubicBezTo>
                  <a:lnTo>
                    <a:pt x="8192" y="7436"/>
                  </a:lnTo>
                  <a:cubicBezTo>
                    <a:pt x="7971" y="7436"/>
                    <a:pt x="7751" y="7247"/>
                    <a:pt x="7751" y="6994"/>
                  </a:cubicBezTo>
                  <a:cubicBezTo>
                    <a:pt x="7751" y="6742"/>
                    <a:pt x="7971" y="6616"/>
                    <a:pt x="8192" y="6616"/>
                  </a:cubicBezTo>
                  <a:close/>
                  <a:moveTo>
                    <a:pt x="10681" y="8255"/>
                  </a:moveTo>
                  <a:cubicBezTo>
                    <a:pt x="10901" y="8255"/>
                    <a:pt x="11059" y="8444"/>
                    <a:pt x="11059" y="8696"/>
                  </a:cubicBezTo>
                  <a:cubicBezTo>
                    <a:pt x="11122" y="8885"/>
                    <a:pt x="10901" y="9074"/>
                    <a:pt x="10681" y="9074"/>
                  </a:cubicBezTo>
                  <a:lnTo>
                    <a:pt x="8192" y="9074"/>
                  </a:lnTo>
                  <a:cubicBezTo>
                    <a:pt x="7971" y="9074"/>
                    <a:pt x="7751" y="8885"/>
                    <a:pt x="7751" y="8696"/>
                  </a:cubicBezTo>
                  <a:cubicBezTo>
                    <a:pt x="7751" y="8444"/>
                    <a:pt x="7971" y="8255"/>
                    <a:pt x="8192" y="8255"/>
                  </a:cubicBezTo>
                  <a:close/>
                  <a:moveTo>
                    <a:pt x="4233" y="5360"/>
                  </a:moveTo>
                  <a:cubicBezTo>
                    <a:pt x="4671" y="5360"/>
                    <a:pt x="5082" y="5531"/>
                    <a:pt x="5388" y="5860"/>
                  </a:cubicBezTo>
                  <a:cubicBezTo>
                    <a:pt x="5829" y="6301"/>
                    <a:pt x="5987" y="6868"/>
                    <a:pt x="5829" y="7467"/>
                  </a:cubicBezTo>
                  <a:cubicBezTo>
                    <a:pt x="5766" y="7751"/>
                    <a:pt x="5640" y="7971"/>
                    <a:pt x="5451" y="8192"/>
                  </a:cubicBezTo>
                  <a:cubicBezTo>
                    <a:pt x="6176" y="8601"/>
                    <a:pt x="6711" y="9389"/>
                    <a:pt x="6711" y="10334"/>
                  </a:cubicBezTo>
                  <a:cubicBezTo>
                    <a:pt x="6711" y="10555"/>
                    <a:pt x="6491" y="10744"/>
                    <a:pt x="6270" y="10744"/>
                  </a:cubicBezTo>
                  <a:lnTo>
                    <a:pt x="2143" y="10744"/>
                  </a:lnTo>
                  <a:cubicBezTo>
                    <a:pt x="1891" y="10744"/>
                    <a:pt x="1733" y="10555"/>
                    <a:pt x="1733" y="10303"/>
                  </a:cubicBezTo>
                  <a:cubicBezTo>
                    <a:pt x="1733" y="9357"/>
                    <a:pt x="2238" y="8570"/>
                    <a:pt x="3025" y="8129"/>
                  </a:cubicBezTo>
                  <a:cubicBezTo>
                    <a:pt x="2647" y="7688"/>
                    <a:pt x="2490" y="7121"/>
                    <a:pt x="2647" y="6553"/>
                  </a:cubicBezTo>
                  <a:cubicBezTo>
                    <a:pt x="2805" y="6018"/>
                    <a:pt x="3246" y="5577"/>
                    <a:pt x="3781" y="5419"/>
                  </a:cubicBezTo>
                  <a:cubicBezTo>
                    <a:pt x="3933" y="5379"/>
                    <a:pt x="4084" y="5360"/>
                    <a:pt x="4233" y="5360"/>
                  </a:cubicBezTo>
                  <a:close/>
                  <a:moveTo>
                    <a:pt x="10681" y="9893"/>
                  </a:moveTo>
                  <a:cubicBezTo>
                    <a:pt x="10901" y="9893"/>
                    <a:pt x="11059" y="10113"/>
                    <a:pt x="11059" y="10303"/>
                  </a:cubicBezTo>
                  <a:cubicBezTo>
                    <a:pt x="11122" y="10555"/>
                    <a:pt x="10901" y="10744"/>
                    <a:pt x="10681" y="10744"/>
                  </a:cubicBezTo>
                  <a:lnTo>
                    <a:pt x="8192" y="10744"/>
                  </a:lnTo>
                  <a:cubicBezTo>
                    <a:pt x="7971" y="10744"/>
                    <a:pt x="7751" y="10555"/>
                    <a:pt x="7751" y="10303"/>
                  </a:cubicBezTo>
                  <a:cubicBezTo>
                    <a:pt x="7751" y="10050"/>
                    <a:pt x="7971" y="9893"/>
                    <a:pt x="8192" y="9893"/>
                  </a:cubicBezTo>
                  <a:close/>
                  <a:moveTo>
                    <a:pt x="6396" y="0"/>
                  </a:moveTo>
                  <a:cubicBezTo>
                    <a:pt x="5483" y="0"/>
                    <a:pt x="4726" y="725"/>
                    <a:pt x="4726" y="1639"/>
                  </a:cubicBezTo>
                  <a:lnTo>
                    <a:pt x="4726" y="2458"/>
                  </a:lnTo>
                  <a:lnTo>
                    <a:pt x="1261" y="2458"/>
                  </a:lnTo>
                  <a:cubicBezTo>
                    <a:pt x="599" y="2458"/>
                    <a:pt x="1" y="3025"/>
                    <a:pt x="1" y="3686"/>
                  </a:cubicBezTo>
                  <a:lnTo>
                    <a:pt x="1" y="11122"/>
                  </a:lnTo>
                  <a:cubicBezTo>
                    <a:pt x="1" y="11815"/>
                    <a:pt x="568" y="12350"/>
                    <a:pt x="1261" y="12350"/>
                  </a:cubicBezTo>
                  <a:lnTo>
                    <a:pt x="11468" y="12350"/>
                  </a:lnTo>
                  <a:cubicBezTo>
                    <a:pt x="12130" y="12350"/>
                    <a:pt x="12697" y="11815"/>
                    <a:pt x="12697" y="11122"/>
                  </a:cubicBezTo>
                  <a:lnTo>
                    <a:pt x="12697" y="3686"/>
                  </a:lnTo>
                  <a:cubicBezTo>
                    <a:pt x="12760" y="3025"/>
                    <a:pt x="12162" y="2458"/>
                    <a:pt x="11500" y="2458"/>
                  </a:cubicBezTo>
                  <a:lnTo>
                    <a:pt x="8034" y="2458"/>
                  </a:lnTo>
                  <a:lnTo>
                    <a:pt x="8034" y="1639"/>
                  </a:lnTo>
                  <a:cubicBezTo>
                    <a:pt x="8034" y="725"/>
                    <a:pt x="7278"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2"/>
            <p:cNvSpPr/>
            <p:nvPr/>
          </p:nvSpPr>
          <p:spPr>
            <a:xfrm>
              <a:off x="-59293650" y="3740025"/>
              <a:ext cx="14175" cy="14200"/>
            </a:xfrm>
            <a:custGeom>
              <a:avLst/>
              <a:gdLst/>
              <a:ahLst/>
              <a:cxnLst/>
              <a:rect l="l" t="t" r="r" b="b"/>
              <a:pathLst>
                <a:path w="567" h="568" extrusionOk="0">
                  <a:moveTo>
                    <a:pt x="284" y="0"/>
                  </a:moveTo>
                  <a:cubicBezTo>
                    <a:pt x="126" y="0"/>
                    <a:pt x="0" y="126"/>
                    <a:pt x="0" y="284"/>
                  </a:cubicBezTo>
                  <a:cubicBezTo>
                    <a:pt x="0" y="441"/>
                    <a:pt x="126" y="567"/>
                    <a:pt x="284" y="567"/>
                  </a:cubicBezTo>
                  <a:cubicBezTo>
                    <a:pt x="441" y="567"/>
                    <a:pt x="567" y="441"/>
                    <a:pt x="567" y="284"/>
                  </a:cubicBezTo>
                  <a:cubicBezTo>
                    <a:pt x="567" y="126"/>
                    <a:pt x="441" y="0"/>
                    <a:pt x="2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9" name="Google Shape;6789;p72"/>
          <p:cNvGrpSpPr/>
          <p:nvPr/>
        </p:nvGrpSpPr>
        <p:grpSpPr>
          <a:xfrm>
            <a:off x="1738564" y="1381536"/>
            <a:ext cx="368186" cy="364224"/>
            <a:chOff x="-64406125" y="3362225"/>
            <a:chExt cx="318225" cy="314800"/>
          </a:xfrm>
        </p:grpSpPr>
        <p:sp>
          <p:nvSpPr>
            <p:cNvPr id="6790" name="Google Shape;6790;p72"/>
            <p:cNvSpPr/>
            <p:nvPr/>
          </p:nvSpPr>
          <p:spPr>
            <a:xfrm>
              <a:off x="-64332100" y="3362225"/>
              <a:ext cx="170150" cy="199025"/>
            </a:xfrm>
            <a:custGeom>
              <a:avLst/>
              <a:gdLst/>
              <a:ahLst/>
              <a:cxnLst/>
              <a:rect l="l" t="t" r="r" b="b"/>
              <a:pathLst>
                <a:path w="6806" h="7961" extrusionOk="0">
                  <a:moveTo>
                    <a:pt x="4506" y="3266"/>
                  </a:moveTo>
                  <a:cubicBezTo>
                    <a:pt x="4569" y="3266"/>
                    <a:pt x="4601" y="3298"/>
                    <a:pt x="4632" y="3298"/>
                  </a:cubicBezTo>
                  <a:lnTo>
                    <a:pt x="5577" y="4621"/>
                  </a:lnTo>
                  <a:cubicBezTo>
                    <a:pt x="5420" y="5881"/>
                    <a:pt x="4664" y="7110"/>
                    <a:pt x="3403" y="7110"/>
                  </a:cubicBezTo>
                  <a:cubicBezTo>
                    <a:pt x="2206" y="7110"/>
                    <a:pt x="1419" y="5944"/>
                    <a:pt x="1261" y="4621"/>
                  </a:cubicBezTo>
                  <a:lnTo>
                    <a:pt x="2206" y="3298"/>
                  </a:lnTo>
                  <a:cubicBezTo>
                    <a:pt x="2238" y="3266"/>
                    <a:pt x="2269" y="3266"/>
                    <a:pt x="2301" y="3266"/>
                  </a:cubicBezTo>
                  <a:close/>
                  <a:moveTo>
                    <a:pt x="4055" y="1"/>
                  </a:moveTo>
                  <a:cubicBezTo>
                    <a:pt x="3400" y="1"/>
                    <a:pt x="2703" y="167"/>
                    <a:pt x="2049" y="494"/>
                  </a:cubicBezTo>
                  <a:cubicBezTo>
                    <a:pt x="1957" y="483"/>
                    <a:pt x="1867" y="478"/>
                    <a:pt x="1779" y="478"/>
                  </a:cubicBezTo>
                  <a:cubicBezTo>
                    <a:pt x="1354" y="478"/>
                    <a:pt x="976" y="600"/>
                    <a:pt x="662" y="809"/>
                  </a:cubicBezTo>
                  <a:cubicBezTo>
                    <a:pt x="347" y="1061"/>
                    <a:pt x="1" y="1534"/>
                    <a:pt x="1" y="2384"/>
                  </a:cubicBezTo>
                  <a:cubicBezTo>
                    <a:pt x="1" y="2857"/>
                    <a:pt x="95" y="3613"/>
                    <a:pt x="347" y="4621"/>
                  </a:cubicBezTo>
                  <a:cubicBezTo>
                    <a:pt x="473" y="4810"/>
                    <a:pt x="536" y="6070"/>
                    <a:pt x="1482" y="7078"/>
                  </a:cubicBezTo>
                  <a:cubicBezTo>
                    <a:pt x="2049" y="7646"/>
                    <a:pt x="2710" y="7961"/>
                    <a:pt x="3403" y="7961"/>
                  </a:cubicBezTo>
                  <a:cubicBezTo>
                    <a:pt x="5136" y="7961"/>
                    <a:pt x="6207" y="6417"/>
                    <a:pt x="6396" y="4621"/>
                  </a:cubicBezTo>
                  <a:cubicBezTo>
                    <a:pt x="6554" y="4085"/>
                    <a:pt x="6774" y="3046"/>
                    <a:pt x="6806" y="2447"/>
                  </a:cubicBezTo>
                  <a:cubicBezTo>
                    <a:pt x="6806" y="1565"/>
                    <a:pt x="6459" y="872"/>
                    <a:pt x="5703" y="431"/>
                  </a:cubicBezTo>
                  <a:cubicBezTo>
                    <a:pt x="5234" y="143"/>
                    <a:pt x="4662" y="1"/>
                    <a:pt x="40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2"/>
            <p:cNvSpPr/>
            <p:nvPr/>
          </p:nvSpPr>
          <p:spPr>
            <a:xfrm>
              <a:off x="-64406125" y="3559050"/>
              <a:ext cx="318225" cy="117975"/>
            </a:xfrm>
            <a:custGeom>
              <a:avLst/>
              <a:gdLst/>
              <a:ahLst/>
              <a:cxnLst/>
              <a:rect l="l" t="t" r="r" b="b"/>
              <a:pathLst>
                <a:path w="12729" h="4719" extrusionOk="0">
                  <a:moveTo>
                    <a:pt x="4474" y="1001"/>
                  </a:moveTo>
                  <a:lnTo>
                    <a:pt x="5797" y="2293"/>
                  </a:lnTo>
                  <a:lnTo>
                    <a:pt x="5199" y="2891"/>
                  </a:lnTo>
                  <a:lnTo>
                    <a:pt x="4002" y="1159"/>
                  </a:lnTo>
                  <a:cubicBezTo>
                    <a:pt x="4159" y="1096"/>
                    <a:pt x="4380" y="1064"/>
                    <a:pt x="4474" y="1001"/>
                  </a:cubicBezTo>
                  <a:close/>
                  <a:moveTo>
                    <a:pt x="8318" y="1001"/>
                  </a:moveTo>
                  <a:cubicBezTo>
                    <a:pt x="8475" y="1064"/>
                    <a:pt x="8633" y="1159"/>
                    <a:pt x="8790" y="1190"/>
                  </a:cubicBezTo>
                  <a:lnTo>
                    <a:pt x="7593" y="2891"/>
                  </a:lnTo>
                  <a:lnTo>
                    <a:pt x="6995" y="2293"/>
                  </a:lnTo>
                  <a:lnTo>
                    <a:pt x="8318" y="1001"/>
                  </a:lnTo>
                  <a:close/>
                  <a:moveTo>
                    <a:pt x="10681" y="3112"/>
                  </a:moveTo>
                  <a:cubicBezTo>
                    <a:pt x="10901" y="3112"/>
                    <a:pt x="11059" y="3301"/>
                    <a:pt x="11059" y="3553"/>
                  </a:cubicBezTo>
                  <a:cubicBezTo>
                    <a:pt x="11059" y="3742"/>
                    <a:pt x="10870" y="3931"/>
                    <a:pt x="10681" y="3931"/>
                  </a:cubicBezTo>
                  <a:lnTo>
                    <a:pt x="9578" y="3931"/>
                  </a:lnTo>
                  <a:cubicBezTo>
                    <a:pt x="9326" y="3931"/>
                    <a:pt x="9137" y="3742"/>
                    <a:pt x="9137" y="3553"/>
                  </a:cubicBezTo>
                  <a:cubicBezTo>
                    <a:pt x="9137" y="3301"/>
                    <a:pt x="9326" y="3112"/>
                    <a:pt x="9578" y="3112"/>
                  </a:cubicBezTo>
                  <a:close/>
                  <a:moveTo>
                    <a:pt x="4458" y="1"/>
                  </a:moveTo>
                  <a:cubicBezTo>
                    <a:pt x="4348" y="1"/>
                    <a:pt x="4238" y="40"/>
                    <a:pt x="4159" y="119"/>
                  </a:cubicBezTo>
                  <a:cubicBezTo>
                    <a:pt x="4065" y="245"/>
                    <a:pt x="3939" y="308"/>
                    <a:pt x="3781" y="308"/>
                  </a:cubicBezTo>
                  <a:lnTo>
                    <a:pt x="2395" y="308"/>
                  </a:lnTo>
                  <a:cubicBezTo>
                    <a:pt x="914" y="308"/>
                    <a:pt x="0" y="1442"/>
                    <a:pt x="0" y="2639"/>
                  </a:cubicBezTo>
                  <a:lnTo>
                    <a:pt x="0" y="4341"/>
                  </a:lnTo>
                  <a:cubicBezTo>
                    <a:pt x="0" y="4561"/>
                    <a:pt x="189" y="4719"/>
                    <a:pt x="441" y="4719"/>
                  </a:cubicBezTo>
                  <a:lnTo>
                    <a:pt x="12287" y="4719"/>
                  </a:lnTo>
                  <a:cubicBezTo>
                    <a:pt x="12508" y="4719"/>
                    <a:pt x="12665" y="4530"/>
                    <a:pt x="12665" y="4341"/>
                  </a:cubicBezTo>
                  <a:lnTo>
                    <a:pt x="12665" y="2639"/>
                  </a:lnTo>
                  <a:cubicBezTo>
                    <a:pt x="12728" y="1474"/>
                    <a:pt x="11783" y="371"/>
                    <a:pt x="10303" y="371"/>
                  </a:cubicBezTo>
                  <a:lnTo>
                    <a:pt x="8948" y="371"/>
                  </a:lnTo>
                  <a:cubicBezTo>
                    <a:pt x="8727" y="371"/>
                    <a:pt x="8664" y="277"/>
                    <a:pt x="8538" y="151"/>
                  </a:cubicBezTo>
                  <a:cubicBezTo>
                    <a:pt x="8456" y="52"/>
                    <a:pt x="8339" y="5"/>
                    <a:pt x="8219" y="5"/>
                  </a:cubicBezTo>
                  <a:cubicBezTo>
                    <a:pt x="8110" y="5"/>
                    <a:pt x="7998" y="44"/>
                    <a:pt x="7908" y="119"/>
                  </a:cubicBezTo>
                  <a:lnTo>
                    <a:pt x="6333" y="1694"/>
                  </a:lnTo>
                  <a:lnTo>
                    <a:pt x="4758" y="119"/>
                  </a:lnTo>
                  <a:cubicBezTo>
                    <a:pt x="4679" y="40"/>
                    <a:pt x="4569" y="1"/>
                    <a:pt x="4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2" name="Google Shape;6792;p72"/>
          <p:cNvSpPr/>
          <p:nvPr/>
        </p:nvSpPr>
        <p:spPr>
          <a:xfrm>
            <a:off x="1801771" y="1823000"/>
            <a:ext cx="241524" cy="367261"/>
          </a:xfrm>
          <a:custGeom>
            <a:avLst/>
            <a:gdLst/>
            <a:ahLst/>
            <a:cxnLst/>
            <a:rect l="l" t="t" r="r" b="b"/>
            <a:pathLst>
              <a:path w="8350" h="12697" extrusionOk="0">
                <a:moveTo>
                  <a:pt x="4222" y="1166"/>
                </a:moveTo>
                <a:cubicBezTo>
                  <a:pt x="4443" y="1166"/>
                  <a:pt x="4600" y="1386"/>
                  <a:pt x="4600" y="1607"/>
                </a:cubicBezTo>
                <a:lnTo>
                  <a:pt x="4600" y="1890"/>
                </a:lnTo>
                <a:cubicBezTo>
                  <a:pt x="5073" y="2048"/>
                  <a:pt x="5451" y="2520"/>
                  <a:pt x="5451" y="3088"/>
                </a:cubicBezTo>
                <a:cubicBezTo>
                  <a:pt x="5451" y="3308"/>
                  <a:pt x="5231" y="3497"/>
                  <a:pt x="5010" y="3497"/>
                </a:cubicBezTo>
                <a:cubicBezTo>
                  <a:pt x="4758" y="3497"/>
                  <a:pt x="4600" y="3308"/>
                  <a:pt x="4600" y="3088"/>
                </a:cubicBezTo>
                <a:cubicBezTo>
                  <a:pt x="4600" y="2835"/>
                  <a:pt x="4411" y="2678"/>
                  <a:pt x="4222" y="2678"/>
                </a:cubicBezTo>
                <a:cubicBezTo>
                  <a:pt x="3970" y="2678"/>
                  <a:pt x="3781" y="2867"/>
                  <a:pt x="3781" y="3088"/>
                </a:cubicBezTo>
                <a:cubicBezTo>
                  <a:pt x="3781" y="3308"/>
                  <a:pt x="4096" y="3529"/>
                  <a:pt x="4443" y="3781"/>
                </a:cubicBezTo>
                <a:cubicBezTo>
                  <a:pt x="4884" y="4096"/>
                  <a:pt x="5451" y="4505"/>
                  <a:pt x="5451" y="5167"/>
                </a:cubicBezTo>
                <a:cubicBezTo>
                  <a:pt x="5451" y="5702"/>
                  <a:pt x="5073" y="6143"/>
                  <a:pt x="4600" y="6333"/>
                </a:cubicBezTo>
                <a:lnTo>
                  <a:pt x="4600" y="6616"/>
                </a:lnTo>
                <a:cubicBezTo>
                  <a:pt x="4600" y="6868"/>
                  <a:pt x="4411" y="7026"/>
                  <a:pt x="4222" y="7026"/>
                </a:cubicBezTo>
                <a:cubicBezTo>
                  <a:pt x="3970" y="7026"/>
                  <a:pt x="3781" y="6805"/>
                  <a:pt x="3781" y="6616"/>
                </a:cubicBezTo>
                <a:lnTo>
                  <a:pt x="3781" y="6333"/>
                </a:lnTo>
                <a:cubicBezTo>
                  <a:pt x="3309" y="6143"/>
                  <a:pt x="2962" y="5702"/>
                  <a:pt x="2962" y="5167"/>
                </a:cubicBezTo>
                <a:cubicBezTo>
                  <a:pt x="2962" y="4915"/>
                  <a:pt x="3151" y="4757"/>
                  <a:pt x="3372" y="4757"/>
                </a:cubicBezTo>
                <a:cubicBezTo>
                  <a:pt x="3624" y="4757"/>
                  <a:pt x="3781" y="4978"/>
                  <a:pt x="3781" y="5167"/>
                </a:cubicBezTo>
                <a:cubicBezTo>
                  <a:pt x="3781" y="5387"/>
                  <a:pt x="3970" y="5608"/>
                  <a:pt x="4222" y="5608"/>
                </a:cubicBezTo>
                <a:cubicBezTo>
                  <a:pt x="4443" y="5608"/>
                  <a:pt x="4600" y="5387"/>
                  <a:pt x="4600" y="5167"/>
                </a:cubicBezTo>
                <a:cubicBezTo>
                  <a:pt x="4600" y="4915"/>
                  <a:pt x="4285" y="4694"/>
                  <a:pt x="3939" y="4442"/>
                </a:cubicBezTo>
                <a:cubicBezTo>
                  <a:pt x="3498" y="4127"/>
                  <a:pt x="2962" y="3749"/>
                  <a:pt x="2962" y="3088"/>
                </a:cubicBezTo>
                <a:cubicBezTo>
                  <a:pt x="2962" y="2520"/>
                  <a:pt x="3309" y="2079"/>
                  <a:pt x="3781" y="1890"/>
                </a:cubicBezTo>
                <a:lnTo>
                  <a:pt x="3781" y="1607"/>
                </a:lnTo>
                <a:cubicBezTo>
                  <a:pt x="3781" y="1386"/>
                  <a:pt x="3970" y="1166"/>
                  <a:pt x="4222" y="1166"/>
                </a:cubicBezTo>
                <a:close/>
                <a:moveTo>
                  <a:pt x="4222" y="0"/>
                </a:moveTo>
                <a:cubicBezTo>
                  <a:pt x="1923" y="0"/>
                  <a:pt x="64" y="1859"/>
                  <a:pt x="64" y="4127"/>
                </a:cubicBezTo>
                <a:cubicBezTo>
                  <a:pt x="64" y="6270"/>
                  <a:pt x="1733" y="8034"/>
                  <a:pt x="3781" y="8223"/>
                </a:cubicBezTo>
                <a:lnTo>
                  <a:pt x="3781" y="9767"/>
                </a:lnTo>
                <a:cubicBezTo>
                  <a:pt x="3655" y="9609"/>
                  <a:pt x="3529" y="9483"/>
                  <a:pt x="3372" y="9325"/>
                </a:cubicBezTo>
                <a:cubicBezTo>
                  <a:pt x="2647" y="8601"/>
                  <a:pt x="1576" y="8128"/>
                  <a:pt x="442" y="8128"/>
                </a:cubicBezTo>
                <a:cubicBezTo>
                  <a:pt x="190" y="8128"/>
                  <a:pt x="32" y="8317"/>
                  <a:pt x="32" y="8506"/>
                </a:cubicBezTo>
                <a:cubicBezTo>
                  <a:pt x="1" y="9609"/>
                  <a:pt x="442" y="10617"/>
                  <a:pt x="1261" y="11468"/>
                </a:cubicBezTo>
                <a:cubicBezTo>
                  <a:pt x="2049" y="12255"/>
                  <a:pt x="3057" y="12696"/>
                  <a:pt x="4096" y="12696"/>
                </a:cubicBezTo>
                <a:lnTo>
                  <a:pt x="4159" y="12696"/>
                </a:lnTo>
                <a:cubicBezTo>
                  <a:pt x="5231" y="12696"/>
                  <a:pt x="6302" y="12287"/>
                  <a:pt x="7089" y="11468"/>
                </a:cubicBezTo>
                <a:cubicBezTo>
                  <a:pt x="7877" y="10680"/>
                  <a:pt x="8318" y="9641"/>
                  <a:pt x="8318" y="8506"/>
                </a:cubicBezTo>
                <a:cubicBezTo>
                  <a:pt x="8350" y="8317"/>
                  <a:pt x="8160" y="8128"/>
                  <a:pt x="7940" y="8128"/>
                </a:cubicBezTo>
                <a:cubicBezTo>
                  <a:pt x="7871" y="8124"/>
                  <a:pt x="7801" y="8122"/>
                  <a:pt x="7733" y="8122"/>
                </a:cubicBezTo>
                <a:cubicBezTo>
                  <a:pt x="6711" y="8122"/>
                  <a:pt x="5778" y="8558"/>
                  <a:pt x="5010" y="9325"/>
                </a:cubicBezTo>
                <a:cubicBezTo>
                  <a:pt x="4852" y="9483"/>
                  <a:pt x="4726" y="9609"/>
                  <a:pt x="4600" y="9767"/>
                </a:cubicBezTo>
                <a:lnTo>
                  <a:pt x="4600" y="8223"/>
                </a:lnTo>
                <a:cubicBezTo>
                  <a:pt x="6680" y="8034"/>
                  <a:pt x="8350" y="6270"/>
                  <a:pt x="8350" y="4127"/>
                </a:cubicBezTo>
                <a:cubicBezTo>
                  <a:pt x="8350" y="1859"/>
                  <a:pt x="6491"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3" name="Google Shape;6793;p72"/>
          <p:cNvGrpSpPr/>
          <p:nvPr/>
        </p:nvGrpSpPr>
        <p:grpSpPr>
          <a:xfrm>
            <a:off x="1739027" y="2252381"/>
            <a:ext cx="367261" cy="366364"/>
            <a:chOff x="-64410850" y="4094450"/>
            <a:chExt cx="317425" cy="316650"/>
          </a:xfrm>
        </p:grpSpPr>
        <p:sp>
          <p:nvSpPr>
            <p:cNvPr id="6794" name="Google Shape;6794;p72"/>
            <p:cNvSpPr/>
            <p:nvPr/>
          </p:nvSpPr>
          <p:spPr>
            <a:xfrm>
              <a:off x="-64410850" y="4348850"/>
              <a:ext cx="317425" cy="62250"/>
            </a:xfrm>
            <a:custGeom>
              <a:avLst/>
              <a:gdLst/>
              <a:ahLst/>
              <a:cxnLst/>
              <a:rect l="l" t="t" r="r" b="b"/>
              <a:pathLst>
                <a:path w="12697" h="2490" extrusionOk="0">
                  <a:moveTo>
                    <a:pt x="3403" y="0"/>
                  </a:moveTo>
                  <a:cubicBezTo>
                    <a:pt x="2741" y="0"/>
                    <a:pt x="2206" y="536"/>
                    <a:pt x="2206" y="1229"/>
                  </a:cubicBezTo>
                  <a:lnTo>
                    <a:pt x="2206" y="1639"/>
                  </a:lnTo>
                  <a:lnTo>
                    <a:pt x="410" y="1639"/>
                  </a:lnTo>
                  <a:cubicBezTo>
                    <a:pt x="189" y="1639"/>
                    <a:pt x="0" y="1859"/>
                    <a:pt x="0" y="2048"/>
                  </a:cubicBezTo>
                  <a:cubicBezTo>
                    <a:pt x="0" y="2269"/>
                    <a:pt x="189" y="2489"/>
                    <a:pt x="410" y="2489"/>
                  </a:cubicBezTo>
                  <a:lnTo>
                    <a:pt x="12287" y="2489"/>
                  </a:lnTo>
                  <a:cubicBezTo>
                    <a:pt x="12508" y="2489"/>
                    <a:pt x="12697" y="2269"/>
                    <a:pt x="12697" y="2048"/>
                  </a:cubicBezTo>
                  <a:cubicBezTo>
                    <a:pt x="12634" y="1859"/>
                    <a:pt x="12445" y="1639"/>
                    <a:pt x="12193" y="1639"/>
                  </a:cubicBezTo>
                  <a:lnTo>
                    <a:pt x="10429" y="1639"/>
                  </a:lnTo>
                  <a:lnTo>
                    <a:pt x="10429" y="1229"/>
                  </a:lnTo>
                  <a:cubicBezTo>
                    <a:pt x="10429" y="536"/>
                    <a:pt x="9861" y="0"/>
                    <a:pt x="92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2"/>
            <p:cNvSpPr/>
            <p:nvPr/>
          </p:nvSpPr>
          <p:spPr>
            <a:xfrm>
              <a:off x="-64315550" y="4094450"/>
              <a:ext cx="122100" cy="192200"/>
            </a:xfrm>
            <a:custGeom>
              <a:avLst/>
              <a:gdLst/>
              <a:ahLst/>
              <a:cxnLst/>
              <a:rect l="l" t="t" r="r" b="b"/>
              <a:pathLst>
                <a:path w="4884" h="7688" extrusionOk="0">
                  <a:moveTo>
                    <a:pt x="2489" y="0"/>
                  </a:moveTo>
                  <a:cubicBezTo>
                    <a:pt x="2269" y="0"/>
                    <a:pt x="2080" y="189"/>
                    <a:pt x="2080" y="410"/>
                  </a:cubicBezTo>
                  <a:lnTo>
                    <a:pt x="2080" y="819"/>
                  </a:lnTo>
                  <a:lnTo>
                    <a:pt x="1639" y="819"/>
                  </a:lnTo>
                  <a:cubicBezTo>
                    <a:pt x="1418" y="819"/>
                    <a:pt x="1261" y="1040"/>
                    <a:pt x="1261" y="1229"/>
                  </a:cubicBezTo>
                  <a:cubicBezTo>
                    <a:pt x="1261" y="1450"/>
                    <a:pt x="1450" y="1670"/>
                    <a:pt x="1639" y="1670"/>
                  </a:cubicBezTo>
                  <a:lnTo>
                    <a:pt x="2080" y="1670"/>
                  </a:lnTo>
                  <a:lnTo>
                    <a:pt x="2080" y="2489"/>
                  </a:lnTo>
                  <a:lnTo>
                    <a:pt x="1481" y="2489"/>
                  </a:lnTo>
                  <a:cubicBezTo>
                    <a:pt x="820" y="2489"/>
                    <a:pt x="347" y="3151"/>
                    <a:pt x="599" y="3781"/>
                  </a:cubicBezTo>
                  <a:cubicBezTo>
                    <a:pt x="662" y="3970"/>
                    <a:pt x="694" y="4222"/>
                    <a:pt x="788" y="4411"/>
                  </a:cubicBezTo>
                  <a:lnTo>
                    <a:pt x="473" y="4411"/>
                  </a:lnTo>
                  <a:cubicBezTo>
                    <a:pt x="221" y="4411"/>
                    <a:pt x="63" y="4632"/>
                    <a:pt x="63" y="4821"/>
                  </a:cubicBezTo>
                  <a:cubicBezTo>
                    <a:pt x="0" y="5010"/>
                    <a:pt x="158" y="5199"/>
                    <a:pt x="379" y="5199"/>
                  </a:cubicBezTo>
                  <a:lnTo>
                    <a:pt x="820" y="5199"/>
                  </a:lnTo>
                  <a:cubicBezTo>
                    <a:pt x="851" y="6081"/>
                    <a:pt x="694" y="6900"/>
                    <a:pt x="316" y="7687"/>
                  </a:cubicBezTo>
                  <a:lnTo>
                    <a:pt x="4569" y="7687"/>
                  </a:lnTo>
                  <a:cubicBezTo>
                    <a:pt x="4159" y="6900"/>
                    <a:pt x="4002" y="6081"/>
                    <a:pt x="4065" y="5199"/>
                  </a:cubicBezTo>
                  <a:lnTo>
                    <a:pt x="4474" y="5199"/>
                  </a:lnTo>
                  <a:cubicBezTo>
                    <a:pt x="4726" y="5199"/>
                    <a:pt x="4884" y="5010"/>
                    <a:pt x="4884" y="4821"/>
                  </a:cubicBezTo>
                  <a:cubicBezTo>
                    <a:pt x="4884" y="4568"/>
                    <a:pt x="4695" y="4411"/>
                    <a:pt x="4474" y="4411"/>
                  </a:cubicBezTo>
                  <a:lnTo>
                    <a:pt x="4159" y="4411"/>
                  </a:lnTo>
                  <a:cubicBezTo>
                    <a:pt x="4222" y="4222"/>
                    <a:pt x="4285" y="3970"/>
                    <a:pt x="4380" y="3781"/>
                  </a:cubicBezTo>
                  <a:cubicBezTo>
                    <a:pt x="4600" y="3151"/>
                    <a:pt x="4128" y="2489"/>
                    <a:pt x="3466" y="2489"/>
                  </a:cubicBezTo>
                  <a:lnTo>
                    <a:pt x="2867" y="2489"/>
                  </a:lnTo>
                  <a:lnTo>
                    <a:pt x="2867" y="1670"/>
                  </a:lnTo>
                  <a:lnTo>
                    <a:pt x="3309" y="1670"/>
                  </a:lnTo>
                  <a:cubicBezTo>
                    <a:pt x="3561" y="1670"/>
                    <a:pt x="3687" y="1450"/>
                    <a:pt x="3687" y="1229"/>
                  </a:cubicBezTo>
                  <a:cubicBezTo>
                    <a:pt x="3687" y="977"/>
                    <a:pt x="3498" y="819"/>
                    <a:pt x="3309" y="819"/>
                  </a:cubicBezTo>
                  <a:lnTo>
                    <a:pt x="2867" y="819"/>
                  </a:lnTo>
                  <a:lnTo>
                    <a:pt x="2867" y="410"/>
                  </a:lnTo>
                  <a:cubicBezTo>
                    <a:pt x="2867"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2"/>
            <p:cNvSpPr/>
            <p:nvPr/>
          </p:nvSpPr>
          <p:spPr>
            <a:xfrm>
              <a:off x="-64335250" y="4307100"/>
              <a:ext cx="161500" cy="21300"/>
            </a:xfrm>
            <a:custGeom>
              <a:avLst/>
              <a:gdLst/>
              <a:ahLst/>
              <a:cxnLst/>
              <a:rect l="l" t="t" r="r" b="b"/>
              <a:pathLst>
                <a:path w="6460" h="852" extrusionOk="0">
                  <a:moveTo>
                    <a:pt x="1167" y="1"/>
                  </a:moveTo>
                  <a:cubicBezTo>
                    <a:pt x="631" y="1"/>
                    <a:pt x="190" y="379"/>
                    <a:pt x="1" y="851"/>
                  </a:cubicBezTo>
                  <a:lnTo>
                    <a:pt x="6459" y="851"/>
                  </a:lnTo>
                  <a:cubicBezTo>
                    <a:pt x="6302" y="379"/>
                    <a:pt x="5861"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7" name="Google Shape;6797;p72"/>
          <p:cNvSpPr/>
          <p:nvPr/>
        </p:nvSpPr>
        <p:spPr>
          <a:xfrm>
            <a:off x="3983247" y="1379900"/>
            <a:ext cx="319882" cy="367463"/>
          </a:xfrm>
          <a:custGeom>
            <a:avLst/>
            <a:gdLst/>
            <a:ahLst/>
            <a:cxnLst/>
            <a:rect l="l" t="t" r="r" b="b"/>
            <a:pathLst>
              <a:path w="11059" h="12704" extrusionOk="0">
                <a:moveTo>
                  <a:pt x="5545" y="3449"/>
                </a:moveTo>
                <a:cubicBezTo>
                  <a:pt x="5797" y="3449"/>
                  <a:pt x="5955" y="3638"/>
                  <a:pt x="5955" y="3859"/>
                </a:cubicBezTo>
                <a:lnTo>
                  <a:pt x="5955" y="4111"/>
                </a:lnTo>
                <a:cubicBezTo>
                  <a:pt x="6427" y="4268"/>
                  <a:pt x="6774" y="4741"/>
                  <a:pt x="6774" y="5308"/>
                </a:cubicBezTo>
                <a:cubicBezTo>
                  <a:pt x="6774" y="5528"/>
                  <a:pt x="6585" y="5749"/>
                  <a:pt x="6333" y="5749"/>
                </a:cubicBezTo>
                <a:cubicBezTo>
                  <a:pt x="6081" y="5749"/>
                  <a:pt x="5955" y="5528"/>
                  <a:pt x="5955" y="5308"/>
                </a:cubicBezTo>
                <a:cubicBezTo>
                  <a:pt x="5955" y="5056"/>
                  <a:pt x="5734" y="4898"/>
                  <a:pt x="5545" y="4898"/>
                </a:cubicBezTo>
                <a:cubicBezTo>
                  <a:pt x="5293" y="4898"/>
                  <a:pt x="5104" y="5119"/>
                  <a:pt x="5104" y="5308"/>
                </a:cubicBezTo>
                <a:cubicBezTo>
                  <a:pt x="5104" y="5528"/>
                  <a:pt x="5419" y="5780"/>
                  <a:pt x="5766" y="6001"/>
                </a:cubicBezTo>
                <a:cubicBezTo>
                  <a:pt x="6207" y="6316"/>
                  <a:pt x="6774" y="6725"/>
                  <a:pt x="6774" y="7387"/>
                </a:cubicBezTo>
                <a:cubicBezTo>
                  <a:pt x="6774" y="7954"/>
                  <a:pt x="6427" y="8364"/>
                  <a:pt x="5923" y="8584"/>
                </a:cubicBezTo>
                <a:lnTo>
                  <a:pt x="5923" y="8836"/>
                </a:lnTo>
                <a:cubicBezTo>
                  <a:pt x="5923" y="9088"/>
                  <a:pt x="5734" y="9246"/>
                  <a:pt x="5545" y="9246"/>
                </a:cubicBezTo>
                <a:cubicBezTo>
                  <a:pt x="5293" y="9246"/>
                  <a:pt x="5104" y="9057"/>
                  <a:pt x="5104" y="8836"/>
                </a:cubicBezTo>
                <a:lnTo>
                  <a:pt x="5104" y="8584"/>
                </a:lnTo>
                <a:cubicBezTo>
                  <a:pt x="4632" y="8427"/>
                  <a:pt x="4285" y="7954"/>
                  <a:pt x="4285" y="7387"/>
                </a:cubicBezTo>
                <a:cubicBezTo>
                  <a:pt x="4285" y="7167"/>
                  <a:pt x="4474" y="7009"/>
                  <a:pt x="4726" y="7009"/>
                </a:cubicBezTo>
                <a:cubicBezTo>
                  <a:pt x="4947" y="7009"/>
                  <a:pt x="5104" y="7198"/>
                  <a:pt x="5104" y="7387"/>
                </a:cubicBezTo>
                <a:cubicBezTo>
                  <a:pt x="5104" y="7639"/>
                  <a:pt x="5293" y="7828"/>
                  <a:pt x="5545" y="7828"/>
                </a:cubicBezTo>
                <a:cubicBezTo>
                  <a:pt x="5766" y="7828"/>
                  <a:pt x="5923" y="7639"/>
                  <a:pt x="5923" y="7387"/>
                </a:cubicBezTo>
                <a:cubicBezTo>
                  <a:pt x="5923" y="7167"/>
                  <a:pt x="5608" y="6914"/>
                  <a:pt x="5262" y="6694"/>
                </a:cubicBezTo>
                <a:cubicBezTo>
                  <a:pt x="4821" y="6379"/>
                  <a:pt x="4285" y="5969"/>
                  <a:pt x="4285" y="5308"/>
                </a:cubicBezTo>
                <a:cubicBezTo>
                  <a:pt x="4285" y="4741"/>
                  <a:pt x="4632" y="4331"/>
                  <a:pt x="5104" y="4111"/>
                </a:cubicBezTo>
                <a:lnTo>
                  <a:pt x="5104" y="3859"/>
                </a:lnTo>
                <a:cubicBezTo>
                  <a:pt x="5104" y="3606"/>
                  <a:pt x="5293" y="3449"/>
                  <a:pt x="5545" y="3449"/>
                </a:cubicBezTo>
                <a:close/>
                <a:moveTo>
                  <a:pt x="10651" y="1"/>
                </a:moveTo>
                <a:cubicBezTo>
                  <a:pt x="10562" y="1"/>
                  <a:pt x="10473" y="34"/>
                  <a:pt x="10397" y="109"/>
                </a:cubicBezTo>
                <a:cubicBezTo>
                  <a:pt x="9389" y="834"/>
                  <a:pt x="8538" y="960"/>
                  <a:pt x="8034" y="960"/>
                </a:cubicBezTo>
                <a:cubicBezTo>
                  <a:pt x="7310" y="960"/>
                  <a:pt x="6396" y="645"/>
                  <a:pt x="5766" y="172"/>
                </a:cubicBezTo>
                <a:cubicBezTo>
                  <a:pt x="5703" y="109"/>
                  <a:pt x="5616" y="78"/>
                  <a:pt x="5526" y="78"/>
                </a:cubicBezTo>
                <a:cubicBezTo>
                  <a:pt x="5435" y="78"/>
                  <a:pt x="5341" y="109"/>
                  <a:pt x="5262" y="172"/>
                </a:cubicBezTo>
                <a:cubicBezTo>
                  <a:pt x="4632" y="645"/>
                  <a:pt x="3781" y="960"/>
                  <a:pt x="3025" y="960"/>
                </a:cubicBezTo>
                <a:cubicBezTo>
                  <a:pt x="2237" y="960"/>
                  <a:pt x="1418" y="645"/>
                  <a:pt x="662" y="109"/>
                </a:cubicBezTo>
                <a:cubicBezTo>
                  <a:pt x="582" y="47"/>
                  <a:pt x="495" y="20"/>
                  <a:pt x="411" y="20"/>
                </a:cubicBezTo>
                <a:cubicBezTo>
                  <a:pt x="196" y="20"/>
                  <a:pt x="0" y="198"/>
                  <a:pt x="0" y="424"/>
                </a:cubicBezTo>
                <a:lnTo>
                  <a:pt x="0" y="5276"/>
                </a:lnTo>
                <a:cubicBezTo>
                  <a:pt x="0" y="8616"/>
                  <a:pt x="2143" y="11609"/>
                  <a:pt x="5388" y="12680"/>
                </a:cubicBezTo>
                <a:cubicBezTo>
                  <a:pt x="5419" y="12696"/>
                  <a:pt x="5459" y="12703"/>
                  <a:pt x="5506" y="12703"/>
                </a:cubicBezTo>
                <a:cubicBezTo>
                  <a:pt x="5553" y="12703"/>
                  <a:pt x="5608" y="12696"/>
                  <a:pt x="5671" y="12680"/>
                </a:cubicBezTo>
                <a:cubicBezTo>
                  <a:pt x="8885" y="11609"/>
                  <a:pt x="11059" y="8616"/>
                  <a:pt x="11059" y="5276"/>
                </a:cubicBezTo>
                <a:lnTo>
                  <a:pt x="11059" y="424"/>
                </a:lnTo>
                <a:cubicBezTo>
                  <a:pt x="11059" y="182"/>
                  <a:pt x="10858" y="1"/>
                  <a:pt x="106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8" name="Google Shape;6798;p72"/>
          <p:cNvGrpSpPr/>
          <p:nvPr/>
        </p:nvGrpSpPr>
        <p:grpSpPr>
          <a:xfrm>
            <a:off x="3960575" y="1822454"/>
            <a:ext cx="365467" cy="368389"/>
            <a:chOff x="-62516625" y="3743175"/>
            <a:chExt cx="315875" cy="318400"/>
          </a:xfrm>
        </p:grpSpPr>
        <p:sp>
          <p:nvSpPr>
            <p:cNvPr id="6799" name="Google Shape;6799;p72"/>
            <p:cNvSpPr/>
            <p:nvPr/>
          </p:nvSpPr>
          <p:spPr>
            <a:xfrm>
              <a:off x="-62334675" y="3884950"/>
              <a:ext cx="62250" cy="145725"/>
            </a:xfrm>
            <a:custGeom>
              <a:avLst/>
              <a:gdLst/>
              <a:ahLst/>
              <a:cxnLst/>
              <a:rect l="l" t="t" r="r" b="b"/>
              <a:pathLst>
                <a:path w="2490" h="5829" extrusionOk="0">
                  <a:moveTo>
                    <a:pt x="1229" y="0"/>
                  </a:moveTo>
                  <a:cubicBezTo>
                    <a:pt x="977" y="0"/>
                    <a:pt x="820" y="189"/>
                    <a:pt x="820" y="410"/>
                  </a:cubicBezTo>
                  <a:lnTo>
                    <a:pt x="820" y="662"/>
                  </a:lnTo>
                  <a:cubicBezTo>
                    <a:pt x="347" y="819"/>
                    <a:pt x="0" y="1292"/>
                    <a:pt x="0" y="1859"/>
                  </a:cubicBezTo>
                  <a:cubicBezTo>
                    <a:pt x="0" y="2520"/>
                    <a:pt x="536" y="2930"/>
                    <a:pt x="977" y="3245"/>
                  </a:cubicBezTo>
                  <a:cubicBezTo>
                    <a:pt x="1292" y="3466"/>
                    <a:pt x="1639" y="3718"/>
                    <a:pt x="1639" y="3938"/>
                  </a:cubicBezTo>
                  <a:cubicBezTo>
                    <a:pt x="1639" y="4190"/>
                    <a:pt x="1450" y="4348"/>
                    <a:pt x="1229" y="4348"/>
                  </a:cubicBezTo>
                  <a:cubicBezTo>
                    <a:pt x="977" y="4348"/>
                    <a:pt x="820" y="4127"/>
                    <a:pt x="820" y="3938"/>
                  </a:cubicBezTo>
                  <a:cubicBezTo>
                    <a:pt x="820" y="3718"/>
                    <a:pt x="631" y="3497"/>
                    <a:pt x="442" y="3497"/>
                  </a:cubicBezTo>
                  <a:cubicBezTo>
                    <a:pt x="221" y="3497"/>
                    <a:pt x="0" y="3718"/>
                    <a:pt x="0" y="3938"/>
                  </a:cubicBezTo>
                  <a:cubicBezTo>
                    <a:pt x="0" y="4505"/>
                    <a:pt x="347" y="4915"/>
                    <a:pt x="820" y="5135"/>
                  </a:cubicBezTo>
                  <a:lnTo>
                    <a:pt x="820" y="5387"/>
                  </a:lnTo>
                  <a:cubicBezTo>
                    <a:pt x="820" y="5639"/>
                    <a:pt x="1009" y="5828"/>
                    <a:pt x="1229" y="5828"/>
                  </a:cubicBezTo>
                  <a:cubicBezTo>
                    <a:pt x="1450" y="5828"/>
                    <a:pt x="1639" y="5639"/>
                    <a:pt x="1639" y="5387"/>
                  </a:cubicBezTo>
                  <a:lnTo>
                    <a:pt x="1639" y="5135"/>
                  </a:lnTo>
                  <a:cubicBezTo>
                    <a:pt x="2111" y="4978"/>
                    <a:pt x="2489" y="4505"/>
                    <a:pt x="2489" y="3938"/>
                  </a:cubicBezTo>
                  <a:cubicBezTo>
                    <a:pt x="2489" y="3277"/>
                    <a:pt x="1922" y="2867"/>
                    <a:pt x="1481" y="2552"/>
                  </a:cubicBezTo>
                  <a:cubicBezTo>
                    <a:pt x="1166" y="2331"/>
                    <a:pt x="820" y="2079"/>
                    <a:pt x="820" y="1859"/>
                  </a:cubicBezTo>
                  <a:cubicBezTo>
                    <a:pt x="820" y="1607"/>
                    <a:pt x="1009" y="1418"/>
                    <a:pt x="1229" y="1418"/>
                  </a:cubicBezTo>
                  <a:cubicBezTo>
                    <a:pt x="1450" y="1418"/>
                    <a:pt x="1639" y="1607"/>
                    <a:pt x="1639" y="1859"/>
                  </a:cubicBezTo>
                  <a:cubicBezTo>
                    <a:pt x="1639" y="2079"/>
                    <a:pt x="1859" y="2237"/>
                    <a:pt x="2048" y="2237"/>
                  </a:cubicBezTo>
                  <a:cubicBezTo>
                    <a:pt x="2237" y="2237"/>
                    <a:pt x="2489" y="2048"/>
                    <a:pt x="2489" y="1859"/>
                  </a:cubicBezTo>
                  <a:cubicBezTo>
                    <a:pt x="2489" y="1292"/>
                    <a:pt x="2143" y="882"/>
                    <a:pt x="1639" y="662"/>
                  </a:cubicBezTo>
                  <a:lnTo>
                    <a:pt x="1639" y="410"/>
                  </a:lnTo>
                  <a:cubicBezTo>
                    <a:pt x="1639" y="158"/>
                    <a:pt x="1450"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2"/>
            <p:cNvSpPr/>
            <p:nvPr/>
          </p:nvSpPr>
          <p:spPr>
            <a:xfrm>
              <a:off x="-62516625" y="3743175"/>
              <a:ext cx="315875" cy="318400"/>
            </a:xfrm>
            <a:custGeom>
              <a:avLst/>
              <a:gdLst/>
              <a:ahLst/>
              <a:cxnLst/>
              <a:rect l="l" t="t" r="r" b="b"/>
              <a:pathLst>
                <a:path w="12635" h="12736" extrusionOk="0">
                  <a:moveTo>
                    <a:pt x="4632" y="3308"/>
                  </a:moveTo>
                  <a:cubicBezTo>
                    <a:pt x="5388" y="3308"/>
                    <a:pt x="6018" y="3938"/>
                    <a:pt x="6018" y="4694"/>
                  </a:cubicBezTo>
                  <a:cubicBezTo>
                    <a:pt x="6018" y="5450"/>
                    <a:pt x="5420" y="6049"/>
                    <a:pt x="4632" y="6049"/>
                  </a:cubicBezTo>
                  <a:cubicBezTo>
                    <a:pt x="3876" y="6049"/>
                    <a:pt x="3246" y="5419"/>
                    <a:pt x="3246" y="4694"/>
                  </a:cubicBezTo>
                  <a:cubicBezTo>
                    <a:pt x="3246" y="3938"/>
                    <a:pt x="3876" y="3308"/>
                    <a:pt x="4632" y="3308"/>
                  </a:cubicBezTo>
                  <a:close/>
                  <a:moveTo>
                    <a:pt x="8507" y="5230"/>
                  </a:moveTo>
                  <a:cubicBezTo>
                    <a:pt x="10303" y="5230"/>
                    <a:pt x="11815" y="6742"/>
                    <a:pt x="11815" y="8538"/>
                  </a:cubicBezTo>
                  <a:cubicBezTo>
                    <a:pt x="11815" y="10365"/>
                    <a:pt x="10334" y="11846"/>
                    <a:pt x="8507" y="11846"/>
                  </a:cubicBezTo>
                  <a:cubicBezTo>
                    <a:pt x="6680" y="11846"/>
                    <a:pt x="5199" y="10365"/>
                    <a:pt x="5199" y="8538"/>
                  </a:cubicBezTo>
                  <a:cubicBezTo>
                    <a:pt x="5199" y="6742"/>
                    <a:pt x="6680" y="5230"/>
                    <a:pt x="8507" y="5230"/>
                  </a:cubicBezTo>
                  <a:close/>
                  <a:moveTo>
                    <a:pt x="4664" y="0"/>
                  </a:moveTo>
                  <a:cubicBezTo>
                    <a:pt x="2080" y="0"/>
                    <a:pt x="1" y="2079"/>
                    <a:pt x="1" y="4694"/>
                  </a:cubicBezTo>
                  <a:cubicBezTo>
                    <a:pt x="1" y="5703"/>
                    <a:pt x="316" y="6711"/>
                    <a:pt x="914" y="7498"/>
                  </a:cubicBezTo>
                  <a:lnTo>
                    <a:pt x="4317" y="12571"/>
                  </a:lnTo>
                  <a:cubicBezTo>
                    <a:pt x="4396" y="12681"/>
                    <a:pt x="4530" y="12736"/>
                    <a:pt x="4660" y="12736"/>
                  </a:cubicBezTo>
                  <a:cubicBezTo>
                    <a:pt x="4790" y="12736"/>
                    <a:pt x="4916" y="12681"/>
                    <a:pt x="4979" y="12571"/>
                  </a:cubicBezTo>
                  <a:lnTo>
                    <a:pt x="5672" y="11531"/>
                  </a:lnTo>
                  <a:cubicBezTo>
                    <a:pt x="6396" y="12256"/>
                    <a:pt x="7404" y="12665"/>
                    <a:pt x="8507" y="12665"/>
                  </a:cubicBezTo>
                  <a:cubicBezTo>
                    <a:pt x="10776" y="12665"/>
                    <a:pt x="12634" y="10838"/>
                    <a:pt x="12634" y="8538"/>
                  </a:cubicBezTo>
                  <a:cubicBezTo>
                    <a:pt x="12634" y="6553"/>
                    <a:pt x="11217" y="4852"/>
                    <a:pt x="9326" y="4474"/>
                  </a:cubicBezTo>
                  <a:lnTo>
                    <a:pt x="9326" y="4222"/>
                  </a:lnTo>
                  <a:cubicBezTo>
                    <a:pt x="9074" y="1796"/>
                    <a:pt x="7089" y="0"/>
                    <a:pt x="4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1" name="Google Shape;6801;p72"/>
          <p:cNvGrpSpPr/>
          <p:nvPr/>
        </p:nvGrpSpPr>
        <p:grpSpPr>
          <a:xfrm>
            <a:off x="3967415" y="2272426"/>
            <a:ext cx="351786" cy="326274"/>
            <a:chOff x="-62511900" y="4129100"/>
            <a:chExt cx="304050" cy="282000"/>
          </a:xfrm>
        </p:grpSpPr>
        <p:sp>
          <p:nvSpPr>
            <p:cNvPr id="6802" name="Google Shape;6802;p72"/>
            <p:cNvSpPr/>
            <p:nvPr/>
          </p:nvSpPr>
          <p:spPr>
            <a:xfrm>
              <a:off x="-62414225" y="4203925"/>
              <a:ext cx="206375" cy="207175"/>
            </a:xfrm>
            <a:custGeom>
              <a:avLst/>
              <a:gdLst/>
              <a:ahLst/>
              <a:cxnLst/>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2"/>
            <p:cNvSpPr/>
            <p:nvPr/>
          </p:nvSpPr>
          <p:spPr>
            <a:xfrm>
              <a:off x="-62511100" y="4129100"/>
              <a:ext cx="159900" cy="74850"/>
            </a:xfrm>
            <a:custGeom>
              <a:avLst/>
              <a:gdLst/>
              <a:ahLst/>
              <a:cxnLst/>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2"/>
            <p:cNvSpPr/>
            <p:nvPr/>
          </p:nvSpPr>
          <p:spPr>
            <a:xfrm>
              <a:off x="-62511100" y="4207075"/>
              <a:ext cx="110275" cy="59875"/>
            </a:xfrm>
            <a:custGeom>
              <a:avLst/>
              <a:gdLst/>
              <a:ahLst/>
              <a:cxnLst/>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2"/>
            <p:cNvSpPr/>
            <p:nvPr/>
          </p:nvSpPr>
          <p:spPr>
            <a:xfrm>
              <a:off x="-62511100" y="4329950"/>
              <a:ext cx="106350" cy="59875"/>
            </a:xfrm>
            <a:custGeom>
              <a:avLst/>
              <a:gdLst/>
              <a:ahLst/>
              <a:cxnLst/>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2"/>
            <p:cNvSpPr/>
            <p:nvPr/>
          </p:nvSpPr>
          <p:spPr>
            <a:xfrm>
              <a:off x="-62511900" y="4268500"/>
              <a:ext cx="78000" cy="60675"/>
            </a:xfrm>
            <a:custGeom>
              <a:avLst/>
              <a:gdLst/>
              <a:ahLst/>
              <a:cxnLst/>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7" name="Google Shape;6807;p72"/>
          <p:cNvGrpSpPr/>
          <p:nvPr/>
        </p:nvGrpSpPr>
        <p:grpSpPr>
          <a:xfrm>
            <a:off x="2645537" y="2744820"/>
            <a:ext cx="310770" cy="367261"/>
            <a:chOff x="-60597975" y="3367475"/>
            <a:chExt cx="268600" cy="317425"/>
          </a:xfrm>
        </p:grpSpPr>
        <p:sp>
          <p:nvSpPr>
            <p:cNvPr id="6808" name="Google Shape;6808;p72"/>
            <p:cNvSpPr/>
            <p:nvPr/>
          </p:nvSpPr>
          <p:spPr>
            <a:xfrm>
              <a:off x="-60535750" y="3495075"/>
              <a:ext cx="206375" cy="82725"/>
            </a:xfrm>
            <a:custGeom>
              <a:avLst/>
              <a:gdLst/>
              <a:ahLst/>
              <a:cxnLst/>
              <a:rect l="l" t="t" r="r" b="b"/>
              <a:pathLst>
                <a:path w="8255" h="3309" extrusionOk="0">
                  <a:moveTo>
                    <a:pt x="5357" y="1229"/>
                  </a:moveTo>
                  <a:cubicBezTo>
                    <a:pt x="5577" y="1229"/>
                    <a:pt x="5766" y="1418"/>
                    <a:pt x="5766" y="1607"/>
                  </a:cubicBezTo>
                  <a:cubicBezTo>
                    <a:pt x="5766" y="1890"/>
                    <a:pt x="5577" y="2048"/>
                    <a:pt x="5357" y="2048"/>
                  </a:cubicBezTo>
                  <a:lnTo>
                    <a:pt x="2049" y="2048"/>
                  </a:lnTo>
                  <a:cubicBezTo>
                    <a:pt x="1797" y="2048"/>
                    <a:pt x="1639" y="1859"/>
                    <a:pt x="1639" y="1607"/>
                  </a:cubicBezTo>
                  <a:cubicBezTo>
                    <a:pt x="1639" y="1386"/>
                    <a:pt x="1828" y="1229"/>
                    <a:pt x="2049" y="1229"/>
                  </a:cubicBezTo>
                  <a:close/>
                  <a:moveTo>
                    <a:pt x="1" y="0"/>
                  </a:moveTo>
                  <a:lnTo>
                    <a:pt x="1" y="3308"/>
                  </a:lnTo>
                  <a:lnTo>
                    <a:pt x="8255" y="3308"/>
                  </a:lnTo>
                  <a:lnTo>
                    <a:pt x="82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2"/>
            <p:cNvSpPr/>
            <p:nvPr/>
          </p:nvSpPr>
          <p:spPr>
            <a:xfrm>
              <a:off x="-60432575" y="3367475"/>
              <a:ext cx="20500" cy="47275"/>
            </a:xfrm>
            <a:custGeom>
              <a:avLst/>
              <a:gdLst/>
              <a:ahLst/>
              <a:cxnLst/>
              <a:rect l="l" t="t" r="r" b="b"/>
              <a:pathLst>
                <a:path w="820" h="1891" extrusionOk="0">
                  <a:moveTo>
                    <a:pt x="1" y="0"/>
                  </a:moveTo>
                  <a:lnTo>
                    <a:pt x="1" y="1891"/>
                  </a:lnTo>
                  <a:cubicBezTo>
                    <a:pt x="127" y="1765"/>
                    <a:pt x="221" y="1639"/>
                    <a:pt x="379" y="1639"/>
                  </a:cubicBezTo>
                  <a:cubicBezTo>
                    <a:pt x="600" y="1639"/>
                    <a:pt x="694" y="1765"/>
                    <a:pt x="820" y="1891"/>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2"/>
            <p:cNvSpPr/>
            <p:nvPr/>
          </p:nvSpPr>
          <p:spPr>
            <a:xfrm>
              <a:off x="-60535750" y="3367475"/>
              <a:ext cx="206375" cy="107150"/>
            </a:xfrm>
            <a:custGeom>
              <a:avLst/>
              <a:gdLst/>
              <a:ahLst/>
              <a:cxnLst/>
              <a:rect l="l" t="t" r="r" b="b"/>
              <a:pathLst>
                <a:path w="8255" h="4286" extrusionOk="0">
                  <a:moveTo>
                    <a:pt x="1" y="0"/>
                  </a:moveTo>
                  <a:lnTo>
                    <a:pt x="1" y="4285"/>
                  </a:lnTo>
                  <a:lnTo>
                    <a:pt x="8255" y="4285"/>
                  </a:lnTo>
                  <a:lnTo>
                    <a:pt x="8255" y="1261"/>
                  </a:lnTo>
                  <a:cubicBezTo>
                    <a:pt x="8255" y="567"/>
                    <a:pt x="7720" y="32"/>
                    <a:pt x="7026" y="32"/>
                  </a:cubicBezTo>
                  <a:lnTo>
                    <a:pt x="5829" y="32"/>
                  </a:lnTo>
                  <a:lnTo>
                    <a:pt x="5829" y="2930"/>
                  </a:lnTo>
                  <a:cubicBezTo>
                    <a:pt x="5829" y="3182"/>
                    <a:pt x="5633" y="3350"/>
                    <a:pt x="5418" y="3350"/>
                  </a:cubicBezTo>
                  <a:cubicBezTo>
                    <a:pt x="5311" y="3350"/>
                    <a:pt x="5199" y="3308"/>
                    <a:pt x="5105" y="3214"/>
                  </a:cubicBezTo>
                  <a:lnTo>
                    <a:pt x="4569" y="2678"/>
                  </a:lnTo>
                  <a:lnTo>
                    <a:pt x="4002" y="3214"/>
                  </a:lnTo>
                  <a:cubicBezTo>
                    <a:pt x="3917" y="3289"/>
                    <a:pt x="3821" y="3322"/>
                    <a:pt x="3728" y="3322"/>
                  </a:cubicBezTo>
                  <a:cubicBezTo>
                    <a:pt x="3510" y="3322"/>
                    <a:pt x="3309" y="3142"/>
                    <a:pt x="3309" y="2899"/>
                  </a:cubicBezTo>
                  <a:lnTo>
                    <a:pt x="33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2"/>
            <p:cNvSpPr/>
            <p:nvPr/>
          </p:nvSpPr>
          <p:spPr>
            <a:xfrm>
              <a:off x="-60597975" y="3368175"/>
              <a:ext cx="40200" cy="316725"/>
            </a:xfrm>
            <a:custGeom>
              <a:avLst/>
              <a:gdLst/>
              <a:ahLst/>
              <a:cxnLst/>
              <a:rect l="l" t="t" r="r" b="b"/>
              <a:pathLst>
                <a:path w="1608" h="12669" extrusionOk="0">
                  <a:moveTo>
                    <a:pt x="337" y="0"/>
                  </a:moveTo>
                  <a:cubicBezTo>
                    <a:pt x="163" y="0"/>
                    <a:pt x="1" y="178"/>
                    <a:pt x="1" y="382"/>
                  </a:cubicBezTo>
                  <a:lnTo>
                    <a:pt x="1" y="12259"/>
                  </a:lnTo>
                  <a:cubicBezTo>
                    <a:pt x="1" y="12480"/>
                    <a:pt x="190" y="12669"/>
                    <a:pt x="379" y="12669"/>
                  </a:cubicBezTo>
                  <a:lnTo>
                    <a:pt x="1608" y="12669"/>
                  </a:lnTo>
                  <a:lnTo>
                    <a:pt x="1608" y="4"/>
                  </a:lnTo>
                  <a:lnTo>
                    <a:pt x="379" y="4"/>
                  </a:lnTo>
                  <a:cubicBezTo>
                    <a:pt x="365" y="2"/>
                    <a:pt x="351" y="0"/>
                    <a:pt x="3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2"/>
            <p:cNvSpPr/>
            <p:nvPr/>
          </p:nvSpPr>
          <p:spPr>
            <a:xfrm>
              <a:off x="-60535750" y="3597450"/>
              <a:ext cx="206375" cy="86675"/>
            </a:xfrm>
            <a:custGeom>
              <a:avLst/>
              <a:gdLst/>
              <a:ahLst/>
              <a:cxnLst/>
              <a:rect l="l" t="t" r="r" b="b"/>
              <a:pathLst>
                <a:path w="8255" h="3467" extrusionOk="0">
                  <a:moveTo>
                    <a:pt x="1" y="1"/>
                  </a:moveTo>
                  <a:lnTo>
                    <a:pt x="1" y="3466"/>
                  </a:lnTo>
                  <a:lnTo>
                    <a:pt x="7026" y="3466"/>
                  </a:lnTo>
                  <a:cubicBezTo>
                    <a:pt x="7720" y="3466"/>
                    <a:pt x="8255" y="2931"/>
                    <a:pt x="8255" y="2206"/>
                  </a:cubicBezTo>
                  <a:lnTo>
                    <a:pt x="82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13" name="Google Shape;6813;p72"/>
          <p:cNvSpPr/>
          <p:nvPr/>
        </p:nvSpPr>
        <p:spPr>
          <a:xfrm>
            <a:off x="2616264" y="3196331"/>
            <a:ext cx="369083" cy="365005"/>
          </a:xfrm>
          <a:custGeom>
            <a:avLst/>
            <a:gdLst/>
            <a:ahLst/>
            <a:cxnLst/>
            <a:rect l="l" t="t" r="r" b="b"/>
            <a:pathLst>
              <a:path w="12760"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14" name="Google Shape;6814;p72"/>
          <p:cNvGrpSpPr/>
          <p:nvPr/>
        </p:nvGrpSpPr>
        <p:grpSpPr>
          <a:xfrm>
            <a:off x="2617740" y="3706136"/>
            <a:ext cx="366364" cy="262465"/>
            <a:chOff x="-60621600" y="4145650"/>
            <a:chExt cx="316650" cy="226850"/>
          </a:xfrm>
        </p:grpSpPr>
        <p:sp>
          <p:nvSpPr>
            <p:cNvPr id="6815" name="Google Shape;6815;p72"/>
            <p:cNvSpPr/>
            <p:nvPr/>
          </p:nvSpPr>
          <p:spPr>
            <a:xfrm>
              <a:off x="-60463275" y="4249600"/>
              <a:ext cx="61450" cy="60675"/>
            </a:xfrm>
            <a:custGeom>
              <a:avLst/>
              <a:gdLst/>
              <a:ahLst/>
              <a:cxnLst/>
              <a:rect l="l" t="t" r="r" b="b"/>
              <a:pathLst>
                <a:path w="2458" h="2427" extrusionOk="0">
                  <a:moveTo>
                    <a:pt x="1229" y="1"/>
                  </a:moveTo>
                  <a:cubicBezTo>
                    <a:pt x="567" y="1"/>
                    <a:pt x="0" y="536"/>
                    <a:pt x="0" y="1198"/>
                  </a:cubicBezTo>
                  <a:cubicBezTo>
                    <a:pt x="0" y="1891"/>
                    <a:pt x="567" y="2427"/>
                    <a:pt x="1229" y="2427"/>
                  </a:cubicBezTo>
                  <a:cubicBezTo>
                    <a:pt x="1891" y="2427"/>
                    <a:pt x="2458" y="1891"/>
                    <a:pt x="2458" y="1198"/>
                  </a:cubicBezTo>
                  <a:cubicBezTo>
                    <a:pt x="2458" y="536"/>
                    <a:pt x="189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2"/>
            <p:cNvSpPr/>
            <p:nvPr/>
          </p:nvSpPr>
          <p:spPr>
            <a:xfrm>
              <a:off x="-60526300" y="4249600"/>
              <a:ext cx="48075" cy="60675"/>
            </a:xfrm>
            <a:custGeom>
              <a:avLst/>
              <a:gdLst/>
              <a:ahLst/>
              <a:cxnLst/>
              <a:rect l="l" t="t" r="r" b="b"/>
              <a:pathLst>
                <a:path w="1923" h="2427" extrusionOk="0">
                  <a:moveTo>
                    <a:pt x="1261" y="1"/>
                  </a:moveTo>
                  <a:cubicBezTo>
                    <a:pt x="599" y="1"/>
                    <a:pt x="1" y="536"/>
                    <a:pt x="1" y="1198"/>
                  </a:cubicBezTo>
                  <a:cubicBezTo>
                    <a:pt x="1" y="1891"/>
                    <a:pt x="568" y="2427"/>
                    <a:pt x="1261" y="2427"/>
                  </a:cubicBezTo>
                  <a:cubicBezTo>
                    <a:pt x="1513" y="2427"/>
                    <a:pt x="1734" y="2364"/>
                    <a:pt x="1923" y="2238"/>
                  </a:cubicBezTo>
                  <a:cubicBezTo>
                    <a:pt x="1765" y="1923"/>
                    <a:pt x="1671" y="1576"/>
                    <a:pt x="1671" y="1198"/>
                  </a:cubicBezTo>
                  <a:cubicBezTo>
                    <a:pt x="1671" y="851"/>
                    <a:pt x="1765" y="505"/>
                    <a:pt x="1923" y="190"/>
                  </a:cubicBezTo>
                  <a:cubicBezTo>
                    <a:pt x="1734" y="64"/>
                    <a:pt x="1513"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2"/>
            <p:cNvSpPr/>
            <p:nvPr/>
          </p:nvSpPr>
          <p:spPr>
            <a:xfrm>
              <a:off x="-60621600" y="4145650"/>
              <a:ext cx="316650" cy="226850"/>
            </a:xfrm>
            <a:custGeom>
              <a:avLst/>
              <a:gdLst/>
              <a:ahLst/>
              <a:cxnLst/>
              <a:rect l="l" t="t" r="r" b="b"/>
              <a:pathLst>
                <a:path w="12666" h="9074" extrusionOk="0">
                  <a:moveTo>
                    <a:pt x="11374" y="851"/>
                  </a:moveTo>
                  <a:cubicBezTo>
                    <a:pt x="11626" y="851"/>
                    <a:pt x="11815" y="1040"/>
                    <a:pt x="11815" y="1229"/>
                  </a:cubicBezTo>
                  <a:lnTo>
                    <a:pt x="11815" y="1670"/>
                  </a:lnTo>
                  <a:lnTo>
                    <a:pt x="788" y="1670"/>
                  </a:lnTo>
                  <a:lnTo>
                    <a:pt x="788" y="1229"/>
                  </a:lnTo>
                  <a:cubicBezTo>
                    <a:pt x="788" y="1008"/>
                    <a:pt x="977" y="851"/>
                    <a:pt x="1166" y="851"/>
                  </a:cubicBezTo>
                  <a:close/>
                  <a:moveTo>
                    <a:pt x="7562" y="3277"/>
                  </a:moveTo>
                  <a:cubicBezTo>
                    <a:pt x="8696" y="3277"/>
                    <a:pt x="9641" y="4222"/>
                    <a:pt x="9641" y="5356"/>
                  </a:cubicBezTo>
                  <a:cubicBezTo>
                    <a:pt x="9610" y="6522"/>
                    <a:pt x="8696" y="7467"/>
                    <a:pt x="7562" y="7467"/>
                  </a:cubicBezTo>
                  <a:cubicBezTo>
                    <a:pt x="7089" y="7467"/>
                    <a:pt x="6648" y="7309"/>
                    <a:pt x="6333" y="7026"/>
                  </a:cubicBezTo>
                  <a:cubicBezTo>
                    <a:pt x="5987" y="7309"/>
                    <a:pt x="5546" y="7467"/>
                    <a:pt x="5073" y="7467"/>
                  </a:cubicBezTo>
                  <a:cubicBezTo>
                    <a:pt x="3939" y="7467"/>
                    <a:pt x="2994" y="6522"/>
                    <a:pt x="2994" y="5356"/>
                  </a:cubicBezTo>
                  <a:cubicBezTo>
                    <a:pt x="2994" y="4222"/>
                    <a:pt x="3939" y="3277"/>
                    <a:pt x="5073" y="3277"/>
                  </a:cubicBezTo>
                  <a:cubicBezTo>
                    <a:pt x="5514" y="3277"/>
                    <a:pt x="5987" y="3434"/>
                    <a:pt x="6333" y="3718"/>
                  </a:cubicBezTo>
                  <a:cubicBezTo>
                    <a:pt x="6680" y="3434"/>
                    <a:pt x="7121" y="3277"/>
                    <a:pt x="7562" y="3277"/>
                  </a:cubicBezTo>
                  <a:close/>
                  <a:moveTo>
                    <a:pt x="1229" y="0"/>
                  </a:moveTo>
                  <a:cubicBezTo>
                    <a:pt x="536" y="0"/>
                    <a:pt x="1" y="567"/>
                    <a:pt x="1" y="1229"/>
                  </a:cubicBezTo>
                  <a:lnTo>
                    <a:pt x="1" y="7845"/>
                  </a:lnTo>
                  <a:cubicBezTo>
                    <a:pt x="1" y="8506"/>
                    <a:pt x="536" y="9073"/>
                    <a:pt x="1229" y="9073"/>
                  </a:cubicBezTo>
                  <a:lnTo>
                    <a:pt x="11406" y="9073"/>
                  </a:lnTo>
                  <a:cubicBezTo>
                    <a:pt x="12099" y="9073"/>
                    <a:pt x="12666" y="8506"/>
                    <a:pt x="12666" y="7845"/>
                  </a:cubicBezTo>
                  <a:lnTo>
                    <a:pt x="12666" y="1229"/>
                  </a:lnTo>
                  <a:cubicBezTo>
                    <a:pt x="12634" y="567"/>
                    <a:pt x="12099" y="0"/>
                    <a:pt x="114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8" name="Google Shape;6818;p72"/>
          <p:cNvGrpSpPr/>
          <p:nvPr/>
        </p:nvGrpSpPr>
        <p:grpSpPr>
          <a:xfrm>
            <a:off x="3954392" y="3654635"/>
            <a:ext cx="359972" cy="365467"/>
            <a:chOff x="-59400775" y="4084200"/>
            <a:chExt cx="311125" cy="315875"/>
          </a:xfrm>
        </p:grpSpPr>
        <p:sp>
          <p:nvSpPr>
            <p:cNvPr id="6819" name="Google Shape;6819;p72"/>
            <p:cNvSpPr/>
            <p:nvPr/>
          </p:nvSpPr>
          <p:spPr>
            <a:xfrm>
              <a:off x="-59400775" y="4317350"/>
              <a:ext cx="89800" cy="82725"/>
            </a:xfrm>
            <a:custGeom>
              <a:avLst/>
              <a:gdLst/>
              <a:ahLst/>
              <a:cxnLst/>
              <a:rect l="l" t="t" r="r" b="b"/>
              <a:pathLst>
                <a:path w="3592" h="3309" extrusionOk="0">
                  <a:moveTo>
                    <a:pt x="1796" y="851"/>
                  </a:moveTo>
                  <a:cubicBezTo>
                    <a:pt x="2048" y="851"/>
                    <a:pt x="2237" y="1071"/>
                    <a:pt x="2237" y="1260"/>
                  </a:cubicBezTo>
                  <a:cubicBezTo>
                    <a:pt x="2237" y="1449"/>
                    <a:pt x="2048" y="1701"/>
                    <a:pt x="1796" y="1701"/>
                  </a:cubicBezTo>
                  <a:cubicBezTo>
                    <a:pt x="1576" y="1701"/>
                    <a:pt x="1418" y="1481"/>
                    <a:pt x="1418" y="1260"/>
                  </a:cubicBezTo>
                  <a:cubicBezTo>
                    <a:pt x="1418" y="1008"/>
                    <a:pt x="1576" y="851"/>
                    <a:pt x="1796" y="851"/>
                  </a:cubicBezTo>
                  <a:close/>
                  <a:moveTo>
                    <a:pt x="0" y="0"/>
                  </a:moveTo>
                  <a:lnTo>
                    <a:pt x="0" y="2079"/>
                  </a:lnTo>
                  <a:cubicBezTo>
                    <a:pt x="0" y="2741"/>
                    <a:pt x="536" y="3308"/>
                    <a:pt x="1229" y="3308"/>
                  </a:cubicBezTo>
                  <a:lnTo>
                    <a:pt x="2332" y="3308"/>
                  </a:lnTo>
                  <a:cubicBezTo>
                    <a:pt x="2993"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2"/>
            <p:cNvSpPr/>
            <p:nvPr/>
          </p:nvSpPr>
          <p:spPr>
            <a:xfrm>
              <a:off x="-59400000" y="4084200"/>
              <a:ext cx="89825" cy="212700"/>
            </a:xfrm>
            <a:custGeom>
              <a:avLst/>
              <a:gdLst/>
              <a:ahLst/>
              <a:cxnLst/>
              <a:rect l="l" t="t" r="r" b="b"/>
              <a:pathLst>
                <a:path w="3593" h="8508" extrusionOk="0">
                  <a:moveTo>
                    <a:pt x="1734" y="1607"/>
                  </a:moveTo>
                  <a:cubicBezTo>
                    <a:pt x="1923" y="1607"/>
                    <a:pt x="2175" y="1797"/>
                    <a:pt x="2175" y="2049"/>
                  </a:cubicBezTo>
                  <a:lnTo>
                    <a:pt x="2175" y="7278"/>
                  </a:lnTo>
                  <a:cubicBezTo>
                    <a:pt x="2175" y="7499"/>
                    <a:pt x="1986" y="7656"/>
                    <a:pt x="1734" y="7656"/>
                  </a:cubicBezTo>
                  <a:cubicBezTo>
                    <a:pt x="1513" y="7656"/>
                    <a:pt x="1356" y="7467"/>
                    <a:pt x="1356" y="7278"/>
                  </a:cubicBezTo>
                  <a:lnTo>
                    <a:pt x="1356" y="2049"/>
                  </a:lnTo>
                  <a:cubicBezTo>
                    <a:pt x="1356" y="1797"/>
                    <a:pt x="1545" y="1607"/>
                    <a:pt x="1734" y="1607"/>
                  </a:cubicBezTo>
                  <a:close/>
                  <a:moveTo>
                    <a:pt x="1230" y="1"/>
                  </a:moveTo>
                  <a:cubicBezTo>
                    <a:pt x="568" y="1"/>
                    <a:pt x="1" y="536"/>
                    <a:pt x="1" y="1198"/>
                  </a:cubicBezTo>
                  <a:lnTo>
                    <a:pt x="1" y="8507"/>
                  </a:lnTo>
                  <a:lnTo>
                    <a:pt x="3593" y="8507"/>
                  </a:lnTo>
                  <a:lnTo>
                    <a:pt x="3593" y="1198"/>
                  </a:lnTo>
                  <a:cubicBezTo>
                    <a:pt x="3561" y="536"/>
                    <a:pt x="2994"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2"/>
            <p:cNvSpPr/>
            <p:nvPr/>
          </p:nvSpPr>
          <p:spPr>
            <a:xfrm>
              <a:off x="-59290500" y="4317350"/>
              <a:ext cx="89800" cy="82725"/>
            </a:xfrm>
            <a:custGeom>
              <a:avLst/>
              <a:gdLst/>
              <a:ahLst/>
              <a:cxnLst/>
              <a:rect l="l" t="t" r="r" b="b"/>
              <a:pathLst>
                <a:path w="3592" h="3309" extrusionOk="0">
                  <a:moveTo>
                    <a:pt x="1796" y="851"/>
                  </a:moveTo>
                  <a:cubicBezTo>
                    <a:pt x="2048" y="851"/>
                    <a:pt x="2205" y="1071"/>
                    <a:pt x="2205" y="1260"/>
                  </a:cubicBezTo>
                  <a:cubicBezTo>
                    <a:pt x="2205" y="1449"/>
                    <a:pt x="2016" y="1701"/>
                    <a:pt x="1796" y="1701"/>
                  </a:cubicBezTo>
                  <a:cubicBezTo>
                    <a:pt x="1575" y="1701"/>
                    <a:pt x="1386" y="1481"/>
                    <a:pt x="1386" y="1260"/>
                  </a:cubicBezTo>
                  <a:cubicBezTo>
                    <a:pt x="1386" y="1008"/>
                    <a:pt x="1575" y="851"/>
                    <a:pt x="1796" y="851"/>
                  </a:cubicBezTo>
                  <a:close/>
                  <a:moveTo>
                    <a:pt x="0" y="0"/>
                  </a:moveTo>
                  <a:lnTo>
                    <a:pt x="0" y="2079"/>
                  </a:lnTo>
                  <a:cubicBezTo>
                    <a:pt x="0" y="2741"/>
                    <a:pt x="536" y="3308"/>
                    <a:pt x="1260"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2"/>
            <p:cNvSpPr/>
            <p:nvPr/>
          </p:nvSpPr>
          <p:spPr>
            <a:xfrm>
              <a:off x="-59290500" y="4084200"/>
              <a:ext cx="89800" cy="212700"/>
            </a:xfrm>
            <a:custGeom>
              <a:avLst/>
              <a:gdLst/>
              <a:ahLst/>
              <a:cxnLst/>
              <a:rect l="l" t="t" r="r" b="b"/>
              <a:pathLst>
                <a:path w="3592" h="8508" extrusionOk="0">
                  <a:moveTo>
                    <a:pt x="1796" y="1607"/>
                  </a:moveTo>
                  <a:cubicBezTo>
                    <a:pt x="2048" y="1607"/>
                    <a:pt x="2205" y="1797"/>
                    <a:pt x="2205" y="2049"/>
                  </a:cubicBezTo>
                  <a:lnTo>
                    <a:pt x="2205" y="7278"/>
                  </a:lnTo>
                  <a:cubicBezTo>
                    <a:pt x="2205" y="7499"/>
                    <a:pt x="2016" y="7656"/>
                    <a:pt x="1796" y="7656"/>
                  </a:cubicBezTo>
                  <a:cubicBezTo>
                    <a:pt x="1607" y="7656"/>
                    <a:pt x="1386" y="7467"/>
                    <a:pt x="1386" y="7278"/>
                  </a:cubicBezTo>
                  <a:lnTo>
                    <a:pt x="1386" y="2049"/>
                  </a:lnTo>
                  <a:cubicBezTo>
                    <a:pt x="1386" y="1797"/>
                    <a:pt x="1575" y="1607"/>
                    <a:pt x="1796" y="1607"/>
                  </a:cubicBezTo>
                  <a:close/>
                  <a:moveTo>
                    <a:pt x="1260" y="1"/>
                  </a:moveTo>
                  <a:cubicBezTo>
                    <a:pt x="599" y="1"/>
                    <a:pt x="0" y="536"/>
                    <a:pt x="0" y="1198"/>
                  </a:cubicBezTo>
                  <a:lnTo>
                    <a:pt x="0" y="8507"/>
                  </a:lnTo>
                  <a:lnTo>
                    <a:pt x="3592" y="8507"/>
                  </a:lnTo>
                  <a:lnTo>
                    <a:pt x="3592" y="1198"/>
                  </a:lnTo>
                  <a:cubicBezTo>
                    <a:pt x="3592" y="536"/>
                    <a:pt x="3025"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2"/>
            <p:cNvSpPr/>
            <p:nvPr/>
          </p:nvSpPr>
          <p:spPr>
            <a:xfrm>
              <a:off x="-59181025" y="4317350"/>
              <a:ext cx="89800" cy="82725"/>
            </a:xfrm>
            <a:custGeom>
              <a:avLst/>
              <a:gdLst/>
              <a:ahLst/>
              <a:cxnLst/>
              <a:rect l="l" t="t" r="r" b="b"/>
              <a:pathLst>
                <a:path w="3592" h="3309" extrusionOk="0">
                  <a:moveTo>
                    <a:pt x="1828" y="851"/>
                  </a:moveTo>
                  <a:cubicBezTo>
                    <a:pt x="2080" y="851"/>
                    <a:pt x="2269" y="1071"/>
                    <a:pt x="2269" y="1260"/>
                  </a:cubicBezTo>
                  <a:cubicBezTo>
                    <a:pt x="2269" y="1449"/>
                    <a:pt x="2080" y="1701"/>
                    <a:pt x="1828" y="1701"/>
                  </a:cubicBezTo>
                  <a:cubicBezTo>
                    <a:pt x="1607" y="1701"/>
                    <a:pt x="1450" y="1481"/>
                    <a:pt x="1450" y="1260"/>
                  </a:cubicBezTo>
                  <a:cubicBezTo>
                    <a:pt x="1450" y="1008"/>
                    <a:pt x="1607" y="851"/>
                    <a:pt x="1828" y="851"/>
                  </a:cubicBezTo>
                  <a:close/>
                  <a:moveTo>
                    <a:pt x="0" y="0"/>
                  </a:moveTo>
                  <a:lnTo>
                    <a:pt x="0" y="2079"/>
                  </a:lnTo>
                  <a:lnTo>
                    <a:pt x="32" y="2079"/>
                  </a:lnTo>
                  <a:cubicBezTo>
                    <a:pt x="32" y="2741"/>
                    <a:pt x="567" y="3308"/>
                    <a:pt x="1261"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2"/>
            <p:cNvSpPr/>
            <p:nvPr/>
          </p:nvSpPr>
          <p:spPr>
            <a:xfrm>
              <a:off x="-59179450" y="4084200"/>
              <a:ext cx="89800" cy="212700"/>
            </a:xfrm>
            <a:custGeom>
              <a:avLst/>
              <a:gdLst/>
              <a:ahLst/>
              <a:cxnLst/>
              <a:rect l="l" t="t" r="r" b="b"/>
              <a:pathLst>
                <a:path w="3592" h="8508" extrusionOk="0">
                  <a:moveTo>
                    <a:pt x="1733" y="1607"/>
                  </a:moveTo>
                  <a:cubicBezTo>
                    <a:pt x="1922" y="1607"/>
                    <a:pt x="2174" y="1797"/>
                    <a:pt x="2174" y="2049"/>
                  </a:cubicBezTo>
                  <a:lnTo>
                    <a:pt x="2174" y="7278"/>
                  </a:lnTo>
                  <a:cubicBezTo>
                    <a:pt x="2174" y="7499"/>
                    <a:pt x="1985" y="7656"/>
                    <a:pt x="1733" y="7656"/>
                  </a:cubicBezTo>
                  <a:cubicBezTo>
                    <a:pt x="1513" y="7656"/>
                    <a:pt x="1355" y="7467"/>
                    <a:pt x="1355" y="7278"/>
                  </a:cubicBezTo>
                  <a:lnTo>
                    <a:pt x="1355" y="2049"/>
                  </a:lnTo>
                  <a:cubicBezTo>
                    <a:pt x="1355" y="1797"/>
                    <a:pt x="1544" y="1607"/>
                    <a:pt x="1733" y="1607"/>
                  </a:cubicBezTo>
                  <a:close/>
                  <a:moveTo>
                    <a:pt x="1229" y="1"/>
                  </a:moveTo>
                  <a:cubicBezTo>
                    <a:pt x="567" y="1"/>
                    <a:pt x="0" y="536"/>
                    <a:pt x="0" y="1198"/>
                  </a:cubicBezTo>
                  <a:lnTo>
                    <a:pt x="0" y="8507"/>
                  </a:lnTo>
                  <a:lnTo>
                    <a:pt x="3592" y="8507"/>
                  </a:lnTo>
                  <a:lnTo>
                    <a:pt x="3592" y="1198"/>
                  </a:lnTo>
                  <a:cubicBezTo>
                    <a:pt x="3560" y="536"/>
                    <a:pt x="2993"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5" name="Google Shape;6825;p72"/>
          <p:cNvGrpSpPr/>
          <p:nvPr/>
        </p:nvGrpSpPr>
        <p:grpSpPr>
          <a:xfrm>
            <a:off x="2178486" y="1380466"/>
            <a:ext cx="365438" cy="366364"/>
            <a:chOff x="-64044600" y="3360375"/>
            <a:chExt cx="315850" cy="316650"/>
          </a:xfrm>
        </p:grpSpPr>
        <p:sp>
          <p:nvSpPr>
            <p:cNvPr id="6826" name="Google Shape;6826;p72"/>
            <p:cNvSpPr/>
            <p:nvPr/>
          </p:nvSpPr>
          <p:spPr>
            <a:xfrm>
              <a:off x="-63980025" y="3532875"/>
              <a:ext cx="185900" cy="144150"/>
            </a:xfrm>
            <a:custGeom>
              <a:avLst/>
              <a:gdLst/>
              <a:ahLst/>
              <a:cxnLst/>
              <a:rect l="l" t="t" r="r" b="b"/>
              <a:pathLst>
                <a:path w="7436" h="5766" extrusionOk="0">
                  <a:moveTo>
                    <a:pt x="410" y="0"/>
                  </a:moveTo>
                  <a:cubicBezTo>
                    <a:pt x="158" y="0"/>
                    <a:pt x="1" y="189"/>
                    <a:pt x="1" y="410"/>
                  </a:cubicBezTo>
                  <a:cubicBezTo>
                    <a:pt x="1" y="662"/>
                    <a:pt x="190" y="820"/>
                    <a:pt x="410" y="820"/>
                  </a:cubicBezTo>
                  <a:lnTo>
                    <a:pt x="883" y="820"/>
                  </a:lnTo>
                  <a:lnTo>
                    <a:pt x="1670" y="5419"/>
                  </a:lnTo>
                  <a:cubicBezTo>
                    <a:pt x="1702" y="5608"/>
                    <a:pt x="1859" y="5766"/>
                    <a:pt x="2048" y="5766"/>
                  </a:cubicBezTo>
                  <a:lnTo>
                    <a:pt x="5356" y="5766"/>
                  </a:lnTo>
                  <a:cubicBezTo>
                    <a:pt x="5545" y="5766"/>
                    <a:pt x="5766" y="5608"/>
                    <a:pt x="5766" y="5419"/>
                  </a:cubicBezTo>
                  <a:lnTo>
                    <a:pt x="6554" y="820"/>
                  </a:lnTo>
                  <a:lnTo>
                    <a:pt x="7026" y="820"/>
                  </a:lnTo>
                  <a:cubicBezTo>
                    <a:pt x="7247" y="820"/>
                    <a:pt x="7404" y="630"/>
                    <a:pt x="7404" y="410"/>
                  </a:cubicBezTo>
                  <a:cubicBezTo>
                    <a:pt x="7436" y="189"/>
                    <a:pt x="7247" y="0"/>
                    <a:pt x="70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2"/>
            <p:cNvSpPr/>
            <p:nvPr/>
          </p:nvSpPr>
          <p:spPr>
            <a:xfrm>
              <a:off x="-64044600" y="3360375"/>
              <a:ext cx="315850" cy="152825"/>
            </a:xfrm>
            <a:custGeom>
              <a:avLst/>
              <a:gdLst/>
              <a:ahLst/>
              <a:cxnLst/>
              <a:rect l="l" t="t" r="r" b="b"/>
              <a:pathLst>
                <a:path w="12634" h="6113" extrusionOk="0">
                  <a:moveTo>
                    <a:pt x="378" y="1"/>
                  </a:moveTo>
                  <a:cubicBezTo>
                    <a:pt x="158" y="1"/>
                    <a:pt x="0" y="190"/>
                    <a:pt x="0" y="442"/>
                  </a:cubicBezTo>
                  <a:lnTo>
                    <a:pt x="0" y="5672"/>
                  </a:lnTo>
                  <a:cubicBezTo>
                    <a:pt x="0" y="5892"/>
                    <a:pt x="189" y="6113"/>
                    <a:pt x="378" y="6113"/>
                  </a:cubicBezTo>
                  <a:lnTo>
                    <a:pt x="3088" y="6113"/>
                  </a:lnTo>
                  <a:cubicBezTo>
                    <a:pt x="3245" y="5514"/>
                    <a:pt x="3560" y="4947"/>
                    <a:pt x="4001" y="4569"/>
                  </a:cubicBezTo>
                  <a:cubicBezTo>
                    <a:pt x="3875" y="4285"/>
                    <a:pt x="3812" y="3970"/>
                    <a:pt x="3812" y="3624"/>
                  </a:cubicBezTo>
                  <a:cubicBezTo>
                    <a:pt x="3812" y="2238"/>
                    <a:pt x="4915" y="1135"/>
                    <a:pt x="6301" y="1135"/>
                  </a:cubicBezTo>
                  <a:cubicBezTo>
                    <a:pt x="7656" y="1135"/>
                    <a:pt x="8759" y="2238"/>
                    <a:pt x="8759" y="3624"/>
                  </a:cubicBezTo>
                  <a:cubicBezTo>
                    <a:pt x="8759" y="3939"/>
                    <a:pt x="8696" y="4254"/>
                    <a:pt x="8570" y="4569"/>
                  </a:cubicBezTo>
                  <a:cubicBezTo>
                    <a:pt x="9011" y="5010"/>
                    <a:pt x="9326" y="5514"/>
                    <a:pt x="9483" y="6113"/>
                  </a:cubicBezTo>
                  <a:lnTo>
                    <a:pt x="12193" y="6113"/>
                  </a:lnTo>
                  <a:cubicBezTo>
                    <a:pt x="12445" y="6113"/>
                    <a:pt x="12602" y="5892"/>
                    <a:pt x="12602" y="5672"/>
                  </a:cubicBezTo>
                  <a:lnTo>
                    <a:pt x="12602" y="442"/>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2"/>
            <p:cNvSpPr/>
            <p:nvPr/>
          </p:nvSpPr>
          <p:spPr>
            <a:xfrm>
              <a:off x="-63945375" y="3408425"/>
              <a:ext cx="117375" cy="103200"/>
            </a:xfrm>
            <a:custGeom>
              <a:avLst/>
              <a:gdLst/>
              <a:ahLst/>
              <a:cxnLst/>
              <a:rect l="l" t="t" r="r" b="b"/>
              <a:pathLst>
                <a:path w="4695" h="4128" extrusionOk="0">
                  <a:moveTo>
                    <a:pt x="2364" y="1"/>
                  </a:moveTo>
                  <a:cubicBezTo>
                    <a:pt x="1450" y="1"/>
                    <a:pt x="694" y="757"/>
                    <a:pt x="694" y="1670"/>
                  </a:cubicBezTo>
                  <a:cubicBezTo>
                    <a:pt x="694" y="2080"/>
                    <a:pt x="851" y="2489"/>
                    <a:pt x="1167" y="2805"/>
                  </a:cubicBezTo>
                  <a:cubicBezTo>
                    <a:pt x="599" y="3120"/>
                    <a:pt x="190" y="3592"/>
                    <a:pt x="1" y="4128"/>
                  </a:cubicBezTo>
                  <a:lnTo>
                    <a:pt x="4695" y="4128"/>
                  </a:lnTo>
                  <a:cubicBezTo>
                    <a:pt x="4475" y="3561"/>
                    <a:pt x="4065" y="3088"/>
                    <a:pt x="3529" y="2805"/>
                  </a:cubicBezTo>
                  <a:cubicBezTo>
                    <a:pt x="3813" y="2489"/>
                    <a:pt x="4002" y="2080"/>
                    <a:pt x="4002" y="1670"/>
                  </a:cubicBezTo>
                  <a:cubicBezTo>
                    <a:pt x="4002" y="757"/>
                    <a:pt x="3277" y="1"/>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9" name="Google Shape;6829;p72"/>
          <p:cNvGrpSpPr/>
          <p:nvPr/>
        </p:nvGrpSpPr>
        <p:grpSpPr>
          <a:xfrm>
            <a:off x="2204909" y="1823018"/>
            <a:ext cx="312592" cy="367261"/>
            <a:chOff x="-64022550" y="3727425"/>
            <a:chExt cx="270175" cy="317425"/>
          </a:xfrm>
        </p:grpSpPr>
        <p:sp>
          <p:nvSpPr>
            <p:cNvPr id="6830" name="Google Shape;6830;p72"/>
            <p:cNvSpPr/>
            <p:nvPr/>
          </p:nvSpPr>
          <p:spPr>
            <a:xfrm>
              <a:off x="-64022550" y="3912500"/>
              <a:ext cx="270175" cy="90600"/>
            </a:xfrm>
            <a:custGeom>
              <a:avLst/>
              <a:gdLst/>
              <a:ahLst/>
              <a:cxnLst/>
              <a:rect l="l" t="t" r="r" b="b"/>
              <a:pathLst>
                <a:path w="10807" h="3624"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2"/>
            <p:cNvSpPr/>
            <p:nvPr/>
          </p:nvSpPr>
          <p:spPr>
            <a:xfrm>
              <a:off x="-64000500" y="4023550"/>
              <a:ext cx="227650" cy="21300"/>
            </a:xfrm>
            <a:custGeom>
              <a:avLst/>
              <a:gdLst/>
              <a:ahLst/>
              <a:cxnLst/>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2"/>
            <p:cNvSpPr/>
            <p:nvPr/>
          </p:nvSpPr>
          <p:spPr>
            <a:xfrm>
              <a:off x="-63960325" y="3727425"/>
              <a:ext cx="144925" cy="165425"/>
            </a:xfrm>
            <a:custGeom>
              <a:avLst/>
              <a:gdLst/>
              <a:ahLst/>
              <a:cxnLst/>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3" name="Google Shape;6833;p72"/>
          <p:cNvGrpSpPr/>
          <p:nvPr/>
        </p:nvGrpSpPr>
        <p:grpSpPr>
          <a:xfrm>
            <a:off x="2229047" y="2251918"/>
            <a:ext cx="264317" cy="367290"/>
            <a:chOff x="-64001300" y="4093650"/>
            <a:chExt cx="228450" cy="317450"/>
          </a:xfrm>
        </p:grpSpPr>
        <p:sp>
          <p:nvSpPr>
            <p:cNvPr id="6834" name="Google Shape;6834;p72"/>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2"/>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2"/>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2"/>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8" name="Google Shape;6838;p72"/>
          <p:cNvGrpSpPr/>
          <p:nvPr/>
        </p:nvGrpSpPr>
        <p:grpSpPr>
          <a:xfrm>
            <a:off x="848051" y="2745210"/>
            <a:ext cx="359972" cy="366480"/>
            <a:chOff x="-62148800" y="3377700"/>
            <a:chExt cx="311125" cy="316750"/>
          </a:xfrm>
        </p:grpSpPr>
        <p:sp>
          <p:nvSpPr>
            <p:cNvPr id="6839" name="Google Shape;6839;p72"/>
            <p:cNvSpPr/>
            <p:nvPr/>
          </p:nvSpPr>
          <p:spPr>
            <a:xfrm>
              <a:off x="-62085775" y="3653375"/>
              <a:ext cx="185875" cy="41075"/>
            </a:xfrm>
            <a:custGeom>
              <a:avLst/>
              <a:gdLst/>
              <a:ahLst/>
              <a:cxnLst/>
              <a:rect l="l" t="t" r="r" b="b"/>
              <a:pathLst>
                <a:path w="7435" h="1643" extrusionOk="0">
                  <a:moveTo>
                    <a:pt x="819" y="1"/>
                  </a:moveTo>
                  <a:cubicBezTo>
                    <a:pt x="347" y="1"/>
                    <a:pt x="0" y="347"/>
                    <a:pt x="0" y="851"/>
                  </a:cubicBezTo>
                  <a:lnTo>
                    <a:pt x="0" y="1229"/>
                  </a:lnTo>
                  <a:cubicBezTo>
                    <a:pt x="0" y="1481"/>
                    <a:pt x="189" y="1639"/>
                    <a:pt x="410" y="1639"/>
                  </a:cubicBezTo>
                  <a:lnTo>
                    <a:pt x="7026" y="1639"/>
                  </a:lnTo>
                  <a:cubicBezTo>
                    <a:pt x="7044" y="1641"/>
                    <a:pt x="7062" y="1642"/>
                    <a:pt x="7080" y="1642"/>
                  </a:cubicBezTo>
                  <a:cubicBezTo>
                    <a:pt x="7300" y="1642"/>
                    <a:pt x="7435" y="1463"/>
                    <a:pt x="7435" y="1229"/>
                  </a:cubicBezTo>
                  <a:lnTo>
                    <a:pt x="7435" y="851"/>
                  </a:lnTo>
                  <a:cubicBezTo>
                    <a:pt x="7435" y="379"/>
                    <a:pt x="7089" y="1"/>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2"/>
            <p:cNvSpPr/>
            <p:nvPr/>
          </p:nvSpPr>
          <p:spPr>
            <a:xfrm>
              <a:off x="-62148800" y="3377700"/>
              <a:ext cx="311125" cy="254425"/>
            </a:xfrm>
            <a:custGeom>
              <a:avLst/>
              <a:gdLst/>
              <a:ahLst/>
              <a:cxnLst/>
              <a:rect l="l" t="t" r="r" b="b"/>
              <a:pathLst>
                <a:path w="12445" h="10177" extrusionOk="0">
                  <a:moveTo>
                    <a:pt x="11626" y="1608"/>
                  </a:moveTo>
                  <a:lnTo>
                    <a:pt x="11626" y="2899"/>
                  </a:lnTo>
                  <a:cubicBezTo>
                    <a:pt x="11626" y="3939"/>
                    <a:pt x="10807" y="4853"/>
                    <a:pt x="9767" y="4916"/>
                  </a:cubicBezTo>
                  <a:cubicBezTo>
                    <a:pt x="9893" y="4538"/>
                    <a:pt x="9956" y="4128"/>
                    <a:pt x="9956" y="3718"/>
                  </a:cubicBezTo>
                  <a:lnTo>
                    <a:pt x="9956" y="1608"/>
                  </a:lnTo>
                  <a:close/>
                  <a:moveTo>
                    <a:pt x="2521" y="1639"/>
                  </a:moveTo>
                  <a:lnTo>
                    <a:pt x="2521" y="3718"/>
                  </a:lnTo>
                  <a:cubicBezTo>
                    <a:pt x="2521" y="4160"/>
                    <a:pt x="2616" y="4538"/>
                    <a:pt x="2710" y="4947"/>
                  </a:cubicBezTo>
                  <a:cubicBezTo>
                    <a:pt x="1702" y="4853"/>
                    <a:pt x="883" y="4002"/>
                    <a:pt x="883" y="2899"/>
                  </a:cubicBezTo>
                  <a:lnTo>
                    <a:pt x="883" y="1639"/>
                  </a:lnTo>
                  <a:close/>
                  <a:moveTo>
                    <a:pt x="6176" y="1576"/>
                  </a:moveTo>
                  <a:cubicBezTo>
                    <a:pt x="6333" y="1576"/>
                    <a:pt x="6491" y="1671"/>
                    <a:pt x="6554" y="1828"/>
                  </a:cubicBezTo>
                  <a:lnTo>
                    <a:pt x="6932" y="2647"/>
                  </a:lnTo>
                  <a:lnTo>
                    <a:pt x="7845" y="2773"/>
                  </a:lnTo>
                  <a:cubicBezTo>
                    <a:pt x="8003" y="2805"/>
                    <a:pt x="8129" y="2899"/>
                    <a:pt x="8160" y="3025"/>
                  </a:cubicBezTo>
                  <a:cubicBezTo>
                    <a:pt x="8349" y="3214"/>
                    <a:pt x="8318" y="3403"/>
                    <a:pt x="8192" y="3466"/>
                  </a:cubicBezTo>
                  <a:lnTo>
                    <a:pt x="7530" y="4097"/>
                  </a:lnTo>
                  <a:lnTo>
                    <a:pt x="7688" y="5010"/>
                  </a:lnTo>
                  <a:cubicBezTo>
                    <a:pt x="7719" y="5168"/>
                    <a:pt x="7656" y="5325"/>
                    <a:pt x="7530" y="5420"/>
                  </a:cubicBezTo>
                  <a:cubicBezTo>
                    <a:pt x="7452" y="5459"/>
                    <a:pt x="7363" y="5486"/>
                    <a:pt x="7268" y="5486"/>
                  </a:cubicBezTo>
                  <a:cubicBezTo>
                    <a:pt x="7210" y="5486"/>
                    <a:pt x="7149" y="5475"/>
                    <a:pt x="7089" y="5451"/>
                  </a:cubicBezTo>
                  <a:lnTo>
                    <a:pt x="6270" y="5010"/>
                  </a:lnTo>
                  <a:lnTo>
                    <a:pt x="5451" y="5451"/>
                  </a:lnTo>
                  <a:cubicBezTo>
                    <a:pt x="5380" y="5480"/>
                    <a:pt x="5309" y="5495"/>
                    <a:pt x="5241" y="5495"/>
                  </a:cubicBezTo>
                  <a:cubicBezTo>
                    <a:pt x="5158" y="5495"/>
                    <a:pt x="5079" y="5472"/>
                    <a:pt x="5010" y="5420"/>
                  </a:cubicBezTo>
                  <a:cubicBezTo>
                    <a:pt x="4884" y="5325"/>
                    <a:pt x="4821" y="5168"/>
                    <a:pt x="4852" y="5010"/>
                  </a:cubicBezTo>
                  <a:lnTo>
                    <a:pt x="5010" y="4097"/>
                  </a:lnTo>
                  <a:lnTo>
                    <a:pt x="4348" y="3466"/>
                  </a:lnTo>
                  <a:cubicBezTo>
                    <a:pt x="4222" y="3340"/>
                    <a:pt x="4191" y="3214"/>
                    <a:pt x="4222" y="3025"/>
                  </a:cubicBezTo>
                  <a:cubicBezTo>
                    <a:pt x="4254" y="2899"/>
                    <a:pt x="4411" y="2773"/>
                    <a:pt x="4537" y="2773"/>
                  </a:cubicBezTo>
                  <a:lnTo>
                    <a:pt x="5451" y="2647"/>
                  </a:lnTo>
                  <a:lnTo>
                    <a:pt x="5829" y="1828"/>
                  </a:lnTo>
                  <a:cubicBezTo>
                    <a:pt x="5924" y="1671"/>
                    <a:pt x="6018" y="1576"/>
                    <a:pt x="6176" y="1576"/>
                  </a:cubicBezTo>
                  <a:close/>
                  <a:moveTo>
                    <a:pt x="2931" y="1"/>
                  </a:moveTo>
                  <a:cubicBezTo>
                    <a:pt x="2679" y="1"/>
                    <a:pt x="2521" y="190"/>
                    <a:pt x="2521" y="410"/>
                  </a:cubicBezTo>
                  <a:lnTo>
                    <a:pt x="2521" y="852"/>
                  </a:lnTo>
                  <a:lnTo>
                    <a:pt x="442" y="852"/>
                  </a:lnTo>
                  <a:cubicBezTo>
                    <a:pt x="190" y="852"/>
                    <a:pt x="1" y="1041"/>
                    <a:pt x="1" y="1230"/>
                  </a:cubicBezTo>
                  <a:lnTo>
                    <a:pt x="1" y="2899"/>
                  </a:lnTo>
                  <a:cubicBezTo>
                    <a:pt x="1" y="4506"/>
                    <a:pt x="1292" y="5766"/>
                    <a:pt x="2931" y="5766"/>
                  </a:cubicBezTo>
                  <a:lnTo>
                    <a:pt x="3120" y="5766"/>
                  </a:lnTo>
                  <a:cubicBezTo>
                    <a:pt x="3561" y="6428"/>
                    <a:pt x="4222" y="6932"/>
                    <a:pt x="4978" y="7216"/>
                  </a:cubicBezTo>
                  <a:lnTo>
                    <a:pt x="4978" y="8507"/>
                  </a:lnTo>
                  <a:cubicBezTo>
                    <a:pt x="4506" y="8507"/>
                    <a:pt x="4128" y="8854"/>
                    <a:pt x="4128" y="9358"/>
                  </a:cubicBezTo>
                  <a:lnTo>
                    <a:pt x="4128" y="10177"/>
                  </a:lnTo>
                  <a:lnTo>
                    <a:pt x="8286" y="10177"/>
                  </a:lnTo>
                  <a:lnTo>
                    <a:pt x="8286" y="9358"/>
                  </a:lnTo>
                  <a:cubicBezTo>
                    <a:pt x="8286" y="8885"/>
                    <a:pt x="7908" y="8507"/>
                    <a:pt x="7436" y="8507"/>
                  </a:cubicBezTo>
                  <a:lnTo>
                    <a:pt x="7436" y="7216"/>
                  </a:lnTo>
                  <a:cubicBezTo>
                    <a:pt x="8192" y="6932"/>
                    <a:pt x="8854" y="6428"/>
                    <a:pt x="9295" y="5766"/>
                  </a:cubicBezTo>
                  <a:lnTo>
                    <a:pt x="9484" y="5766"/>
                  </a:lnTo>
                  <a:cubicBezTo>
                    <a:pt x="11122" y="5766"/>
                    <a:pt x="12414" y="4475"/>
                    <a:pt x="12414" y="2899"/>
                  </a:cubicBezTo>
                  <a:lnTo>
                    <a:pt x="12414" y="1230"/>
                  </a:lnTo>
                  <a:cubicBezTo>
                    <a:pt x="12445" y="978"/>
                    <a:pt x="12288" y="852"/>
                    <a:pt x="12067" y="852"/>
                  </a:cubicBezTo>
                  <a:lnTo>
                    <a:pt x="9956" y="852"/>
                  </a:lnTo>
                  <a:lnTo>
                    <a:pt x="9956" y="410"/>
                  </a:lnTo>
                  <a:cubicBezTo>
                    <a:pt x="9956" y="158"/>
                    <a:pt x="9767" y="1"/>
                    <a:pt x="9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1" name="Google Shape;6841;p72"/>
          <p:cNvGrpSpPr/>
          <p:nvPr/>
        </p:nvGrpSpPr>
        <p:grpSpPr>
          <a:xfrm>
            <a:off x="843958" y="3195207"/>
            <a:ext cx="368157" cy="367290"/>
            <a:chOff x="-62154300" y="3743950"/>
            <a:chExt cx="318200" cy="317450"/>
          </a:xfrm>
        </p:grpSpPr>
        <p:sp>
          <p:nvSpPr>
            <p:cNvPr id="6842" name="Google Shape;6842;p72"/>
            <p:cNvSpPr/>
            <p:nvPr/>
          </p:nvSpPr>
          <p:spPr>
            <a:xfrm>
              <a:off x="-61992850" y="3743950"/>
              <a:ext cx="63825" cy="69150"/>
            </a:xfrm>
            <a:custGeom>
              <a:avLst/>
              <a:gdLst/>
              <a:ahLst/>
              <a:cxnLst/>
              <a:rect l="l" t="t" r="r" b="b"/>
              <a:pathLst>
                <a:path w="2553" h="2766" extrusionOk="0">
                  <a:moveTo>
                    <a:pt x="1261" y="1"/>
                  </a:moveTo>
                  <a:cubicBezTo>
                    <a:pt x="1009" y="1"/>
                    <a:pt x="851" y="221"/>
                    <a:pt x="851" y="410"/>
                  </a:cubicBezTo>
                  <a:lnTo>
                    <a:pt x="851" y="1355"/>
                  </a:lnTo>
                  <a:lnTo>
                    <a:pt x="725" y="1229"/>
                  </a:lnTo>
                  <a:cubicBezTo>
                    <a:pt x="646" y="1151"/>
                    <a:pt x="544" y="1111"/>
                    <a:pt x="442" y="1111"/>
                  </a:cubicBezTo>
                  <a:cubicBezTo>
                    <a:pt x="339" y="1111"/>
                    <a:pt x="237" y="1151"/>
                    <a:pt x="158" y="1229"/>
                  </a:cubicBezTo>
                  <a:cubicBezTo>
                    <a:pt x="1" y="1387"/>
                    <a:pt x="1" y="1670"/>
                    <a:pt x="158" y="1828"/>
                  </a:cubicBezTo>
                  <a:lnTo>
                    <a:pt x="977" y="2647"/>
                  </a:lnTo>
                  <a:cubicBezTo>
                    <a:pt x="1056" y="2726"/>
                    <a:pt x="1166" y="2765"/>
                    <a:pt x="1277" y="2765"/>
                  </a:cubicBezTo>
                  <a:cubicBezTo>
                    <a:pt x="1387" y="2765"/>
                    <a:pt x="1497" y="2726"/>
                    <a:pt x="1576" y="2647"/>
                  </a:cubicBezTo>
                  <a:lnTo>
                    <a:pt x="2395" y="1828"/>
                  </a:lnTo>
                  <a:cubicBezTo>
                    <a:pt x="2553" y="1670"/>
                    <a:pt x="2553" y="1387"/>
                    <a:pt x="2395" y="1229"/>
                  </a:cubicBezTo>
                  <a:cubicBezTo>
                    <a:pt x="2316" y="1151"/>
                    <a:pt x="2206" y="1111"/>
                    <a:pt x="2096" y="1111"/>
                  </a:cubicBezTo>
                  <a:cubicBezTo>
                    <a:pt x="1985" y="1111"/>
                    <a:pt x="1875" y="1151"/>
                    <a:pt x="1796" y="1229"/>
                  </a:cubicBezTo>
                  <a:lnTo>
                    <a:pt x="1670" y="1355"/>
                  </a:lnTo>
                  <a:lnTo>
                    <a:pt x="1670" y="410"/>
                  </a:lnTo>
                  <a:cubicBezTo>
                    <a:pt x="1670" y="221"/>
                    <a:pt x="1481"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2"/>
            <p:cNvSpPr/>
            <p:nvPr/>
          </p:nvSpPr>
          <p:spPr>
            <a:xfrm>
              <a:off x="-62154300" y="3785700"/>
              <a:ext cx="318200" cy="275700"/>
            </a:xfrm>
            <a:custGeom>
              <a:avLst/>
              <a:gdLst/>
              <a:ahLst/>
              <a:cxnLst/>
              <a:rect l="l" t="t" r="r" b="b"/>
              <a:pathLst>
                <a:path w="12728" h="11028" extrusionOk="0">
                  <a:moveTo>
                    <a:pt x="5261" y="3560"/>
                  </a:moveTo>
                  <a:cubicBezTo>
                    <a:pt x="5513" y="3560"/>
                    <a:pt x="5671" y="3781"/>
                    <a:pt x="5671" y="4002"/>
                  </a:cubicBezTo>
                  <a:lnTo>
                    <a:pt x="5671" y="5671"/>
                  </a:lnTo>
                  <a:cubicBezTo>
                    <a:pt x="5671" y="5892"/>
                    <a:pt x="5450" y="6112"/>
                    <a:pt x="5261" y="6112"/>
                  </a:cubicBezTo>
                  <a:cubicBezTo>
                    <a:pt x="5072" y="6112"/>
                    <a:pt x="4820" y="5892"/>
                    <a:pt x="4820" y="5671"/>
                  </a:cubicBezTo>
                  <a:lnTo>
                    <a:pt x="4820" y="4002"/>
                  </a:lnTo>
                  <a:cubicBezTo>
                    <a:pt x="4820" y="3781"/>
                    <a:pt x="5041" y="3560"/>
                    <a:pt x="5261" y="3560"/>
                  </a:cubicBezTo>
                  <a:close/>
                  <a:moveTo>
                    <a:pt x="7719" y="3560"/>
                  </a:moveTo>
                  <a:cubicBezTo>
                    <a:pt x="7908" y="3560"/>
                    <a:pt x="8128" y="3781"/>
                    <a:pt x="8128" y="4002"/>
                  </a:cubicBezTo>
                  <a:lnTo>
                    <a:pt x="8128" y="5671"/>
                  </a:lnTo>
                  <a:cubicBezTo>
                    <a:pt x="8128" y="5892"/>
                    <a:pt x="7939" y="6112"/>
                    <a:pt x="7719" y="6112"/>
                  </a:cubicBezTo>
                  <a:cubicBezTo>
                    <a:pt x="7467" y="6112"/>
                    <a:pt x="7309" y="5892"/>
                    <a:pt x="7309" y="5671"/>
                  </a:cubicBezTo>
                  <a:lnTo>
                    <a:pt x="7309" y="4002"/>
                  </a:lnTo>
                  <a:cubicBezTo>
                    <a:pt x="7309" y="3781"/>
                    <a:pt x="7498" y="3560"/>
                    <a:pt x="7719" y="3560"/>
                  </a:cubicBezTo>
                  <a:close/>
                  <a:moveTo>
                    <a:pt x="10239" y="3560"/>
                  </a:moveTo>
                  <a:cubicBezTo>
                    <a:pt x="10460" y="3560"/>
                    <a:pt x="10617" y="3781"/>
                    <a:pt x="10617" y="4002"/>
                  </a:cubicBezTo>
                  <a:lnTo>
                    <a:pt x="10617" y="5671"/>
                  </a:lnTo>
                  <a:cubicBezTo>
                    <a:pt x="10617" y="5892"/>
                    <a:pt x="10428" y="6112"/>
                    <a:pt x="10239" y="6112"/>
                  </a:cubicBezTo>
                  <a:cubicBezTo>
                    <a:pt x="9987" y="6112"/>
                    <a:pt x="9798" y="5892"/>
                    <a:pt x="9798" y="5671"/>
                  </a:cubicBezTo>
                  <a:lnTo>
                    <a:pt x="9798" y="4002"/>
                  </a:lnTo>
                  <a:cubicBezTo>
                    <a:pt x="9798" y="3781"/>
                    <a:pt x="9987" y="3560"/>
                    <a:pt x="10239" y="3560"/>
                  </a:cubicBezTo>
                  <a:close/>
                  <a:moveTo>
                    <a:pt x="5230" y="9357"/>
                  </a:moveTo>
                  <a:cubicBezTo>
                    <a:pt x="5450" y="9357"/>
                    <a:pt x="5608" y="9578"/>
                    <a:pt x="5608" y="9767"/>
                  </a:cubicBezTo>
                  <a:cubicBezTo>
                    <a:pt x="5608" y="9987"/>
                    <a:pt x="5419" y="10208"/>
                    <a:pt x="5230" y="10208"/>
                  </a:cubicBezTo>
                  <a:cubicBezTo>
                    <a:pt x="5041" y="10208"/>
                    <a:pt x="4789" y="9987"/>
                    <a:pt x="4789" y="9767"/>
                  </a:cubicBezTo>
                  <a:cubicBezTo>
                    <a:pt x="4820" y="9578"/>
                    <a:pt x="5041" y="9357"/>
                    <a:pt x="5230" y="9357"/>
                  </a:cubicBezTo>
                  <a:close/>
                  <a:moveTo>
                    <a:pt x="9924" y="9357"/>
                  </a:moveTo>
                  <a:cubicBezTo>
                    <a:pt x="10145" y="9357"/>
                    <a:pt x="10302" y="9578"/>
                    <a:pt x="10302" y="9767"/>
                  </a:cubicBezTo>
                  <a:cubicBezTo>
                    <a:pt x="10302" y="9987"/>
                    <a:pt x="10113" y="10208"/>
                    <a:pt x="9924" y="10208"/>
                  </a:cubicBezTo>
                  <a:cubicBezTo>
                    <a:pt x="9704" y="10208"/>
                    <a:pt x="9515" y="9987"/>
                    <a:pt x="9515" y="9767"/>
                  </a:cubicBezTo>
                  <a:cubicBezTo>
                    <a:pt x="9515" y="9578"/>
                    <a:pt x="9704" y="9357"/>
                    <a:pt x="9924" y="9357"/>
                  </a:cubicBezTo>
                  <a:close/>
                  <a:moveTo>
                    <a:pt x="441" y="0"/>
                  </a:moveTo>
                  <a:cubicBezTo>
                    <a:pt x="189" y="0"/>
                    <a:pt x="0" y="189"/>
                    <a:pt x="0" y="378"/>
                  </a:cubicBezTo>
                  <a:cubicBezTo>
                    <a:pt x="0" y="599"/>
                    <a:pt x="347" y="820"/>
                    <a:pt x="536" y="820"/>
                  </a:cubicBezTo>
                  <a:lnTo>
                    <a:pt x="2111" y="820"/>
                  </a:lnTo>
                  <a:cubicBezTo>
                    <a:pt x="2174" y="1103"/>
                    <a:pt x="3245" y="6711"/>
                    <a:pt x="3308" y="6994"/>
                  </a:cubicBezTo>
                  <a:cubicBezTo>
                    <a:pt x="2867" y="7184"/>
                    <a:pt x="2584" y="7625"/>
                    <a:pt x="2584" y="8097"/>
                  </a:cubicBezTo>
                  <a:cubicBezTo>
                    <a:pt x="2584" y="8759"/>
                    <a:pt x="3151" y="9326"/>
                    <a:pt x="3812" y="9326"/>
                  </a:cubicBezTo>
                  <a:lnTo>
                    <a:pt x="4001" y="9326"/>
                  </a:lnTo>
                  <a:cubicBezTo>
                    <a:pt x="3970" y="9452"/>
                    <a:pt x="3938" y="9609"/>
                    <a:pt x="3938" y="9767"/>
                  </a:cubicBezTo>
                  <a:cubicBezTo>
                    <a:pt x="3938" y="10429"/>
                    <a:pt x="4474" y="11027"/>
                    <a:pt x="5167" y="11027"/>
                  </a:cubicBezTo>
                  <a:cubicBezTo>
                    <a:pt x="5829" y="11027"/>
                    <a:pt x="6364" y="10460"/>
                    <a:pt x="6364" y="9767"/>
                  </a:cubicBezTo>
                  <a:cubicBezTo>
                    <a:pt x="6364" y="9609"/>
                    <a:pt x="6333" y="9483"/>
                    <a:pt x="6301" y="9326"/>
                  </a:cubicBezTo>
                  <a:lnTo>
                    <a:pt x="8664" y="9326"/>
                  </a:lnTo>
                  <a:cubicBezTo>
                    <a:pt x="8632" y="9452"/>
                    <a:pt x="8569" y="9609"/>
                    <a:pt x="8569" y="9767"/>
                  </a:cubicBezTo>
                  <a:cubicBezTo>
                    <a:pt x="8569" y="10429"/>
                    <a:pt x="9137" y="11027"/>
                    <a:pt x="9798" y="11027"/>
                  </a:cubicBezTo>
                  <a:cubicBezTo>
                    <a:pt x="10460" y="11027"/>
                    <a:pt x="11027" y="10460"/>
                    <a:pt x="11027" y="9767"/>
                  </a:cubicBezTo>
                  <a:cubicBezTo>
                    <a:pt x="11027" y="9609"/>
                    <a:pt x="10995" y="9483"/>
                    <a:pt x="10932" y="9357"/>
                  </a:cubicBezTo>
                  <a:lnTo>
                    <a:pt x="11562" y="9357"/>
                  </a:lnTo>
                  <a:cubicBezTo>
                    <a:pt x="11814" y="9357"/>
                    <a:pt x="12003" y="9168"/>
                    <a:pt x="12003" y="8979"/>
                  </a:cubicBezTo>
                  <a:cubicBezTo>
                    <a:pt x="12003" y="8727"/>
                    <a:pt x="11814" y="8538"/>
                    <a:pt x="11562" y="8538"/>
                  </a:cubicBezTo>
                  <a:lnTo>
                    <a:pt x="3749" y="8538"/>
                  </a:lnTo>
                  <a:cubicBezTo>
                    <a:pt x="3497" y="8538"/>
                    <a:pt x="3308" y="8349"/>
                    <a:pt x="3308" y="8160"/>
                  </a:cubicBezTo>
                  <a:cubicBezTo>
                    <a:pt x="3308" y="7940"/>
                    <a:pt x="3497" y="7719"/>
                    <a:pt x="3749" y="7719"/>
                  </a:cubicBezTo>
                  <a:lnTo>
                    <a:pt x="11468" y="7719"/>
                  </a:lnTo>
                  <a:cubicBezTo>
                    <a:pt x="11657" y="7719"/>
                    <a:pt x="11846" y="7562"/>
                    <a:pt x="11846" y="7373"/>
                  </a:cubicBezTo>
                  <a:lnTo>
                    <a:pt x="12665" y="2395"/>
                  </a:lnTo>
                  <a:cubicBezTo>
                    <a:pt x="12728" y="2143"/>
                    <a:pt x="12508" y="1922"/>
                    <a:pt x="12287" y="1922"/>
                  </a:cubicBezTo>
                  <a:lnTo>
                    <a:pt x="3056" y="1922"/>
                  </a:lnTo>
                  <a:lnTo>
                    <a:pt x="2741" y="347"/>
                  </a:lnTo>
                  <a:cubicBezTo>
                    <a:pt x="2710" y="158"/>
                    <a:pt x="2552"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4" name="Google Shape;6844;p72"/>
          <p:cNvGrpSpPr/>
          <p:nvPr/>
        </p:nvGrpSpPr>
        <p:grpSpPr>
          <a:xfrm>
            <a:off x="843944" y="3654187"/>
            <a:ext cx="368186" cy="366364"/>
            <a:chOff x="-62151950" y="4111775"/>
            <a:chExt cx="318225" cy="316650"/>
          </a:xfrm>
        </p:grpSpPr>
        <p:sp>
          <p:nvSpPr>
            <p:cNvPr id="6845" name="Google Shape;6845;p72"/>
            <p:cNvSpPr/>
            <p:nvPr/>
          </p:nvSpPr>
          <p:spPr>
            <a:xfrm>
              <a:off x="-62151950" y="4407925"/>
              <a:ext cx="318225" cy="20500"/>
            </a:xfrm>
            <a:custGeom>
              <a:avLst/>
              <a:gdLst/>
              <a:ahLst/>
              <a:cxnLst/>
              <a:rect l="l" t="t" r="r" b="b"/>
              <a:pathLst>
                <a:path w="12729" h="820" extrusionOk="0">
                  <a:moveTo>
                    <a:pt x="442" y="0"/>
                  </a:moveTo>
                  <a:cubicBezTo>
                    <a:pt x="221" y="0"/>
                    <a:pt x="1" y="189"/>
                    <a:pt x="1" y="441"/>
                  </a:cubicBezTo>
                  <a:cubicBezTo>
                    <a:pt x="1" y="662"/>
                    <a:pt x="221" y="819"/>
                    <a:pt x="442" y="819"/>
                  </a:cubicBezTo>
                  <a:lnTo>
                    <a:pt x="12288" y="819"/>
                  </a:lnTo>
                  <a:cubicBezTo>
                    <a:pt x="12540" y="819"/>
                    <a:pt x="12697" y="630"/>
                    <a:pt x="12697" y="441"/>
                  </a:cubicBezTo>
                  <a:cubicBezTo>
                    <a:pt x="12729" y="158"/>
                    <a:pt x="12540" y="0"/>
                    <a:pt x="1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2"/>
            <p:cNvSpPr/>
            <p:nvPr/>
          </p:nvSpPr>
          <p:spPr>
            <a:xfrm>
              <a:off x="-62151950" y="4283475"/>
              <a:ext cx="84300" cy="104000"/>
            </a:xfrm>
            <a:custGeom>
              <a:avLst/>
              <a:gdLst/>
              <a:ahLst/>
              <a:cxnLst/>
              <a:rect l="l" t="t" r="r" b="b"/>
              <a:pathLst>
                <a:path w="3372" h="4160" extrusionOk="0">
                  <a:moveTo>
                    <a:pt x="1009" y="0"/>
                  </a:moveTo>
                  <a:cubicBezTo>
                    <a:pt x="442" y="0"/>
                    <a:pt x="1" y="442"/>
                    <a:pt x="1" y="1009"/>
                  </a:cubicBezTo>
                  <a:lnTo>
                    <a:pt x="1" y="3214"/>
                  </a:lnTo>
                  <a:cubicBezTo>
                    <a:pt x="64" y="3718"/>
                    <a:pt x="473" y="4159"/>
                    <a:pt x="1009" y="4159"/>
                  </a:cubicBezTo>
                  <a:lnTo>
                    <a:pt x="2363" y="4159"/>
                  </a:lnTo>
                  <a:cubicBezTo>
                    <a:pt x="2931" y="4159"/>
                    <a:pt x="3372" y="3718"/>
                    <a:pt x="3372" y="3214"/>
                  </a:cubicBezTo>
                  <a:lnTo>
                    <a:pt x="3372" y="1009"/>
                  </a:lnTo>
                  <a:cubicBezTo>
                    <a:pt x="3372" y="442"/>
                    <a:pt x="2931"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2"/>
            <p:cNvSpPr/>
            <p:nvPr/>
          </p:nvSpPr>
          <p:spPr>
            <a:xfrm>
              <a:off x="-62033800" y="4111775"/>
              <a:ext cx="82725" cy="275700"/>
            </a:xfrm>
            <a:custGeom>
              <a:avLst/>
              <a:gdLst/>
              <a:ahLst/>
              <a:cxnLst/>
              <a:rect l="l" t="t" r="r" b="b"/>
              <a:pathLst>
                <a:path w="3309" h="11028" extrusionOk="0">
                  <a:moveTo>
                    <a:pt x="946" y="0"/>
                  </a:moveTo>
                  <a:cubicBezTo>
                    <a:pt x="410" y="0"/>
                    <a:pt x="0" y="410"/>
                    <a:pt x="0" y="977"/>
                  </a:cubicBezTo>
                  <a:lnTo>
                    <a:pt x="0" y="10082"/>
                  </a:lnTo>
                  <a:cubicBezTo>
                    <a:pt x="0" y="10618"/>
                    <a:pt x="441" y="11027"/>
                    <a:pt x="946" y="11027"/>
                  </a:cubicBezTo>
                  <a:lnTo>
                    <a:pt x="2332" y="11027"/>
                  </a:lnTo>
                  <a:cubicBezTo>
                    <a:pt x="2899" y="11027"/>
                    <a:pt x="3308" y="10586"/>
                    <a:pt x="3308" y="10082"/>
                  </a:cubicBezTo>
                  <a:lnTo>
                    <a:pt x="3308" y="977"/>
                  </a:lnTo>
                  <a:cubicBezTo>
                    <a:pt x="3308" y="410"/>
                    <a:pt x="2899"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2"/>
            <p:cNvSpPr/>
            <p:nvPr/>
          </p:nvSpPr>
          <p:spPr>
            <a:xfrm>
              <a:off x="-61916450" y="4200775"/>
              <a:ext cx="82725" cy="186700"/>
            </a:xfrm>
            <a:custGeom>
              <a:avLst/>
              <a:gdLst/>
              <a:ahLst/>
              <a:cxnLst/>
              <a:rect l="l" t="t" r="r" b="b"/>
              <a:pathLst>
                <a:path w="3309" h="7468" extrusionOk="0">
                  <a:moveTo>
                    <a:pt x="946" y="0"/>
                  </a:moveTo>
                  <a:cubicBezTo>
                    <a:pt x="410" y="0"/>
                    <a:pt x="1" y="442"/>
                    <a:pt x="1" y="1009"/>
                  </a:cubicBezTo>
                  <a:lnTo>
                    <a:pt x="1" y="6522"/>
                  </a:lnTo>
                  <a:cubicBezTo>
                    <a:pt x="1" y="7058"/>
                    <a:pt x="442" y="7467"/>
                    <a:pt x="946" y="7467"/>
                  </a:cubicBezTo>
                  <a:lnTo>
                    <a:pt x="2332" y="7467"/>
                  </a:lnTo>
                  <a:cubicBezTo>
                    <a:pt x="2868" y="7467"/>
                    <a:pt x="3309" y="7026"/>
                    <a:pt x="3309" y="6522"/>
                  </a:cubicBezTo>
                  <a:lnTo>
                    <a:pt x="3309" y="1009"/>
                  </a:lnTo>
                  <a:cubicBezTo>
                    <a:pt x="3309" y="442"/>
                    <a:pt x="2868"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9" name="Google Shape;6849;p72"/>
          <p:cNvGrpSpPr/>
          <p:nvPr/>
        </p:nvGrpSpPr>
        <p:grpSpPr>
          <a:xfrm>
            <a:off x="3062568" y="2744733"/>
            <a:ext cx="368157" cy="367434"/>
            <a:chOff x="-60254550" y="3367325"/>
            <a:chExt cx="318200" cy="317575"/>
          </a:xfrm>
        </p:grpSpPr>
        <p:sp>
          <p:nvSpPr>
            <p:cNvPr id="6850" name="Google Shape;6850;p72"/>
            <p:cNvSpPr/>
            <p:nvPr/>
          </p:nvSpPr>
          <p:spPr>
            <a:xfrm>
              <a:off x="-60219125" y="3367325"/>
              <a:ext cx="51225" cy="103575"/>
            </a:xfrm>
            <a:custGeom>
              <a:avLst/>
              <a:gdLst/>
              <a:ahLst/>
              <a:cxnLst/>
              <a:rect l="l" t="t" r="r" b="b"/>
              <a:pathLst>
                <a:path w="2049" h="4143" extrusionOk="0">
                  <a:moveTo>
                    <a:pt x="1051" y="0"/>
                  </a:moveTo>
                  <a:cubicBezTo>
                    <a:pt x="935" y="0"/>
                    <a:pt x="815" y="57"/>
                    <a:pt x="725" y="164"/>
                  </a:cubicBezTo>
                  <a:cubicBezTo>
                    <a:pt x="568" y="290"/>
                    <a:pt x="568" y="573"/>
                    <a:pt x="757" y="731"/>
                  </a:cubicBezTo>
                  <a:cubicBezTo>
                    <a:pt x="1103" y="1046"/>
                    <a:pt x="1103" y="1456"/>
                    <a:pt x="757" y="1771"/>
                  </a:cubicBezTo>
                  <a:cubicBezTo>
                    <a:pt x="32" y="2401"/>
                    <a:pt x="1" y="3377"/>
                    <a:pt x="757" y="4039"/>
                  </a:cubicBezTo>
                  <a:cubicBezTo>
                    <a:pt x="828" y="4110"/>
                    <a:pt x="924" y="4143"/>
                    <a:pt x="1023" y="4143"/>
                  </a:cubicBezTo>
                  <a:cubicBezTo>
                    <a:pt x="1144" y="4143"/>
                    <a:pt x="1269" y="4094"/>
                    <a:pt x="1356" y="4007"/>
                  </a:cubicBezTo>
                  <a:cubicBezTo>
                    <a:pt x="1513" y="3850"/>
                    <a:pt x="1513" y="3566"/>
                    <a:pt x="1292" y="3409"/>
                  </a:cubicBezTo>
                  <a:cubicBezTo>
                    <a:pt x="946" y="3094"/>
                    <a:pt x="946" y="2716"/>
                    <a:pt x="1292" y="2401"/>
                  </a:cubicBezTo>
                  <a:cubicBezTo>
                    <a:pt x="2017" y="1771"/>
                    <a:pt x="2049" y="762"/>
                    <a:pt x="1292" y="101"/>
                  </a:cubicBezTo>
                  <a:cubicBezTo>
                    <a:pt x="1224" y="33"/>
                    <a:pt x="1139" y="0"/>
                    <a:pt x="10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2"/>
            <p:cNvSpPr/>
            <p:nvPr/>
          </p:nvSpPr>
          <p:spPr>
            <a:xfrm>
              <a:off x="-60156900" y="3367325"/>
              <a:ext cx="51225" cy="103575"/>
            </a:xfrm>
            <a:custGeom>
              <a:avLst/>
              <a:gdLst/>
              <a:ahLst/>
              <a:cxnLst/>
              <a:rect l="l" t="t" r="r" b="b"/>
              <a:pathLst>
                <a:path w="2049" h="4143" extrusionOk="0">
                  <a:moveTo>
                    <a:pt x="1038" y="0"/>
                  </a:moveTo>
                  <a:cubicBezTo>
                    <a:pt x="913" y="0"/>
                    <a:pt x="783" y="57"/>
                    <a:pt x="694" y="164"/>
                  </a:cubicBezTo>
                  <a:cubicBezTo>
                    <a:pt x="536" y="290"/>
                    <a:pt x="536" y="573"/>
                    <a:pt x="757" y="731"/>
                  </a:cubicBezTo>
                  <a:cubicBezTo>
                    <a:pt x="1103" y="1046"/>
                    <a:pt x="1103" y="1456"/>
                    <a:pt x="757" y="1771"/>
                  </a:cubicBezTo>
                  <a:cubicBezTo>
                    <a:pt x="32" y="2401"/>
                    <a:pt x="1" y="3377"/>
                    <a:pt x="757" y="4039"/>
                  </a:cubicBezTo>
                  <a:cubicBezTo>
                    <a:pt x="828" y="4110"/>
                    <a:pt x="918" y="4143"/>
                    <a:pt x="1010" y="4143"/>
                  </a:cubicBezTo>
                  <a:cubicBezTo>
                    <a:pt x="1122" y="4143"/>
                    <a:pt x="1237" y="4094"/>
                    <a:pt x="1324" y="4007"/>
                  </a:cubicBezTo>
                  <a:cubicBezTo>
                    <a:pt x="1481" y="3850"/>
                    <a:pt x="1481" y="3566"/>
                    <a:pt x="1292" y="3409"/>
                  </a:cubicBezTo>
                  <a:cubicBezTo>
                    <a:pt x="946" y="3094"/>
                    <a:pt x="946" y="2716"/>
                    <a:pt x="1292" y="2401"/>
                  </a:cubicBezTo>
                  <a:cubicBezTo>
                    <a:pt x="2017" y="1771"/>
                    <a:pt x="2049"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2"/>
            <p:cNvSpPr/>
            <p:nvPr/>
          </p:nvSpPr>
          <p:spPr>
            <a:xfrm>
              <a:off x="-60094675" y="3367325"/>
              <a:ext cx="51225" cy="103575"/>
            </a:xfrm>
            <a:custGeom>
              <a:avLst/>
              <a:gdLst/>
              <a:ahLst/>
              <a:cxnLst/>
              <a:rect l="l" t="t" r="r" b="b"/>
              <a:pathLst>
                <a:path w="2049" h="4143" extrusionOk="0">
                  <a:moveTo>
                    <a:pt x="1038" y="0"/>
                  </a:moveTo>
                  <a:cubicBezTo>
                    <a:pt x="913" y="0"/>
                    <a:pt x="783" y="57"/>
                    <a:pt x="694" y="164"/>
                  </a:cubicBezTo>
                  <a:cubicBezTo>
                    <a:pt x="536" y="290"/>
                    <a:pt x="536" y="573"/>
                    <a:pt x="725" y="731"/>
                  </a:cubicBezTo>
                  <a:cubicBezTo>
                    <a:pt x="1103" y="1046"/>
                    <a:pt x="1103" y="1456"/>
                    <a:pt x="725" y="1771"/>
                  </a:cubicBezTo>
                  <a:cubicBezTo>
                    <a:pt x="32" y="2401"/>
                    <a:pt x="1" y="3377"/>
                    <a:pt x="725" y="4039"/>
                  </a:cubicBezTo>
                  <a:cubicBezTo>
                    <a:pt x="796" y="4110"/>
                    <a:pt x="893" y="4143"/>
                    <a:pt x="992" y="4143"/>
                  </a:cubicBezTo>
                  <a:cubicBezTo>
                    <a:pt x="1113" y="4143"/>
                    <a:pt x="1237" y="4094"/>
                    <a:pt x="1324" y="4007"/>
                  </a:cubicBezTo>
                  <a:cubicBezTo>
                    <a:pt x="1481" y="3850"/>
                    <a:pt x="1481" y="3566"/>
                    <a:pt x="1292" y="3409"/>
                  </a:cubicBezTo>
                  <a:cubicBezTo>
                    <a:pt x="946" y="3094"/>
                    <a:pt x="946" y="2716"/>
                    <a:pt x="1292" y="2401"/>
                  </a:cubicBezTo>
                  <a:cubicBezTo>
                    <a:pt x="1985" y="1771"/>
                    <a:pt x="2048"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2"/>
            <p:cNvSpPr/>
            <p:nvPr/>
          </p:nvSpPr>
          <p:spPr>
            <a:xfrm>
              <a:off x="-60254550" y="3478525"/>
              <a:ext cx="318200" cy="206375"/>
            </a:xfrm>
            <a:custGeom>
              <a:avLst/>
              <a:gdLst/>
              <a:ahLst/>
              <a:cxnLst/>
              <a:rect l="l" t="t" r="r" b="b"/>
              <a:pathLst>
                <a:path w="12728" h="8255" extrusionOk="0">
                  <a:moveTo>
                    <a:pt x="10428" y="1607"/>
                  </a:moveTo>
                  <a:cubicBezTo>
                    <a:pt x="11184" y="1607"/>
                    <a:pt x="11814" y="2237"/>
                    <a:pt x="11814" y="2994"/>
                  </a:cubicBezTo>
                  <a:cubicBezTo>
                    <a:pt x="11814" y="3718"/>
                    <a:pt x="11184" y="4380"/>
                    <a:pt x="10428" y="4380"/>
                  </a:cubicBezTo>
                  <a:lnTo>
                    <a:pt x="9767" y="4380"/>
                  </a:lnTo>
                  <a:cubicBezTo>
                    <a:pt x="9861" y="4002"/>
                    <a:pt x="9893" y="3655"/>
                    <a:pt x="9893" y="3246"/>
                  </a:cubicBezTo>
                  <a:lnTo>
                    <a:pt x="9893" y="1607"/>
                  </a:lnTo>
                  <a:close/>
                  <a:moveTo>
                    <a:pt x="410" y="1"/>
                  </a:moveTo>
                  <a:cubicBezTo>
                    <a:pt x="158" y="1"/>
                    <a:pt x="0" y="190"/>
                    <a:pt x="0" y="379"/>
                  </a:cubicBezTo>
                  <a:lnTo>
                    <a:pt x="0" y="3309"/>
                  </a:lnTo>
                  <a:cubicBezTo>
                    <a:pt x="0" y="5041"/>
                    <a:pt x="882" y="6522"/>
                    <a:pt x="2237" y="7436"/>
                  </a:cubicBezTo>
                  <a:lnTo>
                    <a:pt x="441" y="7436"/>
                  </a:lnTo>
                  <a:cubicBezTo>
                    <a:pt x="189" y="7436"/>
                    <a:pt x="32" y="7625"/>
                    <a:pt x="32" y="7845"/>
                  </a:cubicBezTo>
                  <a:cubicBezTo>
                    <a:pt x="32" y="8066"/>
                    <a:pt x="252" y="8255"/>
                    <a:pt x="441" y="8255"/>
                  </a:cubicBezTo>
                  <a:lnTo>
                    <a:pt x="9546" y="8255"/>
                  </a:lnTo>
                  <a:cubicBezTo>
                    <a:pt x="9767" y="8255"/>
                    <a:pt x="9924" y="8066"/>
                    <a:pt x="9924" y="7845"/>
                  </a:cubicBezTo>
                  <a:cubicBezTo>
                    <a:pt x="9924" y="7593"/>
                    <a:pt x="9735" y="7436"/>
                    <a:pt x="9546" y="7436"/>
                  </a:cubicBezTo>
                  <a:lnTo>
                    <a:pt x="7719" y="7436"/>
                  </a:lnTo>
                  <a:cubicBezTo>
                    <a:pt x="8538" y="6900"/>
                    <a:pt x="9168" y="6144"/>
                    <a:pt x="9578" y="5230"/>
                  </a:cubicBezTo>
                  <a:lnTo>
                    <a:pt x="10523" y="5230"/>
                  </a:lnTo>
                  <a:cubicBezTo>
                    <a:pt x="11751" y="5230"/>
                    <a:pt x="12728" y="4254"/>
                    <a:pt x="12728" y="3025"/>
                  </a:cubicBezTo>
                  <a:cubicBezTo>
                    <a:pt x="12728" y="1796"/>
                    <a:pt x="11657" y="788"/>
                    <a:pt x="10428" y="788"/>
                  </a:cubicBezTo>
                  <a:lnTo>
                    <a:pt x="9893" y="788"/>
                  </a:lnTo>
                  <a:lnTo>
                    <a:pt x="9893" y="379"/>
                  </a:lnTo>
                  <a:cubicBezTo>
                    <a:pt x="9893" y="158"/>
                    <a:pt x="9704" y="1"/>
                    <a:pt x="94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54" name="Google Shape;6854;p72"/>
          <p:cNvGrpSpPr/>
          <p:nvPr/>
        </p:nvGrpSpPr>
        <p:grpSpPr>
          <a:xfrm>
            <a:off x="3063465" y="3195727"/>
            <a:ext cx="366364" cy="366248"/>
            <a:chOff x="-60255350" y="3733825"/>
            <a:chExt cx="316650" cy="316550"/>
          </a:xfrm>
        </p:grpSpPr>
        <p:sp>
          <p:nvSpPr>
            <p:cNvPr id="6855" name="Google Shape;6855;p72"/>
            <p:cNvSpPr/>
            <p:nvPr/>
          </p:nvSpPr>
          <p:spPr>
            <a:xfrm>
              <a:off x="-60218325" y="3733825"/>
              <a:ext cx="235525" cy="316550"/>
            </a:xfrm>
            <a:custGeom>
              <a:avLst/>
              <a:gdLst/>
              <a:ahLst/>
              <a:cxnLst/>
              <a:rect l="l" t="t" r="r" b="b"/>
              <a:pathLst>
                <a:path w="9421" h="12662" extrusionOk="0">
                  <a:moveTo>
                    <a:pt x="4821" y="1666"/>
                  </a:moveTo>
                  <a:cubicBezTo>
                    <a:pt x="5073" y="1666"/>
                    <a:pt x="5262" y="1886"/>
                    <a:pt x="5262" y="2075"/>
                  </a:cubicBezTo>
                  <a:lnTo>
                    <a:pt x="5262" y="2359"/>
                  </a:lnTo>
                  <a:cubicBezTo>
                    <a:pt x="5734" y="2485"/>
                    <a:pt x="6081" y="2989"/>
                    <a:pt x="6081" y="3525"/>
                  </a:cubicBezTo>
                  <a:cubicBezTo>
                    <a:pt x="6081" y="3777"/>
                    <a:pt x="5892" y="3934"/>
                    <a:pt x="5640" y="3934"/>
                  </a:cubicBezTo>
                  <a:cubicBezTo>
                    <a:pt x="5419" y="3934"/>
                    <a:pt x="5262" y="3714"/>
                    <a:pt x="5262" y="3525"/>
                  </a:cubicBezTo>
                  <a:cubicBezTo>
                    <a:pt x="5262" y="3273"/>
                    <a:pt x="5073" y="3084"/>
                    <a:pt x="4821" y="3084"/>
                  </a:cubicBezTo>
                  <a:cubicBezTo>
                    <a:pt x="4569" y="3084"/>
                    <a:pt x="4411" y="3273"/>
                    <a:pt x="4411" y="3525"/>
                  </a:cubicBezTo>
                  <a:cubicBezTo>
                    <a:pt x="4411" y="3777"/>
                    <a:pt x="4789" y="3997"/>
                    <a:pt x="5104" y="4249"/>
                  </a:cubicBezTo>
                  <a:cubicBezTo>
                    <a:pt x="5514" y="4564"/>
                    <a:pt x="6081" y="4942"/>
                    <a:pt x="6081" y="5604"/>
                  </a:cubicBezTo>
                  <a:cubicBezTo>
                    <a:pt x="6081" y="6171"/>
                    <a:pt x="5734" y="6612"/>
                    <a:pt x="5262" y="6801"/>
                  </a:cubicBezTo>
                  <a:lnTo>
                    <a:pt x="5262" y="7085"/>
                  </a:lnTo>
                  <a:cubicBezTo>
                    <a:pt x="5262" y="7305"/>
                    <a:pt x="5041" y="7463"/>
                    <a:pt x="4821" y="7463"/>
                  </a:cubicBezTo>
                  <a:cubicBezTo>
                    <a:pt x="4569" y="7463"/>
                    <a:pt x="4411" y="7274"/>
                    <a:pt x="4411" y="7085"/>
                  </a:cubicBezTo>
                  <a:lnTo>
                    <a:pt x="4411" y="6801"/>
                  </a:lnTo>
                  <a:cubicBezTo>
                    <a:pt x="3938" y="6644"/>
                    <a:pt x="3592" y="6171"/>
                    <a:pt x="3592" y="5604"/>
                  </a:cubicBezTo>
                  <a:cubicBezTo>
                    <a:pt x="3592" y="5383"/>
                    <a:pt x="3781" y="5194"/>
                    <a:pt x="4033" y="5194"/>
                  </a:cubicBezTo>
                  <a:cubicBezTo>
                    <a:pt x="4253" y="5194"/>
                    <a:pt x="4411" y="5383"/>
                    <a:pt x="4411" y="5604"/>
                  </a:cubicBezTo>
                  <a:cubicBezTo>
                    <a:pt x="4411" y="5856"/>
                    <a:pt x="4632" y="6014"/>
                    <a:pt x="4821" y="6014"/>
                  </a:cubicBezTo>
                  <a:cubicBezTo>
                    <a:pt x="5041" y="6014"/>
                    <a:pt x="5262" y="5824"/>
                    <a:pt x="5262" y="5604"/>
                  </a:cubicBezTo>
                  <a:cubicBezTo>
                    <a:pt x="5262" y="5383"/>
                    <a:pt x="4947" y="5131"/>
                    <a:pt x="4569" y="4911"/>
                  </a:cubicBezTo>
                  <a:cubicBezTo>
                    <a:pt x="4159" y="4596"/>
                    <a:pt x="3592" y="4186"/>
                    <a:pt x="3592" y="3525"/>
                  </a:cubicBezTo>
                  <a:cubicBezTo>
                    <a:pt x="3592" y="2989"/>
                    <a:pt x="3938" y="2548"/>
                    <a:pt x="4411" y="2359"/>
                  </a:cubicBezTo>
                  <a:lnTo>
                    <a:pt x="4411" y="2075"/>
                  </a:lnTo>
                  <a:cubicBezTo>
                    <a:pt x="4411" y="1823"/>
                    <a:pt x="4632" y="1666"/>
                    <a:pt x="4821" y="1666"/>
                  </a:cubicBezTo>
                  <a:close/>
                  <a:moveTo>
                    <a:pt x="6081" y="9385"/>
                  </a:moveTo>
                  <a:lnTo>
                    <a:pt x="6081" y="10235"/>
                  </a:lnTo>
                  <a:lnTo>
                    <a:pt x="3592" y="10235"/>
                  </a:lnTo>
                  <a:lnTo>
                    <a:pt x="3592" y="9385"/>
                  </a:lnTo>
                  <a:close/>
                  <a:moveTo>
                    <a:pt x="4801" y="0"/>
                  </a:moveTo>
                  <a:cubicBezTo>
                    <a:pt x="4498" y="0"/>
                    <a:pt x="4188" y="29"/>
                    <a:pt x="3875" y="91"/>
                  </a:cubicBezTo>
                  <a:cubicBezTo>
                    <a:pt x="2111" y="500"/>
                    <a:pt x="693" y="1949"/>
                    <a:pt x="378" y="3714"/>
                  </a:cubicBezTo>
                  <a:cubicBezTo>
                    <a:pt x="0" y="5698"/>
                    <a:pt x="1008" y="7652"/>
                    <a:pt x="2773" y="8565"/>
                  </a:cubicBezTo>
                  <a:lnTo>
                    <a:pt x="2773" y="10582"/>
                  </a:lnTo>
                  <a:cubicBezTo>
                    <a:pt x="2773" y="11716"/>
                    <a:pt x="3718" y="12661"/>
                    <a:pt x="4852" y="12661"/>
                  </a:cubicBezTo>
                  <a:cubicBezTo>
                    <a:pt x="5986" y="12661"/>
                    <a:pt x="6963" y="11716"/>
                    <a:pt x="6963" y="10582"/>
                  </a:cubicBezTo>
                  <a:lnTo>
                    <a:pt x="6963" y="8565"/>
                  </a:lnTo>
                  <a:cubicBezTo>
                    <a:pt x="8444" y="7778"/>
                    <a:pt x="9420" y="6234"/>
                    <a:pt x="9420" y="4501"/>
                  </a:cubicBezTo>
                  <a:cubicBezTo>
                    <a:pt x="9392" y="2000"/>
                    <a:pt x="7308" y="0"/>
                    <a:pt x="4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2"/>
            <p:cNvSpPr/>
            <p:nvPr/>
          </p:nvSpPr>
          <p:spPr>
            <a:xfrm>
              <a:off x="-60255350" y="3844775"/>
              <a:ext cx="34675" cy="20500"/>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58"/>
                    <a:pt x="1166" y="0"/>
                    <a:pt x="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2"/>
            <p:cNvSpPr/>
            <p:nvPr/>
          </p:nvSpPr>
          <p:spPr>
            <a:xfrm>
              <a:off x="-59974175" y="3844775"/>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58"/>
                    <a:pt x="1230"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2"/>
            <p:cNvSpPr/>
            <p:nvPr/>
          </p:nvSpPr>
          <p:spPr>
            <a:xfrm>
              <a:off x="-60212825" y="3939475"/>
              <a:ext cx="32325" cy="30350"/>
            </a:xfrm>
            <a:custGeom>
              <a:avLst/>
              <a:gdLst/>
              <a:ahLst/>
              <a:cxnLst/>
              <a:rect l="l" t="t" r="r" b="b"/>
              <a:pathLst>
                <a:path w="1293" h="1214" extrusionOk="0">
                  <a:moveTo>
                    <a:pt x="836" y="1"/>
                  </a:moveTo>
                  <a:cubicBezTo>
                    <a:pt x="725" y="1"/>
                    <a:pt x="615" y="40"/>
                    <a:pt x="536" y="119"/>
                  </a:cubicBezTo>
                  <a:lnTo>
                    <a:pt x="158" y="497"/>
                  </a:lnTo>
                  <a:cubicBezTo>
                    <a:pt x="1" y="654"/>
                    <a:pt x="1" y="938"/>
                    <a:pt x="158" y="1096"/>
                  </a:cubicBezTo>
                  <a:cubicBezTo>
                    <a:pt x="237" y="1174"/>
                    <a:pt x="340" y="1214"/>
                    <a:pt x="442" y="1214"/>
                  </a:cubicBezTo>
                  <a:cubicBezTo>
                    <a:pt x="544" y="1214"/>
                    <a:pt x="647" y="1174"/>
                    <a:pt x="725" y="1096"/>
                  </a:cubicBezTo>
                  <a:lnTo>
                    <a:pt x="1135" y="686"/>
                  </a:lnTo>
                  <a:cubicBezTo>
                    <a:pt x="1293" y="528"/>
                    <a:pt x="1293" y="245"/>
                    <a:pt x="1135" y="119"/>
                  </a:cubicBezTo>
                  <a:cubicBezTo>
                    <a:pt x="1056" y="40"/>
                    <a:pt x="946" y="1"/>
                    <a:pt x="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2"/>
            <p:cNvSpPr/>
            <p:nvPr/>
          </p:nvSpPr>
          <p:spPr>
            <a:xfrm>
              <a:off x="-60012750" y="3739425"/>
              <a:ext cx="32300" cy="30350"/>
            </a:xfrm>
            <a:custGeom>
              <a:avLst/>
              <a:gdLst/>
              <a:ahLst/>
              <a:cxnLst/>
              <a:rect l="l" t="t" r="r" b="b"/>
              <a:pathLst>
                <a:path w="1292" h="1214" extrusionOk="0">
                  <a:moveTo>
                    <a:pt x="835" y="1"/>
                  </a:moveTo>
                  <a:cubicBezTo>
                    <a:pt x="725" y="1"/>
                    <a:pt x="614" y="40"/>
                    <a:pt x="536" y="119"/>
                  </a:cubicBezTo>
                  <a:lnTo>
                    <a:pt x="126" y="497"/>
                  </a:lnTo>
                  <a:cubicBezTo>
                    <a:pt x="0" y="654"/>
                    <a:pt x="0" y="938"/>
                    <a:pt x="126" y="1095"/>
                  </a:cubicBezTo>
                  <a:cubicBezTo>
                    <a:pt x="205" y="1174"/>
                    <a:pt x="315" y="1213"/>
                    <a:pt x="425" y="1213"/>
                  </a:cubicBezTo>
                  <a:cubicBezTo>
                    <a:pt x="536" y="1213"/>
                    <a:pt x="646" y="1174"/>
                    <a:pt x="725" y="1095"/>
                  </a:cubicBezTo>
                  <a:lnTo>
                    <a:pt x="1134" y="686"/>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2"/>
            <p:cNvSpPr/>
            <p:nvPr/>
          </p:nvSpPr>
          <p:spPr>
            <a:xfrm>
              <a:off x="-60012750" y="3939475"/>
              <a:ext cx="32300" cy="30350"/>
            </a:xfrm>
            <a:custGeom>
              <a:avLst/>
              <a:gdLst/>
              <a:ahLst/>
              <a:cxnLst/>
              <a:rect l="l" t="t" r="r" b="b"/>
              <a:pathLst>
                <a:path w="1292" h="1214" extrusionOk="0">
                  <a:moveTo>
                    <a:pt x="425" y="1"/>
                  </a:moveTo>
                  <a:cubicBezTo>
                    <a:pt x="315" y="1"/>
                    <a:pt x="205" y="40"/>
                    <a:pt x="126" y="119"/>
                  </a:cubicBezTo>
                  <a:cubicBezTo>
                    <a:pt x="0" y="245"/>
                    <a:pt x="0" y="528"/>
                    <a:pt x="126" y="686"/>
                  </a:cubicBezTo>
                  <a:lnTo>
                    <a:pt x="536" y="1096"/>
                  </a:lnTo>
                  <a:cubicBezTo>
                    <a:pt x="614" y="1174"/>
                    <a:pt x="725" y="1214"/>
                    <a:pt x="835" y="1214"/>
                  </a:cubicBezTo>
                  <a:cubicBezTo>
                    <a:pt x="945" y="1214"/>
                    <a:pt x="1056" y="1174"/>
                    <a:pt x="1134" y="1096"/>
                  </a:cubicBezTo>
                  <a:cubicBezTo>
                    <a:pt x="1292" y="938"/>
                    <a:pt x="1292" y="654"/>
                    <a:pt x="1134" y="497"/>
                  </a:cubicBezTo>
                  <a:lnTo>
                    <a:pt x="725" y="119"/>
                  </a:lnTo>
                  <a:cubicBezTo>
                    <a:pt x="646" y="40"/>
                    <a:pt x="536" y="1"/>
                    <a:pt x="4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2"/>
            <p:cNvSpPr/>
            <p:nvPr/>
          </p:nvSpPr>
          <p:spPr>
            <a:xfrm>
              <a:off x="-60212825" y="3739425"/>
              <a:ext cx="32325" cy="30350"/>
            </a:xfrm>
            <a:custGeom>
              <a:avLst/>
              <a:gdLst/>
              <a:ahLst/>
              <a:cxnLst/>
              <a:rect l="l" t="t" r="r" b="b"/>
              <a:pathLst>
                <a:path w="1293" h="1214" extrusionOk="0">
                  <a:moveTo>
                    <a:pt x="442" y="1"/>
                  </a:moveTo>
                  <a:cubicBezTo>
                    <a:pt x="340" y="1"/>
                    <a:pt x="237" y="40"/>
                    <a:pt x="158" y="119"/>
                  </a:cubicBezTo>
                  <a:cubicBezTo>
                    <a:pt x="1" y="276"/>
                    <a:pt x="1" y="560"/>
                    <a:pt x="158" y="686"/>
                  </a:cubicBezTo>
                  <a:lnTo>
                    <a:pt x="536" y="1095"/>
                  </a:lnTo>
                  <a:cubicBezTo>
                    <a:pt x="615" y="1174"/>
                    <a:pt x="725" y="1213"/>
                    <a:pt x="836" y="1213"/>
                  </a:cubicBezTo>
                  <a:cubicBezTo>
                    <a:pt x="946" y="1213"/>
                    <a:pt x="1056" y="1174"/>
                    <a:pt x="1135" y="1095"/>
                  </a:cubicBezTo>
                  <a:cubicBezTo>
                    <a:pt x="1293" y="938"/>
                    <a:pt x="1293" y="654"/>
                    <a:pt x="1135" y="497"/>
                  </a:cubicBezTo>
                  <a:lnTo>
                    <a:pt x="725" y="119"/>
                  </a:lnTo>
                  <a:cubicBezTo>
                    <a:pt x="647" y="40"/>
                    <a:pt x="544"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2" name="Google Shape;6862;p72"/>
          <p:cNvGrpSpPr/>
          <p:nvPr/>
        </p:nvGrpSpPr>
        <p:grpSpPr>
          <a:xfrm>
            <a:off x="3091262" y="3654635"/>
            <a:ext cx="310770" cy="365467"/>
            <a:chOff x="-60232500" y="4101525"/>
            <a:chExt cx="268600" cy="315875"/>
          </a:xfrm>
        </p:grpSpPr>
        <p:sp>
          <p:nvSpPr>
            <p:cNvPr id="6863" name="Google Shape;6863;p72"/>
            <p:cNvSpPr/>
            <p:nvPr/>
          </p:nvSpPr>
          <p:spPr>
            <a:xfrm>
              <a:off x="-60222275" y="4273225"/>
              <a:ext cx="63025" cy="144175"/>
            </a:xfrm>
            <a:custGeom>
              <a:avLst/>
              <a:gdLst/>
              <a:ahLst/>
              <a:cxnLst/>
              <a:rect l="l" t="t" r="r" b="b"/>
              <a:pathLst>
                <a:path w="2521" h="5767" extrusionOk="0">
                  <a:moveTo>
                    <a:pt x="1261" y="1"/>
                  </a:moveTo>
                  <a:cubicBezTo>
                    <a:pt x="1072" y="1"/>
                    <a:pt x="851" y="190"/>
                    <a:pt x="851" y="379"/>
                  </a:cubicBezTo>
                  <a:lnTo>
                    <a:pt x="851" y="662"/>
                  </a:lnTo>
                  <a:cubicBezTo>
                    <a:pt x="379" y="820"/>
                    <a:pt x="1" y="1293"/>
                    <a:pt x="1" y="1828"/>
                  </a:cubicBezTo>
                  <a:cubicBezTo>
                    <a:pt x="1" y="2521"/>
                    <a:pt x="568" y="2899"/>
                    <a:pt x="1009" y="3214"/>
                  </a:cubicBezTo>
                  <a:cubicBezTo>
                    <a:pt x="1324" y="3466"/>
                    <a:pt x="1671" y="3687"/>
                    <a:pt x="1671" y="3939"/>
                  </a:cubicBezTo>
                  <a:cubicBezTo>
                    <a:pt x="1671" y="4160"/>
                    <a:pt x="1482" y="4349"/>
                    <a:pt x="1261" y="4349"/>
                  </a:cubicBezTo>
                  <a:cubicBezTo>
                    <a:pt x="1072" y="4349"/>
                    <a:pt x="851" y="4160"/>
                    <a:pt x="851" y="3939"/>
                  </a:cubicBezTo>
                  <a:cubicBezTo>
                    <a:pt x="851" y="3687"/>
                    <a:pt x="631" y="3529"/>
                    <a:pt x="442" y="3529"/>
                  </a:cubicBezTo>
                  <a:cubicBezTo>
                    <a:pt x="253" y="3529"/>
                    <a:pt x="64" y="3718"/>
                    <a:pt x="64" y="3939"/>
                  </a:cubicBezTo>
                  <a:cubicBezTo>
                    <a:pt x="64" y="4475"/>
                    <a:pt x="410" y="4916"/>
                    <a:pt x="883" y="5105"/>
                  </a:cubicBezTo>
                  <a:lnTo>
                    <a:pt x="883" y="5388"/>
                  </a:lnTo>
                  <a:cubicBezTo>
                    <a:pt x="883" y="5609"/>
                    <a:pt x="1072" y="5766"/>
                    <a:pt x="1324" y="5766"/>
                  </a:cubicBezTo>
                  <a:cubicBezTo>
                    <a:pt x="1545" y="5766"/>
                    <a:pt x="1702" y="5577"/>
                    <a:pt x="1702" y="5388"/>
                  </a:cubicBezTo>
                  <a:lnTo>
                    <a:pt x="1702" y="5105"/>
                  </a:lnTo>
                  <a:cubicBezTo>
                    <a:pt x="2175" y="4947"/>
                    <a:pt x="2521" y="4475"/>
                    <a:pt x="2521" y="3939"/>
                  </a:cubicBezTo>
                  <a:cubicBezTo>
                    <a:pt x="2521" y="3246"/>
                    <a:pt x="1986" y="2868"/>
                    <a:pt x="1545" y="2553"/>
                  </a:cubicBezTo>
                  <a:cubicBezTo>
                    <a:pt x="1229" y="2301"/>
                    <a:pt x="883" y="2080"/>
                    <a:pt x="883" y="1828"/>
                  </a:cubicBezTo>
                  <a:cubicBezTo>
                    <a:pt x="883" y="1608"/>
                    <a:pt x="1072" y="1450"/>
                    <a:pt x="1261" y="1450"/>
                  </a:cubicBezTo>
                  <a:cubicBezTo>
                    <a:pt x="1513" y="1450"/>
                    <a:pt x="1671" y="1639"/>
                    <a:pt x="1671" y="1828"/>
                  </a:cubicBezTo>
                  <a:cubicBezTo>
                    <a:pt x="1671" y="2080"/>
                    <a:pt x="1860" y="2269"/>
                    <a:pt x="2112" y="2269"/>
                  </a:cubicBezTo>
                  <a:cubicBezTo>
                    <a:pt x="2332" y="2269"/>
                    <a:pt x="2490" y="2080"/>
                    <a:pt x="2490" y="1828"/>
                  </a:cubicBezTo>
                  <a:cubicBezTo>
                    <a:pt x="2490" y="1293"/>
                    <a:pt x="2143" y="852"/>
                    <a:pt x="1671" y="662"/>
                  </a:cubicBezTo>
                  <a:lnTo>
                    <a:pt x="1671" y="379"/>
                  </a:lnTo>
                  <a:cubicBezTo>
                    <a:pt x="1671" y="158"/>
                    <a:pt x="148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2"/>
            <p:cNvSpPr/>
            <p:nvPr/>
          </p:nvSpPr>
          <p:spPr>
            <a:xfrm>
              <a:off x="-60232500" y="4101525"/>
              <a:ext cx="268600" cy="315875"/>
            </a:xfrm>
            <a:custGeom>
              <a:avLst/>
              <a:gdLst/>
              <a:ahLst/>
              <a:cxnLst/>
              <a:rect l="l" t="t" r="r" b="b"/>
              <a:pathLst>
                <a:path w="10744" h="12635" extrusionOk="0">
                  <a:moveTo>
                    <a:pt x="5356" y="1"/>
                  </a:moveTo>
                  <a:cubicBezTo>
                    <a:pt x="5104" y="1"/>
                    <a:pt x="4946" y="190"/>
                    <a:pt x="4946" y="410"/>
                  </a:cubicBezTo>
                  <a:lnTo>
                    <a:pt x="4946" y="820"/>
                  </a:lnTo>
                  <a:cubicBezTo>
                    <a:pt x="2206" y="1041"/>
                    <a:pt x="0" y="3340"/>
                    <a:pt x="0" y="6176"/>
                  </a:cubicBezTo>
                  <a:lnTo>
                    <a:pt x="0" y="6585"/>
                  </a:lnTo>
                  <a:lnTo>
                    <a:pt x="32" y="6585"/>
                  </a:lnTo>
                  <a:cubicBezTo>
                    <a:pt x="32" y="6806"/>
                    <a:pt x="221" y="6963"/>
                    <a:pt x="473" y="6963"/>
                  </a:cubicBezTo>
                  <a:cubicBezTo>
                    <a:pt x="693" y="6963"/>
                    <a:pt x="851" y="6774"/>
                    <a:pt x="851" y="6585"/>
                  </a:cubicBezTo>
                  <a:cubicBezTo>
                    <a:pt x="851" y="6113"/>
                    <a:pt x="1197" y="5766"/>
                    <a:pt x="1701" y="5766"/>
                  </a:cubicBezTo>
                  <a:cubicBezTo>
                    <a:pt x="2174" y="5766"/>
                    <a:pt x="2521" y="6113"/>
                    <a:pt x="2521" y="6585"/>
                  </a:cubicBezTo>
                  <a:cubicBezTo>
                    <a:pt x="2521" y="6806"/>
                    <a:pt x="2710" y="6963"/>
                    <a:pt x="2899" y="6963"/>
                  </a:cubicBezTo>
                  <a:cubicBezTo>
                    <a:pt x="3119" y="6963"/>
                    <a:pt x="3308" y="6774"/>
                    <a:pt x="3308" y="6585"/>
                  </a:cubicBezTo>
                  <a:cubicBezTo>
                    <a:pt x="3308" y="6113"/>
                    <a:pt x="3655" y="5766"/>
                    <a:pt x="4127" y="5766"/>
                  </a:cubicBezTo>
                  <a:cubicBezTo>
                    <a:pt x="4600" y="5766"/>
                    <a:pt x="4946" y="6113"/>
                    <a:pt x="4946" y="6585"/>
                  </a:cubicBezTo>
                  <a:lnTo>
                    <a:pt x="4946" y="11437"/>
                  </a:lnTo>
                  <a:cubicBezTo>
                    <a:pt x="4946" y="12099"/>
                    <a:pt x="5514" y="12634"/>
                    <a:pt x="6175" y="12634"/>
                  </a:cubicBezTo>
                  <a:cubicBezTo>
                    <a:pt x="6837" y="12634"/>
                    <a:pt x="7404" y="12099"/>
                    <a:pt x="7404" y="11437"/>
                  </a:cubicBezTo>
                  <a:lnTo>
                    <a:pt x="7404" y="10586"/>
                  </a:lnTo>
                  <a:cubicBezTo>
                    <a:pt x="7404" y="10366"/>
                    <a:pt x="7215" y="10208"/>
                    <a:pt x="6994" y="10208"/>
                  </a:cubicBezTo>
                  <a:cubicBezTo>
                    <a:pt x="6805" y="10208"/>
                    <a:pt x="6616" y="10397"/>
                    <a:pt x="6616" y="10586"/>
                  </a:cubicBezTo>
                  <a:lnTo>
                    <a:pt x="6616" y="11437"/>
                  </a:lnTo>
                  <a:cubicBezTo>
                    <a:pt x="6616" y="11658"/>
                    <a:pt x="6427" y="11815"/>
                    <a:pt x="6175" y="11815"/>
                  </a:cubicBezTo>
                  <a:cubicBezTo>
                    <a:pt x="5955" y="11815"/>
                    <a:pt x="5797" y="11626"/>
                    <a:pt x="5797" y="11437"/>
                  </a:cubicBezTo>
                  <a:lnTo>
                    <a:pt x="5797" y="6585"/>
                  </a:lnTo>
                  <a:cubicBezTo>
                    <a:pt x="5797" y="6113"/>
                    <a:pt x="6144" y="5766"/>
                    <a:pt x="6616" y="5766"/>
                  </a:cubicBezTo>
                  <a:cubicBezTo>
                    <a:pt x="7089" y="5766"/>
                    <a:pt x="7435" y="6113"/>
                    <a:pt x="7435" y="6585"/>
                  </a:cubicBezTo>
                  <a:cubicBezTo>
                    <a:pt x="7435" y="6806"/>
                    <a:pt x="7624" y="6963"/>
                    <a:pt x="7876" y="6963"/>
                  </a:cubicBezTo>
                  <a:cubicBezTo>
                    <a:pt x="8097" y="6963"/>
                    <a:pt x="8255" y="6774"/>
                    <a:pt x="8255" y="6585"/>
                  </a:cubicBezTo>
                  <a:cubicBezTo>
                    <a:pt x="8255" y="6113"/>
                    <a:pt x="8633" y="5766"/>
                    <a:pt x="9105" y="5766"/>
                  </a:cubicBezTo>
                  <a:cubicBezTo>
                    <a:pt x="9578" y="5766"/>
                    <a:pt x="9924" y="6113"/>
                    <a:pt x="9924" y="6585"/>
                  </a:cubicBezTo>
                  <a:cubicBezTo>
                    <a:pt x="9924" y="6806"/>
                    <a:pt x="10113" y="6963"/>
                    <a:pt x="10302" y="6963"/>
                  </a:cubicBezTo>
                  <a:cubicBezTo>
                    <a:pt x="10523" y="6963"/>
                    <a:pt x="10743" y="6774"/>
                    <a:pt x="10743" y="6585"/>
                  </a:cubicBezTo>
                  <a:lnTo>
                    <a:pt x="10743" y="6176"/>
                  </a:lnTo>
                  <a:cubicBezTo>
                    <a:pt x="10743" y="3340"/>
                    <a:pt x="8538" y="1041"/>
                    <a:pt x="5797" y="820"/>
                  </a:cubicBezTo>
                  <a:lnTo>
                    <a:pt x="5797" y="410"/>
                  </a:lnTo>
                  <a:cubicBezTo>
                    <a:pt x="5797" y="158"/>
                    <a:pt x="5577"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65" name="Google Shape;6865;p72"/>
          <p:cNvSpPr/>
          <p:nvPr/>
        </p:nvSpPr>
        <p:spPr>
          <a:xfrm>
            <a:off x="2179036" y="4123569"/>
            <a:ext cx="366335" cy="367290"/>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66" name="Google Shape;6866;p72"/>
          <p:cNvGrpSpPr/>
          <p:nvPr/>
        </p:nvGrpSpPr>
        <p:grpSpPr>
          <a:xfrm>
            <a:off x="2624262" y="1380466"/>
            <a:ext cx="368186" cy="366364"/>
            <a:chOff x="-63679950" y="3360375"/>
            <a:chExt cx="318225" cy="316650"/>
          </a:xfrm>
        </p:grpSpPr>
        <p:sp>
          <p:nvSpPr>
            <p:cNvPr id="6867" name="Google Shape;6867;p72"/>
            <p:cNvSpPr/>
            <p:nvPr/>
          </p:nvSpPr>
          <p:spPr>
            <a:xfrm>
              <a:off x="-63497200" y="3423400"/>
              <a:ext cx="40975" cy="40975"/>
            </a:xfrm>
            <a:custGeom>
              <a:avLst/>
              <a:gdLst/>
              <a:ahLst/>
              <a:cxnLst/>
              <a:rect l="l" t="t" r="r" b="b"/>
              <a:pathLst>
                <a:path w="1639" h="1639" extrusionOk="0">
                  <a:moveTo>
                    <a:pt x="819" y="0"/>
                  </a:moveTo>
                  <a:cubicBezTo>
                    <a:pt x="378" y="0"/>
                    <a:pt x="0" y="378"/>
                    <a:pt x="0" y="819"/>
                  </a:cubicBezTo>
                  <a:cubicBezTo>
                    <a:pt x="0" y="1260"/>
                    <a:pt x="378" y="1638"/>
                    <a:pt x="819" y="1638"/>
                  </a:cubicBezTo>
                  <a:cubicBezTo>
                    <a:pt x="1260" y="1638"/>
                    <a:pt x="1638" y="1260"/>
                    <a:pt x="1638" y="819"/>
                  </a:cubicBezTo>
                  <a:cubicBezTo>
                    <a:pt x="1638" y="378"/>
                    <a:pt x="1260" y="0"/>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2"/>
            <p:cNvSpPr/>
            <p:nvPr/>
          </p:nvSpPr>
          <p:spPr>
            <a:xfrm>
              <a:off x="-63516900" y="3485625"/>
              <a:ext cx="79575" cy="29950"/>
            </a:xfrm>
            <a:custGeom>
              <a:avLst/>
              <a:gdLst/>
              <a:ahLst/>
              <a:cxnLst/>
              <a:rect l="l" t="t" r="r" b="b"/>
              <a:pathLst>
                <a:path w="3183" h="1198" extrusionOk="0">
                  <a:moveTo>
                    <a:pt x="1607" y="0"/>
                  </a:moveTo>
                  <a:cubicBezTo>
                    <a:pt x="820" y="0"/>
                    <a:pt x="190" y="504"/>
                    <a:pt x="1" y="1197"/>
                  </a:cubicBezTo>
                  <a:lnTo>
                    <a:pt x="3183" y="1197"/>
                  </a:lnTo>
                  <a:cubicBezTo>
                    <a:pt x="3025" y="504"/>
                    <a:pt x="2395"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2"/>
            <p:cNvSpPr/>
            <p:nvPr/>
          </p:nvSpPr>
          <p:spPr>
            <a:xfrm>
              <a:off x="-63618500" y="3360375"/>
              <a:ext cx="256775" cy="256600"/>
            </a:xfrm>
            <a:custGeom>
              <a:avLst/>
              <a:gdLst/>
              <a:ahLst/>
              <a:cxnLst/>
              <a:rect l="l" t="t" r="r" b="b"/>
              <a:pathLst>
                <a:path w="10271" h="10264" extrusionOk="0">
                  <a:moveTo>
                    <a:pt x="5703" y="1639"/>
                  </a:moveTo>
                  <a:cubicBezTo>
                    <a:pt x="6616" y="1639"/>
                    <a:pt x="7373" y="2395"/>
                    <a:pt x="7373" y="3309"/>
                  </a:cubicBezTo>
                  <a:cubicBezTo>
                    <a:pt x="7373" y="3750"/>
                    <a:pt x="7215" y="4128"/>
                    <a:pt x="6900" y="4443"/>
                  </a:cubicBezTo>
                  <a:cubicBezTo>
                    <a:pt x="7625" y="4884"/>
                    <a:pt x="8192" y="5672"/>
                    <a:pt x="8192" y="6617"/>
                  </a:cubicBezTo>
                  <a:cubicBezTo>
                    <a:pt x="8160" y="6900"/>
                    <a:pt x="8003" y="7058"/>
                    <a:pt x="7751" y="7058"/>
                  </a:cubicBezTo>
                  <a:lnTo>
                    <a:pt x="3623" y="7058"/>
                  </a:lnTo>
                  <a:cubicBezTo>
                    <a:pt x="3371" y="7058"/>
                    <a:pt x="3214" y="6837"/>
                    <a:pt x="3214" y="6617"/>
                  </a:cubicBezTo>
                  <a:cubicBezTo>
                    <a:pt x="3214" y="5672"/>
                    <a:pt x="3749" y="4884"/>
                    <a:pt x="4537" y="4443"/>
                  </a:cubicBezTo>
                  <a:cubicBezTo>
                    <a:pt x="4254" y="4128"/>
                    <a:pt x="4065" y="3718"/>
                    <a:pt x="4065" y="3309"/>
                  </a:cubicBezTo>
                  <a:cubicBezTo>
                    <a:pt x="4065" y="2395"/>
                    <a:pt x="4789" y="1639"/>
                    <a:pt x="5703" y="1639"/>
                  </a:cubicBezTo>
                  <a:close/>
                  <a:moveTo>
                    <a:pt x="5703" y="1"/>
                  </a:moveTo>
                  <a:cubicBezTo>
                    <a:pt x="3182" y="1"/>
                    <a:pt x="1135" y="2049"/>
                    <a:pt x="1135" y="4569"/>
                  </a:cubicBezTo>
                  <a:cubicBezTo>
                    <a:pt x="1135" y="5609"/>
                    <a:pt x="1481" y="6648"/>
                    <a:pt x="2206" y="7467"/>
                  </a:cubicBezTo>
                  <a:lnTo>
                    <a:pt x="1607" y="8066"/>
                  </a:lnTo>
                  <a:lnTo>
                    <a:pt x="756" y="7184"/>
                  </a:lnTo>
                  <a:cubicBezTo>
                    <a:pt x="678" y="7121"/>
                    <a:pt x="567" y="7089"/>
                    <a:pt x="457" y="7089"/>
                  </a:cubicBezTo>
                  <a:cubicBezTo>
                    <a:pt x="347" y="7089"/>
                    <a:pt x="237" y="7121"/>
                    <a:pt x="158" y="7184"/>
                  </a:cubicBezTo>
                  <a:cubicBezTo>
                    <a:pt x="0" y="7341"/>
                    <a:pt x="0" y="7625"/>
                    <a:pt x="158" y="7783"/>
                  </a:cubicBezTo>
                  <a:lnTo>
                    <a:pt x="1324" y="8980"/>
                  </a:lnTo>
                  <a:lnTo>
                    <a:pt x="2521" y="10145"/>
                  </a:lnTo>
                  <a:cubicBezTo>
                    <a:pt x="2600" y="10224"/>
                    <a:pt x="2710" y="10264"/>
                    <a:pt x="2820" y="10264"/>
                  </a:cubicBezTo>
                  <a:cubicBezTo>
                    <a:pt x="2930" y="10264"/>
                    <a:pt x="3041" y="10224"/>
                    <a:pt x="3119" y="10145"/>
                  </a:cubicBezTo>
                  <a:cubicBezTo>
                    <a:pt x="3277" y="9988"/>
                    <a:pt x="3277" y="9704"/>
                    <a:pt x="3119" y="9547"/>
                  </a:cubicBezTo>
                  <a:lnTo>
                    <a:pt x="2237" y="8696"/>
                  </a:lnTo>
                  <a:lnTo>
                    <a:pt x="2836" y="8098"/>
                  </a:lnTo>
                  <a:cubicBezTo>
                    <a:pt x="3655" y="8759"/>
                    <a:pt x="4695" y="9169"/>
                    <a:pt x="5734" y="9169"/>
                  </a:cubicBezTo>
                  <a:cubicBezTo>
                    <a:pt x="8255" y="9169"/>
                    <a:pt x="10271" y="7121"/>
                    <a:pt x="10271" y="4632"/>
                  </a:cubicBezTo>
                  <a:cubicBezTo>
                    <a:pt x="10239" y="2049"/>
                    <a:pt x="8223" y="1"/>
                    <a:pt x="57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2"/>
            <p:cNvSpPr/>
            <p:nvPr/>
          </p:nvSpPr>
          <p:spPr>
            <a:xfrm>
              <a:off x="-63679950" y="3576200"/>
              <a:ext cx="102425" cy="100825"/>
            </a:xfrm>
            <a:custGeom>
              <a:avLst/>
              <a:gdLst/>
              <a:ahLst/>
              <a:cxnLst/>
              <a:rect l="l" t="t" r="r" b="b"/>
              <a:pathLst>
                <a:path w="4097" h="4033" extrusionOk="0">
                  <a:moveTo>
                    <a:pt x="2332" y="0"/>
                  </a:moveTo>
                  <a:lnTo>
                    <a:pt x="159" y="2142"/>
                  </a:lnTo>
                  <a:cubicBezTo>
                    <a:pt x="1" y="2300"/>
                    <a:pt x="1" y="2584"/>
                    <a:pt x="159" y="2741"/>
                  </a:cubicBezTo>
                  <a:lnTo>
                    <a:pt x="1356" y="3938"/>
                  </a:lnTo>
                  <a:cubicBezTo>
                    <a:pt x="1434" y="4001"/>
                    <a:pt x="1545" y="4033"/>
                    <a:pt x="1655" y="4033"/>
                  </a:cubicBezTo>
                  <a:cubicBezTo>
                    <a:pt x="1765" y="4033"/>
                    <a:pt x="1876" y="4001"/>
                    <a:pt x="1954" y="3938"/>
                  </a:cubicBezTo>
                  <a:lnTo>
                    <a:pt x="4097" y="1764"/>
                  </a:lnTo>
                  <a:lnTo>
                    <a:pt x="23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71" name="Google Shape;6871;p72"/>
          <p:cNvSpPr/>
          <p:nvPr/>
        </p:nvSpPr>
        <p:spPr>
          <a:xfrm>
            <a:off x="2623229" y="1822769"/>
            <a:ext cx="370009" cy="367724"/>
          </a:xfrm>
          <a:custGeom>
            <a:avLst/>
            <a:gdLst/>
            <a:ahLst/>
            <a:cxnLst/>
            <a:rect l="l" t="t" r="r" b="b"/>
            <a:pathLst>
              <a:path w="12792" h="12713" extrusionOk="0">
                <a:moveTo>
                  <a:pt x="8633" y="1229"/>
                </a:moveTo>
                <a:cubicBezTo>
                  <a:pt x="8854" y="1229"/>
                  <a:pt x="9011" y="1418"/>
                  <a:pt x="9011" y="1607"/>
                </a:cubicBezTo>
                <a:lnTo>
                  <a:pt x="9011" y="1890"/>
                </a:lnTo>
                <a:cubicBezTo>
                  <a:pt x="9484" y="2048"/>
                  <a:pt x="9831" y="2520"/>
                  <a:pt x="9831" y="3088"/>
                </a:cubicBezTo>
                <a:cubicBezTo>
                  <a:pt x="9831" y="3308"/>
                  <a:pt x="9641" y="3497"/>
                  <a:pt x="9452" y="3497"/>
                </a:cubicBezTo>
                <a:cubicBezTo>
                  <a:pt x="9200" y="3497"/>
                  <a:pt x="9011" y="3308"/>
                  <a:pt x="9011" y="3088"/>
                </a:cubicBezTo>
                <a:cubicBezTo>
                  <a:pt x="9011" y="2835"/>
                  <a:pt x="8822" y="2678"/>
                  <a:pt x="8633" y="2678"/>
                </a:cubicBezTo>
                <a:cubicBezTo>
                  <a:pt x="8413" y="2678"/>
                  <a:pt x="8192" y="2867"/>
                  <a:pt x="8192" y="3088"/>
                </a:cubicBezTo>
                <a:cubicBezTo>
                  <a:pt x="8224" y="3308"/>
                  <a:pt x="8570" y="3529"/>
                  <a:pt x="8885" y="3781"/>
                </a:cubicBezTo>
                <a:cubicBezTo>
                  <a:pt x="9326" y="4096"/>
                  <a:pt x="9894" y="4505"/>
                  <a:pt x="9894" y="5167"/>
                </a:cubicBezTo>
                <a:cubicBezTo>
                  <a:pt x="9894" y="5702"/>
                  <a:pt x="9515" y="6143"/>
                  <a:pt x="9043" y="6333"/>
                </a:cubicBezTo>
                <a:lnTo>
                  <a:pt x="9043" y="6616"/>
                </a:lnTo>
                <a:cubicBezTo>
                  <a:pt x="9043" y="6868"/>
                  <a:pt x="8854" y="7026"/>
                  <a:pt x="8665" y="7026"/>
                </a:cubicBezTo>
                <a:cubicBezTo>
                  <a:pt x="8476" y="7026"/>
                  <a:pt x="8224" y="6805"/>
                  <a:pt x="8224" y="6616"/>
                </a:cubicBezTo>
                <a:lnTo>
                  <a:pt x="8224" y="6333"/>
                </a:lnTo>
                <a:cubicBezTo>
                  <a:pt x="7751" y="6175"/>
                  <a:pt x="7405" y="5702"/>
                  <a:pt x="7405" y="5167"/>
                </a:cubicBezTo>
                <a:cubicBezTo>
                  <a:pt x="7405" y="4915"/>
                  <a:pt x="7594" y="4757"/>
                  <a:pt x="7783" y="4757"/>
                </a:cubicBezTo>
                <a:cubicBezTo>
                  <a:pt x="8003" y="4757"/>
                  <a:pt x="8192" y="4978"/>
                  <a:pt x="8192" y="5167"/>
                </a:cubicBezTo>
                <a:cubicBezTo>
                  <a:pt x="8192" y="5387"/>
                  <a:pt x="8381" y="5608"/>
                  <a:pt x="8633" y="5608"/>
                </a:cubicBezTo>
                <a:cubicBezTo>
                  <a:pt x="8854" y="5608"/>
                  <a:pt x="9011" y="5387"/>
                  <a:pt x="9011" y="5167"/>
                </a:cubicBezTo>
                <a:cubicBezTo>
                  <a:pt x="9011" y="4915"/>
                  <a:pt x="8696" y="4694"/>
                  <a:pt x="8350" y="4442"/>
                </a:cubicBezTo>
                <a:cubicBezTo>
                  <a:pt x="7909" y="4127"/>
                  <a:pt x="7373" y="3749"/>
                  <a:pt x="7373" y="3088"/>
                </a:cubicBezTo>
                <a:cubicBezTo>
                  <a:pt x="7373" y="2520"/>
                  <a:pt x="7720" y="2079"/>
                  <a:pt x="8192" y="1890"/>
                </a:cubicBezTo>
                <a:lnTo>
                  <a:pt x="8192" y="1607"/>
                </a:lnTo>
                <a:cubicBezTo>
                  <a:pt x="8192" y="1386"/>
                  <a:pt x="8381" y="1229"/>
                  <a:pt x="8633" y="1229"/>
                </a:cubicBezTo>
                <a:close/>
                <a:moveTo>
                  <a:pt x="6050" y="6616"/>
                </a:moveTo>
                <a:lnTo>
                  <a:pt x="5073" y="10239"/>
                </a:lnTo>
                <a:lnTo>
                  <a:pt x="4853" y="9388"/>
                </a:lnTo>
                <a:cubicBezTo>
                  <a:pt x="4793" y="9168"/>
                  <a:pt x="4617" y="9049"/>
                  <a:pt x="4433" y="9049"/>
                </a:cubicBezTo>
                <a:cubicBezTo>
                  <a:pt x="4328" y="9049"/>
                  <a:pt x="4220" y="9088"/>
                  <a:pt x="4128" y="9168"/>
                </a:cubicBezTo>
                <a:lnTo>
                  <a:pt x="1450" y="11846"/>
                </a:lnTo>
                <a:lnTo>
                  <a:pt x="852" y="11279"/>
                </a:lnTo>
                <a:lnTo>
                  <a:pt x="3530" y="8601"/>
                </a:lnTo>
                <a:cubicBezTo>
                  <a:pt x="3782" y="8349"/>
                  <a:pt x="3656" y="7939"/>
                  <a:pt x="3341" y="7876"/>
                </a:cubicBezTo>
                <a:lnTo>
                  <a:pt x="2490" y="7624"/>
                </a:lnTo>
                <a:lnTo>
                  <a:pt x="6050" y="6616"/>
                </a:lnTo>
                <a:close/>
                <a:moveTo>
                  <a:pt x="8665" y="0"/>
                </a:moveTo>
                <a:cubicBezTo>
                  <a:pt x="6365" y="0"/>
                  <a:pt x="4538" y="1859"/>
                  <a:pt x="4538" y="4127"/>
                </a:cubicBezTo>
                <a:cubicBezTo>
                  <a:pt x="4538" y="4852"/>
                  <a:pt x="4695" y="5513"/>
                  <a:pt x="5042" y="6112"/>
                </a:cubicBezTo>
                <a:lnTo>
                  <a:pt x="820" y="7341"/>
                </a:lnTo>
                <a:cubicBezTo>
                  <a:pt x="442" y="7435"/>
                  <a:pt x="442" y="8034"/>
                  <a:pt x="820" y="8128"/>
                </a:cubicBezTo>
                <a:lnTo>
                  <a:pt x="2490" y="8538"/>
                </a:lnTo>
                <a:lnTo>
                  <a:pt x="316" y="10712"/>
                </a:lnTo>
                <a:cubicBezTo>
                  <a:pt x="1" y="11027"/>
                  <a:pt x="1" y="11594"/>
                  <a:pt x="316" y="11909"/>
                </a:cubicBezTo>
                <a:lnTo>
                  <a:pt x="915" y="12476"/>
                </a:lnTo>
                <a:cubicBezTo>
                  <a:pt x="1072" y="12633"/>
                  <a:pt x="1285" y="12712"/>
                  <a:pt x="1497" y="12712"/>
                </a:cubicBezTo>
                <a:cubicBezTo>
                  <a:pt x="1710" y="12712"/>
                  <a:pt x="1923" y="12633"/>
                  <a:pt x="2080" y="12476"/>
                </a:cubicBezTo>
                <a:lnTo>
                  <a:pt x="4254" y="10334"/>
                </a:lnTo>
                <a:lnTo>
                  <a:pt x="4695" y="11972"/>
                </a:lnTo>
                <a:cubicBezTo>
                  <a:pt x="4759" y="12180"/>
                  <a:pt x="4930" y="12291"/>
                  <a:pt x="5098" y="12291"/>
                </a:cubicBezTo>
                <a:cubicBezTo>
                  <a:pt x="5261" y="12291"/>
                  <a:pt x="5421" y="12188"/>
                  <a:pt x="5483" y="11972"/>
                </a:cubicBezTo>
                <a:lnTo>
                  <a:pt x="6712" y="7750"/>
                </a:lnTo>
                <a:cubicBezTo>
                  <a:pt x="7279" y="8065"/>
                  <a:pt x="7972" y="8286"/>
                  <a:pt x="8665" y="8286"/>
                </a:cubicBezTo>
                <a:cubicBezTo>
                  <a:pt x="10965" y="8286"/>
                  <a:pt x="12792" y="6427"/>
                  <a:pt x="12792" y="4127"/>
                </a:cubicBezTo>
                <a:cubicBezTo>
                  <a:pt x="12760" y="1859"/>
                  <a:pt x="10902"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72" name="Google Shape;6872;p72"/>
          <p:cNvGrpSpPr/>
          <p:nvPr/>
        </p:nvGrpSpPr>
        <p:grpSpPr>
          <a:xfrm>
            <a:off x="2622889" y="2251803"/>
            <a:ext cx="370934" cy="367521"/>
            <a:chOff x="-63679950" y="4093450"/>
            <a:chExt cx="320600" cy="317650"/>
          </a:xfrm>
        </p:grpSpPr>
        <p:sp>
          <p:nvSpPr>
            <p:cNvPr id="6873" name="Google Shape;6873;p72"/>
            <p:cNvSpPr/>
            <p:nvPr/>
          </p:nvSpPr>
          <p:spPr>
            <a:xfrm>
              <a:off x="-63595650" y="4093450"/>
              <a:ext cx="236300" cy="230425"/>
            </a:xfrm>
            <a:custGeom>
              <a:avLst/>
              <a:gdLst/>
              <a:ahLst/>
              <a:cxnLst/>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2"/>
            <p:cNvSpPr/>
            <p:nvPr/>
          </p:nvSpPr>
          <p:spPr>
            <a:xfrm>
              <a:off x="-63679950" y="4233850"/>
              <a:ext cx="177250" cy="177250"/>
            </a:xfrm>
            <a:custGeom>
              <a:avLst/>
              <a:gdLst/>
              <a:ahLst/>
              <a:cxnLst/>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2"/>
            <p:cNvSpPr/>
            <p:nvPr/>
          </p:nvSpPr>
          <p:spPr>
            <a:xfrm>
              <a:off x="-63548400" y="4348850"/>
              <a:ext cx="185900" cy="62250"/>
            </a:xfrm>
            <a:custGeom>
              <a:avLst/>
              <a:gdLst/>
              <a:ahLst/>
              <a:cxnLst/>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6" name="Google Shape;6876;p72"/>
          <p:cNvGrpSpPr/>
          <p:nvPr/>
        </p:nvGrpSpPr>
        <p:grpSpPr>
          <a:xfrm>
            <a:off x="1283006" y="2744805"/>
            <a:ext cx="366364" cy="367290"/>
            <a:chOff x="-61784125" y="3377700"/>
            <a:chExt cx="316650" cy="317450"/>
          </a:xfrm>
        </p:grpSpPr>
        <p:sp>
          <p:nvSpPr>
            <p:cNvPr id="6877" name="Google Shape;6877;p72"/>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2"/>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2"/>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2"/>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2"/>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2"/>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2"/>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4" name="Google Shape;6884;p72"/>
          <p:cNvGrpSpPr/>
          <p:nvPr/>
        </p:nvGrpSpPr>
        <p:grpSpPr>
          <a:xfrm>
            <a:off x="1283006" y="3195207"/>
            <a:ext cx="366364" cy="367290"/>
            <a:chOff x="-61783350" y="3743950"/>
            <a:chExt cx="316650" cy="317450"/>
          </a:xfrm>
        </p:grpSpPr>
        <p:sp>
          <p:nvSpPr>
            <p:cNvPr id="6885" name="Google Shape;6885;p72"/>
            <p:cNvSpPr/>
            <p:nvPr/>
          </p:nvSpPr>
          <p:spPr>
            <a:xfrm>
              <a:off x="-61783350" y="3743950"/>
              <a:ext cx="316650" cy="317450"/>
            </a:xfrm>
            <a:custGeom>
              <a:avLst/>
              <a:gdLst/>
              <a:ahLst/>
              <a:cxnLst/>
              <a:rect l="l" t="t" r="r" b="b"/>
              <a:pathLst>
                <a:path w="12666" h="12698" extrusionOk="0">
                  <a:moveTo>
                    <a:pt x="379" y="1"/>
                  </a:moveTo>
                  <a:cubicBezTo>
                    <a:pt x="158" y="1"/>
                    <a:pt x="1" y="190"/>
                    <a:pt x="1" y="410"/>
                  </a:cubicBezTo>
                  <a:lnTo>
                    <a:pt x="1" y="12256"/>
                  </a:lnTo>
                  <a:cubicBezTo>
                    <a:pt x="1" y="12508"/>
                    <a:pt x="190" y="12697"/>
                    <a:pt x="379" y="12697"/>
                  </a:cubicBezTo>
                  <a:lnTo>
                    <a:pt x="12256" y="12697"/>
                  </a:lnTo>
                  <a:cubicBezTo>
                    <a:pt x="12477" y="12697"/>
                    <a:pt x="12666" y="12508"/>
                    <a:pt x="12666" y="12256"/>
                  </a:cubicBezTo>
                  <a:cubicBezTo>
                    <a:pt x="12634" y="12067"/>
                    <a:pt x="12477" y="11878"/>
                    <a:pt x="12256" y="11878"/>
                  </a:cubicBezTo>
                  <a:lnTo>
                    <a:pt x="820" y="11878"/>
                  </a:lnTo>
                  <a:lnTo>
                    <a:pt x="820" y="410"/>
                  </a:lnTo>
                  <a:cubicBezTo>
                    <a:pt x="820" y="158"/>
                    <a:pt x="631"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2"/>
            <p:cNvSpPr/>
            <p:nvPr/>
          </p:nvSpPr>
          <p:spPr>
            <a:xfrm>
              <a:off x="-61739225" y="3833750"/>
              <a:ext cx="272525" cy="149675"/>
            </a:xfrm>
            <a:custGeom>
              <a:avLst/>
              <a:gdLst/>
              <a:ahLst/>
              <a:cxnLst/>
              <a:rect l="l" t="t" r="r" b="b"/>
              <a:pathLst>
                <a:path w="10901" h="5987" extrusionOk="0">
                  <a:moveTo>
                    <a:pt x="9641" y="0"/>
                  </a:moveTo>
                  <a:cubicBezTo>
                    <a:pt x="8979" y="0"/>
                    <a:pt x="8444" y="536"/>
                    <a:pt x="8444" y="1229"/>
                  </a:cubicBezTo>
                  <a:cubicBezTo>
                    <a:pt x="8444" y="1418"/>
                    <a:pt x="8475" y="1575"/>
                    <a:pt x="8538" y="1733"/>
                  </a:cubicBezTo>
                  <a:lnTo>
                    <a:pt x="6900" y="3403"/>
                  </a:lnTo>
                  <a:cubicBezTo>
                    <a:pt x="6742" y="3308"/>
                    <a:pt x="6553" y="3277"/>
                    <a:pt x="6396" y="3277"/>
                  </a:cubicBezTo>
                  <a:cubicBezTo>
                    <a:pt x="6238" y="3277"/>
                    <a:pt x="6018" y="3308"/>
                    <a:pt x="5860" y="3403"/>
                  </a:cubicBezTo>
                  <a:lnTo>
                    <a:pt x="5041" y="2552"/>
                  </a:lnTo>
                  <a:cubicBezTo>
                    <a:pt x="5136" y="2395"/>
                    <a:pt x="5167" y="2206"/>
                    <a:pt x="5167" y="2048"/>
                  </a:cubicBezTo>
                  <a:cubicBezTo>
                    <a:pt x="5167" y="1386"/>
                    <a:pt x="4600" y="819"/>
                    <a:pt x="3938" y="819"/>
                  </a:cubicBezTo>
                  <a:cubicBezTo>
                    <a:pt x="3277" y="819"/>
                    <a:pt x="2710" y="1386"/>
                    <a:pt x="2710" y="2048"/>
                  </a:cubicBezTo>
                  <a:cubicBezTo>
                    <a:pt x="2710" y="2237"/>
                    <a:pt x="2773" y="2395"/>
                    <a:pt x="2836" y="2552"/>
                  </a:cubicBezTo>
                  <a:lnTo>
                    <a:pt x="1733" y="3655"/>
                  </a:lnTo>
                  <a:cubicBezTo>
                    <a:pt x="1575" y="3592"/>
                    <a:pt x="1386" y="3560"/>
                    <a:pt x="1229" y="3560"/>
                  </a:cubicBezTo>
                  <a:cubicBezTo>
                    <a:pt x="567" y="3560"/>
                    <a:pt x="0" y="4096"/>
                    <a:pt x="0" y="4757"/>
                  </a:cubicBezTo>
                  <a:cubicBezTo>
                    <a:pt x="0" y="5451"/>
                    <a:pt x="567" y="5986"/>
                    <a:pt x="1229" y="5986"/>
                  </a:cubicBezTo>
                  <a:cubicBezTo>
                    <a:pt x="1891" y="5986"/>
                    <a:pt x="2458" y="5451"/>
                    <a:pt x="2458" y="4757"/>
                  </a:cubicBezTo>
                  <a:cubicBezTo>
                    <a:pt x="2458" y="4568"/>
                    <a:pt x="2395" y="4411"/>
                    <a:pt x="2332" y="4253"/>
                  </a:cubicBezTo>
                  <a:lnTo>
                    <a:pt x="3434" y="3151"/>
                  </a:lnTo>
                  <a:cubicBezTo>
                    <a:pt x="3592" y="3214"/>
                    <a:pt x="3781" y="3277"/>
                    <a:pt x="3938" y="3277"/>
                  </a:cubicBezTo>
                  <a:cubicBezTo>
                    <a:pt x="4096" y="3277"/>
                    <a:pt x="4285" y="3214"/>
                    <a:pt x="4442" y="3151"/>
                  </a:cubicBezTo>
                  <a:lnTo>
                    <a:pt x="5293" y="3970"/>
                  </a:lnTo>
                  <a:cubicBezTo>
                    <a:pt x="5199" y="4127"/>
                    <a:pt x="5167" y="4348"/>
                    <a:pt x="5167" y="4505"/>
                  </a:cubicBezTo>
                  <a:cubicBezTo>
                    <a:pt x="5167" y="5167"/>
                    <a:pt x="5703" y="5703"/>
                    <a:pt x="6396" y="5703"/>
                  </a:cubicBezTo>
                  <a:cubicBezTo>
                    <a:pt x="7057" y="5703"/>
                    <a:pt x="7593" y="5167"/>
                    <a:pt x="7593" y="4505"/>
                  </a:cubicBezTo>
                  <a:cubicBezTo>
                    <a:pt x="7593" y="4285"/>
                    <a:pt x="7561" y="4127"/>
                    <a:pt x="7498" y="3970"/>
                  </a:cubicBezTo>
                  <a:lnTo>
                    <a:pt x="9137" y="2332"/>
                  </a:lnTo>
                  <a:cubicBezTo>
                    <a:pt x="9294" y="2395"/>
                    <a:pt x="9483" y="2458"/>
                    <a:pt x="9641" y="2458"/>
                  </a:cubicBezTo>
                  <a:cubicBezTo>
                    <a:pt x="10334" y="2458"/>
                    <a:pt x="10901" y="1890"/>
                    <a:pt x="10901" y="1229"/>
                  </a:cubicBezTo>
                  <a:cubicBezTo>
                    <a:pt x="10901" y="536"/>
                    <a:pt x="10334" y="0"/>
                    <a:pt x="96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87" name="Google Shape;6887;p72"/>
          <p:cNvSpPr/>
          <p:nvPr/>
        </p:nvSpPr>
        <p:spPr>
          <a:xfrm>
            <a:off x="1282887" y="3654007"/>
            <a:ext cx="366364" cy="366682"/>
          </a:xfrm>
          <a:custGeom>
            <a:avLst/>
            <a:gdLst/>
            <a:ahLst/>
            <a:cxnLst/>
            <a:rect l="l" t="t" r="r" b="b"/>
            <a:pathLst>
              <a:path w="12666" h="12677" extrusionOk="0">
                <a:moveTo>
                  <a:pt x="8916" y="1639"/>
                </a:moveTo>
                <a:cubicBezTo>
                  <a:pt x="9137" y="1639"/>
                  <a:pt x="9294" y="1828"/>
                  <a:pt x="9294" y="2048"/>
                </a:cubicBezTo>
                <a:cubicBezTo>
                  <a:pt x="9294" y="2269"/>
                  <a:pt x="9105" y="2458"/>
                  <a:pt x="8916" y="2458"/>
                </a:cubicBezTo>
                <a:lnTo>
                  <a:pt x="3655" y="2458"/>
                </a:lnTo>
                <a:cubicBezTo>
                  <a:pt x="3434" y="2458"/>
                  <a:pt x="3245" y="2269"/>
                  <a:pt x="3245" y="2048"/>
                </a:cubicBezTo>
                <a:cubicBezTo>
                  <a:pt x="3245" y="1796"/>
                  <a:pt x="3434" y="1639"/>
                  <a:pt x="3655" y="1639"/>
                </a:cubicBezTo>
                <a:close/>
                <a:moveTo>
                  <a:pt x="10555" y="3245"/>
                </a:moveTo>
                <a:cubicBezTo>
                  <a:pt x="10807" y="3245"/>
                  <a:pt x="10964" y="3434"/>
                  <a:pt x="10964" y="3686"/>
                </a:cubicBezTo>
                <a:cubicBezTo>
                  <a:pt x="10964" y="3939"/>
                  <a:pt x="10807" y="4128"/>
                  <a:pt x="10555" y="4128"/>
                </a:cubicBezTo>
                <a:lnTo>
                  <a:pt x="2017" y="4128"/>
                </a:lnTo>
                <a:cubicBezTo>
                  <a:pt x="1765" y="4128"/>
                  <a:pt x="1607" y="3939"/>
                  <a:pt x="1607" y="3686"/>
                </a:cubicBezTo>
                <a:cubicBezTo>
                  <a:pt x="1607" y="3434"/>
                  <a:pt x="1828" y="3245"/>
                  <a:pt x="2017" y="3245"/>
                </a:cubicBezTo>
                <a:close/>
                <a:moveTo>
                  <a:pt x="6711" y="5766"/>
                </a:moveTo>
                <a:cubicBezTo>
                  <a:pt x="7593" y="5766"/>
                  <a:pt x="8349" y="6522"/>
                  <a:pt x="8349" y="7436"/>
                </a:cubicBezTo>
                <a:cubicBezTo>
                  <a:pt x="8349" y="8349"/>
                  <a:pt x="7593" y="9074"/>
                  <a:pt x="6711" y="9074"/>
                </a:cubicBezTo>
                <a:cubicBezTo>
                  <a:pt x="5797" y="9074"/>
                  <a:pt x="5041" y="8349"/>
                  <a:pt x="5041" y="7436"/>
                </a:cubicBezTo>
                <a:cubicBezTo>
                  <a:pt x="5041" y="6522"/>
                  <a:pt x="5797" y="5766"/>
                  <a:pt x="6711" y="5766"/>
                </a:cubicBezTo>
                <a:close/>
                <a:moveTo>
                  <a:pt x="2048" y="0"/>
                </a:moveTo>
                <a:cubicBezTo>
                  <a:pt x="1828" y="0"/>
                  <a:pt x="1670" y="189"/>
                  <a:pt x="1670" y="378"/>
                </a:cubicBezTo>
                <a:cubicBezTo>
                  <a:pt x="1670" y="1040"/>
                  <a:pt x="1103" y="1639"/>
                  <a:pt x="410" y="1639"/>
                </a:cubicBezTo>
                <a:cubicBezTo>
                  <a:pt x="158" y="1639"/>
                  <a:pt x="0" y="1828"/>
                  <a:pt x="0" y="2048"/>
                </a:cubicBezTo>
                <a:lnTo>
                  <a:pt x="0" y="6994"/>
                </a:lnTo>
                <a:cubicBezTo>
                  <a:pt x="0" y="7247"/>
                  <a:pt x="189" y="7404"/>
                  <a:pt x="410" y="7404"/>
                </a:cubicBezTo>
                <a:cubicBezTo>
                  <a:pt x="1072" y="7404"/>
                  <a:pt x="1670" y="7940"/>
                  <a:pt x="1670" y="8601"/>
                </a:cubicBezTo>
                <a:cubicBezTo>
                  <a:pt x="1670" y="8853"/>
                  <a:pt x="1859" y="9042"/>
                  <a:pt x="2048" y="9042"/>
                </a:cubicBezTo>
                <a:lnTo>
                  <a:pt x="4884" y="9042"/>
                </a:lnTo>
                <a:lnTo>
                  <a:pt x="5073" y="9231"/>
                </a:lnTo>
                <a:lnTo>
                  <a:pt x="5073" y="12224"/>
                </a:lnTo>
                <a:cubicBezTo>
                  <a:pt x="5073" y="12468"/>
                  <a:pt x="5298" y="12654"/>
                  <a:pt x="5517" y="12654"/>
                </a:cubicBezTo>
                <a:cubicBezTo>
                  <a:pt x="5581" y="12654"/>
                  <a:pt x="5645" y="12638"/>
                  <a:pt x="5703" y="12602"/>
                </a:cubicBezTo>
                <a:lnTo>
                  <a:pt x="6743" y="11909"/>
                </a:lnTo>
                <a:lnTo>
                  <a:pt x="7782" y="12602"/>
                </a:lnTo>
                <a:cubicBezTo>
                  <a:pt x="7850" y="12653"/>
                  <a:pt x="7926" y="12676"/>
                  <a:pt x="8002" y="12676"/>
                </a:cubicBezTo>
                <a:cubicBezTo>
                  <a:pt x="8210" y="12676"/>
                  <a:pt x="8412" y="12501"/>
                  <a:pt x="8412" y="12224"/>
                </a:cubicBezTo>
                <a:lnTo>
                  <a:pt x="8412" y="9231"/>
                </a:lnTo>
                <a:lnTo>
                  <a:pt x="8601" y="9042"/>
                </a:lnTo>
                <a:lnTo>
                  <a:pt x="10618" y="9042"/>
                </a:lnTo>
                <a:cubicBezTo>
                  <a:pt x="10838" y="9042"/>
                  <a:pt x="10996" y="8853"/>
                  <a:pt x="10996" y="8601"/>
                </a:cubicBezTo>
                <a:cubicBezTo>
                  <a:pt x="10996" y="7940"/>
                  <a:pt x="11563" y="7404"/>
                  <a:pt x="12224" y="7404"/>
                </a:cubicBezTo>
                <a:cubicBezTo>
                  <a:pt x="12445" y="7404"/>
                  <a:pt x="12665" y="7184"/>
                  <a:pt x="12665" y="6994"/>
                </a:cubicBezTo>
                <a:lnTo>
                  <a:pt x="12665" y="2048"/>
                </a:lnTo>
                <a:cubicBezTo>
                  <a:pt x="12602" y="1796"/>
                  <a:pt x="12445" y="1639"/>
                  <a:pt x="12224" y="1639"/>
                </a:cubicBezTo>
                <a:cubicBezTo>
                  <a:pt x="11531" y="1639"/>
                  <a:pt x="10996" y="1103"/>
                  <a:pt x="10996" y="378"/>
                </a:cubicBezTo>
                <a:cubicBezTo>
                  <a:pt x="10996" y="158"/>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2"/>
          <p:cNvSpPr/>
          <p:nvPr/>
        </p:nvSpPr>
        <p:spPr>
          <a:xfrm>
            <a:off x="3505689" y="2754652"/>
            <a:ext cx="366364" cy="347563"/>
          </a:xfrm>
          <a:custGeom>
            <a:avLst/>
            <a:gdLst/>
            <a:ahLst/>
            <a:cxnLst/>
            <a:rect l="l" t="t" r="r" b="b"/>
            <a:pathLst>
              <a:path w="12666" h="12016" extrusionOk="0">
                <a:moveTo>
                  <a:pt x="3844" y="5105"/>
                </a:moveTo>
                <a:cubicBezTo>
                  <a:pt x="4096" y="5105"/>
                  <a:pt x="4285" y="5325"/>
                  <a:pt x="4285" y="5514"/>
                </a:cubicBezTo>
                <a:lnTo>
                  <a:pt x="4285" y="7153"/>
                </a:lnTo>
                <a:cubicBezTo>
                  <a:pt x="4285" y="7405"/>
                  <a:pt x="4096" y="7562"/>
                  <a:pt x="3844" y="7562"/>
                </a:cubicBezTo>
                <a:lnTo>
                  <a:pt x="2206" y="7562"/>
                </a:lnTo>
                <a:cubicBezTo>
                  <a:pt x="1954" y="7562"/>
                  <a:pt x="1765" y="7342"/>
                  <a:pt x="1765" y="7153"/>
                </a:cubicBezTo>
                <a:lnTo>
                  <a:pt x="1765" y="5514"/>
                </a:lnTo>
                <a:cubicBezTo>
                  <a:pt x="1765" y="5262"/>
                  <a:pt x="1954" y="5105"/>
                  <a:pt x="2206" y="5105"/>
                </a:cubicBezTo>
                <a:close/>
                <a:moveTo>
                  <a:pt x="7215" y="1765"/>
                </a:moveTo>
                <a:cubicBezTo>
                  <a:pt x="7436" y="1765"/>
                  <a:pt x="7593" y="1954"/>
                  <a:pt x="7593" y="2206"/>
                </a:cubicBezTo>
                <a:lnTo>
                  <a:pt x="7593" y="7153"/>
                </a:lnTo>
                <a:cubicBezTo>
                  <a:pt x="7593" y="7405"/>
                  <a:pt x="7404" y="7562"/>
                  <a:pt x="7215" y="7562"/>
                </a:cubicBezTo>
                <a:lnTo>
                  <a:pt x="5545" y="7562"/>
                </a:lnTo>
                <a:cubicBezTo>
                  <a:pt x="5325" y="7562"/>
                  <a:pt x="5167" y="7342"/>
                  <a:pt x="5167" y="7153"/>
                </a:cubicBezTo>
                <a:lnTo>
                  <a:pt x="5167" y="2206"/>
                </a:lnTo>
                <a:cubicBezTo>
                  <a:pt x="5167" y="1954"/>
                  <a:pt x="5356" y="1765"/>
                  <a:pt x="5545" y="1765"/>
                </a:cubicBezTo>
                <a:close/>
                <a:moveTo>
                  <a:pt x="10523" y="4286"/>
                </a:moveTo>
                <a:cubicBezTo>
                  <a:pt x="10744" y="4286"/>
                  <a:pt x="10901" y="4475"/>
                  <a:pt x="10901" y="4664"/>
                </a:cubicBezTo>
                <a:lnTo>
                  <a:pt x="10901" y="7153"/>
                </a:lnTo>
                <a:cubicBezTo>
                  <a:pt x="10901" y="7405"/>
                  <a:pt x="10712" y="7562"/>
                  <a:pt x="10523" y="7562"/>
                </a:cubicBezTo>
                <a:lnTo>
                  <a:pt x="8853" y="7562"/>
                </a:lnTo>
                <a:cubicBezTo>
                  <a:pt x="8633" y="7562"/>
                  <a:pt x="8475" y="7342"/>
                  <a:pt x="8475" y="7153"/>
                </a:cubicBezTo>
                <a:lnTo>
                  <a:pt x="8475" y="4664"/>
                </a:lnTo>
                <a:cubicBezTo>
                  <a:pt x="8475" y="4443"/>
                  <a:pt x="8664" y="4286"/>
                  <a:pt x="8853" y="4286"/>
                </a:cubicBezTo>
                <a:close/>
                <a:moveTo>
                  <a:pt x="6333" y="1"/>
                </a:moveTo>
                <a:cubicBezTo>
                  <a:pt x="2836" y="1"/>
                  <a:pt x="0" y="2490"/>
                  <a:pt x="0" y="5514"/>
                </a:cubicBezTo>
                <a:cubicBezTo>
                  <a:pt x="0" y="6900"/>
                  <a:pt x="599" y="8224"/>
                  <a:pt x="1639" y="9200"/>
                </a:cubicBezTo>
                <a:lnTo>
                  <a:pt x="1639" y="11626"/>
                </a:lnTo>
                <a:cubicBezTo>
                  <a:pt x="1639" y="11856"/>
                  <a:pt x="1832" y="12016"/>
                  <a:pt x="2045" y="12016"/>
                </a:cubicBezTo>
                <a:cubicBezTo>
                  <a:pt x="2153" y="12016"/>
                  <a:pt x="2267" y="11974"/>
                  <a:pt x="2363" y="11878"/>
                </a:cubicBezTo>
                <a:lnTo>
                  <a:pt x="3749" y="10492"/>
                </a:lnTo>
                <a:cubicBezTo>
                  <a:pt x="4569" y="10839"/>
                  <a:pt x="5419" y="10965"/>
                  <a:pt x="6333" y="10965"/>
                </a:cubicBezTo>
                <a:cubicBezTo>
                  <a:pt x="9830" y="10965"/>
                  <a:pt x="12665" y="8507"/>
                  <a:pt x="12665" y="5451"/>
                </a:cubicBezTo>
                <a:cubicBezTo>
                  <a:pt x="12665" y="2427"/>
                  <a:pt x="983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2"/>
          <p:cNvSpPr/>
          <p:nvPr/>
        </p:nvSpPr>
        <p:spPr>
          <a:xfrm>
            <a:off x="3504778" y="3235293"/>
            <a:ext cx="368186" cy="287081"/>
          </a:xfrm>
          <a:custGeom>
            <a:avLst/>
            <a:gdLst/>
            <a:ahLst/>
            <a:cxnLst/>
            <a:rect l="l" t="t" r="r" b="b"/>
            <a:pathLst>
              <a:path w="12729" h="9925" extrusionOk="0">
                <a:moveTo>
                  <a:pt x="925" y="3644"/>
                </a:moveTo>
                <a:cubicBezTo>
                  <a:pt x="944" y="3644"/>
                  <a:pt x="963" y="3648"/>
                  <a:pt x="978" y="3655"/>
                </a:cubicBezTo>
                <a:lnTo>
                  <a:pt x="1608" y="3970"/>
                </a:lnTo>
                <a:lnTo>
                  <a:pt x="1608" y="5924"/>
                </a:lnTo>
                <a:lnTo>
                  <a:pt x="978" y="6239"/>
                </a:lnTo>
                <a:cubicBezTo>
                  <a:pt x="960" y="6256"/>
                  <a:pt x="937" y="6264"/>
                  <a:pt x="914" y="6264"/>
                </a:cubicBezTo>
                <a:cubicBezTo>
                  <a:pt x="854" y="6264"/>
                  <a:pt x="788" y="6212"/>
                  <a:pt x="788" y="6144"/>
                </a:cubicBezTo>
                <a:lnTo>
                  <a:pt x="788" y="3781"/>
                </a:lnTo>
                <a:cubicBezTo>
                  <a:pt x="788" y="3685"/>
                  <a:pt x="862" y="3644"/>
                  <a:pt x="925" y="3644"/>
                </a:cubicBezTo>
                <a:close/>
                <a:moveTo>
                  <a:pt x="4128" y="7184"/>
                </a:moveTo>
                <a:lnTo>
                  <a:pt x="6963" y="8035"/>
                </a:lnTo>
                <a:cubicBezTo>
                  <a:pt x="6648" y="8507"/>
                  <a:pt x="6176" y="8759"/>
                  <a:pt x="5640" y="8759"/>
                </a:cubicBezTo>
                <a:cubicBezTo>
                  <a:pt x="4821" y="8759"/>
                  <a:pt x="4097" y="8066"/>
                  <a:pt x="4128" y="7184"/>
                </a:cubicBezTo>
                <a:close/>
                <a:moveTo>
                  <a:pt x="11374" y="820"/>
                </a:moveTo>
                <a:cubicBezTo>
                  <a:pt x="11626" y="820"/>
                  <a:pt x="11815" y="1009"/>
                  <a:pt x="11815" y="1198"/>
                </a:cubicBezTo>
                <a:lnTo>
                  <a:pt x="11815" y="8665"/>
                </a:lnTo>
                <a:cubicBezTo>
                  <a:pt x="11815" y="8885"/>
                  <a:pt x="11626" y="9043"/>
                  <a:pt x="11374" y="9043"/>
                </a:cubicBezTo>
                <a:cubicBezTo>
                  <a:pt x="11154" y="9043"/>
                  <a:pt x="10996" y="8854"/>
                  <a:pt x="10996" y="8665"/>
                </a:cubicBezTo>
                <a:lnTo>
                  <a:pt x="10996" y="1198"/>
                </a:lnTo>
                <a:cubicBezTo>
                  <a:pt x="10996" y="977"/>
                  <a:pt x="11185" y="820"/>
                  <a:pt x="11374" y="820"/>
                </a:cubicBezTo>
                <a:close/>
                <a:moveTo>
                  <a:pt x="11437" y="1"/>
                </a:moveTo>
                <a:cubicBezTo>
                  <a:pt x="10870"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5"/>
                  <a:pt x="983" y="7095"/>
                </a:cubicBezTo>
                <a:cubicBezTo>
                  <a:pt x="1127" y="7095"/>
                  <a:pt x="1275" y="7063"/>
                  <a:pt x="1419" y="6995"/>
                </a:cubicBezTo>
                <a:lnTo>
                  <a:pt x="2143" y="6648"/>
                </a:lnTo>
                <a:lnTo>
                  <a:pt x="3340" y="6995"/>
                </a:lnTo>
                <a:cubicBezTo>
                  <a:pt x="3151" y="8444"/>
                  <a:pt x="4286" y="9641"/>
                  <a:pt x="5672" y="9641"/>
                </a:cubicBezTo>
                <a:cubicBezTo>
                  <a:pt x="6585" y="9641"/>
                  <a:pt x="7405" y="9074"/>
                  <a:pt x="7814" y="8287"/>
                </a:cubicBezTo>
                <a:lnTo>
                  <a:pt x="10271" y="9011"/>
                </a:lnTo>
                <a:cubicBezTo>
                  <a:pt x="10429" y="9515"/>
                  <a:pt x="10902" y="9925"/>
                  <a:pt x="11469" y="9925"/>
                </a:cubicBezTo>
                <a:cubicBezTo>
                  <a:pt x="12130" y="9925"/>
                  <a:pt x="12729" y="9358"/>
                  <a:pt x="12729" y="8696"/>
                </a:cubicBezTo>
                <a:lnTo>
                  <a:pt x="12729" y="1261"/>
                </a:lnTo>
                <a:cubicBezTo>
                  <a:pt x="12634" y="536"/>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90" name="Google Shape;6890;p72"/>
          <p:cNvGrpSpPr/>
          <p:nvPr/>
        </p:nvGrpSpPr>
        <p:grpSpPr>
          <a:xfrm>
            <a:off x="3504430" y="3655040"/>
            <a:ext cx="369112" cy="364657"/>
            <a:chOff x="-59869425" y="4102225"/>
            <a:chExt cx="319025" cy="315175"/>
          </a:xfrm>
        </p:grpSpPr>
        <p:sp>
          <p:nvSpPr>
            <p:cNvPr id="6891" name="Google Shape;6891;p72"/>
            <p:cNvSpPr/>
            <p:nvPr/>
          </p:nvSpPr>
          <p:spPr>
            <a:xfrm>
              <a:off x="-59869425" y="4102225"/>
              <a:ext cx="149675" cy="256825"/>
            </a:xfrm>
            <a:custGeom>
              <a:avLst/>
              <a:gdLst/>
              <a:ahLst/>
              <a:cxnLst/>
              <a:rect l="l" t="t" r="r" b="b"/>
              <a:pathLst>
                <a:path w="5987" h="10273" extrusionOk="0">
                  <a:moveTo>
                    <a:pt x="5532" y="1"/>
                  </a:moveTo>
                  <a:cubicBezTo>
                    <a:pt x="5515" y="1"/>
                    <a:pt x="5499" y="2"/>
                    <a:pt x="5483" y="4"/>
                  </a:cubicBezTo>
                  <a:cubicBezTo>
                    <a:pt x="2364" y="445"/>
                    <a:pt x="1" y="3123"/>
                    <a:pt x="1" y="6274"/>
                  </a:cubicBezTo>
                  <a:cubicBezTo>
                    <a:pt x="1" y="7692"/>
                    <a:pt x="442" y="8983"/>
                    <a:pt x="1293" y="10086"/>
                  </a:cubicBezTo>
                  <a:cubicBezTo>
                    <a:pt x="1381" y="10209"/>
                    <a:pt x="1507" y="10273"/>
                    <a:pt x="1635" y="10273"/>
                  </a:cubicBezTo>
                  <a:cubicBezTo>
                    <a:pt x="1737" y="10273"/>
                    <a:pt x="1839" y="10233"/>
                    <a:pt x="1923" y="10149"/>
                  </a:cubicBezTo>
                  <a:lnTo>
                    <a:pt x="3719" y="8353"/>
                  </a:lnTo>
                  <a:cubicBezTo>
                    <a:pt x="3813" y="8259"/>
                    <a:pt x="3845" y="8007"/>
                    <a:pt x="3782" y="7849"/>
                  </a:cubicBezTo>
                  <a:cubicBezTo>
                    <a:pt x="3498" y="7376"/>
                    <a:pt x="3341" y="6809"/>
                    <a:pt x="3341" y="6274"/>
                  </a:cubicBezTo>
                  <a:cubicBezTo>
                    <a:pt x="3341" y="4888"/>
                    <a:pt x="4286" y="3659"/>
                    <a:pt x="5672" y="3312"/>
                  </a:cubicBezTo>
                  <a:cubicBezTo>
                    <a:pt x="5861" y="3281"/>
                    <a:pt x="5987" y="3123"/>
                    <a:pt x="5987" y="2934"/>
                  </a:cubicBezTo>
                  <a:lnTo>
                    <a:pt x="5987" y="414"/>
                  </a:lnTo>
                  <a:cubicBezTo>
                    <a:pt x="5958" y="180"/>
                    <a:pt x="5739" y="1"/>
                    <a:pt x="5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2"/>
            <p:cNvSpPr/>
            <p:nvPr/>
          </p:nvSpPr>
          <p:spPr>
            <a:xfrm>
              <a:off x="-59811125" y="4322075"/>
              <a:ext cx="201650" cy="95325"/>
            </a:xfrm>
            <a:custGeom>
              <a:avLst/>
              <a:gdLst/>
              <a:ahLst/>
              <a:cxnLst/>
              <a:rect l="l" t="t" r="r" b="b"/>
              <a:pathLst>
                <a:path w="8066" h="3813" extrusionOk="0">
                  <a:moveTo>
                    <a:pt x="5758" y="0"/>
                  </a:moveTo>
                  <a:cubicBezTo>
                    <a:pt x="5692" y="0"/>
                    <a:pt x="5629" y="11"/>
                    <a:pt x="5577" y="32"/>
                  </a:cubicBezTo>
                  <a:cubicBezTo>
                    <a:pt x="5091" y="339"/>
                    <a:pt x="4530" y="489"/>
                    <a:pt x="3972" y="489"/>
                  </a:cubicBezTo>
                  <a:cubicBezTo>
                    <a:pt x="3444" y="489"/>
                    <a:pt x="2917" y="355"/>
                    <a:pt x="2458" y="95"/>
                  </a:cubicBezTo>
                  <a:cubicBezTo>
                    <a:pt x="2389" y="53"/>
                    <a:pt x="2314" y="30"/>
                    <a:pt x="2239" y="30"/>
                  </a:cubicBezTo>
                  <a:cubicBezTo>
                    <a:pt x="2141" y="30"/>
                    <a:pt x="2042" y="69"/>
                    <a:pt x="1954" y="158"/>
                  </a:cubicBezTo>
                  <a:lnTo>
                    <a:pt x="189" y="1922"/>
                  </a:lnTo>
                  <a:cubicBezTo>
                    <a:pt x="0" y="2143"/>
                    <a:pt x="32" y="2395"/>
                    <a:pt x="221" y="2552"/>
                  </a:cubicBezTo>
                  <a:cubicBezTo>
                    <a:pt x="1324" y="3403"/>
                    <a:pt x="2615" y="3812"/>
                    <a:pt x="4001" y="3812"/>
                  </a:cubicBezTo>
                  <a:cubicBezTo>
                    <a:pt x="5388" y="3812"/>
                    <a:pt x="6711" y="3403"/>
                    <a:pt x="7814" y="2521"/>
                  </a:cubicBezTo>
                  <a:cubicBezTo>
                    <a:pt x="8034" y="2363"/>
                    <a:pt x="8066" y="2080"/>
                    <a:pt x="7877" y="1890"/>
                  </a:cubicBezTo>
                  <a:lnTo>
                    <a:pt x="6112" y="126"/>
                  </a:lnTo>
                  <a:cubicBezTo>
                    <a:pt x="6028" y="42"/>
                    <a:pt x="5888" y="0"/>
                    <a:pt x="5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2"/>
            <p:cNvSpPr/>
            <p:nvPr/>
          </p:nvSpPr>
          <p:spPr>
            <a:xfrm>
              <a:off x="-59700075" y="4102225"/>
              <a:ext cx="149675" cy="256525"/>
            </a:xfrm>
            <a:custGeom>
              <a:avLst/>
              <a:gdLst/>
              <a:ahLst/>
              <a:cxnLst/>
              <a:rect l="l" t="t" r="r" b="b"/>
              <a:pathLst>
                <a:path w="5987" h="10261" extrusionOk="0">
                  <a:moveTo>
                    <a:pt x="418" y="1"/>
                  </a:moveTo>
                  <a:cubicBezTo>
                    <a:pt x="190" y="1"/>
                    <a:pt x="1" y="180"/>
                    <a:pt x="1" y="414"/>
                  </a:cubicBezTo>
                  <a:lnTo>
                    <a:pt x="1" y="2934"/>
                  </a:lnTo>
                  <a:cubicBezTo>
                    <a:pt x="1" y="3123"/>
                    <a:pt x="127" y="3281"/>
                    <a:pt x="316" y="3312"/>
                  </a:cubicBezTo>
                  <a:cubicBezTo>
                    <a:pt x="1639" y="3659"/>
                    <a:pt x="2647" y="4856"/>
                    <a:pt x="2647" y="6274"/>
                  </a:cubicBezTo>
                  <a:cubicBezTo>
                    <a:pt x="2647" y="6809"/>
                    <a:pt x="2489" y="7376"/>
                    <a:pt x="2206" y="7849"/>
                  </a:cubicBezTo>
                  <a:cubicBezTo>
                    <a:pt x="2080" y="8007"/>
                    <a:pt x="2111" y="8196"/>
                    <a:pt x="2269" y="8353"/>
                  </a:cubicBezTo>
                  <a:lnTo>
                    <a:pt x="4065" y="10149"/>
                  </a:lnTo>
                  <a:cubicBezTo>
                    <a:pt x="4137" y="10221"/>
                    <a:pt x="4242" y="10260"/>
                    <a:pt x="4350" y="10260"/>
                  </a:cubicBezTo>
                  <a:cubicBezTo>
                    <a:pt x="4478" y="10260"/>
                    <a:pt x="4609" y="10205"/>
                    <a:pt x="4695" y="10086"/>
                  </a:cubicBezTo>
                  <a:cubicBezTo>
                    <a:pt x="5514" y="8983"/>
                    <a:pt x="5987" y="7660"/>
                    <a:pt x="5987" y="6274"/>
                  </a:cubicBezTo>
                  <a:cubicBezTo>
                    <a:pt x="5892" y="3123"/>
                    <a:pt x="3592" y="445"/>
                    <a:pt x="473" y="4"/>
                  </a:cubicBezTo>
                  <a:cubicBezTo>
                    <a:pt x="455" y="2"/>
                    <a:pt x="43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2"/>
            <p:cNvSpPr/>
            <p:nvPr/>
          </p:nvSpPr>
          <p:spPr>
            <a:xfrm>
              <a:off x="-59742600" y="4187375"/>
              <a:ext cx="63025" cy="144950"/>
            </a:xfrm>
            <a:custGeom>
              <a:avLst/>
              <a:gdLst/>
              <a:ahLst/>
              <a:cxnLst/>
              <a:rect l="l" t="t" r="r" b="b"/>
              <a:pathLst>
                <a:path w="2521" h="5798" extrusionOk="0">
                  <a:moveTo>
                    <a:pt x="1260" y="1"/>
                  </a:moveTo>
                  <a:cubicBezTo>
                    <a:pt x="1040" y="1"/>
                    <a:pt x="819" y="190"/>
                    <a:pt x="819" y="379"/>
                  </a:cubicBezTo>
                  <a:lnTo>
                    <a:pt x="819" y="662"/>
                  </a:lnTo>
                  <a:cubicBezTo>
                    <a:pt x="347" y="820"/>
                    <a:pt x="0" y="1293"/>
                    <a:pt x="0" y="1860"/>
                  </a:cubicBezTo>
                  <a:cubicBezTo>
                    <a:pt x="0" y="2521"/>
                    <a:pt x="567" y="2899"/>
                    <a:pt x="977" y="3214"/>
                  </a:cubicBezTo>
                  <a:cubicBezTo>
                    <a:pt x="1292" y="3466"/>
                    <a:pt x="1670" y="3687"/>
                    <a:pt x="1670" y="3939"/>
                  </a:cubicBezTo>
                  <a:cubicBezTo>
                    <a:pt x="1670" y="4160"/>
                    <a:pt x="1450" y="4380"/>
                    <a:pt x="1260" y="4380"/>
                  </a:cubicBezTo>
                  <a:cubicBezTo>
                    <a:pt x="1071" y="4380"/>
                    <a:pt x="819" y="4160"/>
                    <a:pt x="819" y="3939"/>
                  </a:cubicBezTo>
                  <a:cubicBezTo>
                    <a:pt x="819" y="3687"/>
                    <a:pt x="630" y="3529"/>
                    <a:pt x="441" y="3529"/>
                  </a:cubicBezTo>
                  <a:cubicBezTo>
                    <a:pt x="252" y="3529"/>
                    <a:pt x="32" y="3750"/>
                    <a:pt x="32" y="3939"/>
                  </a:cubicBezTo>
                  <a:cubicBezTo>
                    <a:pt x="32" y="4475"/>
                    <a:pt x="410" y="4916"/>
                    <a:pt x="882" y="5105"/>
                  </a:cubicBezTo>
                  <a:lnTo>
                    <a:pt x="882" y="5388"/>
                  </a:lnTo>
                  <a:cubicBezTo>
                    <a:pt x="882" y="5640"/>
                    <a:pt x="1071" y="5798"/>
                    <a:pt x="1292" y="5798"/>
                  </a:cubicBezTo>
                  <a:cubicBezTo>
                    <a:pt x="1544" y="5798"/>
                    <a:pt x="1702" y="5577"/>
                    <a:pt x="1702" y="5388"/>
                  </a:cubicBezTo>
                  <a:lnTo>
                    <a:pt x="1702" y="5073"/>
                  </a:lnTo>
                  <a:cubicBezTo>
                    <a:pt x="2174" y="4916"/>
                    <a:pt x="2521" y="4443"/>
                    <a:pt x="2521" y="3907"/>
                  </a:cubicBezTo>
                  <a:cubicBezTo>
                    <a:pt x="2521" y="3214"/>
                    <a:pt x="1985" y="2836"/>
                    <a:pt x="1544" y="2521"/>
                  </a:cubicBezTo>
                  <a:cubicBezTo>
                    <a:pt x="1229" y="2269"/>
                    <a:pt x="882" y="2049"/>
                    <a:pt x="882" y="1797"/>
                  </a:cubicBezTo>
                  <a:cubicBezTo>
                    <a:pt x="882" y="1576"/>
                    <a:pt x="1071" y="1419"/>
                    <a:pt x="1292" y="1419"/>
                  </a:cubicBezTo>
                  <a:cubicBezTo>
                    <a:pt x="1544" y="1419"/>
                    <a:pt x="1702" y="1608"/>
                    <a:pt x="1702" y="1797"/>
                  </a:cubicBezTo>
                  <a:cubicBezTo>
                    <a:pt x="1702" y="2049"/>
                    <a:pt x="1891" y="2238"/>
                    <a:pt x="2143" y="2238"/>
                  </a:cubicBezTo>
                  <a:cubicBezTo>
                    <a:pt x="2363" y="2238"/>
                    <a:pt x="2521" y="2049"/>
                    <a:pt x="2521" y="1797"/>
                  </a:cubicBezTo>
                  <a:cubicBezTo>
                    <a:pt x="2521" y="1261"/>
                    <a:pt x="2174" y="820"/>
                    <a:pt x="1702" y="631"/>
                  </a:cubicBezTo>
                  <a:lnTo>
                    <a:pt x="1702" y="347"/>
                  </a:lnTo>
                  <a:cubicBezTo>
                    <a:pt x="1702" y="158"/>
                    <a:pt x="1513"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95" name="Google Shape;6895;p72"/>
          <p:cNvGrpSpPr/>
          <p:nvPr/>
        </p:nvGrpSpPr>
        <p:grpSpPr>
          <a:xfrm>
            <a:off x="2623233" y="4123862"/>
            <a:ext cx="366364" cy="365467"/>
            <a:chOff x="-59029025" y="3711650"/>
            <a:chExt cx="316650" cy="315875"/>
          </a:xfrm>
        </p:grpSpPr>
        <p:sp>
          <p:nvSpPr>
            <p:cNvPr id="6896" name="Google Shape;6896;p72"/>
            <p:cNvSpPr/>
            <p:nvPr/>
          </p:nvSpPr>
          <p:spPr>
            <a:xfrm>
              <a:off x="-59029025" y="3712450"/>
              <a:ext cx="70125" cy="70125"/>
            </a:xfrm>
            <a:custGeom>
              <a:avLst/>
              <a:gdLst/>
              <a:ahLst/>
              <a:cxnLst/>
              <a:rect l="l" t="t" r="r" b="b"/>
              <a:pathLst>
                <a:path w="2805" h="2805" extrusionOk="0">
                  <a:moveTo>
                    <a:pt x="1229" y="0"/>
                  </a:moveTo>
                  <a:cubicBezTo>
                    <a:pt x="568" y="0"/>
                    <a:pt x="1" y="568"/>
                    <a:pt x="1" y="1229"/>
                  </a:cubicBezTo>
                  <a:cubicBezTo>
                    <a:pt x="1" y="1891"/>
                    <a:pt x="568" y="2458"/>
                    <a:pt x="1229" y="2458"/>
                  </a:cubicBezTo>
                  <a:cubicBezTo>
                    <a:pt x="1419" y="2458"/>
                    <a:pt x="1576" y="2426"/>
                    <a:pt x="1734" y="2332"/>
                  </a:cubicBezTo>
                  <a:lnTo>
                    <a:pt x="2206" y="2804"/>
                  </a:lnTo>
                  <a:cubicBezTo>
                    <a:pt x="2458" y="2489"/>
                    <a:pt x="2584" y="2426"/>
                    <a:pt x="2805" y="2206"/>
                  </a:cubicBezTo>
                  <a:lnTo>
                    <a:pt x="2332" y="1733"/>
                  </a:lnTo>
                  <a:cubicBezTo>
                    <a:pt x="2427" y="1576"/>
                    <a:pt x="2458" y="1387"/>
                    <a:pt x="2458" y="1229"/>
                  </a:cubicBezTo>
                  <a:cubicBezTo>
                    <a:pt x="2458" y="568"/>
                    <a:pt x="1923"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2"/>
            <p:cNvSpPr/>
            <p:nvPr/>
          </p:nvSpPr>
          <p:spPr>
            <a:xfrm>
              <a:off x="-58782500" y="3958175"/>
              <a:ext cx="70125" cy="69350"/>
            </a:xfrm>
            <a:custGeom>
              <a:avLst/>
              <a:gdLst/>
              <a:ahLst/>
              <a:cxnLst/>
              <a:rect l="l" t="t" r="r" b="b"/>
              <a:pathLst>
                <a:path w="2805" h="2774" extrusionOk="0">
                  <a:moveTo>
                    <a:pt x="599" y="1"/>
                  </a:moveTo>
                  <a:cubicBezTo>
                    <a:pt x="379" y="222"/>
                    <a:pt x="316" y="316"/>
                    <a:pt x="1" y="568"/>
                  </a:cubicBezTo>
                  <a:lnTo>
                    <a:pt x="473" y="1041"/>
                  </a:lnTo>
                  <a:cubicBezTo>
                    <a:pt x="379" y="1198"/>
                    <a:pt x="347" y="1387"/>
                    <a:pt x="347" y="1576"/>
                  </a:cubicBezTo>
                  <a:cubicBezTo>
                    <a:pt x="347" y="2238"/>
                    <a:pt x="914" y="2773"/>
                    <a:pt x="1576" y="2773"/>
                  </a:cubicBezTo>
                  <a:cubicBezTo>
                    <a:pt x="2238" y="2773"/>
                    <a:pt x="2805" y="2238"/>
                    <a:pt x="2805" y="1576"/>
                  </a:cubicBezTo>
                  <a:cubicBezTo>
                    <a:pt x="2805" y="883"/>
                    <a:pt x="2238" y="348"/>
                    <a:pt x="1576" y="348"/>
                  </a:cubicBezTo>
                  <a:cubicBezTo>
                    <a:pt x="1387" y="348"/>
                    <a:pt x="1230" y="379"/>
                    <a:pt x="1072" y="474"/>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2"/>
            <p:cNvSpPr/>
            <p:nvPr/>
          </p:nvSpPr>
          <p:spPr>
            <a:xfrm>
              <a:off x="-58782500" y="3711650"/>
              <a:ext cx="70125" cy="70125"/>
            </a:xfrm>
            <a:custGeom>
              <a:avLst/>
              <a:gdLst/>
              <a:ahLst/>
              <a:cxnLst/>
              <a:rect l="l" t="t" r="r" b="b"/>
              <a:pathLst>
                <a:path w="2805" h="2805" extrusionOk="0">
                  <a:moveTo>
                    <a:pt x="1576" y="1"/>
                  </a:moveTo>
                  <a:cubicBezTo>
                    <a:pt x="914" y="1"/>
                    <a:pt x="347" y="568"/>
                    <a:pt x="347" y="1230"/>
                  </a:cubicBezTo>
                  <a:cubicBezTo>
                    <a:pt x="347" y="1419"/>
                    <a:pt x="379" y="1576"/>
                    <a:pt x="473" y="1734"/>
                  </a:cubicBezTo>
                  <a:lnTo>
                    <a:pt x="1" y="2206"/>
                  </a:lnTo>
                  <a:cubicBezTo>
                    <a:pt x="284" y="2458"/>
                    <a:pt x="347" y="2521"/>
                    <a:pt x="599" y="2805"/>
                  </a:cubicBezTo>
                  <a:lnTo>
                    <a:pt x="1072" y="2332"/>
                  </a:lnTo>
                  <a:cubicBezTo>
                    <a:pt x="1230" y="2395"/>
                    <a:pt x="1419" y="2458"/>
                    <a:pt x="1576" y="2458"/>
                  </a:cubicBezTo>
                  <a:cubicBezTo>
                    <a:pt x="2238" y="2458"/>
                    <a:pt x="2805" y="1891"/>
                    <a:pt x="2805" y="1230"/>
                  </a:cubicBezTo>
                  <a:cubicBezTo>
                    <a:pt x="2805" y="568"/>
                    <a:pt x="2238" y="1"/>
                    <a:pt x="15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2"/>
            <p:cNvSpPr/>
            <p:nvPr/>
          </p:nvSpPr>
          <p:spPr>
            <a:xfrm>
              <a:off x="-58911650" y="3880200"/>
              <a:ext cx="79550" cy="30750"/>
            </a:xfrm>
            <a:custGeom>
              <a:avLst/>
              <a:gdLst/>
              <a:ahLst/>
              <a:cxnLst/>
              <a:rect l="l" t="t" r="r" b="b"/>
              <a:pathLst>
                <a:path w="3182" h="1230" extrusionOk="0">
                  <a:moveTo>
                    <a:pt x="1607" y="1"/>
                  </a:moveTo>
                  <a:cubicBezTo>
                    <a:pt x="819" y="1"/>
                    <a:pt x="189" y="505"/>
                    <a:pt x="0" y="1230"/>
                  </a:cubicBezTo>
                  <a:lnTo>
                    <a:pt x="3182" y="1230"/>
                  </a:lnTo>
                  <a:cubicBezTo>
                    <a:pt x="3025" y="537"/>
                    <a:pt x="2394" y="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2"/>
            <p:cNvSpPr/>
            <p:nvPr/>
          </p:nvSpPr>
          <p:spPr>
            <a:xfrm>
              <a:off x="-58891975" y="3818000"/>
              <a:ext cx="41775" cy="41750"/>
            </a:xfrm>
            <a:custGeom>
              <a:avLst/>
              <a:gdLst/>
              <a:ahLst/>
              <a:cxnLst/>
              <a:rect l="l" t="t" r="r" b="b"/>
              <a:pathLst>
                <a:path w="1671" h="1670" extrusionOk="0">
                  <a:moveTo>
                    <a:pt x="851" y="0"/>
                  </a:moveTo>
                  <a:cubicBezTo>
                    <a:pt x="379" y="0"/>
                    <a:pt x="1" y="378"/>
                    <a:pt x="1" y="819"/>
                  </a:cubicBezTo>
                  <a:cubicBezTo>
                    <a:pt x="1" y="1292"/>
                    <a:pt x="379" y="1670"/>
                    <a:pt x="851" y="1670"/>
                  </a:cubicBezTo>
                  <a:cubicBezTo>
                    <a:pt x="1292" y="1670"/>
                    <a:pt x="1670" y="1292"/>
                    <a:pt x="1670" y="819"/>
                  </a:cubicBezTo>
                  <a:cubicBezTo>
                    <a:pt x="1670" y="378"/>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2"/>
            <p:cNvSpPr/>
            <p:nvPr/>
          </p:nvSpPr>
          <p:spPr>
            <a:xfrm>
              <a:off x="-58983325" y="3755775"/>
              <a:ext cx="227625" cy="226850"/>
            </a:xfrm>
            <a:custGeom>
              <a:avLst/>
              <a:gdLst/>
              <a:ahLst/>
              <a:cxnLst/>
              <a:rect l="l" t="t" r="r" b="b"/>
              <a:pathLst>
                <a:path w="9105" h="9074" extrusionOk="0">
                  <a:moveTo>
                    <a:pt x="4537" y="1701"/>
                  </a:moveTo>
                  <a:cubicBezTo>
                    <a:pt x="5419" y="1701"/>
                    <a:pt x="6175" y="2458"/>
                    <a:pt x="6175" y="3371"/>
                  </a:cubicBezTo>
                  <a:cubicBezTo>
                    <a:pt x="6175" y="3781"/>
                    <a:pt x="6018" y="4190"/>
                    <a:pt x="5702" y="4505"/>
                  </a:cubicBezTo>
                  <a:cubicBezTo>
                    <a:pt x="6459" y="4946"/>
                    <a:pt x="6994" y="5734"/>
                    <a:pt x="6994" y="6679"/>
                  </a:cubicBezTo>
                  <a:cubicBezTo>
                    <a:pt x="6963" y="6868"/>
                    <a:pt x="6805" y="7057"/>
                    <a:pt x="6585" y="7057"/>
                  </a:cubicBezTo>
                  <a:lnTo>
                    <a:pt x="2426" y="7057"/>
                  </a:lnTo>
                  <a:cubicBezTo>
                    <a:pt x="2205" y="7057"/>
                    <a:pt x="2048" y="6868"/>
                    <a:pt x="2048" y="6679"/>
                  </a:cubicBezTo>
                  <a:cubicBezTo>
                    <a:pt x="2048" y="5734"/>
                    <a:pt x="2552" y="4946"/>
                    <a:pt x="3340" y="4505"/>
                  </a:cubicBezTo>
                  <a:cubicBezTo>
                    <a:pt x="3056" y="4190"/>
                    <a:pt x="2867" y="3781"/>
                    <a:pt x="2867" y="3371"/>
                  </a:cubicBezTo>
                  <a:cubicBezTo>
                    <a:pt x="2867" y="2458"/>
                    <a:pt x="3623" y="1701"/>
                    <a:pt x="4537" y="1701"/>
                  </a:cubicBezTo>
                  <a:close/>
                  <a:moveTo>
                    <a:pt x="4537" y="0"/>
                  </a:moveTo>
                  <a:cubicBezTo>
                    <a:pt x="2016" y="0"/>
                    <a:pt x="0" y="2048"/>
                    <a:pt x="0" y="4537"/>
                  </a:cubicBezTo>
                  <a:cubicBezTo>
                    <a:pt x="0" y="7057"/>
                    <a:pt x="2048" y="9074"/>
                    <a:pt x="4537" y="9074"/>
                  </a:cubicBezTo>
                  <a:cubicBezTo>
                    <a:pt x="7057" y="9074"/>
                    <a:pt x="9042" y="7026"/>
                    <a:pt x="9042" y="4537"/>
                  </a:cubicBezTo>
                  <a:cubicBezTo>
                    <a:pt x="9105" y="2017"/>
                    <a:pt x="7057"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2"/>
            <p:cNvSpPr/>
            <p:nvPr/>
          </p:nvSpPr>
          <p:spPr>
            <a:xfrm>
              <a:off x="-59029025" y="3956600"/>
              <a:ext cx="70900" cy="70925"/>
            </a:xfrm>
            <a:custGeom>
              <a:avLst/>
              <a:gdLst/>
              <a:ahLst/>
              <a:cxnLst/>
              <a:rect l="l" t="t" r="r" b="b"/>
              <a:pathLst>
                <a:path w="2836" h="2837" extrusionOk="0">
                  <a:moveTo>
                    <a:pt x="2269" y="1"/>
                  </a:moveTo>
                  <a:lnTo>
                    <a:pt x="1734" y="537"/>
                  </a:lnTo>
                  <a:cubicBezTo>
                    <a:pt x="1576" y="442"/>
                    <a:pt x="1387" y="411"/>
                    <a:pt x="1229" y="411"/>
                  </a:cubicBezTo>
                  <a:cubicBezTo>
                    <a:pt x="568" y="411"/>
                    <a:pt x="1" y="946"/>
                    <a:pt x="1" y="1639"/>
                  </a:cubicBezTo>
                  <a:cubicBezTo>
                    <a:pt x="1" y="2301"/>
                    <a:pt x="568" y="2836"/>
                    <a:pt x="1229" y="2836"/>
                  </a:cubicBezTo>
                  <a:cubicBezTo>
                    <a:pt x="1891" y="2836"/>
                    <a:pt x="2458" y="2301"/>
                    <a:pt x="2458" y="1639"/>
                  </a:cubicBezTo>
                  <a:cubicBezTo>
                    <a:pt x="2458" y="1419"/>
                    <a:pt x="2427" y="1261"/>
                    <a:pt x="2332" y="1104"/>
                  </a:cubicBezTo>
                  <a:lnTo>
                    <a:pt x="2836" y="600"/>
                  </a:lnTo>
                  <a:cubicBezTo>
                    <a:pt x="2584" y="379"/>
                    <a:pt x="2490" y="285"/>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3" name="Google Shape;6903;p72"/>
          <p:cNvGrpSpPr/>
          <p:nvPr/>
        </p:nvGrpSpPr>
        <p:grpSpPr>
          <a:xfrm>
            <a:off x="4859311" y="1379917"/>
            <a:ext cx="351940" cy="348188"/>
            <a:chOff x="581525" y="3254850"/>
            <a:chExt cx="297750" cy="294575"/>
          </a:xfrm>
        </p:grpSpPr>
        <p:sp>
          <p:nvSpPr>
            <p:cNvPr id="6904" name="Google Shape;6904;p72"/>
            <p:cNvSpPr/>
            <p:nvPr/>
          </p:nvSpPr>
          <p:spPr>
            <a:xfrm>
              <a:off x="616950" y="3358025"/>
              <a:ext cx="89025" cy="86650"/>
            </a:xfrm>
            <a:custGeom>
              <a:avLst/>
              <a:gdLst/>
              <a:ahLst/>
              <a:cxnLst/>
              <a:rect l="l" t="t" r="r" b="b"/>
              <a:pathLst>
                <a:path w="3561" h="3466" extrusionOk="0">
                  <a:moveTo>
                    <a:pt x="1797" y="0"/>
                  </a:moveTo>
                  <a:cubicBezTo>
                    <a:pt x="789" y="0"/>
                    <a:pt x="1" y="788"/>
                    <a:pt x="1" y="1733"/>
                  </a:cubicBezTo>
                  <a:cubicBezTo>
                    <a:pt x="1" y="2710"/>
                    <a:pt x="789" y="3466"/>
                    <a:pt x="1797" y="3466"/>
                  </a:cubicBezTo>
                  <a:cubicBezTo>
                    <a:pt x="2773" y="3466"/>
                    <a:pt x="3561" y="2710"/>
                    <a:pt x="3561" y="1733"/>
                  </a:cubicBezTo>
                  <a:cubicBezTo>
                    <a:pt x="3561" y="788"/>
                    <a:pt x="2773"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2"/>
            <p:cNvSpPr/>
            <p:nvPr/>
          </p:nvSpPr>
          <p:spPr>
            <a:xfrm>
              <a:off x="721725" y="3254850"/>
              <a:ext cx="157550" cy="155975"/>
            </a:xfrm>
            <a:custGeom>
              <a:avLst/>
              <a:gdLst/>
              <a:ahLst/>
              <a:cxnLst/>
              <a:rect l="l" t="t" r="r" b="b"/>
              <a:pathLst>
                <a:path w="6302" h="6239" extrusionOk="0">
                  <a:moveTo>
                    <a:pt x="3151" y="1355"/>
                  </a:moveTo>
                  <a:cubicBezTo>
                    <a:pt x="3749" y="1355"/>
                    <a:pt x="4159" y="1827"/>
                    <a:pt x="4159" y="2363"/>
                  </a:cubicBezTo>
                  <a:cubicBezTo>
                    <a:pt x="4159" y="2773"/>
                    <a:pt x="3970" y="3119"/>
                    <a:pt x="3623" y="3277"/>
                  </a:cubicBezTo>
                  <a:cubicBezTo>
                    <a:pt x="3529" y="3308"/>
                    <a:pt x="3497" y="3434"/>
                    <a:pt x="3497" y="3560"/>
                  </a:cubicBezTo>
                  <a:cubicBezTo>
                    <a:pt x="3497" y="3749"/>
                    <a:pt x="3340" y="3907"/>
                    <a:pt x="3151" y="3907"/>
                  </a:cubicBezTo>
                  <a:cubicBezTo>
                    <a:pt x="2962" y="3907"/>
                    <a:pt x="2804" y="3749"/>
                    <a:pt x="2804" y="3560"/>
                  </a:cubicBezTo>
                  <a:cubicBezTo>
                    <a:pt x="2804" y="3151"/>
                    <a:pt x="2993" y="2836"/>
                    <a:pt x="3308" y="2647"/>
                  </a:cubicBezTo>
                  <a:cubicBezTo>
                    <a:pt x="3434" y="2552"/>
                    <a:pt x="3497" y="2458"/>
                    <a:pt x="3497" y="2332"/>
                  </a:cubicBezTo>
                  <a:cubicBezTo>
                    <a:pt x="3497" y="2143"/>
                    <a:pt x="3340" y="1953"/>
                    <a:pt x="3151" y="1953"/>
                  </a:cubicBezTo>
                  <a:cubicBezTo>
                    <a:pt x="2962" y="1953"/>
                    <a:pt x="2804" y="2143"/>
                    <a:pt x="2804" y="2332"/>
                  </a:cubicBezTo>
                  <a:cubicBezTo>
                    <a:pt x="2804" y="2521"/>
                    <a:pt x="2646" y="2678"/>
                    <a:pt x="2426" y="2678"/>
                  </a:cubicBezTo>
                  <a:cubicBezTo>
                    <a:pt x="2237" y="2678"/>
                    <a:pt x="2079" y="2521"/>
                    <a:pt x="2079" y="2332"/>
                  </a:cubicBezTo>
                  <a:cubicBezTo>
                    <a:pt x="2079" y="1827"/>
                    <a:pt x="2552" y="1355"/>
                    <a:pt x="3151" y="1355"/>
                  </a:cubicBezTo>
                  <a:close/>
                  <a:moveTo>
                    <a:pt x="3151" y="4096"/>
                  </a:moveTo>
                  <a:cubicBezTo>
                    <a:pt x="3340" y="4096"/>
                    <a:pt x="3497" y="4253"/>
                    <a:pt x="3497" y="4442"/>
                  </a:cubicBezTo>
                  <a:cubicBezTo>
                    <a:pt x="3497" y="4663"/>
                    <a:pt x="3340" y="4820"/>
                    <a:pt x="3151" y="4820"/>
                  </a:cubicBezTo>
                  <a:cubicBezTo>
                    <a:pt x="2962" y="4820"/>
                    <a:pt x="2804" y="4663"/>
                    <a:pt x="2804" y="4442"/>
                  </a:cubicBezTo>
                  <a:cubicBezTo>
                    <a:pt x="2804" y="4253"/>
                    <a:pt x="2962" y="4096"/>
                    <a:pt x="3151" y="4096"/>
                  </a:cubicBezTo>
                  <a:close/>
                  <a:moveTo>
                    <a:pt x="3182" y="0"/>
                  </a:moveTo>
                  <a:cubicBezTo>
                    <a:pt x="1481" y="0"/>
                    <a:pt x="63" y="1418"/>
                    <a:pt x="63" y="3119"/>
                  </a:cubicBezTo>
                  <a:cubicBezTo>
                    <a:pt x="63" y="3655"/>
                    <a:pt x="189" y="4159"/>
                    <a:pt x="473" y="4663"/>
                  </a:cubicBezTo>
                  <a:lnTo>
                    <a:pt x="32" y="5766"/>
                  </a:lnTo>
                  <a:cubicBezTo>
                    <a:pt x="0" y="5860"/>
                    <a:pt x="32" y="5986"/>
                    <a:pt x="126" y="6112"/>
                  </a:cubicBezTo>
                  <a:cubicBezTo>
                    <a:pt x="189" y="6175"/>
                    <a:pt x="347" y="6238"/>
                    <a:pt x="473" y="6238"/>
                  </a:cubicBezTo>
                  <a:lnTo>
                    <a:pt x="1764" y="5892"/>
                  </a:lnTo>
                  <a:cubicBezTo>
                    <a:pt x="2205" y="6144"/>
                    <a:pt x="2678" y="6238"/>
                    <a:pt x="3182" y="6238"/>
                  </a:cubicBezTo>
                  <a:cubicBezTo>
                    <a:pt x="4915" y="6238"/>
                    <a:pt x="6301" y="4789"/>
                    <a:pt x="6301" y="3119"/>
                  </a:cubicBezTo>
                  <a:cubicBezTo>
                    <a:pt x="6301" y="1386"/>
                    <a:pt x="4883"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2"/>
            <p:cNvSpPr/>
            <p:nvPr/>
          </p:nvSpPr>
          <p:spPr>
            <a:xfrm>
              <a:off x="581525" y="3440725"/>
              <a:ext cx="157550" cy="108700"/>
            </a:xfrm>
            <a:custGeom>
              <a:avLst/>
              <a:gdLst/>
              <a:ahLst/>
              <a:cxnLst/>
              <a:rect l="l" t="t" r="r" b="b"/>
              <a:pathLst>
                <a:path w="6302" h="4348" extrusionOk="0">
                  <a:moveTo>
                    <a:pt x="1355" y="0"/>
                  </a:moveTo>
                  <a:cubicBezTo>
                    <a:pt x="567" y="567"/>
                    <a:pt x="0" y="1513"/>
                    <a:pt x="0" y="2584"/>
                  </a:cubicBezTo>
                  <a:lnTo>
                    <a:pt x="0" y="4001"/>
                  </a:lnTo>
                  <a:cubicBezTo>
                    <a:pt x="63" y="4190"/>
                    <a:pt x="221" y="4348"/>
                    <a:pt x="410" y="4348"/>
                  </a:cubicBezTo>
                  <a:lnTo>
                    <a:pt x="5955" y="4348"/>
                  </a:lnTo>
                  <a:cubicBezTo>
                    <a:pt x="6144" y="4348"/>
                    <a:pt x="6301" y="4190"/>
                    <a:pt x="6301" y="4001"/>
                  </a:cubicBezTo>
                  <a:lnTo>
                    <a:pt x="6301" y="2584"/>
                  </a:lnTo>
                  <a:cubicBezTo>
                    <a:pt x="6301" y="1513"/>
                    <a:pt x="5797" y="599"/>
                    <a:pt x="4978" y="0"/>
                  </a:cubicBezTo>
                  <a:cubicBezTo>
                    <a:pt x="4537" y="536"/>
                    <a:pt x="3875" y="851"/>
                    <a:pt x="3151" y="851"/>
                  </a:cubicBezTo>
                  <a:cubicBezTo>
                    <a:pt x="2458" y="851"/>
                    <a:pt x="1796" y="536"/>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7" name="Google Shape;6907;p72"/>
          <p:cNvGrpSpPr/>
          <p:nvPr/>
        </p:nvGrpSpPr>
        <p:grpSpPr>
          <a:xfrm>
            <a:off x="4858380" y="1818853"/>
            <a:ext cx="353802" cy="351497"/>
            <a:chOff x="580725" y="3617925"/>
            <a:chExt cx="299325" cy="297375"/>
          </a:xfrm>
        </p:grpSpPr>
        <p:sp>
          <p:nvSpPr>
            <p:cNvPr id="6908" name="Google Shape;6908;p72"/>
            <p:cNvSpPr/>
            <p:nvPr/>
          </p:nvSpPr>
          <p:spPr>
            <a:xfrm>
              <a:off x="609075" y="3662050"/>
              <a:ext cx="51225" cy="51200"/>
            </a:xfrm>
            <a:custGeom>
              <a:avLst/>
              <a:gdLst/>
              <a:ahLst/>
              <a:cxnLst/>
              <a:rect l="l" t="t" r="r" b="b"/>
              <a:pathLst>
                <a:path w="2049" h="2048" extrusionOk="0">
                  <a:moveTo>
                    <a:pt x="1041" y="0"/>
                  </a:moveTo>
                  <a:cubicBezTo>
                    <a:pt x="473" y="0"/>
                    <a:pt x="1" y="473"/>
                    <a:pt x="1" y="1040"/>
                  </a:cubicBezTo>
                  <a:cubicBezTo>
                    <a:pt x="1" y="1607"/>
                    <a:pt x="473" y="2048"/>
                    <a:pt x="1041" y="2048"/>
                  </a:cubicBezTo>
                  <a:cubicBezTo>
                    <a:pt x="1608" y="2048"/>
                    <a:pt x="2049" y="1607"/>
                    <a:pt x="2049" y="1040"/>
                  </a:cubicBezTo>
                  <a:cubicBezTo>
                    <a:pt x="2049" y="473"/>
                    <a:pt x="1608"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2"/>
            <p:cNvSpPr/>
            <p:nvPr/>
          </p:nvSpPr>
          <p:spPr>
            <a:xfrm>
              <a:off x="668950" y="3617925"/>
              <a:ext cx="122875" cy="104475"/>
            </a:xfrm>
            <a:custGeom>
              <a:avLst/>
              <a:gdLst/>
              <a:ahLst/>
              <a:cxnLst/>
              <a:rect l="l" t="t" r="r" b="b"/>
              <a:pathLst>
                <a:path w="4915" h="4179" extrusionOk="0">
                  <a:moveTo>
                    <a:pt x="1040" y="1"/>
                  </a:moveTo>
                  <a:cubicBezTo>
                    <a:pt x="441" y="1"/>
                    <a:pt x="0" y="473"/>
                    <a:pt x="0" y="1072"/>
                  </a:cubicBezTo>
                  <a:lnTo>
                    <a:pt x="0" y="1797"/>
                  </a:lnTo>
                  <a:cubicBezTo>
                    <a:pt x="0" y="2364"/>
                    <a:pt x="473" y="2805"/>
                    <a:pt x="1040" y="2805"/>
                  </a:cubicBezTo>
                  <a:lnTo>
                    <a:pt x="2300" y="2805"/>
                  </a:lnTo>
                  <a:lnTo>
                    <a:pt x="3592" y="4097"/>
                  </a:lnTo>
                  <a:cubicBezTo>
                    <a:pt x="3672" y="4156"/>
                    <a:pt x="3764" y="4178"/>
                    <a:pt x="3853" y="4178"/>
                  </a:cubicBezTo>
                  <a:cubicBezTo>
                    <a:pt x="3905" y="4178"/>
                    <a:pt x="3955" y="4171"/>
                    <a:pt x="4001" y="4160"/>
                  </a:cubicBezTo>
                  <a:cubicBezTo>
                    <a:pt x="4127" y="4097"/>
                    <a:pt x="4190" y="3939"/>
                    <a:pt x="4190" y="3844"/>
                  </a:cubicBezTo>
                  <a:lnTo>
                    <a:pt x="4190" y="2742"/>
                  </a:lnTo>
                  <a:cubicBezTo>
                    <a:pt x="4600" y="2584"/>
                    <a:pt x="4915" y="2206"/>
                    <a:pt x="4915" y="1734"/>
                  </a:cubicBezTo>
                  <a:lnTo>
                    <a:pt x="4915" y="1072"/>
                  </a:lnTo>
                  <a:cubicBezTo>
                    <a:pt x="4915" y="473"/>
                    <a:pt x="4411"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2"/>
            <p:cNvSpPr/>
            <p:nvPr/>
          </p:nvSpPr>
          <p:spPr>
            <a:xfrm>
              <a:off x="580725" y="3721900"/>
              <a:ext cx="141800" cy="192025"/>
            </a:xfrm>
            <a:custGeom>
              <a:avLst/>
              <a:gdLst/>
              <a:ahLst/>
              <a:cxnLst/>
              <a:rect l="l" t="t" r="r" b="b"/>
              <a:pathLst>
                <a:path w="5672" h="7681" extrusionOk="0">
                  <a:moveTo>
                    <a:pt x="3340" y="4506"/>
                  </a:moveTo>
                  <a:lnTo>
                    <a:pt x="3718" y="5577"/>
                  </a:lnTo>
                  <a:lnTo>
                    <a:pt x="1229" y="5577"/>
                  </a:lnTo>
                  <a:lnTo>
                    <a:pt x="1450" y="4600"/>
                  </a:lnTo>
                  <a:lnTo>
                    <a:pt x="1450" y="4506"/>
                  </a:lnTo>
                  <a:close/>
                  <a:moveTo>
                    <a:pt x="1450" y="1"/>
                  </a:moveTo>
                  <a:cubicBezTo>
                    <a:pt x="1135" y="1"/>
                    <a:pt x="883" y="221"/>
                    <a:pt x="788" y="505"/>
                  </a:cubicBezTo>
                  <a:lnTo>
                    <a:pt x="95" y="3624"/>
                  </a:lnTo>
                  <a:cubicBezTo>
                    <a:pt x="1" y="4096"/>
                    <a:pt x="316" y="4506"/>
                    <a:pt x="757" y="4506"/>
                  </a:cubicBezTo>
                  <a:lnTo>
                    <a:pt x="95" y="7247"/>
                  </a:lnTo>
                  <a:cubicBezTo>
                    <a:pt x="32" y="7436"/>
                    <a:pt x="158" y="7593"/>
                    <a:pt x="316" y="7656"/>
                  </a:cubicBezTo>
                  <a:cubicBezTo>
                    <a:pt x="350" y="7668"/>
                    <a:pt x="383" y="7673"/>
                    <a:pt x="415" y="7673"/>
                  </a:cubicBezTo>
                  <a:cubicBezTo>
                    <a:pt x="559" y="7673"/>
                    <a:pt x="679" y="7565"/>
                    <a:pt x="757" y="7436"/>
                  </a:cubicBezTo>
                  <a:lnTo>
                    <a:pt x="1040" y="6301"/>
                  </a:lnTo>
                  <a:lnTo>
                    <a:pt x="3939" y="6301"/>
                  </a:lnTo>
                  <a:lnTo>
                    <a:pt x="4254" y="7152"/>
                  </a:lnTo>
                  <a:cubicBezTo>
                    <a:pt x="4358" y="7492"/>
                    <a:pt x="4637" y="7680"/>
                    <a:pt x="4908" y="7680"/>
                  </a:cubicBezTo>
                  <a:cubicBezTo>
                    <a:pt x="4964" y="7680"/>
                    <a:pt x="5019" y="7672"/>
                    <a:pt x="5073" y="7656"/>
                  </a:cubicBezTo>
                  <a:cubicBezTo>
                    <a:pt x="5451" y="7593"/>
                    <a:pt x="5672" y="7184"/>
                    <a:pt x="5609" y="6837"/>
                  </a:cubicBezTo>
                  <a:lnTo>
                    <a:pt x="4569" y="3687"/>
                  </a:lnTo>
                  <a:cubicBezTo>
                    <a:pt x="4506" y="3372"/>
                    <a:pt x="4222" y="3183"/>
                    <a:pt x="3907" y="3183"/>
                  </a:cubicBezTo>
                  <a:lnTo>
                    <a:pt x="3183" y="3183"/>
                  </a:lnTo>
                  <a:cubicBezTo>
                    <a:pt x="2994" y="3183"/>
                    <a:pt x="2836" y="3025"/>
                    <a:pt x="2836" y="2836"/>
                  </a:cubicBezTo>
                  <a:cubicBezTo>
                    <a:pt x="2836" y="2615"/>
                    <a:pt x="2994" y="2458"/>
                    <a:pt x="3183" y="2458"/>
                  </a:cubicBezTo>
                  <a:lnTo>
                    <a:pt x="4222" y="2458"/>
                  </a:lnTo>
                  <a:cubicBezTo>
                    <a:pt x="4600" y="2458"/>
                    <a:pt x="4915" y="2143"/>
                    <a:pt x="4915" y="1765"/>
                  </a:cubicBezTo>
                  <a:cubicBezTo>
                    <a:pt x="4915" y="1355"/>
                    <a:pt x="4600" y="1040"/>
                    <a:pt x="4222" y="1040"/>
                  </a:cubicBezTo>
                  <a:lnTo>
                    <a:pt x="2332" y="1040"/>
                  </a:lnTo>
                  <a:lnTo>
                    <a:pt x="2080" y="379"/>
                  </a:lnTo>
                  <a:cubicBezTo>
                    <a:pt x="1985" y="158"/>
                    <a:pt x="1733" y="1"/>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72"/>
            <p:cNvSpPr/>
            <p:nvPr/>
          </p:nvSpPr>
          <p:spPr>
            <a:xfrm>
              <a:off x="800475" y="3662050"/>
              <a:ext cx="51225" cy="51200"/>
            </a:xfrm>
            <a:custGeom>
              <a:avLst/>
              <a:gdLst/>
              <a:ahLst/>
              <a:cxnLst/>
              <a:rect l="l" t="t" r="r" b="b"/>
              <a:pathLst>
                <a:path w="2049" h="2048" extrusionOk="0">
                  <a:moveTo>
                    <a:pt x="1009" y="0"/>
                  </a:moveTo>
                  <a:cubicBezTo>
                    <a:pt x="442" y="0"/>
                    <a:pt x="1" y="473"/>
                    <a:pt x="1" y="1040"/>
                  </a:cubicBezTo>
                  <a:cubicBezTo>
                    <a:pt x="1" y="1607"/>
                    <a:pt x="442" y="2048"/>
                    <a:pt x="1009" y="2048"/>
                  </a:cubicBezTo>
                  <a:cubicBezTo>
                    <a:pt x="1576" y="2048"/>
                    <a:pt x="2048" y="1607"/>
                    <a:pt x="2048" y="1040"/>
                  </a:cubicBezTo>
                  <a:cubicBezTo>
                    <a:pt x="2048"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72"/>
            <p:cNvSpPr/>
            <p:nvPr/>
          </p:nvSpPr>
          <p:spPr>
            <a:xfrm>
              <a:off x="738250" y="3722700"/>
              <a:ext cx="141800" cy="192600"/>
            </a:xfrm>
            <a:custGeom>
              <a:avLst/>
              <a:gdLst/>
              <a:ahLst/>
              <a:cxnLst/>
              <a:rect l="l" t="t" r="r" b="b"/>
              <a:pathLst>
                <a:path w="5672" h="7704" extrusionOk="0">
                  <a:moveTo>
                    <a:pt x="4222" y="4474"/>
                  </a:moveTo>
                  <a:lnTo>
                    <a:pt x="4222" y="4568"/>
                  </a:lnTo>
                  <a:lnTo>
                    <a:pt x="4443" y="5545"/>
                  </a:lnTo>
                  <a:lnTo>
                    <a:pt x="1985" y="5545"/>
                  </a:lnTo>
                  <a:lnTo>
                    <a:pt x="2332" y="4474"/>
                  </a:lnTo>
                  <a:close/>
                  <a:moveTo>
                    <a:pt x="4222" y="0"/>
                  </a:moveTo>
                  <a:cubicBezTo>
                    <a:pt x="3939" y="0"/>
                    <a:pt x="3718" y="158"/>
                    <a:pt x="3592" y="378"/>
                  </a:cubicBezTo>
                  <a:lnTo>
                    <a:pt x="3340" y="1071"/>
                  </a:lnTo>
                  <a:lnTo>
                    <a:pt x="1450" y="1071"/>
                  </a:lnTo>
                  <a:cubicBezTo>
                    <a:pt x="1072" y="1071"/>
                    <a:pt x="757" y="1386"/>
                    <a:pt x="757" y="1764"/>
                  </a:cubicBezTo>
                  <a:cubicBezTo>
                    <a:pt x="757" y="2174"/>
                    <a:pt x="1072" y="2489"/>
                    <a:pt x="1450" y="2489"/>
                  </a:cubicBezTo>
                  <a:lnTo>
                    <a:pt x="2490" y="2489"/>
                  </a:lnTo>
                  <a:cubicBezTo>
                    <a:pt x="2679" y="2489"/>
                    <a:pt x="2836" y="2646"/>
                    <a:pt x="2836" y="2835"/>
                  </a:cubicBezTo>
                  <a:cubicBezTo>
                    <a:pt x="2836" y="3024"/>
                    <a:pt x="2679" y="3182"/>
                    <a:pt x="2490" y="3182"/>
                  </a:cubicBezTo>
                  <a:lnTo>
                    <a:pt x="1765" y="3182"/>
                  </a:lnTo>
                  <a:cubicBezTo>
                    <a:pt x="1450" y="3182"/>
                    <a:pt x="1198" y="3371"/>
                    <a:pt x="1103" y="3686"/>
                  </a:cubicBezTo>
                  <a:lnTo>
                    <a:pt x="95" y="6837"/>
                  </a:lnTo>
                  <a:cubicBezTo>
                    <a:pt x="1" y="7215"/>
                    <a:pt x="190" y="7593"/>
                    <a:pt x="599" y="7687"/>
                  </a:cubicBezTo>
                  <a:cubicBezTo>
                    <a:pt x="643" y="7696"/>
                    <a:pt x="690" y="7701"/>
                    <a:pt x="738" y="7701"/>
                  </a:cubicBezTo>
                  <a:cubicBezTo>
                    <a:pt x="1030" y="7701"/>
                    <a:pt x="1364" y="7531"/>
                    <a:pt x="1418" y="7152"/>
                  </a:cubicBezTo>
                  <a:lnTo>
                    <a:pt x="1733" y="6301"/>
                  </a:lnTo>
                  <a:lnTo>
                    <a:pt x="4632" y="6301"/>
                  </a:lnTo>
                  <a:lnTo>
                    <a:pt x="4915" y="7435"/>
                  </a:lnTo>
                  <a:cubicBezTo>
                    <a:pt x="4967" y="7591"/>
                    <a:pt x="5104" y="7704"/>
                    <a:pt x="5257" y="7704"/>
                  </a:cubicBezTo>
                  <a:cubicBezTo>
                    <a:pt x="5290" y="7704"/>
                    <a:pt x="5323" y="7698"/>
                    <a:pt x="5356" y="7687"/>
                  </a:cubicBezTo>
                  <a:cubicBezTo>
                    <a:pt x="5546" y="7624"/>
                    <a:pt x="5672" y="7435"/>
                    <a:pt x="5577" y="7246"/>
                  </a:cubicBezTo>
                  <a:lnTo>
                    <a:pt x="4915" y="4537"/>
                  </a:lnTo>
                  <a:cubicBezTo>
                    <a:pt x="5356" y="4474"/>
                    <a:pt x="5672" y="4064"/>
                    <a:pt x="5609" y="3623"/>
                  </a:cubicBezTo>
                  <a:lnTo>
                    <a:pt x="4884" y="504"/>
                  </a:lnTo>
                  <a:cubicBezTo>
                    <a:pt x="4821" y="189"/>
                    <a:pt x="4537"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3" name="Google Shape;6913;p72"/>
          <p:cNvGrpSpPr/>
          <p:nvPr/>
        </p:nvGrpSpPr>
        <p:grpSpPr>
          <a:xfrm>
            <a:off x="4860242" y="2266043"/>
            <a:ext cx="350079" cy="350079"/>
            <a:chOff x="583100" y="3982600"/>
            <a:chExt cx="296175" cy="296175"/>
          </a:xfrm>
        </p:grpSpPr>
        <p:sp>
          <p:nvSpPr>
            <p:cNvPr id="6914" name="Google Shape;6914;p72"/>
            <p:cNvSpPr/>
            <p:nvPr/>
          </p:nvSpPr>
          <p:spPr>
            <a:xfrm>
              <a:off x="694925" y="3982600"/>
              <a:ext cx="70925" cy="68550"/>
            </a:xfrm>
            <a:custGeom>
              <a:avLst/>
              <a:gdLst/>
              <a:ahLst/>
              <a:cxnLst/>
              <a:rect l="l" t="t" r="r" b="b"/>
              <a:pathLst>
                <a:path w="2837" h="2742" extrusionOk="0">
                  <a:moveTo>
                    <a:pt x="1419" y="1"/>
                  </a:moveTo>
                  <a:cubicBezTo>
                    <a:pt x="631" y="1"/>
                    <a:pt x="1" y="599"/>
                    <a:pt x="1" y="1355"/>
                  </a:cubicBezTo>
                  <a:cubicBezTo>
                    <a:pt x="1" y="2143"/>
                    <a:pt x="631" y="2742"/>
                    <a:pt x="1419" y="2742"/>
                  </a:cubicBezTo>
                  <a:cubicBezTo>
                    <a:pt x="2206" y="2742"/>
                    <a:pt x="2836" y="2143"/>
                    <a:pt x="2836" y="1355"/>
                  </a:cubicBezTo>
                  <a:cubicBezTo>
                    <a:pt x="2836" y="599"/>
                    <a:pt x="2206"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72"/>
            <p:cNvSpPr/>
            <p:nvPr/>
          </p:nvSpPr>
          <p:spPr>
            <a:xfrm>
              <a:off x="609075" y="4139350"/>
              <a:ext cx="69350" cy="68525"/>
            </a:xfrm>
            <a:custGeom>
              <a:avLst/>
              <a:gdLst/>
              <a:ahLst/>
              <a:cxnLst/>
              <a:rect l="l" t="t" r="r" b="b"/>
              <a:pathLst>
                <a:path w="2774" h="2741"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2"/>
            <p:cNvSpPr/>
            <p:nvPr/>
          </p:nvSpPr>
          <p:spPr>
            <a:xfrm>
              <a:off x="783925" y="4140125"/>
              <a:ext cx="68550" cy="68550"/>
            </a:xfrm>
            <a:custGeom>
              <a:avLst/>
              <a:gdLst/>
              <a:ahLst/>
              <a:cxnLst/>
              <a:rect l="l" t="t" r="r" b="b"/>
              <a:pathLst>
                <a:path w="2742" h="2742" extrusionOk="0">
                  <a:moveTo>
                    <a:pt x="1356" y="1"/>
                  </a:moveTo>
                  <a:cubicBezTo>
                    <a:pt x="631" y="1"/>
                    <a:pt x="1" y="631"/>
                    <a:pt x="1" y="1387"/>
                  </a:cubicBezTo>
                  <a:cubicBezTo>
                    <a:pt x="1" y="2111"/>
                    <a:pt x="631" y="2741"/>
                    <a:pt x="1356" y="2741"/>
                  </a:cubicBezTo>
                  <a:cubicBezTo>
                    <a:pt x="2112" y="2741"/>
                    <a:pt x="2742" y="2111"/>
                    <a:pt x="2742" y="1387"/>
                  </a:cubicBezTo>
                  <a:cubicBezTo>
                    <a:pt x="2742" y="631"/>
                    <a:pt x="2112" y="1"/>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72"/>
            <p:cNvSpPr/>
            <p:nvPr/>
          </p:nvSpPr>
          <p:spPr>
            <a:xfrm>
              <a:off x="583100" y="4207075"/>
              <a:ext cx="122100" cy="71700"/>
            </a:xfrm>
            <a:custGeom>
              <a:avLst/>
              <a:gdLst/>
              <a:ahLst/>
              <a:cxnLst/>
              <a:rect l="l" t="t" r="r" b="b"/>
              <a:pathLst>
                <a:path w="4884" h="2868" extrusionOk="0">
                  <a:moveTo>
                    <a:pt x="819" y="0"/>
                  </a:moveTo>
                  <a:cubicBezTo>
                    <a:pt x="347" y="442"/>
                    <a:pt x="0" y="1072"/>
                    <a:pt x="0" y="1796"/>
                  </a:cubicBezTo>
                  <a:lnTo>
                    <a:pt x="0" y="2521"/>
                  </a:lnTo>
                  <a:cubicBezTo>
                    <a:pt x="0" y="2710"/>
                    <a:pt x="158" y="2867"/>
                    <a:pt x="347" y="2867"/>
                  </a:cubicBezTo>
                  <a:lnTo>
                    <a:pt x="4505" y="2867"/>
                  </a:lnTo>
                  <a:cubicBezTo>
                    <a:pt x="4726" y="2867"/>
                    <a:pt x="4883" y="2710"/>
                    <a:pt x="4883" y="2521"/>
                  </a:cubicBezTo>
                  <a:lnTo>
                    <a:pt x="4883" y="1796"/>
                  </a:lnTo>
                  <a:cubicBezTo>
                    <a:pt x="4883" y="1103"/>
                    <a:pt x="4568" y="442"/>
                    <a:pt x="4033" y="0"/>
                  </a:cubicBezTo>
                  <a:cubicBezTo>
                    <a:pt x="3655" y="473"/>
                    <a:pt x="3088" y="788"/>
                    <a:pt x="2426" y="788"/>
                  </a:cubicBezTo>
                  <a:cubicBezTo>
                    <a:pt x="1796" y="788"/>
                    <a:pt x="1197" y="473"/>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72"/>
            <p:cNvSpPr/>
            <p:nvPr/>
          </p:nvSpPr>
          <p:spPr>
            <a:xfrm>
              <a:off x="669725" y="4049550"/>
              <a:ext cx="122900" cy="72475"/>
            </a:xfrm>
            <a:custGeom>
              <a:avLst/>
              <a:gdLst/>
              <a:ahLst/>
              <a:cxnLst/>
              <a:rect l="l" t="t" r="r" b="b"/>
              <a:pathLst>
                <a:path w="4916" h="2899" extrusionOk="0">
                  <a:moveTo>
                    <a:pt x="851" y="1"/>
                  </a:moveTo>
                  <a:cubicBezTo>
                    <a:pt x="347" y="442"/>
                    <a:pt x="1" y="1103"/>
                    <a:pt x="1" y="1796"/>
                  </a:cubicBezTo>
                  <a:lnTo>
                    <a:pt x="1" y="2552"/>
                  </a:lnTo>
                  <a:cubicBezTo>
                    <a:pt x="1" y="2741"/>
                    <a:pt x="158" y="2899"/>
                    <a:pt x="347" y="2899"/>
                  </a:cubicBezTo>
                  <a:lnTo>
                    <a:pt x="4537" y="2899"/>
                  </a:lnTo>
                  <a:cubicBezTo>
                    <a:pt x="4758" y="2899"/>
                    <a:pt x="4915" y="2741"/>
                    <a:pt x="4915" y="2552"/>
                  </a:cubicBezTo>
                  <a:lnTo>
                    <a:pt x="4915" y="1796"/>
                  </a:lnTo>
                  <a:cubicBezTo>
                    <a:pt x="4915" y="1103"/>
                    <a:pt x="4600" y="442"/>
                    <a:pt x="4065" y="1"/>
                  </a:cubicBezTo>
                  <a:cubicBezTo>
                    <a:pt x="3687" y="473"/>
                    <a:pt x="3088" y="788"/>
                    <a:pt x="2458" y="788"/>
                  </a:cubicBezTo>
                  <a:cubicBezTo>
                    <a:pt x="1828" y="788"/>
                    <a:pt x="1198" y="473"/>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2"/>
            <p:cNvSpPr/>
            <p:nvPr/>
          </p:nvSpPr>
          <p:spPr>
            <a:xfrm>
              <a:off x="757150" y="4207075"/>
              <a:ext cx="122125" cy="71700"/>
            </a:xfrm>
            <a:custGeom>
              <a:avLst/>
              <a:gdLst/>
              <a:ahLst/>
              <a:cxnLst/>
              <a:rect l="l" t="t" r="r" b="b"/>
              <a:pathLst>
                <a:path w="4885" h="2868" extrusionOk="0">
                  <a:moveTo>
                    <a:pt x="820" y="0"/>
                  </a:moveTo>
                  <a:cubicBezTo>
                    <a:pt x="316" y="442"/>
                    <a:pt x="1" y="1103"/>
                    <a:pt x="1" y="1796"/>
                  </a:cubicBezTo>
                  <a:lnTo>
                    <a:pt x="1" y="2521"/>
                  </a:lnTo>
                  <a:cubicBezTo>
                    <a:pt x="1" y="2710"/>
                    <a:pt x="158" y="2867"/>
                    <a:pt x="347" y="2867"/>
                  </a:cubicBezTo>
                  <a:lnTo>
                    <a:pt x="4506" y="2867"/>
                  </a:lnTo>
                  <a:cubicBezTo>
                    <a:pt x="4727" y="2867"/>
                    <a:pt x="4884" y="2710"/>
                    <a:pt x="4884" y="2521"/>
                  </a:cubicBezTo>
                  <a:lnTo>
                    <a:pt x="4884" y="1796"/>
                  </a:lnTo>
                  <a:cubicBezTo>
                    <a:pt x="4884" y="1103"/>
                    <a:pt x="4569" y="442"/>
                    <a:pt x="4033" y="0"/>
                  </a:cubicBezTo>
                  <a:cubicBezTo>
                    <a:pt x="3655" y="473"/>
                    <a:pt x="3088" y="788"/>
                    <a:pt x="2427" y="788"/>
                  </a:cubicBezTo>
                  <a:cubicBezTo>
                    <a:pt x="1797"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72"/>
            <p:cNvSpPr/>
            <p:nvPr/>
          </p:nvSpPr>
          <p:spPr>
            <a:xfrm>
              <a:off x="691775" y="4139350"/>
              <a:ext cx="77225" cy="64600"/>
            </a:xfrm>
            <a:custGeom>
              <a:avLst/>
              <a:gdLst/>
              <a:ahLst/>
              <a:cxnLst/>
              <a:rect l="l" t="t" r="r" b="b"/>
              <a:pathLst>
                <a:path w="3089" h="2584" extrusionOk="0">
                  <a:moveTo>
                    <a:pt x="1198" y="0"/>
                  </a:moveTo>
                  <a:lnTo>
                    <a:pt x="1198" y="882"/>
                  </a:lnTo>
                  <a:lnTo>
                    <a:pt x="1" y="2079"/>
                  </a:lnTo>
                  <a:cubicBezTo>
                    <a:pt x="221" y="2237"/>
                    <a:pt x="284" y="2300"/>
                    <a:pt x="473" y="2583"/>
                  </a:cubicBezTo>
                  <a:lnTo>
                    <a:pt x="1545" y="1575"/>
                  </a:lnTo>
                  <a:lnTo>
                    <a:pt x="2616" y="2583"/>
                  </a:lnTo>
                  <a:cubicBezTo>
                    <a:pt x="2773" y="2394"/>
                    <a:pt x="2931" y="2237"/>
                    <a:pt x="3088" y="2111"/>
                  </a:cubicBezTo>
                  <a:lnTo>
                    <a:pt x="1891" y="882"/>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1" name="Google Shape;6921;p72"/>
          <p:cNvGrpSpPr/>
          <p:nvPr/>
        </p:nvGrpSpPr>
        <p:grpSpPr>
          <a:xfrm>
            <a:off x="7092856" y="1379667"/>
            <a:ext cx="307231" cy="348690"/>
            <a:chOff x="2423775" y="3226875"/>
            <a:chExt cx="259925" cy="295000"/>
          </a:xfrm>
        </p:grpSpPr>
        <p:sp>
          <p:nvSpPr>
            <p:cNvPr id="6922" name="Google Shape;6922;p72"/>
            <p:cNvSpPr/>
            <p:nvPr/>
          </p:nvSpPr>
          <p:spPr>
            <a:xfrm>
              <a:off x="2509625" y="3365900"/>
              <a:ext cx="86650" cy="52000"/>
            </a:xfrm>
            <a:custGeom>
              <a:avLst/>
              <a:gdLst/>
              <a:ahLst/>
              <a:cxnLst/>
              <a:rect l="l" t="t" r="r" b="b"/>
              <a:pathLst>
                <a:path w="3466" h="2080" extrusionOk="0">
                  <a:moveTo>
                    <a:pt x="1733" y="0"/>
                  </a:moveTo>
                  <a:cubicBezTo>
                    <a:pt x="788" y="0"/>
                    <a:pt x="0" y="788"/>
                    <a:pt x="0" y="1733"/>
                  </a:cubicBezTo>
                  <a:lnTo>
                    <a:pt x="0" y="2080"/>
                  </a:lnTo>
                  <a:lnTo>
                    <a:pt x="3466" y="2080"/>
                  </a:ln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72"/>
            <p:cNvSpPr/>
            <p:nvPr/>
          </p:nvSpPr>
          <p:spPr>
            <a:xfrm>
              <a:off x="2534825" y="3313925"/>
              <a:ext cx="35475" cy="35450"/>
            </a:xfrm>
            <a:custGeom>
              <a:avLst/>
              <a:gdLst/>
              <a:ahLst/>
              <a:cxnLst/>
              <a:rect l="l" t="t" r="r" b="b"/>
              <a:pathLst>
                <a:path w="1419" h="1418" extrusionOk="0">
                  <a:moveTo>
                    <a:pt x="725" y="0"/>
                  </a:moveTo>
                  <a:cubicBezTo>
                    <a:pt x="316" y="0"/>
                    <a:pt x="0" y="315"/>
                    <a:pt x="0" y="725"/>
                  </a:cubicBezTo>
                  <a:cubicBezTo>
                    <a:pt x="0"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72"/>
            <p:cNvSpPr/>
            <p:nvPr/>
          </p:nvSpPr>
          <p:spPr>
            <a:xfrm>
              <a:off x="2423775" y="3226875"/>
              <a:ext cx="259925" cy="295000"/>
            </a:xfrm>
            <a:custGeom>
              <a:avLst/>
              <a:gdLst/>
              <a:ahLst/>
              <a:cxnLst/>
              <a:rect l="l" t="t" r="r" b="b"/>
              <a:pathLst>
                <a:path w="10397" h="11800" extrusionOk="0">
                  <a:moveTo>
                    <a:pt x="5167" y="2757"/>
                  </a:moveTo>
                  <a:cubicBezTo>
                    <a:pt x="5923" y="2757"/>
                    <a:pt x="6553" y="3388"/>
                    <a:pt x="6553" y="4144"/>
                  </a:cubicBezTo>
                  <a:cubicBezTo>
                    <a:pt x="6553" y="4490"/>
                    <a:pt x="6396" y="4805"/>
                    <a:pt x="6175" y="5089"/>
                  </a:cubicBezTo>
                  <a:cubicBezTo>
                    <a:pt x="7026" y="5498"/>
                    <a:pt x="7593" y="6317"/>
                    <a:pt x="7593" y="7294"/>
                  </a:cubicBezTo>
                  <a:lnTo>
                    <a:pt x="7593" y="8019"/>
                  </a:lnTo>
                  <a:cubicBezTo>
                    <a:pt x="7593" y="8208"/>
                    <a:pt x="7435" y="8365"/>
                    <a:pt x="7246" y="8365"/>
                  </a:cubicBezTo>
                  <a:lnTo>
                    <a:pt x="3088" y="8365"/>
                  </a:lnTo>
                  <a:cubicBezTo>
                    <a:pt x="2867" y="8365"/>
                    <a:pt x="2710" y="8208"/>
                    <a:pt x="2710" y="8019"/>
                  </a:cubicBezTo>
                  <a:lnTo>
                    <a:pt x="2710" y="7294"/>
                  </a:lnTo>
                  <a:cubicBezTo>
                    <a:pt x="2710" y="6317"/>
                    <a:pt x="3308" y="5498"/>
                    <a:pt x="4127" y="5089"/>
                  </a:cubicBezTo>
                  <a:cubicBezTo>
                    <a:pt x="3907" y="4868"/>
                    <a:pt x="3781" y="4553"/>
                    <a:pt x="3781" y="4144"/>
                  </a:cubicBezTo>
                  <a:cubicBezTo>
                    <a:pt x="3781" y="3388"/>
                    <a:pt x="4411" y="2757"/>
                    <a:pt x="5167" y="2757"/>
                  </a:cubicBezTo>
                  <a:close/>
                  <a:moveTo>
                    <a:pt x="5183" y="1"/>
                  </a:moveTo>
                  <a:cubicBezTo>
                    <a:pt x="5128" y="1"/>
                    <a:pt x="5073" y="17"/>
                    <a:pt x="5010" y="48"/>
                  </a:cubicBezTo>
                  <a:cubicBezTo>
                    <a:pt x="3964" y="646"/>
                    <a:pt x="2946" y="940"/>
                    <a:pt x="1919" y="940"/>
                  </a:cubicBezTo>
                  <a:cubicBezTo>
                    <a:pt x="1430" y="940"/>
                    <a:pt x="939" y="873"/>
                    <a:pt x="441" y="741"/>
                  </a:cubicBezTo>
                  <a:cubicBezTo>
                    <a:pt x="402" y="722"/>
                    <a:pt x="363" y="714"/>
                    <a:pt x="326" y="714"/>
                  </a:cubicBezTo>
                  <a:cubicBezTo>
                    <a:pt x="243" y="714"/>
                    <a:pt x="170" y="751"/>
                    <a:pt x="126" y="773"/>
                  </a:cubicBezTo>
                  <a:cubicBezTo>
                    <a:pt x="32" y="836"/>
                    <a:pt x="0" y="930"/>
                    <a:pt x="0" y="1056"/>
                  </a:cubicBezTo>
                  <a:lnTo>
                    <a:pt x="0" y="5026"/>
                  </a:lnTo>
                  <a:cubicBezTo>
                    <a:pt x="0" y="8145"/>
                    <a:pt x="2080" y="10949"/>
                    <a:pt x="5104" y="11799"/>
                  </a:cubicBezTo>
                  <a:lnTo>
                    <a:pt x="5262" y="11799"/>
                  </a:lnTo>
                  <a:cubicBezTo>
                    <a:pt x="8255" y="10917"/>
                    <a:pt x="10397" y="8145"/>
                    <a:pt x="10397" y="5026"/>
                  </a:cubicBezTo>
                  <a:lnTo>
                    <a:pt x="10397" y="1056"/>
                  </a:lnTo>
                  <a:cubicBezTo>
                    <a:pt x="10397" y="930"/>
                    <a:pt x="10365" y="836"/>
                    <a:pt x="10271" y="773"/>
                  </a:cubicBezTo>
                  <a:cubicBezTo>
                    <a:pt x="10162" y="751"/>
                    <a:pt x="10084" y="714"/>
                    <a:pt x="10014" y="714"/>
                  </a:cubicBezTo>
                  <a:cubicBezTo>
                    <a:pt x="9983" y="714"/>
                    <a:pt x="9954" y="722"/>
                    <a:pt x="9924" y="741"/>
                  </a:cubicBezTo>
                  <a:cubicBezTo>
                    <a:pt x="9414" y="877"/>
                    <a:pt x="8910" y="946"/>
                    <a:pt x="8409" y="946"/>
                  </a:cubicBezTo>
                  <a:cubicBezTo>
                    <a:pt x="7395" y="946"/>
                    <a:pt x="6389" y="660"/>
                    <a:pt x="5356" y="48"/>
                  </a:cubicBezTo>
                  <a:cubicBezTo>
                    <a:pt x="5293" y="17"/>
                    <a:pt x="5238" y="1"/>
                    <a:pt x="5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5" name="Google Shape;6925;p72"/>
          <p:cNvGrpSpPr/>
          <p:nvPr/>
        </p:nvGrpSpPr>
        <p:grpSpPr>
          <a:xfrm>
            <a:off x="7070043" y="1820952"/>
            <a:ext cx="352857" cy="347301"/>
            <a:chOff x="2404875" y="3592725"/>
            <a:chExt cx="298525" cy="293825"/>
          </a:xfrm>
        </p:grpSpPr>
        <p:sp>
          <p:nvSpPr>
            <p:cNvPr id="6926" name="Google Shape;6926;p72"/>
            <p:cNvSpPr/>
            <p:nvPr/>
          </p:nvSpPr>
          <p:spPr>
            <a:xfrm>
              <a:off x="2404875" y="3747900"/>
              <a:ext cx="52775" cy="138650"/>
            </a:xfrm>
            <a:custGeom>
              <a:avLst/>
              <a:gdLst/>
              <a:ahLst/>
              <a:cxnLst/>
              <a:rect l="l" t="t" r="r" b="b"/>
              <a:pathLst>
                <a:path w="2111" h="5546" extrusionOk="0">
                  <a:moveTo>
                    <a:pt x="378" y="0"/>
                  </a:moveTo>
                  <a:cubicBezTo>
                    <a:pt x="158" y="0"/>
                    <a:pt x="0" y="158"/>
                    <a:pt x="0" y="347"/>
                  </a:cubicBezTo>
                  <a:lnTo>
                    <a:pt x="0" y="5198"/>
                  </a:lnTo>
                  <a:cubicBezTo>
                    <a:pt x="0" y="5419"/>
                    <a:pt x="158" y="5545"/>
                    <a:pt x="378" y="5545"/>
                  </a:cubicBezTo>
                  <a:lnTo>
                    <a:pt x="1071" y="5545"/>
                  </a:lnTo>
                  <a:cubicBezTo>
                    <a:pt x="1670" y="5545"/>
                    <a:pt x="2111" y="5072"/>
                    <a:pt x="2111" y="4537"/>
                  </a:cubicBezTo>
                  <a:lnTo>
                    <a:pt x="2111" y="1040"/>
                  </a:lnTo>
                  <a:cubicBezTo>
                    <a:pt x="2111" y="441"/>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72"/>
            <p:cNvSpPr/>
            <p:nvPr/>
          </p:nvSpPr>
          <p:spPr>
            <a:xfrm>
              <a:off x="2458425" y="3592725"/>
              <a:ext cx="190625" cy="160700"/>
            </a:xfrm>
            <a:custGeom>
              <a:avLst/>
              <a:gdLst/>
              <a:ahLst/>
              <a:cxnLst/>
              <a:rect l="l" t="t" r="r" b="b"/>
              <a:pathLst>
                <a:path w="7625" h="6428" extrusionOk="0">
                  <a:moveTo>
                    <a:pt x="3781" y="631"/>
                  </a:moveTo>
                  <a:cubicBezTo>
                    <a:pt x="3970" y="631"/>
                    <a:pt x="4128" y="788"/>
                    <a:pt x="4128" y="977"/>
                  </a:cubicBezTo>
                  <a:lnTo>
                    <a:pt x="4128" y="1418"/>
                  </a:lnTo>
                  <a:cubicBezTo>
                    <a:pt x="4380" y="1481"/>
                    <a:pt x="4569" y="1639"/>
                    <a:pt x="4758" y="1860"/>
                  </a:cubicBezTo>
                  <a:cubicBezTo>
                    <a:pt x="4884" y="2017"/>
                    <a:pt x="4884" y="2206"/>
                    <a:pt x="4726" y="2332"/>
                  </a:cubicBezTo>
                  <a:cubicBezTo>
                    <a:pt x="4657" y="2373"/>
                    <a:pt x="4583" y="2397"/>
                    <a:pt x="4510" y="2397"/>
                  </a:cubicBezTo>
                  <a:cubicBezTo>
                    <a:pt x="4416" y="2397"/>
                    <a:pt x="4325" y="2358"/>
                    <a:pt x="4254" y="2269"/>
                  </a:cubicBezTo>
                  <a:cubicBezTo>
                    <a:pt x="4114" y="2106"/>
                    <a:pt x="3957" y="2012"/>
                    <a:pt x="3821" y="2012"/>
                  </a:cubicBezTo>
                  <a:cubicBezTo>
                    <a:pt x="3773" y="2012"/>
                    <a:pt x="3728" y="2024"/>
                    <a:pt x="3687" y="2049"/>
                  </a:cubicBezTo>
                  <a:cubicBezTo>
                    <a:pt x="3592" y="2080"/>
                    <a:pt x="3466" y="2238"/>
                    <a:pt x="3466" y="2364"/>
                  </a:cubicBezTo>
                  <a:cubicBezTo>
                    <a:pt x="3466" y="2553"/>
                    <a:pt x="3624" y="2710"/>
                    <a:pt x="3813" y="2710"/>
                  </a:cubicBezTo>
                  <a:cubicBezTo>
                    <a:pt x="4411" y="2710"/>
                    <a:pt x="4852" y="3183"/>
                    <a:pt x="4852" y="3750"/>
                  </a:cubicBezTo>
                  <a:cubicBezTo>
                    <a:pt x="4852" y="4159"/>
                    <a:pt x="4600" y="4537"/>
                    <a:pt x="4222" y="4663"/>
                  </a:cubicBezTo>
                  <a:lnTo>
                    <a:pt x="4159" y="4663"/>
                  </a:lnTo>
                  <a:lnTo>
                    <a:pt x="4159" y="5073"/>
                  </a:lnTo>
                  <a:cubicBezTo>
                    <a:pt x="4159" y="5262"/>
                    <a:pt x="4002" y="5420"/>
                    <a:pt x="3813" y="5420"/>
                  </a:cubicBezTo>
                  <a:cubicBezTo>
                    <a:pt x="3624" y="5420"/>
                    <a:pt x="3466" y="5262"/>
                    <a:pt x="3466" y="5073"/>
                  </a:cubicBezTo>
                  <a:lnTo>
                    <a:pt x="3466" y="4663"/>
                  </a:lnTo>
                  <a:cubicBezTo>
                    <a:pt x="3277" y="4600"/>
                    <a:pt x="3119" y="4537"/>
                    <a:pt x="2962" y="4348"/>
                  </a:cubicBezTo>
                  <a:cubicBezTo>
                    <a:pt x="2836" y="4254"/>
                    <a:pt x="2804" y="4002"/>
                    <a:pt x="2962" y="3876"/>
                  </a:cubicBezTo>
                  <a:cubicBezTo>
                    <a:pt x="3013" y="3825"/>
                    <a:pt x="3108" y="3793"/>
                    <a:pt x="3206" y="3793"/>
                  </a:cubicBezTo>
                  <a:cubicBezTo>
                    <a:pt x="3290" y="3793"/>
                    <a:pt x="3376" y="3817"/>
                    <a:pt x="3435" y="3876"/>
                  </a:cubicBezTo>
                  <a:cubicBezTo>
                    <a:pt x="3549" y="3990"/>
                    <a:pt x="3679" y="4071"/>
                    <a:pt x="3803" y="4071"/>
                  </a:cubicBezTo>
                  <a:cubicBezTo>
                    <a:pt x="3850" y="4071"/>
                    <a:pt x="3895" y="4059"/>
                    <a:pt x="3939" y="4033"/>
                  </a:cubicBezTo>
                  <a:cubicBezTo>
                    <a:pt x="4065" y="4002"/>
                    <a:pt x="4128" y="3844"/>
                    <a:pt x="4128" y="3718"/>
                  </a:cubicBezTo>
                  <a:cubicBezTo>
                    <a:pt x="4128" y="3529"/>
                    <a:pt x="3970" y="3372"/>
                    <a:pt x="3781" y="3372"/>
                  </a:cubicBezTo>
                  <a:cubicBezTo>
                    <a:pt x="3182" y="3372"/>
                    <a:pt x="2741" y="2899"/>
                    <a:pt x="2741" y="2364"/>
                  </a:cubicBezTo>
                  <a:cubicBezTo>
                    <a:pt x="2741" y="1954"/>
                    <a:pt x="3025" y="1576"/>
                    <a:pt x="3435" y="1418"/>
                  </a:cubicBezTo>
                  <a:lnTo>
                    <a:pt x="3435" y="977"/>
                  </a:lnTo>
                  <a:cubicBezTo>
                    <a:pt x="3435" y="788"/>
                    <a:pt x="3592" y="631"/>
                    <a:pt x="3781" y="631"/>
                  </a:cubicBezTo>
                  <a:close/>
                  <a:moveTo>
                    <a:pt x="3813" y="1"/>
                  </a:moveTo>
                  <a:cubicBezTo>
                    <a:pt x="1733" y="1"/>
                    <a:pt x="0" y="1734"/>
                    <a:pt x="0" y="3813"/>
                  </a:cubicBezTo>
                  <a:cubicBezTo>
                    <a:pt x="0" y="4537"/>
                    <a:pt x="190" y="5231"/>
                    <a:pt x="536" y="5829"/>
                  </a:cubicBezTo>
                  <a:cubicBezTo>
                    <a:pt x="1009" y="5546"/>
                    <a:pt x="1544" y="5420"/>
                    <a:pt x="2080" y="5420"/>
                  </a:cubicBezTo>
                  <a:cubicBezTo>
                    <a:pt x="2146" y="5414"/>
                    <a:pt x="2213" y="5411"/>
                    <a:pt x="2279" y="5411"/>
                  </a:cubicBezTo>
                  <a:cubicBezTo>
                    <a:pt x="2936" y="5411"/>
                    <a:pt x="3587" y="5692"/>
                    <a:pt x="4159" y="6207"/>
                  </a:cubicBezTo>
                  <a:lnTo>
                    <a:pt x="5892" y="6207"/>
                  </a:lnTo>
                  <a:cubicBezTo>
                    <a:pt x="6144" y="6207"/>
                    <a:pt x="6364" y="6302"/>
                    <a:pt x="6585" y="6428"/>
                  </a:cubicBezTo>
                  <a:cubicBezTo>
                    <a:pt x="7215" y="5735"/>
                    <a:pt x="7625" y="4789"/>
                    <a:pt x="7625" y="3813"/>
                  </a:cubicBezTo>
                  <a:cubicBezTo>
                    <a:pt x="7625" y="1734"/>
                    <a:pt x="5892"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2"/>
            <p:cNvSpPr/>
            <p:nvPr/>
          </p:nvSpPr>
          <p:spPr>
            <a:xfrm>
              <a:off x="2474975" y="3742775"/>
              <a:ext cx="228425" cy="125650"/>
            </a:xfrm>
            <a:custGeom>
              <a:avLst/>
              <a:gdLst/>
              <a:ahLst/>
              <a:cxnLst/>
              <a:rect l="l" t="t" r="r" b="b"/>
              <a:pathLst>
                <a:path w="9137" h="5026" extrusionOk="0">
                  <a:moveTo>
                    <a:pt x="1422" y="0"/>
                  </a:moveTo>
                  <a:cubicBezTo>
                    <a:pt x="918" y="0"/>
                    <a:pt x="416" y="160"/>
                    <a:pt x="0" y="457"/>
                  </a:cubicBezTo>
                  <a:lnTo>
                    <a:pt x="0" y="5025"/>
                  </a:lnTo>
                  <a:lnTo>
                    <a:pt x="5230" y="5025"/>
                  </a:lnTo>
                  <a:cubicBezTo>
                    <a:pt x="5923" y="5025"/>
                    <a:pt x="6490" y="4679"/>
                    <a:pt x="6900" y="4143"/>
                  </a:cubicBezTo>
                  <a:lnTo>
                    <a:pt x="8916" y="1245"/>
                  </a:lnTo>
                  <a:cubicBezTo>
                    <a:pt x="9137" y="930"/>
                    <a:pt x="9074" y="489"/>
                    <a:pt x="8727" y="268"/>
                  </a:cubicBezTo>
                  <a:cubicBezTo>
                    <a:pt x="8633" y="221"/>
                    <a:pt x="8517" y="196"/>
                    <a:pt x="8398" y="196"/>
                  </a:cubicBezTo>
                  <a:cubicBezTo>
                    <a:pt x="8196" y="196"/>
                    <a:pt x="7983" y="268"/>
                    <a:pt x="7845" y="426"/>
                  </a:cubicBezTo>
                  <a:lnTo>
                    <a:pt x="5955" y="2726"/>
                  </a:lnTo>
                  <a:cubicBezTo>
                    <a:pt x="5829" y="2883"/>
                    <a:pt x="5545" y="2978"/>
                    <a:pt x="5419" y="2978"/>
                  </a:cubicBezTo>
                  <a:lnTo>
                    <a:pt x="3119" y="2978"/>
                  </a:lnTo>
                  <a:cubicBezTo>
                    <a:pt x="2899" y="2978"/>
                    <a:pt x="2741" y="2820"/>
                    <a:pt x="2741" y="2631"/>
                  </a:cubicBezTo>
                  <a:cubicBezTo>
                    <a:pt x="2741" y="2411"/>
                    <a:pt x="2899" y="2253"/>
                    <a:pt x="3119" y="2253"/>
                  </a:cubicBezTo>
                  <a:lnTo>
                    <a:pt x="5198" y="2253"/>
                  </a:lnTo>
                  <a:cubicBezTo>
                    <a:pt x="5576" y="2253"/>
                    <a:pt x="5923" y="1938"/>
                    <a:pt x="5923" y="1560"/>
                  </a:cubicBezTo>
                  <a:cubicBezTo>
                    <a:pt x="5923" y="1150"/>
                    <a:pt x="5576" y="835"/>
                    <a:pt x="5198" y="835"/>
                  </a:cubicBezTo>
                  <a:lnTo>
                    <a:pt x="3340" y="835"/>
                  </a:lnTo>
                  <a:cubicBezTo>
                    <a:pt x="3182" y="835"/>
                    <a:pt x="3088" y="741"/>
                    <a:pt x="2962" y="615"/>
                  </a:cubicBezTo>
                  <a:cubicBezTo>
                    <a:pt x="2773" y="426"/>
                    <a:pt x="2520" y="300"/>
                    <a:pt x="2300" y="174"/>
                  </a:cubicBezTo>
                  <a:cubicBezTo>
                    <a:pt x="2019" y="56"/>
                    <a:pt x="1720" y="0"/>
                    <a:pt x="1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9" name="Google Shape;6929;p72"/>
          <p:cNvGrpSpPr/>
          <p:nvPr/>
        </p:nvGrpSpPr>
        <p:grpSpPr>
          <a:xfrm>
            <a:off x="7070974" y="2266517"/>
            <a:ext cx="350995" cy="349133"/>
            <a:chOff x="2404875" y="3955825"/>
            <a:chExt cx="296950" cy="295375"/>
          </a:xfrm>
        </p:grpSpPr>
        <p:sp>
          <p:nvSpPr>
            <p:cNvPr id="6930" name="Google Shape;6930;p72"/>
            <p:cNvSpPr/>
            <p:nvPr/>
          </p:nvSpPr>
          <p:spPr>
            <a:xfrm>
              <a:off x="2404875" y="3955825"/>
              <a:ext cx="219775" cy="224500"/>
            </a:xfrm>
            <a:custGeom>
              <a:avLst/>
              <a:gdLst/>
              <a:ahLst/>
              <a:cxnLst/>
              <a:rect l="l" t="t" r="r" b="b"/>
              <a:pathLst>
                <a:path w="8791" h="8980" extrusionOk="0">
                  <a:moveTo>
                    <a:pt x="4537" y="0"/>
                  </a:moveTo>
                  <a:cubicBezTo>
                    <a:pt x="2048" y="0"/>
                    <a:pt x="0" y="2017"/>
                    <a:pt x="0" y="4506"/>
                  </a:cubicBezTo>
                  <a:cubicBezTo>
                    <a:pt x="0" y="6963"/>
                    <a:pt x="2048" y="8979"/>
                    <a:pt x="4537" y="8979"/>
                  </a:cubicBezTo>
                  <a:cubicBezTo>
                    <a:pt x="6459" y="8979"/>
                    <a:pt x="8160" y="7719"/>
                    <a:pt x="8790" y="5986"/>
                  </a:cubicBezTo>
                  <a:cubicBezTo>
                    <a:pt x="8633" y="5860"/>
                    <a:pt x="8443" y="5640"/>
                    <a:pt x="8286" y="5514"/>
                  </a:cubicBezTo>
                  <a:lnTo>
                    <a:pt x="7498" y="5514"/>
                  </a:lnTo>
                  <a:cubicBezTo>
                    <a:pt x="7057" y="6742"/>
                    <a:pt x="5923" y="7593"/>
                    <a:pt x="4568" y="7593"/>
                  </a:cubicBezTo>
                  <a:cubicBezTo>
                    <a:pt x="2836" y="7593"/>
                    <a:pt x="1481" y="6175"/>
                    <a:pt x="1481" y="4506"/>
                  </a:cubicBezTo>
                  <a:cubicBezTo>
                    <a:pt x="1481" y="2804"/>
                    <a:pt x="2867" y="1387"/>
                    <a:pt x="4568" y="1387"/>
                  </a:cubicBezTo>
                  <a:cubicBezTo>
                    <a:pt x="5923" y="1387"/>
                    <a:pt x="7057" y="2237"/>
                    <a:pt x="7498" y="3466"/>
                  </a:cubicBezTo>
                  <a:lnTo>
                    <a:pt x="8286" y="3466"/>
                  </a:lnTo>
                  <a:cubicBezTo>
                    <a:pt x="8443" y="3308"/>
                    <a:pt x="8633" y="3088"/>
                    <a:pt x="8790" y="2993"/>
                  </a:cubicBezTo>
                  <a:cubicBezTo>
                    <a:pt x="8160" y="1261"/>
                    <a:pt x="652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2"/>
            <p:cNvSpPr/>
            <p:nvPr/>
          </p:nvSpPr>
          <p:spPr>
            <a:xfrm>
              <a:off x="2510400" y="4024075"/>
              <a:ext cx="191425" cy="87575"/>
            </a:xfrm>
            <a:custGeom>
              <a:avLst/>
              <a:gdLst/>
              <a:ahLst/>
              <a:cxnLst/>
              <a:rect l="l" t="t" r="r" b="b"/>
              <a:pathLst>
                <a:path w="7657" h="3503" extrusionOk="0">
                  <a:moveTo>
                    <a:pt x="7260" y="0"/>
                  </a:moveTo>
                  <a:cubicBezTo>
                    <a:pt x="7232" y="0"/>
                    <a:pt x="7206" y="4"/>
                    <a:pt x="7184" y="11"/>
                  </a:cubicBezTo>
                  <a:lnTo>
                    <a:pt x="5073" y="736"/>
                  </a:lnTo>
                  <a:cubicBezTo>
                    <a:pt x="5042" y="736"/>
                    <a:pt x="5010" y="767"/>
                    <a:pt x="4947" y="799"/>
                  </a:cubicBezTo>
                  <a:lnTo>
                    <a:pt x="4380" y="1398"/>
                  </a:lnTo>
                  <a:lnTo>
                    <a:pt x="347" y="1398"/>
                  </a:lnTo>
                  <a:cubicBezTo>
                    <a:pt x="158" y="1398"/>
                    <a:pt x="1" y="1555"/>
                    <a:pt x="1" y="1744"/>
                  </a:cubicBezTo>
                  <a:cubicBezTo>
                    <a:pt x="1" y="1965"/>
                    <a:pt x="158" y="2122"/>
                    <a:pt x="347" y="2122"/>
                  </a:cubicBezTo>
                  <a:lnTo>
                    <a:pt x="4380" y="2122"/>
                  </a:lnTo>
                  <a:lnTo>
                    <a:pt x="4947" y="2689"/>
                  </a:lnTo>
                  <a:cubicBezTo>
                    <a:pt x="5010" y="2752"/>
                    <a:pt x="5042" y="2784"/>
                    <a:pt x="5073" y="2784"/>
                  </a:cubicBezTo>
                  <a:lnTo>
                    <a:pt x="7184" y="3477"/>
                  </a:lnTo>
                  <a:cubicBezTo>
                    <a:pt x="7210" y="3494"/>
                    <a:pt x="7242" y="3502"/>
                    <a:pt x="7275" y="3502"/>
                  </a:cubicBezTo>
                  <a:cubicBezTo>
                    <a:pt x="7362" y="3502"/>
                    <a:pt x="7462" y="3451"/>
                    <a:pt x="7531" y="3382"/>
                  </a:cubicBezTo>
                  <a:cubicBezTo>
                    <a:pt x="7594" y="3256"/>
                    <a:pt x="7657" y="3099"/>
                    <a:pt x="7562" y="2973"/>
                  </a:cubicBezTo>
                  <a:lnTo>
                    <a:pt x="6932" y="1744"/>
                  </a:lnTo>
                  <a:lnTo>
                    <a:pt x="7562" y="547"/>
                  </a:lnTo>
                  <a:cubicBezTo>
                    <a:pt x="7657" y="389"/>
                    <a:pt x="7594" y="232"/>
                    <a:pt x="7531" y="137"/>
                  </a:cubicBezTo>
                  <a:cubicBezTo>
                    <a:pt x="7458" y="41"/>
                    <a:pt x="7349" y="0"/>
                    <a:pt x="7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72"/>
            <p:cNvSpPr/>
            <p:nvPr/>
          </p:nvSpPr>
          <p:spPr>
            <a:xfrm>
              <a:off x="2424550" y="4188175"/>
              <a:ext cx="189050" cy="63025"/>
            </a:xfrm>
            <a:custGeom>
              <a:avLst/>
              <a:gdLst/>
              <a:ahLst/>
              <a:cxnLst/>
              <a:rect l="l" t="t" r="r" b="b"/>
              <a:pathLst>
                <a:path w="7562" h="2521" extrusionOk="0">
                  <a:moveTo>
                    <a:pt x="1828" y="0"/>
                  </a:moveTo>
                  <a:lnTo>
                    <a:pt x="1482" y="1135"/>
                  </a:lnTo>
                  <a:lnTo>
                    <a:pt x="1040" y="1135"/>
                  </a:lnTo>
                  <a:cubicBezTo>
                    <a:pt x="442" y="1135"/>
                    <a:pt x="1" y="1607"/>
                    <a:pt x="1" y="2174"/>
                  </a:cubicBezTo>
                  <a:cubicBezTo>
                    <a:pt x="1" y="2363"/>
                    <a:pt x="158" y="2521"/>
                    <a:pt x="379" y="2521"/>
                  </a:cubicBezTo>
                  <a:lnTo>
                    <a:pt x="7310" y="2521"/>
                  </a:lnTo>
                  <a:cubicBezTo>
                    <a:pt x="7404" y="2489"/>
                    <a:pt x="7562" y="2363"/>
                    <a:pt x="7562" y="2174"/>
                  </a:cubicBezTo>
                  <a:cubicBezTo>
                    <a:pt x="7562" y="1576"/>
                    <a:pt x="7089" y="1135"/>
                    <a:pt x="6554" y="1135"/>
                  </a:cubicBezTo>
                  <a:lnTo>
                    <a:pt x="6113" y="1135"/>
                  </a:lnTo>
                  <a:lnTo>
                    <a:pt x="5766" y="0"/>
                  </a:lnTo>
                  <a:cubicBezTo>
                    <a:pt x="5168" y="252"/>
                    <a:pt x="4506" y="410"/>
                    <a:pt x="3781" y="410"/>
                  </a:cubicBezTo>
                  <a:cubicBezTo>
                    <a:pt x="3088" y="410"/>
                    <a:pt x="2427" y="252"/>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72"/>
            <p:cNvSpPr/>
            <p:nvPr/>
          </p:nvSpPr>
          <p:spPr>
            <a:xfrm>
              <a:off x="2457625" y="4007025"/>
              <a:ext cx="115025" cy="122100"/>
            </a:xfrm>
            <a:custGeom>
              <a:avLst/>
              <a:gdLst/>
              <a:ahLst/>
              <a:cxnLst/>
              <a:rect l="l" t="t" r="r" b="b"/>
              <a:pathLst>
                <a:path w="4601" h="4884" extrusionOk="0">
                  <a:moveTo>
                    <a:pt x="2427" y="0"/>
                  </a:moveTo>
                  <a:cubicBezTo>
                    <a:pt x="1104" y="0"/>
                    <a:pt x="1" y="1103"/>
                    <a:pt x="1" y="2458"/>
                  </a:cubicBezTo>
                  <a:cubicBezTo>
                    <a:pt x="1" y="3781"/>
                    <a:pt x="1104" y="4884"/>
                    <a:pt x="2427" y="4884"/>
                  </a:cubicBezTo>
                  <a:cubicBezTo>
                    <a:pt x="3404" y="4884"/>
                    <a:pt x="4254" y="4348"/>
                    <a:pt x="4601" y="3497"/>
                  </a:cubicBezTo>
                  <a:lnTo>
                    <a:pt x="2427" y="3497"/>
                  </a:lnTo>
                  <a:cubicBezTo>
                    <a:pt x="1828" y="3497"/>
                    <a:pt x="1419" y="3025"/>
                    <a:pt x="1419" y="2489"/>
                  </a:cubicBezTo>
                  <a:cubicBezTo>
                    <a:pt x="1356" y="1859"/>
                    <a:pt x="1828" y="1386"/>
                    <a:pt x="2427" y="1386"/>
                  </a:cubicBezTo>
                  <a:lnTo>
                    <a:pt x="4601" y="1386"/>
                  </a:lnTo>
                  <a:cubicBezTo>
                    <a:pt x="4191" y="567"/>
                    <a:pt x="3372"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4" name="Google Shape;6934;p72"/>
          <p:cNvGrpSpPr/>
          <p:nvPr/>
        </p:nvGrpSpPr>
        <p:grpSpPr>
          <a:xfrm>
            <a:off x="5764954" y="2730711"/>
            <a:ext cx="349163" cy="350079"/>
            <a:chOff x="4263650" y="3235150"/>
            <a:chExt cx="295400" cy="296175"/>
          </a:xfrm>
        </p:grpSpPr>
        <p:sp>
          <p:nvSpPr>
            <p:cNvPr id="6935" name="Google Shape;6935;p72"/>
            <p:cNvSpPr/>
            <p:nvPr/>
          </p:nvSpPr>
          <p:spPr>
            <a:xfrm>
              <a:off x="4393625" y="3391100"/>
              <a:ext cx="35450" cy="35475"/>
            </a:xfrm>
            <a:custGeom>
              <a:avLst/>
              <a:gdLst/>
              <a:ahLst/>
              <a:cxnLst/>
              <a:rect l="l" t="t" r="r" b="b"/>
              <a:pathLst>
                <a:path w="1418" h="1419" extrusionOk="0">
                  <a:moveTo>
                    <a:pt x="725" y="1"/>
                  </a:moveTo>
                  <a:cubicBezTo>
                    <a:pt x="315" y="1"/>
                    <a:pt x="0" y="316"/>
                    <a:pt x="0" y="694"/>
                  </a:cubicBezTo>
                  <a:cubicBezTo>
                    <a:pt x="63"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72"/>
            <p:cNvSpPr/>
            <p:nvPr/>
          </p:nvSpPr>
          <p:spPr>
            <a:xfrm>
              <a:off x="4377075" y="3443875"/>
              <a:ext cx="70125" cy="34675"/>
            </a:xfrm>
            <a:custGeom>
              <a:avLst/>
              <a:gdLst/>
              <a:ahLst/>
              <a:cxnLst/>
              <a:rect l="l" t="t" r="r" b="b"/>
              <a:pathLst>
                <a:path w="2805" h="1387" extrusionOk="0">
                  <a:moveTo>
                    <a:pt x="1387" y="0"/>
                  </a:moveTo>
                  <a:cubicBezTo>
                    <a:pt x="631" y="0"/>
                    <a:pt x="1" y="630"/>
                    <a:pt x="1" y="1387"/>
                  </a:cubicBezTo>
                  <a:lnTo>
                    <a:pt x="2805" y="1387"/>
                  </a:lnTo>
                  <a:cubicBezTo>
                    <a:pt x="2805" y="630"/>
                    <a:pt x="2174"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2"/>
            <p:cNvSpPr/>
            <p:nvPr/>
          </p:nvSpPr>
          <p:spPr>
            <a:xfrm>
              <a:off x="4333750" y="3357225"/>
              <a:ext cx="156775" cy="174100"/>
            </a:xfrm>
            <a:custGeom>
              <a:avLst/>
              <a:gdLst/>
              <a:ahLst/>
              <a:cxnLst/>
              <a:rect l="l" t="t" r="r" b="b"/>
              <a:pathLst>
                <a:path w="6271" h="6964" extrusionOk="0">
                  <a:moveTo>
                    <a:pt x="3088" y="725"/>
                  </a:moveTo>
                  <a:cubicBezTo>
                    <a:pt x="3813" y="725"/>
                    <a:pt x="4506" y="1356"/>
                    <a:pt x="4506" y="2080"/>
                  </a:cubicBezTo>
                  <a:cubicBezTo>
                    <a:pt x="4506" y="2458"/>
                    <a:pt x="4348" y="2805"/>
                    <a:pt x="4096" y="3025"/>
                  </a:cubicBezTo>
                  <a:cubicBezTo>
                    <a:pt x="4727" y="3372"/>
                    <a:pt x="5168" y="4065"/>
                    <a:pt x="5168" y="4853"/>
                  </a:cubicBezTo>
                  <a:lnTo>
                    <a:pt x="5168" y="5199"/>
                  </a:lnTo>
                  <a:cubicBezTo>
                    <a:pt x="5168" y="5388"/>
                    <a:pt x="5010" y="5546"/>
                    <a:pt x="4821" y="5546"/>
                  </a:cubicBezTo>
                  <a:lnTo>
                    <a:pt x="1293" y="5546"/>
                  </a:lnTo>
                  <a:cubicBezTo>
                    <a:pt x="1103" y="5546"/>
                    <a:pt x="946" y="5388"/>
                    <a:pt x="946" y="5199"/>
                  </a:cubicBezTo>
                  <a:lnTo>
                    <a:pt x="946" y="4853"/>
                  </a:lnTo>
                  <a:lnTo>
                    <a:pt x="1040" y="4853"/>
                  </a:lnTo>
                  <a:cubicBezTo>
                    <a:pt x="1040" y="4065"/>
                    <a:pt x="1450" y="3403"/>
                    <a:pt x="2080" y="3025"/>
                  </a:cubicBezTo>
                  <a:cubicBezTo>
                    <a:pt x="1860" y="2805"/>
                    <a:pt x="1702" y="2458"/>
                    <a:pt x="1702" y="2080"/>
                  </a:cubicBezTo>
                  <a:cubicBezTo>
                    <a:pt x="1702" y="1356"/>
                    <a:pt x="2332" y="725"/>
                    <a:pt x="3088" y="725"/>
                  </a:cubicBezTo>
                  <a:close/>
                  <a:moveTo>
                    <a:pt x="1" y="1"/>
                  </a:moveTo>
                  <a:lnTo>
                    <a:pt x="1" y="6617"/>
                  </a:lnTo>
                  <a:cubicBezTo>
                    <a:pt x="1" y="6806"/>
                    <a:pt x="158" y="6963"/>
                    <a:pt x="347" y="6963"/>
                  </a:cubicBezTo>
                  <a:lnTo>
                    <a:pt x="5924" y="6963"/>
                  </a:lnTo>
                  <a:cubicBezTo>
                    <a:pt x="6113" y="6963"/>
                    <a:pt x="6270" y="6806"/>
                    <a:pt x="6270" y="6617"/>
                  </a:cubicBez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72"/>
            <p:cNvSpPr/>
            <p:nvPr/>
          </p:nvSpPr>
          <p:spPr>
            <a:xfrm>
              <a:off x="4316425" y="3235150"/>
              <a:ext cx="191425" cy="35475"/>
            </a:xfrm>
            <a:custGeom>
              <a:avLst/>
              <a:gdLst/>
              <a:ahLst/>
              <a:cxnLst/>
              <a:rect l="l" t="t" r="r" b="b"/>
              <a:pathLst>
                <a:path w="7657" h="1419" extrusionOk="0">
                  <a:moveTo>
                    <a:pt x="347" y="1"/>
                  </a:moveTo>
                  <a:cubicBezTo>
                    <a:pt x="158" y="1"/>
                    <a:pt x="1" y="158"/>
                    <a:pt x="1" y="347"/>
                  </a:cubicBezTo>
                  <a:lnTo>
                    <a:pt x="1" y="1418"/>
                  </a:lnTo>
                  <a:lnTo>
                    <a:pt x="7625" y="1418"/>
                  </a:lnTo>
                  <a:lnTo>
                    <a:pt x="7625" y="347"/>
                  </a:lnTo>
                  <a:lnTo>
                    <a:pt x="7656" y="347"/>
                  </a:lnTo>
                  <a:cubicBezTo>
                    <a:pt x="7656" y="158"/>
                    <a:pt x="7499" y="1"/>
                    <a:pt x="7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72"/>
            <p:cNvSpPr/>
            <p:nvPr/>
          </p:nvSpPr>
          <p:spPr>
            <a:xfrm>
              <a:off x="4263650" y="3288700"/>
              <a:ext cx="295400" cy="137875"/>
            </a:xfrm>
            <a:custGeom>
              <a:avLst/>
              <a:gdLst/>
              <a:ahLst/>
              <a:cxnLst/>
              <a:rect l="l" t="t" r="r" b="b"/>
              <a:pathLst>
                <a:path w="11816" h="5515" extrusionOk="0">
                  <a:moveTo>
                    <a:pt x="10082" y="662"/>
                  </a:moveTo>
                  <a:cubicBezTo>
                    <a:pt x="10303" y="662"/>
                    <a:pt x="10461" y="820"/>
                    <a:pt x="10461" y="1009"/>
                  </a:cubicBezTo>
                  <a:cubicBezTo>
                    <a:pt x="10461" y="1198"/>
                    <a:pt x="10303" y="1356"/>
                    <a:pt x="10082" y="1356"/>
                  </a:cubicBezTo>
                  <a:cubicBezTo>
                    <a:pt x="9893" y="1356"/>
                    <a:pt x="9736" y="1198"/>
                    <a:pt x="9736" y="1009"/>
                  </a:cubicBezTo>
                  <a:cubicBezTo>
                    <a:pt x="9767" y="820"/>
                    <a:pt x="9893" y="662"/>
                    <a:pt x="10082" y="662"/>
                  </a:cubicBezTo>
                  <a:close/>
                  <a:moveTo>
                    <a:pt x="1041" y="1"/>
                  </a:moveTo>
                  <a:cubicBezTo>
                    <a:pt x="442" y="1"/>
                    <a:pt x="1" y="442"/>
                    <a:pt x="1" y="1009"/>
                  </a:cubicBezTo>
                  <a:lnTo>
                    <a:pt x="1" y="4475"/>
                  </a:lnTo>
                  <a:cubicBezTo>
                    <a:pt x="1" y="5073"/>
                    <a:pt x="473" y="5514"/>
                    <a:pt x="1041" y="5514"/>
                  </a:cubicBezTo>
                  <a:lnTo>
                    <a:pt x="2112" y="5514"/>
                  </a:lnTo>
                  <a:lnTo>
                    <a:pt x="2112" y="2395"/>
                  </a:lnTo>
                  <a:cubicBezTo>
                    <a:pt x="2112" y="2206"/>
                    <a:pt x="2269" y="2049"/>
                    <a:pt x="2458" y="2049"/>
                  </a:cubicBezTo>
                  <a:lnTo>
                    <a:pt x="9421" y="2049"/>
                  </a:lnTo>
                  <a:cubicBezTo>
                    <a:pt x="9610" y="2049"/>
                    <a:pt x="9767" y="2206"/>
                    <a:pt x="9767" y="2395"/>
                  </a:cubicBezTo>
                  <a:lnTo>
                    <a:pt x="9767" y="5514"/>
                  </a:lnTo>
                  <a:lnTo>
                    <a:pt x="10807" y="5514"/>
                  </a:lnTo>
                  <a:cubicBezTo>
                    <a:pt x="11406" y="5514"/>
                    <a:pt x="11815" y="5042"/>
                    <a:pt x="11815" y="4475"/>
                  </a:cubicBezTo>
                  <a:lnTo>
                    <a:pt x="11815" y="1009"/>
                  </a:lnTo>
                  <a:cubicBezTo>
                    <a:pt x="11815" y="410"/>
                    <a:pt x="11343" y="1"/>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0" name="Google Shape;6940;p72"/>
          <p:cNvGrpSpPr/>
          <p:nvPr/>
        </p:nvGrpSpPr>
        <p:grpSpPr>
          <a:xfrm>
            <a:off x="5762634" y="3189872"/>
            <a:ext cx="353802" cy="327739"/>
            <a:chOff x="4266025" y="3609275"/>
            <a:chExt cx="299325" cy="277275"/>
          </a:xfrm>
        </p:grpSpPr>
        <p:sp>
          <p:nvSpPr>
            <p:cNvPr id="6941" name="Google Shape;6941;p72"/>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72"/>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3" name="Google Shape;6943;p72"/>
          <p:cNvGrpSpPr/>
          <p:nvPr/>
        </p:nvGrpSpPr>
        <p:grpSpPr>
          <a:xfrm>
            <a:off x="5763092" y="3655259"/>
            <a:ext cx="352886" cy="349133"/>
            <a:chOff x="4263650" y="3963700"/>
            <a:chExt cx="298550" cy="295375"/>
          </a:xfrm>
        </p:grpSpPr>
        <p:sp>
          <p:nvSpPr>
            <p:cNvPr id="6944" name="Google Shape;6944;p72"/>
            <p:cNvSpPr/>
            <p:nvPr/>
          </p:nvSpPr>
          <p:spPr>
            <a:xfrm>
              <a:off x="4384950" y="3963700"/>
              <a:ext cx="53575" cy="51225"/>
            </a:xfrm>
            <a:custGeom>
              <a:avLst/>
              <a:gdLst/>
              <a:ahLst/>
              <a:cxnLst/>
              <a:rect l="l" t="t" r="r" b="b"/>
              <a:pathLst>
                <a:path w="2143" h="2049" extrusionOk="0">
                  <a:moveTo>
                    <a:pt x="1072" y="1"/>
                  </a:moveTo>
                  <a:cubicBezTo>
                    <a:pt x="473" y="1"/>
                    <a:pt x="1" y="473"/>
                    <a:pt x="1" y="1040"/>
                  </a:cubicBezTo>
                  <a:cubicBezTo>
                    <a:pt x="1" y="1607"/>
                    <a:pt x="473" y="2048"/>
                    <a:pt x="1072" y="2048"/>
                  </a:cubicBezTo>
                  <a:cubicBezTo>
                    <a:pt x="1670" y="2048"/>
                    <a:pt x="2143" y="1576"/>
                    <a:pt x="2143" y="1040"/>
                  </a:cubicBezTo>
                  <a:cubicBezTo>
                    <a:pt x="2143" y="442"/>
                    <a:pt x="1670"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72"/>
            <p:cNvSpPr/>
            <p:nvPr/>
          </p:nvSpPr>
          <p:spPr>
            <a:xfrm>
              <a:off x="43156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607" y="2048"/>
                    <a:pt x="2048" y="1576"/>
                    <a:pt x="2048" y="1040"/>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72"/>
            <p:cNvSpPr/>
            <p:nvPr/>
          </p:nvSpPr>
          <p:spPr>
            <a:xfrm>
              <a:off x="44558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72"/>
            <p:cNvSpPr/>
            <p:nvPr/>
          </p:nvSpPr>
          <p:spPr>
            <a:xfrm>
              <a:off x="4263650" y="4085000"/>
              <a:ext cx="298550" cy="122100"/>
            </a:xfrm>
            <a:custGeom>
              <a:avLst/>
              <a:gdLst/>
              <a:ahLst/>
              <a:cxnLst/>
              <a:rect l="l" t="t" r="r" b="b"/>
              <a:pathLst>
                <a:path w="11942" h="4884" extrusionOk="0">
                  <a:moveTo>
                    <a:pt x="1545" y="0"/>
                  </a:moveTo>
                  <a:cubicBezTo>
                    <a:pt x="1041" y="0"/>
                    <a:pt x="599" y="347"/>
                    <a:pt x="505" y="851"/>
                  </a:cubicBezTo>
                  <a:lnTo>
                    <a:pt x="64" y="3655"/>
                  </a:lnTo>
                  <a:cubicBezTo>
                    <a:pt x="1" y="3970"/>
                    <a:pt x="95" y="4253"/>
                    <a:pt x="284" y="4474"/>
                  </a:cubicBezTo>
                  <a:cubicBezTo>
                    <a:pt x="410" y="4631"/>
                    <a:pt x="599" y="4757"/>
                    <a:pt x="788" y="4789"/>
                  </a:cubicBezTo>
                  <a:cubicBezTo>
                    <a:pt x="1009" y="4442"/>
                    <a:pt x="1324" y="4127"/>
                    <a:pt x="1639" y="3938"/>
                  </a:cubicBezTo>
                  <a:cubicBezTo>
                    <a:pt x="1513" y="3686"/>
                    <a:pt x="1419" y="3434"/>
                    <a:pt x="1419" y="3151"/>
                  </a:cubicBezTo>
                  <a:cubicBezTo>
                    <a:pt x="1419" y="2206"/>
                    <a:pt x="2206" y="1418"/>
                    <a:pt x="3151" y="1418"/>
                  </a:cubicBezTo>
                  <a:cubicBezTo>
                    <a:pt x="4097" y="1418"/>
                    <a:pt x="4884" y="2206"/>
                    <a:pt x="4884" y="3151"/>
                  </a:cubicBezTo>
                  <a:cubicBezTo>
                    <a:pt x="4884" y="3434"/>
                    <a:pt x="4821" y="3686"/>
                    <a:pt x="4695" y="3938"/>
                  </a:cubicBezTo>
                  <a:cubicBezTo>
                    <a:pt x="5042" y="4159"/>
                    <a:pt x="5325" y="4474"/>
                    <a:pt x="5577" y="4883"/>
                  </a:cubicBezTo>
                  <a:lnTo>
                    <a:pt x="6396" y="4883"/>
                  </a:lnTo>
                  <a:cubicBezTo>
                    <a:pt x="6585" y="4537"/>
                    <a:pt x="6900" y="4159"/>
                    <a:pt x="7247" y="3938"/>
                  </a:cubicBezTo>
                  <a:cubicBezTo>
                    <a:pt x="7152" y="3686"/>
                    <a:pt x="7058" y="3434"/>
                    <a:pt x="7058" y="3151"/>
                  </a:cubicBezTo>
                  <a:cubicBezTo>
                    <a:pt x="7058" y="2206"/>
                    <a:pt x="7846" y="1418"/>
                    <a:pt x="8791" y="1418"/>
                  </a:cubicBezTo>
                  <a:cubicBezTo>
                    <a:pt x="9736" y="1418"/>
                    <a:pt x="10524" y="2206"/>
                    <a:pt x="10524" y="3151"/>
                  </a:cubicBezTo>
                  <a:cubicBezTo>
                    <a:pt x="10524" y="3434"/>
                    <a:pt x="10461" y="3686"/>
                    <a:pt x="10334" y="3938"/>
                  </a:cubicBezTo>
                  <a:cubicBezTo>
                    <a:pt x="10681" y="4159"/>
                    <a:pt x="10965" y="4442"/>
                    <a:pt x="11154" y="4789"/>
                  </a:cubicBezTo>
                  <a:cubicBezTo>
                    <a:pt x="11343" y="4757"/>
                    <a:pt x="11563" y="4631"/>
                    <a:pt x="11658" y="4474"/>
                  </a:cubicBezTo>
                  <a:cubicBezTo>
                    <a:pt x="11878" y="4253"/>
                    <a:pt x="11941" y="3938"/>
                    <a:pt x="11910" y="3655"/>
                  </a:cubicBezTo>
                  <a:lnTo>
                    <a:pt x="11343" y="851"/>
                  </a:lnTo>
                  <a:cubicBezTo>
                    <a:pt x="11280" y="347"/>
                    <a:pt x="10839" y="0"/>
                    <a:pt x="103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2"/>
            <p:cNvSpPr/>
            <p:nvPr/>
          </p:nvSpPr>
          <p:spPr>
            <a:xfrm>
              <a:off x="4431425" y="4196825"/>
              <a:ext cx="104000" cy="62250"/>
            </a:xfrm>
            <a:custGeom>
              <a:avLst/>
              <a:gdLst/>
              <a:ahLst/>
              <a:cxnLst/>
              <a:rect l="l" t="t" r="r" b="b"/>
              <a:pathLst>
                <a:path w="4160" h="2490" extrusionOk="0">
                  <a:moveTo>
                    <a:pt x="977" y="1"/>
                  </a:moveTo>
                  <a:cubicBezTo>
                    <a:pt x="536" y="284"/>
                    <a:pt x="189" y="694"/>
                    <a:pt x="63" y="1198"/>
                  </a:cubicBezTo>
                  <a:cubicBezTo>
                    <a:pt x="32" y="1387"/>
                    <a:pt x="0" y="1576"/>
                    <a:pt x="0" y="1797"/>
                  </a:cubicBezTo>
                  <a:lnTo>
                    <a:pt x="0" y="2143"/>
                  </a:lnTo>
                  <a:cubicBezTo>
                    <a:pt x="0" y="2332"/>
                    <a:pt x="158" y="2490"/>
                    <a:pt x="347" y="2490"/>
                  </a:cubicBezTo>
                  <a:lnTo>
                    <a:pt x="3813" y="2490"/>
                  </a:lnTo>
                  <a:cubicBezTo>
                    <a:pt x="4002" y="2490"/>
                    <a:pt x="4159" y="2332"/>
                    <a:pt x="4159" y="2143"/>
                  </a:cubicBezTo>
                  <a:lnTo>
                    <a:pt x="4159" y="1797"/>
                  </a:lnTo>
                  <a:cubicBezTo>
                    <a:pt x="4096" y="1576"/>
                    <a:pt x="4065" y="1356"/>
                    <a:pt x="4002" y="1198"/>
                  </a:cubicBezTo>
                  <a:cubicBezTo>
                    <a:pt x="3844" y="694"/>
                    <a:pt x="3529" y="284"/>
                    <a:pt x="3119" y="1"/>
                  </a:cubicBezTo>
                  <a:cubicBezTo>
                    <a:pt x="2804" y="253"/>
                    <a:pt x="2426" y="410"/>
                    <a:pt x="2048" y="410"/>
                  </a:cubicBezTo>
                  <a:cubicBezTo>
                    <a:pt x="1639" y="410"/>
                    <a:pt x="1261" y="253"/>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72"/>
            <p:cNvSpPr/>
            <p:nvPr/>
          </p:nvSpPr>
          <p:spPr>
            <a:xfrm>
              <a:off x="4359750" y="4022775"/>
              <a:ext cx="104775" cy="44125"/>
            </a:xfrm>
            <a:custGeom>
              <a:avLst/>
              <a:gdLst/>
              <a:ahLst/>
              <a:cxnLst/>
              <a:rect l="l" t="t" r="r" b="b"/>
              <a:pathLst>
                <a:path w="4191" h="1765" extrusionOk="0">
                  <a:moveTo>
                    <a:pt x="1009" y="0"/>
                  </a:moveTo>
                  <a:cubicBezTo>
                    <a:pt x="379" y="347"/>
                    <a:pt x="0" y="1040"/>
                    <a:pt x="0" y="1765"/>
                  </a:cubicBezTo>
                  <a:lnTo>
                    <a:pt x="4191" y="1765"/>
                  </a:lnTo>
                  <a:cubicBezTo>
                    <a:pt x="4191" y="1040"/>
                    <a:pt x="3813" y="347"/>
                    <a:pt x="3214" y="0"/>
                  </a:cubicBezTo>
                  <a:cubicBezTo>
                    <a:pt x="2899" y="252"/>
                    <a:pt x="2521" y="378"/>
                    <a:pt x="2111" y="378"/>
                  </a:cubicBezTo>
                  <a:cubicBezTo>
                    <a:pt x="1733" y="378"/>
                    <a:pt x="1324" y="252"/>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72"/>
            <p:cNvSpPr/>
            <p:nvPr/>
          </p:nvSpPr>
          <p:spPr>
            <a:xfrm>
              <a:off x="4291225" y="4196825"/>
              <a:ext cx="102425" cy="62250"/>
            </a:xfrm>
            <a:custGeom>
              <a:avLst/>
              <a:gdLst/>
              <a:ahLst/>
              <a:cxnLst/>
              <a:rect l="l" t="t" r="r" b="b"/>
              <a:pathLst>
                <a:path w="4097" h="2490" extrusionOk="0">
                  <a:moveTo>
                    <a:pt x="1009" y="1"/>
                  </a:moveTo>
                  <a:cubicBezTo>
                    <a:pt x="568" y="284"/>
                    <a:pt x="221" y="694"/>
                    <a:pt x="95" y="1198"/>
                  </a:cubicBezTo>
                  <a:cubicBezTo>
                    <a:pt x="64" y="1387"/>
                    <a:pt x="1" y="1576"/>
                    <a:pt x="1" y="1797"/>
                  </a:cubicBezTo>
                  <a:lnTo>
                    <a:pt x="1" y="2143"/>
                  </a:lnTo>
                  <a:cubicBezTo>
                    <a:pt x="1" y="2332"/>
                    <a:pt x="158" y="2490"/>
                    <a:pt x="379" y="2490"/>
                  </a:cubicBezTo>
                  <a:lnTo>
                    <a:pt x="3844" y="2490"/>
                  </a:lnTo>
                  <a:cubicBezTo>
                    <a:pt x="3939" y="2490"/>
                    <a:pt x="4096" y="2332"/>
                    <a:pt x="4096" y="2143"/>
                  </a:cubicBezTo>
                  <a:lnTo>
                    <a:pt x="4096" y="1797"/>
                  </a:lnTo>
                  <a:cubicBezTo>
                    <a:pt x="4096" y="1576"/>
                    <a:pt x="4065" y="1356"/>
                    <a:pt x="4033" y="1198"/>
                  </a:cubicBezTo>
                  <a:cubicBezTo>
                    <a:pt x="3876" y="694"/>
                    <a:pt x="3561" y="284"/>
                    <a:pt x="3120" y="1"/>
                  </a:cubicBezTo>
                  <a:cubicBezTo>
                    <a:pt x="2804" y="253"/>
                    <a:pt x="2458" y="410"/>
                    <a:pt x="2048" y="410"/>
                  </a:cubicBezTo>
                  <a:cubicBezTo>
                    <a:pt x="1670" y="410"/>
                    <a:pt x="1261" y="253"/>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1" name="Google Shape;6951;p72"/>
          <p:cNvGrpSpPr/>
          <p:nvPr/>
        </p:nvGrpSpPr>
        <p:grpSpPr>
          <a:xfrm>
            <a:off x="8041429" y="2730711"/>
            <a:ext cx="226264" cy="350079"/>
            <a:chOff x="6164975" y="3211525"/>
            <a:chExt cx="191425" cy="296175"/>
          </a:xfrm>
        </p:grpSpPr>
        <p:sp>
          <p:nvSpPr>
            <p:cNvPr id="6952" name="Google Shape;6952;p72"/>
            <p:cNvSpPr/>
            <p:nvPr/>
          </p:nvSpPr>
          <p:spPr>
            <a:xfrm>
              <a:off x="6269750" y="3371400"/>
              <a:ext cx="68525" cy="84300"/>
            </a:xfrm>
            <a:custGeom>
              <a:avLst/>
              <a:gdLst/>
              <a:ahLst/>
              <a:cxnLst/>
              <a:rect l="l" t="t" r="r" b="b"/>
              <a:pathLst>
                <a:path w="2741" h="3372" extrusionOk="0">
                  <a:moveTo>
                    <a:pt x="1670" y="1"/>
                  </a:moveTo>
                  <a:cubicBezTo>
                    <a:pt x="1166" y="316"/>
                    <a:pt x="599" y="505"/>
                    <a:pt x="0" y="568"/>
                  </a:cubicBezTo>
                  <a:lnTo>
                    <a:pt x="0" y="1482"/>
                  </a:lnTo>
                  <a:lnTo>
                    <a:pt x="1890" y="3372"/>
                  </a:lnTo>
                  <a:lnTo>
                    <a:pt x="2741" y="3372"/>
                  </a:lnTo>
                  <a:lnTo>
                    <a:pt x="2741" y="3340"/>
                  </a:lnTo>
                  <a:lnTo>
                    <a:pt x="2741" y="2301"/>
                  </a:lnTo>
                  <a:cubicBezTo>
                    <a:pt x="2741" y="1356"/>
                    <a:pt x="2300" y="536"/>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72"/>
            <p:cNvSpPr/>
            <p:nvPr/>
          </p:nvSpPr>
          <p:spPr>
            <a:xfrm>
              <a:off x="6228775" y="3424175"/>
              <a:ext cx="62250" cy="30750"/>
            </a:xfrm>
            <a:custGeom>
              <a:avLst/>
              <a:gdLst/>
              <a:ahLst/>
              <a:cxnLst/>
              <a:rect l="l" t="t" r="r" b="b"/>
              <a:pathLst>
                <a:path w="2490" h="1230" extrusionOk="0">
                  <a:moveTo>
                    <a:pt x="1229" y="1"/>
                  </a:moveTo>
                  <a:lnTo>
                    <a:pt x="1" y="1229"/>
                  </a:lnTo>
                  <a:lnTo>
                    <a:pt x="2490" y="1229"/>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2"/>
            <p:cNvSpPr/>
            <p:nvPr/>
          </p:nvSpPr>
          <p:spPr>
            <a:xfrm>
              <a:off x="6182300" y="3369825"/>
              <a:ext cx="69350" cy="85100"/>
            </a:xfrm>
            <a:custGeom>
              <a:avLst/>
              <a:gdLst/>
              <a:ahLst/>
              <a:cxnLst/>
              <a:rect l="l" t="t" r="r" b="b"/>
              <a:pathLst>
                <a:path w="2774" h="3404" extrusionOk="0">
                  <a:moveTo>
                    <a:pt x="1072" y="1"/>
                  </a:moveTo>
                  <a:cubicBezTo>
                    <a:pt x="411" y="599"/>
                    <a:pt x="1" y="1419"/>
                    <a:pt x="1" y="2332"/>
                  </a:cubicBezTo>
                  <a:lnTo>
                    <a:pt x="1" y="3403"/>
                  </a:lnTo>
                  <a:lnTo>
                    <a:pt x="883" y="3403"/>
                  </a:lnTo>
                  <a:lnTo>
                    <a:pt x="2773" y="1513"/>
                  </a:lnTo>
                  <a:lnTo>
                    <a:pt x="2773" y="599"/>
                  </a:lnTo>
                  <a:cubicBezTo>
                    <a:pt x="2143" y="568"/>
                    <a:pt x="1576" y="316"/>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2"/>
            <p:cNvSpPr/>
            <p:nvPr/>
          </p:nvSpPr>
          <p:spPr>
            <a:xfrm>
              <a:off x="6164975" y="3472225"/>
              <a:ext cx="191425" cy="35475"/>
            </a:xfrm>
            <a:custGeom>
              <a:avLst/>
              <a:gdLst/>
              <a:ahLst/>
              <a:cxnLst/>
              <a:rect l="l" t="t" r="r" b="b"/>
              <a:pathLst>
                <a:path w="7657" h="1419" extrusionOk="0">
                  <a:moveTo>
                    <a:pt x="725" y="1"/>
                  </a:moveTo>
                  <a:cubicBezTo>
                    <a:pt x="316" y="1"/>
                    <a:pt x="1" y="316"/>
                    <a:pt x="1" y="725"/>
                  </a:cubicBezTo>
                  <a:cubicBezTo>
                    <a:pt x="1" y="1103"/>
                    <a:pt x="316" y="1418"/>
                    <a:pt x="725" y="1418"/>
                  </a:cubicBezTo>
                  <a:lnTo>
                    <a:pt x="6932" y="1418"/>
                  </a:lnTo>
                  <a:cubicBezTo>
                    <a:pt x="7341" y="1418"/>
                    <a:pt x="7657" y="1103"/>
                    <a:pt x="7657" y="725"/>
                  </a:cubicBezTo>
                  <a:cubicBezTo>
                    <a:pt x="7594" y="316"/>
                    <a:pt x="7278" y="1"/>
                    <a:pt x="69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2"/>
            <p:cNvSpPr/>
            <p:nvPr/>
          </p:nvSpPr>
          <p:spPr>
            <a:xfrm>
              <a:off x="6164975" y="3211525"/>
              <a:ext cx="191425" cy="35475"/>
            </a:xfrm>
            <a:custGeom>
              <a:avLst/>
              <a:gdLst/>
              <a:ahLst/>
              <a:cxnLst/>
              <a:rect l="l" t="t" r="r" b="b"/>
              <a:pathLst>
                <a:path w="7657" h="1419" extrusionOk="0">
                  <a:moveTo>
                    <a:pt x="725" y="0"/>
                  </a:moveTo>
                  <a:cubicBezTo>
                    <a:pt x="316" y="0"/>
                    <a:pt x="1" y="315"/>
                    <a:pt x="1" y="725"/>
                  </a:cubicBezTo>
                  <a:cubicBezTo>
                    <a:pt x="1" y="1103"/>
                    <a:pt x="316" y="1418"/>
                    <a:pt x="725" y="1418"/>
                  </a:cubicBezTo>
                  <a:lnTo>
                    <a:pt x="6932" y="1418"/>
                  </a:lnTo>
                  <a:cubicBezTo>
                    <a:pt x="7341" y="1418"/>
                    <a:pt x="7657" y="1103"/>
                    <a:pt x="7657" y="725"/>
                  </a:cubicBezTo>
                  <a:cubicBezTo>
                    <a:pt x="7594" y="284"/>
                    <a:pt x="7278" y="0"/>
                    <a:pt x="69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2"/>
            <p:cNvSpPr/>
            <p:nvPr/>
          </p:nvSpPr>
          <p:spPr>
            <a:xfrm>
              <a:off x="6183100" y="3262725"/>
              <a:ext cx="155175" cy="35650"/>
            </a:xfrm>
            <a:custGeom>
              <a:avLst/>
              <a:gdLst/>
              <a:ahLst/>
              <a:cxnLst/>
              <a:rect l="l" t="t" r="r" b="b"/>
              <a:pathLst>
                <a:path w="6207" h="1426" extrusionOk="0">
                  <a:moveTo>
                    <a:pt x="0" y="0"/>
                  </a:moveTo>
                  <a:lnTo>
                    <a:pt x="0" y="441"/>
                  </a:lnTo>
                  <a:lnTo>
                    <a:pt x="568" y="788"/>
                  </a:lnTo>
                  <a:cubicBezTo>
                    <a:pt x="1355" y="1213"/>
                    <a:pt x="2237" y="1426"/>
                    <a:pt x="3112" y="1426"/>
                  </a:cubicBezTo>
                  <a:cubicBezTo>
                    <a:pt x="3986" y="1426"/>
                    <a:pt x="4852" y="1213"/>
                    <a:pt x="5608" y="788"/>
                  </a:cubicBezTo>
                  <a:lnTo>
                    <a:pt x="6207" y="441"/>
                  </a:lnTo>
                  <a:lnTo>
                    <a:pt x="6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2"/>
            <p:cNvSpPr/>
            <p:nvPr/>
          </p:nvSpPr>
          <p:spPr>
            <a:xfrm>
              <a:off x="6181525" y="3294225"/>
              <a:ext cx="155975" cy="74050"/>
            </a:xfrm>
            <a:custGeom>
              <a:avLst/>
              <a:gdLst/>
              <a:ahLst/>
              <a:cxnLst/>
              <a:rect l="l" t="t" r="r" b="b"/>
              <a:pathLst>
                <a:path w="6239" h="2962" extrusionOk="0">
                  <a:moveTo>
                    <a:pt x="0" y="0"/>
                  </a:moveTo>
                  <a:cubicBezTo>
                    <a:pt x="126" y="1607"/>
                    <a:pt x="1481" y="2962"/>
                    <a:pt x="3119" y="2962"/>
                  </a:cubicBezTo>
                  <a:cubicBezTo>
                    <a:pt x="4758" y="2962"/>
                    <a:pt x="6112" y="1607"/>
                    <a:pt x="6238" y="0"/>
                  </a:cubicBezTo>
                  <a:lnTo>
                    <a:pt x="6238" y="0"/>
                  </a:lnTo>
                  <a:lnTo>
                    <a:pt x="5986" y="126"/>
                  </a:lnTo>
                  <a:cubicBezTo>
                    <a:pt x="5136" y="631"/>
                    <a:pt x="4096" y="883"/>
                    <a:pt x="3119" y="883"/>
                  </a:cubicBezTo>
                  <a:cubicBezTo>
                    <a:pt x="2143" y="883"/>
                    <a:pt x="1166" y="631"/>
                    <a:pt x="252" y="126"/>
                  </a:cubicBez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9" name="Google Shape;6959;p72"/>
          <p:cNvGrpSpPr/>
          <p:nvPr/>
        </p:nvGrpSpPr>
        <p:grpSpPr>
          <a:xfrm>
            <a:off x="5303466" y="1378987"/>
            <a:ext cx="352886" cy="350049"/>
            <a:chOff x="946175" y="3253275"/>
            <a:chExt cx="298550" cy="296150"/>
          </a:xfrm>
        </p:grpSpPr>
        <p:sp>
          <p:nvSpPr>
            <p:cNvPr id="6960" name="Google Shape;6960;p72"/>
            <p:cNvSpPr/>
            <p:nvPr/>
          </p:nvSpPr>
          <p:spPr>
            <a:xfrm>
              <a:off x="946175" y="3253275"/>
              <a:ext cx="209550" cy="261500"/>
            </a:xfrm>
            <a:custGeom>
              <a:avLst/>
              <a:gdLst/>
              <a:ahLst/>
              <a:cxnLst/>
              <a:rect l="l" t="t" r="r" b="b"/>
              <a:pathLst>
                <a:path w="8382" h="10460" extrusionOk="0">
                  <a:moveTo>
                    <a:pt x="348" y="0"/>
                  </a:moveTo>
                  <a:cubicBezTo>
                    <a:pt x="158" y="0"/>
                    <a:pt x="1" y="158"/>
                    <a:pt x="1" y="347"/>
                  </a:cubicBezTo>
                  <a:lnTo>
                    <a:pt x="1" y="10113"/>
                  </a:lnTo>
                  <a:cubicBezTo>
                    <a:pt x="1" y="10302"/>
                    <a:pt x="158" y="10460"/>
                    <a:pt x="348" y="10460"/>
                  </a:cubicBezTo>
                  <a:lnTo>
                    <a:pt x="694" y="10460"/>
                  </a:lnTo>
                  <a:lnTo>
                    <a:pt x="694" y="3875"/>
                  </a:lnTo>
                  <a:cubicBezTo>
                    <a:pt x="694" y="3623"/>
                    <a:pt x="820" y="3340"/>
                    <a:pt x="1009" y="3151"/>
                  </a:cubicBezTo>
                  <a:lnTo>
                    <a:pt x="3151" y="1008"/>
                  </a:lnTo>
                  <a:cubicBezTo>
                    <a:pt x="3340" y="819"/>
                    <a:pt x="3624" y="693"/>
                    <a:pt x="3908" y="693"/>
                  </a:cubicBezTo>
                  <a:lnTo>
                    <a:pt x="8381" y="693"/>
                  </a:lnTo>
                  <a:lnTo>
                    <a:pt x="8381" y="347"/>
                  </a:lnTo>
                  <a:cubicBezTo>
                    <a:pt x="8381" y="158"/>
                    <a:pt x="8224"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72"/>
            <p:cNvSpPr/>
            <p:nvPr/>
          </p:nvSpPr>
          <p:spPr>
            <a:xfrm>
              <a:off x="986350" y="3293425"/>
              <a:ext cx="47300" cy="48075"/>
            </a:xfrm>
            <a:custGeom>
              <a:avLst/>
              <a:gdLst/>
              <a:ahLst/>
              <a:cxnLst/>
              <a:rect l="l" t="t" r="r" b="b"/>
              <a:pathLst>
                <a:path w="1892" h="1923" extrusionOk="0">
                  <a:moveTo>
                    <a:pt x="1891" y="1"/>
                  </a:moveTo>
                  <a:lnTo>
                    <a:pt x="1" y="1923"/>
                  </a:lnTo>
                  <a:lnTo>
                    <a:pt x="1891" y="1923"/>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72"/>
            <p:cNvSpPr/>
            <p:nvPr/>
          </p:nvSpPr>
          <p:spPr>
            <a:xfrm>
              <a:off x="1051725" y="3359600"/>
              <a:ext cx="122100" cy="121325"/>
            </a:xfrm>
            <a:custGeom>
              <a:avLst/>
              <a:gdLst/>
              <a:ahLst/>
              <a:cxnLst/>
              <a:rect l="l" t="t" r="r" b="b"/>
              <a:pathLst>
                <a:path w="4884" h="4853" extrusionOk="0">
                  <a:moveTo>
                    <a:pt x="2427" y="0"/>
                  </a:moveTo>
                  <a:cubicBezTo>
                    <a:pt x="1103" y="0"/>
                    <a:pt x="1" y="1103"/>
                    <a:pt x="1" y="2426"/>
                  </a:cubicBezTo>
                  <a:cubicBezTo>
                    <a:pt x="1" y="3749"/>
                    <a:pt x="1103" y="4852"/>
                    <a:pt x="2427" y="4852"/>
                  </a:cubicBezTo>
                  <a:cubicBezTo>
                    <a:pt x="3781" y="4852"/>
                    <a:pt x="4884" y="3749"/>
                    <a:pt x="4884" y="2426"/>
                  </a:cubicBez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2"/>
            <p:cNvSpPr/>
            <p:nvPr/>
          </p:nvSpPr>
          <p:spPr>
            <a:xfrm>
              <a:off x="980050" y="3289500"/>
              <a:ext cx="192200" cy="242600"/>
            </a:xfrm>
            <a:custGeom>
              <a:avLst/>
              <a:gdLst/>
              <a:ahLst/>
              <a:cxnLst/>
              <a:rect l="l" t="t" r="r" b="b"/>
              <a:pathLst>
                <a:path w="7688" h="9704" extrusionOk="0">
                  <a:moveTo>
                    <a:pt x="2868" y="0"/>
                  </a:moveTo>
                  <a:lnTo>
                    <a:pt x="2868" y="2426"/>
                  </a:lnTo>
                  <a:cubicBezTo>
                    <a:pt x="2868" y="2647"/>
                    <a:pt x="2679" y="2804"/>
                    <a:pt x="2490" y="2804"/>
                  </a:cubicBezTo>
                  <a:lnTo>
                    <a:pt x="1" y="2804"/>
                  </a:lnTo>
                  <a:lnTo>
                    <a:pt x="1" y="9357"/>
                  </a:lnTo>
                  <a:cubicBezTo>
                    <a:pt x="1" y="9578"/>
                    <a:pt x="190" y="9704"/>
                    <a:pt x="379" y="9704"/>
                  </a:cubicBezTo>
                  <a:lnTo>
                    <a:pt x="7341" y="9704"/>
                  </a:lnTo>
                  <a:cubicBezTo>
                    <a:pt x="7467" y="9704"/>
                    <a:pt x="7593" y="9641"/>
                    <a:pt x="7625" y="9578"/>
                  </a:cubicBezTo>
                  <a:lnTo>
                    <a:pt x="6239" y="8192"/>
                  </a:lnTo>
                  <a:cubicBezTo>
                    <a:pt x="5924" y="8318"/>
                    <a:pt x="5609" y="8349"/>
                    <a:pt x="5262" y="8349"/>
                  </a:cubicBezTo>
                  <a:cubicBezTo>
                    <a:pt x="3529" y="8349"/>
                    <a:pt x="2143" y="6931"/>
                    <a:pt x="2143" y="5230"/>
                  </a:cubicBezTo>
                  <a:cubicBezTo>
                    <a:pt x="2143" y="3529"/>
                    <a:pt x="3561" y="2111"/>
                    <a:pt x="5262" y="2111"/>
                  </a:cubicBezTo>
                  <a:cubicBezTo>
                    <a:pt x="6239" y="2111"/>
                    <a:pt x="7121" y="2584"/>
                    <a:pt x="7688" y="3308"/>
                  </a:cubicBezTo>
                  <a:lnTo>
                    <a:pt x="7688" y="347"/>
                  </a:lnTo>
                  <a:cubicBezTo>
                    <a:pt x="7688"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2"/>
            <p:cNvSpPr/>
            <p:nvPr/>
          </p:nvSpPr>
          <p:spPr>
            <a:xfrm>
              <a:off x="1154125" y="3460400"/>
              <a:ext cx="90600" cy="89025"/>
            </a:xfrm>
            <a:custGeom>
              <a:avLst/>
              <a:gdLst/>
              <a:ahLst/>
              <a:cxnLst/>
              <a:rect l="l" t="t" r="r" b="b"/>
              <a:pathLst>
                <a:path w="3624" h="3561" extrusionOk="0">
                  <a:moveTo>
                    <a:pt x="977" y="1"/>
                  </a:moveTo>
                  <a:cubicBezTo>
                    <a:pt x="693" y="410"/>
                    <a:pt x="378" y="757"/>
                    <a:pt x="0" y="1009"/>
                  </a:cubicBezTo>
                  <a:lnTo>
                    <a:pt x="2363" y="3372"/>
                  </a:lnTo>
                  <a:cubicBezTo>
                    <a:pt x="2489" y="3498"/>
                    <a:pt x="2662" y="3561"/>
                    <a:pt x="2840" y="3561"/>
                  </a:cubicBezTo>
                  <a:cubicBezTo>
                    <a:pt x="3017" y="3561"/>
                    <a:pt x="3198" y="3498"/>
                    <a:pt x="3340" y="3372"/>
                  </a:cubicBezTo>
                  <a:cubicBezTo>
                    <a:pt x="3623" y="3088"/>
                    <a:pt x="3623" y="2647"/>
                    <a:pt x="3340" y="2364"/>
                  </a:cubicBezTo>
                  <a:lnTo>
                    <a:pt x="9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65" name="Google Shape;6965;p72"/>
          <p:cNvGrpSpPr/>
          <p:nvPr/>
        </p:nvGrpSpPr>
        <p:grpSpPr>
          <a:xfrm>
            <a:off x="5304397" y="1820951"/>
            <a:ext cx="351024" cy="347301"/>
            <a:chOff x="946175" y="3619500"/>
            <a:chExt cx="296975" cy="293825"/>
          </a:xfrm>
        </p:grpSpPr>
        <p:sp>
          <p:nvSpPr>
            <p:cNvPr id="6966" name="Google Shape;6966;p72"/>
            <p:cNvSpPr/>
            <p:nvPr/>
          </p:nvSpPr>
          <p:spPr>
            <a:xfrm>
              <a:off x="963525" y="3619500"/>
              <a:ext cx="207950" cy="293825"/>
            </a:xfrm>
            <a:custGeom>
              <a:avLst/>
              <a:gdLst/>
              <a:ahLst/>
              <a:cxnLst/>
              <a:rect l="l" t="t" r="r" b="b"/>
              <a:pathLst>
                <a:path w="8318" h="11753" extrusionOk="0">
                  <a:moveTo>
                    <a:pt x="3828" y="2742"/>
                  </a:moveTo>
                  <a:cubicBezTo>
                    <a:pt x="3915" y="2742"/>
                    <a:pt x="4001" y="2773"/>
                    <a:pt x="4064" y="2836"/>
                  </a:cubicBezTo>
                  <a:cubicBezTo>
                    <a:pt x="4253" y="2994"/>
                    <a:pt x="4253" y="3183"/>
                    <a:pt x="4096" y="3340"/>
                  </a:cubicBezTo>
                  <a:lnTo>
                    <a:pt x="2678" y="4695"/>
                  </a:lnTo>
                  <a:cubicBezTo>
                    <a:pt x="2615" y="4790"/>
                    <a:pt x="2520" y="4821"/>
                    <a:pt x="2457" y="4821"/>
                  </a:cubicBezTo>
                  <a:cubicBezTo>
                    <a:pt x="2363" y="4821"/>
                    <a:pt x="2268" y="4790"/>
                    <a:pt x="2205" y="4695"/>
                  </a:cubicBezTo>
                  <a:lnTo>
                    <a:pt x="1512" y="4002"/>
                  </a:lnTo>
                  <a:cubicBezTo>
                    <a:pt x="1386" y="3876"/>
                    <a:pt x="1386" y="3655"/>
                    <a:pt x="1512" y="3529"/>
                  </a:cubicBezTo>
                  <a:cubicBezTo>
                    <a:pt x="1575" y="3466"/>
                    <a:pt x="1662" y="3435"/>
                    <a:pt x="1749" y="3435"/>
                  </a:cubicBezTo>
                  <a:cubicBezTo>
                    <a:pt x="1835" y="3435"/>
                    <a:pt x="1922" y="3466"/>
                    <a:pt x="1985" y="3529"/>
                  </a:cubicBezTo>
                  <a:lnTo>
                    <a:pt x="2426" y="3971"/>
                  </a:lnTo>
                  <a:lnTo>
                    <a:pt x="3592" y="2836"/>
                  </a:lnTo>
                  <a:cubicBezTo>
                    <a:pt x="3655" y="2773"/>
                    <a:pt x="3741" y="2742"/>
                    <a:pt x="3828" y="2742"/>
                  </a:cubicBezTo>
                  <a:close/>
                  <a:moveTo>
                    <a:pt x="3828" y="4790"/>
                  </a:moveTo>
                  <a:cubicBezTo>
                    <a:pt x="3915" y="4790"/>
                    <a:pt x="4001" y="4821"/>
                    <a:pt x="4064" y="4884"/>
                  </a:cubicBezTo>
                  <a:cubicBezTo>
                    <a:pt x="4253" y="5042"/>
                    <a:pt x="4253" y="5262"/>
                    <a:pt x="4096" y="5388"/>
                  </a:cubicBezTo>
                  <a:lnTo>
                    <a:pt x="2678" y="6774"/>
                  </a:lnTo>
                  <a:cubicBezTo>
                    <a:pt x="2615" y="6837"/>
                    <a:pt x="2520" y="6869"/>
                    <a:pt x="2457" y="6869"/>
                  </a:cubicBezTo>
                  <a:cubicBezTo>
                    <a:pt x="2363" y="6869"/>
                    <a:pt x="2268" y="6837"/>
                    <a:pt x="2205" y="6774"/>
                  </a:cubicBezTo>
                  <a:lnTo>
                    <a:pt x="1512" y="6050"/>
                  </a:lnTo>
                  <a:cubicBezTo>
                    <a:pt x="1386" y="5924"/>
                    <a:pt x="1386" y="5703"/>
                    <a:pt x="1512" y="5577"/>
                  </a:cubicBezTo>
                  <a:cubicBezTo>
                    <a:pt x="1575" y="5514"/>
                    <a:pt x="1662" y="5483"/>
                    <a:pt x="1749" y="5483"/>
                  </a:cubicBezTo>
                  <a:cubicBezTo>
                    <a:pt x="1835" y="5483"/>
                    <a:pt x="1922" y="5514"/>
                    <a:pt x="1985" y="5577"/>
                  </a:cubicBezTo>
                  <a:lnTo>
                    <a:pt x="2426" y="6018"/>
                  </a:lnTo>
                  <a:lnTo>
                    <a:pt x="3592" y="4884"/>
                  </a:lnTo>
                  <a:cubicBezTo>
                    <a:pt x="3655" y="4821"/>
                    <a:pt x="3741" y="4790"/>
                    <a:pt x="3828" y="4790"/>
                  </a:cubicBezTo>
                  <a:close/>
                  <a:moveTo>
                    <a:pt x="3828" y="6869"/>
                  </a:moveTo>
                  <a:cubicBezTo>
                    <a:pt x="3915" y="6869"/>
                    <a:pt x="4001" y="6900"/>
                    <a:pt x="4064" y="6963"/>
                  </a:cubicBezTo>
                  <a:cubicBezTo>
                    <a:pt x="4253" y="7121"/>
                    <a:pt x="4253" y="7342"/>
                    <a:pt x="4096" y="7468"/>
                  </a:cubicBezTo>
                  <a:lnTo>
                    <a:pt x="2678" y="8854"/>
                  </a:lnTo>
                  <a:cubicBezTo>
                    <a:pt x="2615" y="8917"/>
                    <a:pt x="2520" y="8980"/>
                    <a:pt x="2457" y="8980"/>
                  </a:cubicBezTo>
                  <a:cubicBezTo>
                    <a:pt x="2363" y="8980"/>
                    <a:pt x="2268" y="8917"/>
                    <a:pt x="2205" y="8854"/>
                  </a:cubicBezTo>
                  <a:lnTo>
                    <a:pt x="1512" y="8129"/>
                  </a:lnTo>
                  <a:cubicBezTo>
                    <a:pt x="1386" y="8003"/>
                    <a:pt x="1386" y="7783"/>
                    <a:pt x="1512" y="7657"/>
                  </a:cubicBezTo>
                  <a:cubicBezTo>
                    <a:pt x="1575" y="7594"/>
                    <a:pt x="1662" y="7562"/>
                    <a:pt x="1749" y="7562"/>
                  </a:cubicBezTo>
                  <a:cubicBezTo>
                    <a:pt x="1835" y="7562"/>
                    <a:pt x="1922" y="7594"/>
                    <a:pt x="1985" y="7657"/>
                  </a:cubicBezTo>
                  <a:lnTo>
                    <a:pt x="2426" y="8098"/>
                  </a:lnTo>
                  <a:lnTo>
                    <a:pt x="3592" y="6963"/>
                  </a:lnTo>
                  <a:cubicBezTo>
                    <a:pt x="3655" y="6900"/>
                    <a:pt x="3741" y="6869"/>
                    <a:pt x="3828" y="6869"/>
                  </a:cubicBezTo>
                  <a:close/>
                  <a:moveTo>
                    <a:pt x="347" y="1"/>
                  </a:moveTo>
                  <a:cubicBezTo>
                    <a:pt x="158" y="1"/>
                    <a:pt x="0" y="158"/>
                    <a:pt x="0" y="347"/>
                  </a:cubicBezTo>
                  <a:lnTo>
                    <a:pt x="0" y="9673"/>
                  </a:lnTo>
                  <a:lnTo>
                    <a:pt x="6301" y="9673"/>
                  </a:lnTo>
                  <a:lnTo>
                    <a:pt x="6301" y="10397"/>
                  </a:lnTo>
                  <a:lnTo>
                    <a:pt x="6301" y="10744"/>
                  </a:lnTo>
                  <a:lnTo>
                    <a:pt x="6270" y="10744"/>
                  </a:lnTo>
                  <a:cubicBezTo>
                    <a:pt x="6270" y="11343"/>
                    <a:pt x="6742" y="11752"/>
                    <a:pt x="7278" y="11752"/>
                  </a:cubicBezTo>
                  <a:cubicBezTo>
                    <a:pt x="7876" y="11752"/>
                    <a:pt x="8317" y="11280"/>
                    <a:pt x="8317" y="10744"/>
                  </a:cubicBezTo>
                  <a:lnTo>
                    <a:pt x="8317" y="7972"/>
                  </a:lnTo>
                  <a:lnTo>
                    <a:pt x="7498" y="8822"/>
                  </a:lnTo>
                  <a:lnTo>
                    <a:pt x="5608" y="9547"/>
                  </a:lnTo>
                  <a:cubicBezTo>
                    <a:pt x="5497" y="9576"/>
                    <a:pt x="5390" y="9590"/>
                    <a:pt x="5288" y="9590"/>
                  </a:cubicBezTo>
                  <a:cubicBezTo>
                    <a:pt x="4954" y="9590"/>
                    <a:pt x="4674" y="9441"/>
                    <a:pt x="4505" y="9200"/>
                  </a:cubicBezTo>
                  <a:cubicBezTo>
                    <a:pt x="4316" y="8980"/>
                    <a:pt x="4222" y="8665"/>
                    <a:pt x="4316" y="8255"/>
                  </a:cubicBezTo>
                  <a:lnTo>
                    <a:pt x="5041" y="6365"/>
                  </a:lnTo>
                  <a:lnTo>
                    <a:pt x="8317" y="3088"/>
                  </a:lnTo>
                  <a:lnTo>
                    <a:pt x="8317" y="2773"/>
                  </a:lnTo>
                  <a:lnTo>
                    <a:pt x="5891" y="2773"/>
                  </a:lnTo>
                  <a:cubicBezTo>
                    <a:pt x="5671" y="2773"/>
                    <a:pt x="5513" y="2616"/>
                    <a:pt x="5513" y="2427"/>
                  </a:cubicBezTo>
                  <a:lnTo>
                    <a:pt x="5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2"/>
            <p:cNvSpPr/>
            <p:nvPr/>
          </p:nvSpPr>
          <p:spPr>
            <a:xfrm>
              <a:off x="1185625" y="3688025"/>
              <a:ext cx="57525" cy="55950"/>
            </a:xfrm>
            <a:custGeom>
              <a:avLst/>
              <a:gdLst/>
              <a:ahLst/>
              <a:cxnLst/>
              <a:rect l="l" t="t" r="r" b="b"/>
              <a:pathLst>
                <a:path w="2301" h="2238" extrusionOk="0">
                  <a:moveTo>
                    <a:pt x="1072" y="1"/>
                  </a:moveTo>
                  <a:cubicBezTo>
                    <a:pt x="890" y="1"/>
                    <a:pt x="709" y="64"/>
                    <a:pt x="568" y="190"/>
                  </a:cubicBezTo>
                  <a:lnTo>
                    <a:pt x="0" y="788"/>
                  </a:lnTo>
                  <a:lnTo>
                    <a:pt x="1450" y="2238"/>
                  </a:lnTo>
                  <a:lnTo>
                    <a:pt x="2048" y="1639"/>
                  </a:lnTo>
                  <a:cubicBezTo>
                    <a:pt x="2300" y="1387"/>
                    <a:pt x="2300" y="946"/>
                    <a:pt x="2048" y="662"/>
                  </a:cubicBezTo>
                  <a:lnTo>
                    <a:pt x="1576" y="190"/>
                  </a:lnTo>
                  <a:cubicBezTo>
                    <a:pt x="1434" y="64"/>
                    <a:pt x="125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2"/>
            <p:cNvSpPr/>
            <p:nvPr/>
          </p:nvSpPr>
          <p:spPr>
            <a:xfrm>
              <a:off x="1088075" y="3795925"/>
              <a:ext cx="46375" cy="45025"/>
            </a:xfrm>
            <a:custGeom>
              <a:avLst/>
              <a:gdLst/>
              <a:ahLst/>
              <a:cxnLst/>
              <a:rect l="l" t="t" r="r" b="b"/>
              <a:pathLst>
                <a:path w="1855" h="1801" extrusionOk="0">
                  <a:moveTo>
                    <a:pt x="594" y="1"/>
                  </a:moveTo>
                  <a:lnTo>
                    <a:pt x="59" y="1387"/>
                  </a:lnTo>
                  <a:cubicBezTo>
                    <a:pt x="0" y="1621"/>
                    <a:pt x="186" y="1800"/>
                    <a:pt x="414" y="1800"/>
                  </a:cubicBezTo>
                  <a:cubicBezTo>
                    <a:pt x="432" y="1800"/>
                    <a:pt x="450" y="1799"/>
                    <a:pt x="468" y="1797"/>
                  </a:cubicBezTo>
                  <a:lnTo>
                    <a:pt x="1855" y="1261"/>
                  </a:lnTo>
                  <a:lnTo>
                    <a:pt x="5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2"/>
            <p:cNvSpPr/>
            <p:nvPr/>
          </p:nvSpPr>
          <p:spPr>
            <a:xfrm>
              <a:off x="1112375" y="3720325"/>
              <a:ext cx="97700" cy="97700"/>
            </a:xfrm>
            <a:custGeom>
              <a:avLst/>
              <a:gdLst/>
              <a:ahLst/>
              <a:cxnLst/>
              <a:rect l="l" t="t" r="r" b="b"/>
              <a:pathLst>
                <a:path w="3908" h="3908" extrusionOk="0">
                  <a:moveTo>
                    <a:pt x="2426" y="1"/>
                  </a:moveTo>
                  <a:lnTo>
                    <a:pt x="1" y="2458"/>
                  </a:lnTo>
                  <a:lnTo>
                    <a:pt x="1450" y="3907"/>
                  </a:lnTo>
                  <a:lnTo>
                    <a:pt x="3907" y="1481"/>
                  </a:ln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2"/>
            <p:cNvSpPr/>
            <p:nvPr/>
          </p:nvSpPr>
          <p:spPr>
            <a:xfrm>
              <a:off x="1120250" y="3623450"/>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2"/>
            <p:cNvSpPr/>
            <p:nvPr/>
          </p:nvSpPr>
          <p:spPr>
            <a:xfrm>
              <a:off x="946175" y="3879425"/>
              <a:ext cx="166225" cy="33900"/>
            </a:xfrm>
            <a:custGeom>
              <a:avLst/>
              <a:gdLst/>
              <a:ahLst/>
              <a:cxnLst/>
              <a:rect l="l" t="t" r="r" b="b"/>
              <a:pathLst>
                <a:path w="6649" h="1356" extrusionOk="0">
                  <a:moveTo>
                    <a:pt x="348" y="0"/>
                  </a:moveTo>
                  <a:cubicBezTo>
                    <a:pt x="158" y="0"/>
                    <a:pt x="1" y="190"/>
                    <a:pt x="1" y="347"/>
                  </a:cubicBezTo>
                  <a:lnTo>
                    <a:pt x="1" y="694"/>
                  </a:lnTo>
                  <a:cubicBezTo>
                    <a:pt x="1" y="1040"/>
                    <a:pt x="316" y="1355"/>
                    <a:pt x="694" y="1355"/>
                  </a:cubicBezTo>
                  <a:lnTo>
                    <a:pt x="6649" y="1355"/>
                  </a:lnTo>
                  <a:cubicBezTo>
                    <a:pt x="6428" y="1103"/>
                    <a:pt x="6302" y="725"/>
                    <a:pt x="6302" y="347"/>
                  </a:cubicBezTo>
                  <a:lnTo>
                    <a:pt x="63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2" name="Google Shape;6972;p72"/>
          <p:cNvGrpSpPr/>
          <p:nvPr/>
        </p:nvGrpSpPr>
        <p:grpSpPr>
          <a:xfrm>
            <a:off x="5303939" y="2265585"/>
            <a:ext cx="351940" cy="350995"/>
            <a:chOff x="944600" y="3981825"/>
            <a:chExt cx="297750" cy="296950"/>
          </a:xfrm>
        </p:grpSpPr>
        <p:sp>
          <p:nvSpPr>
            <p:cNvPr id="6973" name="Google Shape;6973;p72"/>
            <p:cNvSpPr/>
            <p:nvPr/>
          </p:nvSpPr>
          <p:spPr>
            <a:xfrm>
              <a:off x="944600" y="3981825"/>
              <a:ext cx="297750" cy="296950"/>
            </a:xfrm>
            <a:custGeom>
              <a:avLst/>
              <a:gdLst/>
              <a:ahLst/>
              <a:cxnLst/>
              <a:rect l="l" t="t" r="r" b="b"/>
              <a:pathLst>
                <a:path w="11910" h="11878" extrusionOk="0">
                  <a:moveTo>
                    <a:pt x="6333" y="1418"/>
                  </a:moveTo>
                  <a:cubicBezTo>
                    <a:pt x="8539" y="1575"/>
                    <a:pt x="10303" y="3340"/>
                    <a:pt x="10461" y="5545"/>
                  </a:cubicBezTo>
                  <a:lnTo>
                    <a:pt x="10146" y="5545"/>
                  </a:lnTo>
                  <a:cubicBezTo>
                    <a:pt x="9957" y="5545"/>
                    <a:pt x="9799" y="5702"/>
                    <a:pt x="9799" y="5892"/>
                  </a:cubicBezTo>
                  <a:cubicBezTo>
                    <a:pt x="9799" y="6081"/>
                    <a:pt x="9957" y="6238"/>
                    <a:pt x="10146" y="6238"/>
                  </a:cubicBezTo>
                  <a:lnTo>
                    <a:pt x="10461" y="6238"/>
                  </a:lnTo>
                  <a:cubicBezTo>
                    <a:pt x="10303" y="8443"/>
                    <a:pt x="8539" y="10239"/>
                    <a:pt x="6333" y="10397"/>
                  </a:cubicBezTo>
                  <a:lnTo>
                    <a:pt x="6333" y="10082"/>
                  </a:lnTo>
                  <a:cubicBezTo>
                    <a:pt x="6333" y="9861"/>
                    <a:pt x="6176" y="9704"/>
                    <a:pt x="5955" y="9704"/>
                  </a:cubicBezTo>
                  <a:cubicBezTo>
                    <a:pt x="5766" y="9704"/>
                    <a:pt x="5609" y="9861"/>
                    <a:pt x="5609" y="10082"/>
                  </a:cubicBezTo>
                  <a:lnTo>
                    <a:pt x="5609" y="10397"/>
                  </a:lnTo>
                  <a:cubicBezTo>
                    <a:pt x="3403" y="10239"/>
                    <a:pt x="1639" y="8443"/>
                    <a:pt x="1482" y="6238"/>
                  </a:cubicBezTo>
                  <a:lnTo>
                    <a:pt x="1797" y="6238"/>
                  </a:lnTo>
                  <a:cubicBezTo>
                    <a:pt x="1986" y="6238"/>
                    <a:pt x="2143" y="6081"/>
                    <a:pt x="2143" y="5892"/>
                  </a:cubicBezTo>
                  <a:cubicBezTo>
                    <a:pt x="2143" y="5702"/>
                    <a:pt x="1986" y="5545"/>
                    <a:pt x="1797" y="5545"/>
                  </a:cubicBezTo>
                  <a:lnTo>
                    <a:pt x="1482" y="5545"/>
                  </a:lnTo>
                  <a:cubicBezTo>
                    <a:pt x="1639" y="3340"/>
                    <a:pt x="3403" y="1575"/>
                    <a:pt x="5609" y="1418"/>
                  </a:cubicBezTo>
                  <a:lnTo>
                    <a:pt x="5609" y="1733"/>
                  </a:lnTo>
                  <a:cubicBezTo>
                    <a:pt x="5609" y="1922"/>
                    <a:pt x="5766" y="2079"/>
                    <a:pt x="5955" y="2079"/>
                  </a:cubicBezTo>
                  <a:cubicBezTo>
                    <a:pt x="6176" y="2079"/>
                    <a:pt x="6333" y="1922"/>
                    <a:pt x="6333" y="1733"/>
                  </a:cubicBezTo>
                  <a:lnTo>
                    <a:pt x="6333" y="1418"/>
                  </a:lnTo>
                  <a:close/>
                  <a:moveTo>
                    <a:pt x="5955" y="0"/>
                  </a:moveTo>
                  <a:cubicBezTo>
                    <a:pt x="5766" y="0"/>
                    <a:pt x="5609" y="126"/>
                    <a:pt x="5609" y="347"/>
                  </a:cubicBezTo>
                  <a:lnTo>
                    <a:pt x="5609" y="725"/>
                  </a:lnTo>
                  <a:cubicBezTo>
                    <a:pt x="2994" y="882"/>
                    <a:pt x="946" y="2962"/>
                    <a:pt x="757" y="5576"/>
                  </a:cubicBezTo>
                  <a:lnTo>
                    <a:pt x="379" y="5576"/>
                  </a:lnTo>
                  <a:cubicBezTo>
                    <a:pt x="158" y="5576"/>
                    <a:pt x="1" y="5734"/>
                    <a:pt x="1" y="5923"/>
                  </a:cubicBezTo>
                  <a:cubicBezTo>
                    <a:pt x="1" y="6112"/>
                    <a:pt x="158" y="6270"/>
                    <a:pt x="379" y="6270"/>
                  </a:cubicBezTo>
                  <a:lnTo>
                    <a:pt x="757" y="6270"/>
                  </a:lnTo>
                  <a:cubicBezTo>
                    <a:pt x="915" y="8884"/>
                    <a:pt x="2994" y="10932"/>
                    <a:pt x="5609" y="11121"/>
                  </a:cubicBezTo>
                  <a:lnTo>
                    <a:pt x="5609" y="11531"/>
                  </a:lnTo>
                  <a:cubicBezTo>
                    <a:pt x="5609" y="11720"/>
                    <a:pt x="5766" y="11877"/>
                    <a:pt x="5955" y="11877"/>
                  </a:cubicBezTo>
                  <a:cubicBezTo>
                    <a:pt x="6176" y="11877"/>
                    <a:pt x="6333" y="11720"/>
                    <a:pt x="6333" y="11531"/>
                  </a:cubicBezTo>
                  <a:lnTo>
                    <a:pt x="6333" y="11121"/>
                  </a:lnTo>
                  <a:cubicBezTo>
                    <a:pt x="8917" y="10964"/>
                    <a:pt x="10965" y="8884"/>
                    <a:pt x="11154" y="6270"/>
                  </a:cubicBezTo>
                  <a:lnTo>
                    <a:pt x="11563" y="6270"/>
                  </a:lnTo>
                  <a:cubicBezTo>
                    <a:pt x="11752" y="6270"/>
                    <a:pt x="11910" y="6112"/>
                    <a:pt x="11910" y="5923"/>
                  </a:cubicBezTo>
                  <a:cubicBezTo>
                    <a:pt x="11910" y="5734"/>
                    <a:pt x="11752" y="5576"/>
                    <a:pt x="11563" y="5576"/>
                  </a:cubicBezTo>
                  <a:lnTo>
                    <a:pt x="11154" y="5576"/>
                  </a:lnTo>
                  <a:cubicBezTo>
                    <a:pt x="10996" y="2962"/>
                    <a:pt x="8917" y="914"/>
                    <a:pt x="6333" y="725"/>
                  </a:cubicBezTo>
                  <a:lnTo>
                    <a:pt x="6333" y="347"/>
                  </a:lnTo>
                  <a:cubicBezTo>
                    <a:pt x="6333" y="126"/>
                    <a:pt x="6176"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2"/>
            <p:cNvSpPr/>
            <p:nvPr/>
          </p:nvSpPr>
          <p:spPr>
            <a:xfrm>
              <a:off x="1058025" y="4155875"/>
              <a:ext cx="72500" cy="52000"/>
            </a:xfrm>
            <a:custGeom>
              <a:avLst/>
              <a:gdLst/>
              <a:ahLst/>
              <a:cxnLst/>
              <a:rect l="l" t="t" r="r" b="b"/>
              <a:pathLst>
                <a:path w="2900" h="2080" extrusionOk="0">
                  <a:moveTo>
                    <a:pt x="1418" y="1"/>
                  </a:moveTo>
                  <a:cubicBezTo>
                    <a:pt x="851" y="1"/>
                    <a:pt x="316" y="347"/>
                    <a:pt x="127" y="914"/>
                  </a:cubicBezTo>
                  <a:cubicBezTo>
                    <a:pt x="1" y="1166"/>
                    <a:pt x="1" y="1450"/>
                    <a:pt x="95" y="1765"/>
                  </a:cubicBezTo>
                  <a:cubicBezTo>
                    <a:pt x="473" y="1954"/>
                    <a:pt x="946" y="2080"/>
                    <a:pt x="1418" y="2080"/>
                  </a:cubicBezTo>
                  <a:cubicBezTo>
                    <a:pt x="1891" y="2080"/>
                    <a:pt x="2332" y="1954"/>
                    <a:pt x="2773" y="1765"/>
                  </a:cubicBezTo>
                  <a:cubicBezTo>
                    <a:pt x="2899" y="1387"/>
                    <a:pt x="2805" y="946"/>
                    <a:pt x="2616" y="599"/>
                  </a:cubicBezTo>
                  <a:cubicBezTo>
                    <a:pt x="2332" y="221"/>
                    <a:pt x="1891"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2"/>
            <p:cNvSpPr/>
            <p:nvPr/>
          </p:nvSpPr>
          <p:spPr>
            <a:xfrm>
              <a:off x="1076150" y="4103900"/>
              <a:ext cx="35475" cy="35475"/>
            </a:xfrm>
            <a:custGeom>
              <a:avLst/>
              <a:gdLst/>
              <a:ahLst/>
              <a:cxnLst/>
              <a:rect l="l" t="t" r="r" b="b"/>
              <a:pathLst>
                <a:path w="1419" h="1419" extrusionOk="0">
                  <a:moveTo>
                    <a:pt x="693" y="0"/>
                  </a:moveTo>
                  <a:cubicBezTo>
                    <a:pt x="315" y="0"/>
                    <a:pt x="0" y="315"/>
                    <a:pt x="0" y="693"/>
                  </a:cubicBezTo>
                  <a:cubicBezTo>
                    <a:pt x="0" y="1103"/>
                    <a:pt x="315" y="1418"/>
                    <a:pt x="693" y="1418"/>
                  </a:cubicBezTo>
                  <a:cubicBezTo>
                    <a:pt x="1103" y="1355"/>
                    <a:pt x="1418" y="1040"/>
                    <a:pt x="1418" y="693"/>
                  </a:cubicBezTo>
                  <a:cubicBezTo>
                    <a:pt x="1418" y="315"/>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72"/>
            <p:cNvSpPr/>
            <p:nvPr/>
          </p:nvSpPr>
          <p:spPr>
            <a:xfrm>
              <a:off x="1016275" y="4051125"/>
              <a:ext cx="155975" cy="137075"/>
            </a:xfrm>
            <a:custGeom>
              <a:avLst/>
              <a:gdLst/>
              <a:ahLst/>
              <a:cxnLst/>
              <a:rect l="l" t="t" r="r" b="b"/>
              <a:pathLst>
                <a:path w="6239" h="5483" extrusionOk="0">
                  <a:moveTo>
                    <a:pt x="3088" y="1"/>
                  </a:moveTo>
                  <a:cubicBezTo>
                    <a:pt x="1356" y="1"/>
                    <a:pt x="1" y="1387"/>
                    <a:pt x="1" y="3120"/>
                  </a:cubicBezTo>
                  <a:cubicBezTo>
                    <a:pt x="1" y="4033"/>
                    <a:pt x="379" y="4852"/>
                    <a:pt x="1041" y="5451"/>
                  </a:cubicBezTo>
                  <a:cubicBezTo>
                    <a:pt x="1041" y="5262"/>
                    <a:pt x="1104" y="5041"/>
                    <a:pt x="1167" y="4852"/>
                  </a:cubicBezTo>
                  <a:cubicBezTo>
                    <a:pt x="1324" y="4380"/>
                    <a:pt x="1671" y="4002"/>
                    <a:pt x="2112" y="3750"/>
                  </a:cubicBezTo>
                  <a:cubicBezTo>
                    <a:pt x="1891" y="3498"/>
                    <a:pt x="1734" y="3151"/>
                    <a:pt x="1734" y="2804"/>
                  </a:cubicBezTo>
                  <a:cubicBezTo>
                    <a:pt x="1734" y="2048"/>
                    <a:pt x="2364" y="1418"/>
                    <a:pt x="3088" y="1418"/>
                  </a:cubicBezTo>
                  <a:cubicBezTo>
                    <a:pt x="3845" y="1418"/>
                    <a:pt x="4475" y="2048"/>
                    <a:pt x="4475" y="2804"/>
                  </a:cubicBezTo>
                  <a:cubicBezTo>
                    <a:pt x="4475" y="3151"/>
                    <a:pt x="4317" y="3529"/>
                    <a:pt x="4097" y="3750"/>
                  </a:cubicBezTo>
                  <a:cubicBezTo>
                    <a:pt x="4349" y="3907"/>
                    <a:pt x="4632" y="4128"/>
                    <a:pt x="4790" y="4411"/>
                  </a:cubicBezTo>
                  <a:cubicBezTo>
                    <a:pt x="4979" y="4726"/>
                    <a:pt x="5105" y="5073"/>
                    <a:pt x="5136" y="5482"/>
                  </a:cubicBezTo>
                  <a:cubicBezTo>
                    <a:pt x="5766" y="4884"/>
                    <a:pt x="6207" y="4096"/>
                    <a:pt x="6207" y="3151"/>
                  </a:cubicBezTo>
                  <a:cubicBezTo>
                    <a:pt x="6239" y="1418"/>
                    <a:pt x="4821"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7" name="Google Shape;6977;p72"/>
          <p:cNvGrpSpPr/>
          <p:nvPr/>
        </p:nvGrpSpPr>
        <p:grpSpPr>
          <a:xfrm>
            <a:off x="7520875" y="1379445"/>
            <a:ext cx="350079" cy="349133"/>
            <a:chOff x="2768750" y="3227275"/>
            <a:chExt cx="296175" cy="295375"/>
          </a:xfrm>
        </p:grpSpPr>
        <p:sp>
          <p:nvSpPr>
            <p:cNvPr id="6978" name="Google Shape;6978;p72"/>
            <p:cNvSpPr/>
            <p:nvPr/>
          </p:nvSpPr>
          <p:spPr>
            <a:xfrm>
              <a:off x="2882950" y="3227275"/>
              <a:ext cx="68550" cy="69325"/>
            </a:xfrm>
            <a:custGeom>
              <a:avLst/>
              <a:gdLst/>
              <a:ahLst/>
              <a:cxnLst/>
              <a:rect l="l" t="t" r="r" b="b"/>
              <a:pathLst>
                <a:path w="2742" h="2773" extrusionOk="0">
                  <a:moveTo>
                    <a:pt x="1355" y="1"/>
                  </a:moveTo>
                  <a:cubicBezTo>
                    <a:pt x="631" y="1"/>
                    <a:pt x="1" y="631"/>
                    <a:pt x="1" y="1387"/>
                  </a:cubicBezTo>
                  <a:cubicBezTo>
                    <a:pt x="1" y="2143"/>
                    <a:pt x="631" y="2773"/>
                    <a:pt x="1355" y="2773"/>
                  </a:cubicBezTo>
                  <a:cubicBezTo>
                    <a:pt x="2111" y="2773"/>
                    <a:pt x="2742" y="2174"/>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2"/>
            <p:cNvSpPr/>
            <p:nvPr/>
          </p:nvSpPr>
          <p:spPr>
            <a:xfrm>
              <a:off x="2856175" y="3436000"/>
              <a:ext cx="17350" cy="34675"/>
            </a:xfrm>
            <a:custGeom>
              <a:avLst/>
              <a:gdLst/>
              <a:ahLst/>
              <a:cxnLst/>
              <a:rect l="l" t="t" r="r" b="b"/>
              <a:pathLst>
                <a:path w="694" h="1387" extrusionOk="0">
                  <a:moveTo>
                    <a:pt x="0" y="0"/>
                  </a:moveTo>
                  <a:lnTo>
                    <a:pt x="0" y="1386"/>
                  </a:lnTo>
                  <a:lnTo>
                    <a:pt x="694" y="1386"/>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2"/>
            <p:cNvSpPr/>
            <p:nvPr/>
          </p:nvSpPr>
          <p:spPr>
            <a:xfrm>
              <a:off x="2890050" y="3436000"/>
              <a:ext cx="18125" cy="34675"/>
            </a:xfrm>
            <a:custGeom>
              <a:avLst/>
              <a:gdLst/>
              <a:ahLst/>
              <a:cxnLst/>
              <a:rect l="l" t="t" r="r" b="b"/>
              <a:pathLst>
                <a:path w="725" h="1387" extrusionOk="0">
                  <a:moveTo>
                    <a:pt x="0" y="0"/>
                  </a:moveTo>
                  <a:lnTo>
                    <a:pt x="0" y="1386"/>
                  </a:lnTo>
                  <a:lnTo>
                    <a:pt x="725" y="138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2"/>
            <p:cNvSpPr/>
            <p:nvPr/>
          </p:nvSpPr>
          <p:spPr>
            <a:xfrm>
              <a:off x="2821525" y="3436000"/>
              <a:ext cx="17350" cy="34675"/>
            </a:xfrm>
            <a:custGeom>
              <a:avLst/>
              <a:gdLst/>
              <a:ahLst/>
              <a:cxnLst/>
              <a:rect l="l" t="t" r="r" b="b"/>
              <a:pathLst>
                <a:path w="694" h="1387" extrusionOk="0">
                  <a:moveTo>
                    <a:pt x="0" y="0"/>
                  </a:moveTo>
                  <a:lnTo>
                    <a:pt x="0" y="1386"/>
                  </a:lnTo>
                  <a:lnTo>
                    <a:pt x="693" y="1386"/>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2"/>
            <p:cNvSpPr/>
            <p:nvPr/>
          </p:nvSpPr>
          <p:spPr>
            <a:xfrm>
              <a:off x="2924700" y="3436000"/>
              <a:ext cx="34675" cy="34675"/>
            </a:xfrm>
            <a:custGeom>
              <a:avLst/>
              <a:gdLst/>
              <a:ahLst/>
              <a:cxnLst/>
              <a:rect l="l" t="t" r="r" b="b"/>
              <a:pathLst>
                <a:path w="1387" h="1387" extrusionOk="0">
                  <a:moveTo>
                    <a:pt x="0" y="0"/>
                  </a:moveTo>
                  <a:lnTo>
                    <a:pt x="0" y="1386"/>
                  </a:lnTo>
                  <a:lnTo>
                    <a:pt x="1387" y="138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2"/>
            <p:cNvSpPr/>
            <p:nvPr/>
          </p:nvSpPr>
          <p:spPr>
            <a:xfrm>
              <a:off x="2768750" y="3384800"/>
              <a:ext cx="244175" cy="137850"/>
            </a:xfrm>
            <a:custGeom>
              <a:avLst/>
              <a:gdLst/>
              <a:ahLst/>
              <a:cxnLst/>
              <a:rect l="l" t="t" r="r" b="b"/>
              <a:pathLst>
                <a:path w="9767" h="5514" extrusionOk="0">
                  <a:moveTo>
                    <a:pt x="7971" y="1387"/>
                  </a:moveTo>
                  <a:cubicBezTo>
                    <a:pt x="8192" y="1387"/>
                    <a:pt x="8349" y="1544"/>
                    <a:pt x="8349" y="1733"/>
                  </a:cubicBezTo>
                  <a:lnTo>
                    <a:pt x="8349" y="3813"/>
                  </a:lnTo>
                  <a:cubicBezTo>
                    <a:pt x="8349" y="4033"/>
                    <a:pt x="8192" y="4191"/>
                    <a:pt x="7971" y="4191"/>
                  </a:cubicBezTo>
                  <a:lnTo>
                    <a:pt x="1765" y="4191"/>
                  </a:lnTo>
                  <a:cubicBezTo>
                    <a:pt x="1576" y="4191"/>
                    <a:pt x="1418" y="4033"/>
                    <a:pt x="1418" y="3813"/>
                  </a:cubicBezTo>
                  <a:lnTo>
                    <a:pt x="1418" y="1733"/>
                  </a:lnTo>
                  <a:cubicBezTo>
                    <a:pt x="1418" y="1544"/>
                    <a:pt x="1576" y="1387"/>
                    <a:pt x="1765" y="1387"/>
                  </a:cubicBezTo>
                  <a:close/>
                  <a:moveTo>
                    <a:pt x="1040" y="0"/>
                  </a:moveTo>
                  <a:cubicBezTo>
                    <a:pt x="473" y="0"/>
                    <a:pt x="32" y="473"/>
                    <a:pt x="32" y="1040"/>
                  </a:cubicBezTo>
                  <a:lnTo>
                    <a:pt x="32" y="4506"/>
                  </a:lnTo>
                  <a:cubicBezTo>
                    <a:pt x="0" y="5073"/>
                    <a:pt x="473" y="5514"/>
                    <a:pt x="1040" y="5514"/>
                  </a:cubicBezTo>
                  <a:lnTo>
                    <a:pt x="8727" y="5514"/>
                  </a:lnTo>
                  <a:cubicBezTo>
                    <a:pt x="9326" y="5514"/>
                    <a:pt x="9767" y="5041"/>
                    <a:pt x="9767" y="4506"/>
                  </a:cubicBezTo>
                  <a:lnTo>
                    <a:pt x="9767" y="1040"/>
                  </a:lnTo>
                  <a:cubicBezTo>
                    <a:pt x="9767" y="442"/>
                    <a:pt x="9294"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2"/>
            <p:cNvSpPr/>
            <p:nvPr/>
          </p:nvSpPr>
          <p:spPr>
            <a:xfrm>
              <a:off x="3030250" y="3419450"/>
              <a:ext cx="34675" cy="68550"/>
            </a:xfrm>
            <a:custGeom>
              <a:avLst/>
              <a:gdLst/>
              <a:ahLst/>
              <a:cxnLst/>
              <a:rect l="l" t="t" r="r" b="b"/>
              <a:pathLst>
                <a:path w="1387" h="2742" extrusionOk="0">
                  <a:moveTo>
                    <a:pt x="0" y="1"/>
                  </a:moveTo>
                  <a:lnTo>
                    <a:pt x="0" y="2742"/>
                  </a:lnTo>
                  <a:lnTo>
                    <a:pt x="1040" y="2742"/>
                  </a:lnTo>
                  <a:cubicBezTo>
                    <a:pt x="1229" y="2742"/>
                    <a:pt x="1386" y="2584"/>
                    <a:pt x="1386" y="2395"/>
                  </a:cubicBez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2"/>
            <p:cNvSpPr/>
            <p:nvPr/>
          </p:nvSpPr>
          <p:spPr>
            <a:xfrm>
              <a:off x="2856175" y="3294225"/>
              <a:ext cx="122100" cy="73275"/>
            </a:xfrm>
            <a:custGeom>
              <a:avLst/>
              <a:gdLst/>
              <a:ahLst/>
              <a:cxnLst/>
              <a:rect l="l" t="t" r="r" b="b"/>
              <a:pathLst>
                <a:path w="4884" h="2931" extrusionOk="0">
                  <a:moveTo>
                    <a:pt x="820" y="0"/>
                  </a:moveTo>
                  <a:cubicBezTo>
                    <a:pt x="316" y="473"/>
                    <a:pt x="0" y="1103"/>
                    <a:pt x="0" y="1828"/>
                  </a:cubicBezTo>
                  <a:lnTo>
                    <a:pt x="0" y="2552"/>
                  </a:lnTo>
                  <a:cubicBezTo>
                    <a:pt x="0" y="2773"/>
                    <a:pt x="158" y="2930"/>
                    <a:pt x="347" y="2930"/>
                  </a:cubicBezTo>
                  <a:lnTo>
                    <a:pt x="4506" y="2930"/>
                  </a:lnTo>
                  <a:cubicBezTo>
                    <a:pt x="4726" y="2930"/>
                    <a:pt x="4884" y="2773"/>
                    <a:pt x="4884" y="2552"/>
                  </a:cubicBezTo>
                  <a:lnTo>
                    <a:pt x="4884" y="1828"/>
                  </a:lnTo>
                  <a:cubicBezTo>
                    <a:pt x="4884" y="1103"/>
                    <a:pt x="4569" y="441"/>
                    <a:pt x="4033" y="0"/>
                  </a:cubicBezTo>
                  <a:cubicBezTo>
                    <a:pt x="3655" y="473"/>
                    <a:pt x="3088" y="788"/>
                    <a:pt x="2426" y="788"/>
                  </a:cubicBezTo>
                  <a:cubicBezTo>
                    <a:pt x="1765"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86" name="Google Shape;6986;p72"/>
          <p:cNvGrpSpPr/>
          <p:nvPr/>
        </p:nvGrpSpPr>
        <p:grpSpPr>
          <a:xfrm>
            <a:off x="7541826" y="1820317"/>
            <a:ext cx="308177" cy="348572"/>
            <a:chOff x="2786075" y="3591800"/>
            <a:chExt cx="260725" cy="294900"/>
          </a:xfrm>
        </p:grpSpPr>
        <p:sp>
          <p:nvSpPr>
            <p:cNvPr id="6987" name="Google Shape;6987;p72"/>
            <p:cNvSpPr/>
            <p:nvPr/>
          </p:nvSpPr>
          <p:spPr>
            <a:xfrm>
              <a:off x="2898700" y="3677000"/>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103" y="1418"/>
                    <a:pt x="1418" y="1103"/>
                    <a:pt x="1418" y="725"/>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2"/>
            <p:cNvSpPr/>
            <p:nvPr/>
          </p:nvSpPr>
          <p:spPr>
            <a:xfrm>
              <a:off x="2883750" y="3729775"/>
              <a:ext cx="66975" cy="33900"/>
            </a:xfrm>
            <a:custGeom>
              <a:avLst/>
              <a:gdLst/>
              <a:ahLst/>
              <a:cxnLst/>
              <a:rect l="l" t="t" r="r" b="b"/>
              <a:pathLst>
                <a:path w="2679" h="1356" extrusionOk="0">
                  <a:moveTo>
                    <a:pt x="1323" y="1"/>
                  </a:moveTo>
                  <a:cubicBezTo>
                    <a:pt x="693" y="1"/>
                    <a:pt x="189" y="379"/>
                    <a:pt x="0" y="977"/>
                  </a:cubicBezTo>
                  <a:cubicBezTo>
                    <a:pt x="378" y="1198"/>
                    <a:pt x="819" y="1355"/>
                    <a:pt x="1323" y="1355"/>
                  </a:cubicBezTo>
                  <a:cubicBezTo>
                    <a:pt x="1796" y="1355"/>
                    <a:pt x="2269" y="1198"/>
                    <a:pt x="2678" y="977"/>
                  </a:cubicBezTo>
                  <a:cubicBezTo>
                    <a:pt x="2489" y="410"/>
                    <a:pt x="1922" y="1"/>
                    <a:pt x="13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2"/>
            <p:cNvSpPr/>
            <p:nvPr/>
          </p:nvSpPr>
          <p:spPr>
            <a:xfrm>
              <a:off x="2855375" y="3643150"/>
              <a:ext cx="122125" cy="98475"/>
            </a:xfrm>
            <a:custGeom>
              <a:avLst/>
              <a:gdLst/>
              <a:ahLst/>
              <a:cxnLst/>
              <a:rect l="l" t="t" r="r" b="b"/>
              <a:pathLst>
                <a:path w="4885" h="3939" extrusionOk="0">
                  <a:moveTo>
                    <a:pt x="2458" y="0"/>
                  </a:moveTo>
                  <a:cubicBezTo>
                    <a:pt x="1198" y="0"/>
                    <a:pt x="222" y="977"/>
                    <a:pt x="64" y="2079"/>
                  </a:cubicBezTo>
                  <a:cubicBezTo>
                    <a:pt x="1" y="2741"/>
                    <a:pt x="159" y="3371"/>
                    <a:pt x="600" y="3938"/>
                  </a:cubicBezTo>
                  <a:cubicBezTo>
                    <a:pt x="820" y="3529"/>
                    <a:pt x="1135" y="3214"/>
                    <a:pt x="1482" y="3025"/>
                  </a:cubicBezTo>
                  <a:cubicBezTo>
                    <a:pt x="1230" y="2772"/>
                    <a:pt x="1072" y="2426"/>
                    <a:pt x="1072" y="2079"/>
                  </a:cubicBezTo>
                  <a:cubicBezTo>
                    <a:pt x="1072" y="1323"/>
                    <a:pt x="1734" y="693"/>
                    <a:pt x="2458" y="693"/>
                  </a:cubicBezTo>
                  <a:cubicBezTo>
                    <a:pt x="3214" y="693"/>
                    <a:pt x="3845" y="1323"/>
                    <a:pt x="3845" y="2079"/>
                  </a:cubicBezTo>
                  <a:cubicBezTo>
                    <a:pt x="3845" y="2426"/>
                    <a:pt x="3687" y="2772"/>
                    <a:pt x="3435" y="3025"/>
                  </a:cubicBezTo>
                  <a:cubicBezTo>
                    <a:pt x="3845" y="3214"/>
                    <a:pt x="4128" y="3529"/>
                    <a:pt x="4317" y="3938"/>
                  </a:cubicBezTo>
                  <a:cubicBezTo>
                    <a:pt x="4695" y="3466"/>
                    <a:pt x="4853" y="2930"/>
                    <a:pt x="4853" y="2394"/>
                  </a:cubicBezTo>
                  <a:cubicBezTo>
                    <a:pt x="4884" y="1103"/>
                    <a:pt x="381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2"/>
            <p:cNvSpPr/>
            <p:nvPr/>
          </p:nvSpPr>
          <p:spPr>
            <a:xfrm>
              <a:off x="2801050" y="3591800"/>
              <a:ext cx="229225" cy="258500"/>
            </a:xfrm>
            <a:custGeom>
              <a:avLst/>
              <a:gdLst/>
              <a:ahLst/>
              <a:cxnLst/>
              <a:rect l="l" t="t" r="r" b="b"/>
              <a:pathLst>
                <a:path w="9169" h="10340" extrusionOk="0">
                  <a:moveTo>
                    <a:pt x="4679" y="1327"/>
                  </a:moveTo>
                  <a:cubicBezTo>
                    <a:pt x="6369" y="1327"/>
                    <a:pt x="7750" y="2741"/>
                    <a:pt x="7750" y="4448"/>
                  </a:cubicBezTo>
                  <a:cubicBezTo>
                    <a:pt x="7750" y="6244"/>
                    <a:pt x="6301" y="7599"/>
                    <a:pt x="4631" y="7599"/>
                  </a:cubicBezTo>
                  <a:cubicBezTo>
                    <a:pt x="2836" y="7599"/>
                    <a:pt x="1292" y="5961"/>
                    <a:pt x="1575" y="4039"/>
                  </a:cubicBezTo>
                  <a:cubicBezTo>
                    <a:pt x="1764" y="2716"/>
                    <a:pt x="2867" y="1550"/>
                    <a:pt x="4222" y="1361"/>
                  </a:cubicBezTo>
                  <a:cubicBezTo>
                    <a:pt x="4376" y="1338"/>
                    <a:pt x="4529" y="1327"/>
                    <a:pt x="4679" y="1327"/>
                  </a:cubicBezTo>
                  <a:close/>
                  <a:moveTo>
                    <a:pt x="4597" y="0"/>
                  </a:moveTo>
                  <a:cubicBezTo>
                    <a:pt x="4401" y="0"/>
                    <a:pt x="4202" y="13"/>
                    <a:pt x="4001" y="38"/>
                  </a:cubicBezTo>
                  <a:cubicBezTo>
                    <a:pt x="1985" y="290"/>
                    <a:pt x="378" y="1928"/>
                    <a:pt x="158" y="3913"/>
                  </a:cubicBezTo>
                  <a:cubicBezTo>
                    <a:pt x="0" y="5110"/>
                    <a:pt x="315" y="6244"/>
                    <a:pt x="1008" y="7189"/>
                  </a:cubicBezTo>
                  <a:cubicBezTo>
                    <a:pt x="1197" y="7473"/>
                    <a:pt x="1449" y="7756"/>
                    <a:pt x="1670" y="7945"/>
                  </a:cubicBezTo>
                  <a:lnTo>
                    <a:pt x="4411" y="10277"/>
                  </a:lnTo>
                  <a:cubicBezTo>
                    <a:pt x="4474" y="10308"/>
                    <a:pt x="4568" y="10340"/>
                    <a:pt x="4631" y="10340"/>
                  </a:cubicBezTo>
                  <a:cubicBezTo>
                    <a:pt x="4726" y="10340"/>
                    <a:pt x="4789" y="10308"/>
                    <a:pt x="4883" y="10277"/>
                  </a:cubicBezTo>
                  <a:lnTo>
                    <a:pt x="7593" y="7945"/>
                  </a:lnTo>
                  <a:cubicBezTo>
                    <a:pt x="7845" y="7756"/>
                    <a:pt x="8065" y="7473"/>
                    <a:pt x="8254" y="7189"/>
                  </a:cubicBezTo>
                  <a:cubicBezTo>
                    <a:pt x="8853" y="6402"/>
                    <a:pt x="9168" y="5457"/>
                    <a:pt x="9168" y="4480"/>
                  </a:cubicBezTo>
                  <a:cubicBezTo>
                    <a:pt x="9139" y="1996"/>
                    <a:pt x="7104" y="0"/>
                    <a:pt x="4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2"/>
            <p:cNvSpPr/>
            <p:nvPr/>
          </p:nvSpPr>
          <p:spPr>
            <a:xfrm>
              <a:off x="2786075" y="3800675"/>
              <a:ext cx="260725" cy="86025"/>
            </a:xfrm>
            <a:custGeom>
              <a:avLst/>
              <a:gdLst/>
              <a:ahLst/>
              <a:cxnLst/>
              <a:rect l="l" t="t" r="r" b="b"/>
              <a:pathLst>
                <a:path w="10429" h="3441" extrusionOk="0">
                  <a:moveTo>
                    <a:pt x="1702" y="0"/>
                  </a:moveTo>
                  <a:cubicBezTo>
                    <a:pt x="1576" y="0"/>
                    <a:pt x="1513" y="63"/>
                    <a:pt x="1418" y="189"/>
                  </a:cubicBezTo>
                  <a:lnTo>
                    <a:pt x="32" y="2930"/>
                  </a:lnTo>
                  <a:cubicBezTo>
                    <a:pt x="1" y="3056"/>
                    <a:pt x="1" y="3213"/>
                    <a:pt x="32" y="3308"/>
                  </a:cubicBezTo>
                  <a:cubicBezTo>
                    <a:pt x="95" y="3371"/>
                    <a:pt x="190" y="3434"/>
                    <a:pt x="316" y="3434"/>
                  </a:cubicBezTo>
                  <a:lnTo>
                    <a:pt x="10019" y="3434"/>
                  </a:lnTo>
                  <a:cubicBezTo>
                    <a:pt x="10045" y="3438"/>
                    <a:pt x="10070" y="3440"/>
                    <a:pt x="10093" y="3440"/>
                  </a:cubicBezTo>
                  <a:cubicBezTo>
                    <a:pt x="10241" y="3440"/>
                    <a:pt x="10338" y="3362"/>
                    <a:pt x="10366" y="3308"/>
                  </a:cubicBezTo>
                  <a:cubicBezTo>
                    <a:pt x="10429" y="3182"/>
                    <a:pt x="10429" y="3056"/>
                    <a:pt x="10366" y="2930"/>
                  </a:cubicBezTo>
                  <a:lnTo>
                    <a:pt x="8979" y="189"/>
                  </a:lnTo>
                  <a:cubicBezTo>
                    <a:pt x="8948" y="63"/>
                    <a:pt x="8822" y="32"/>
                    <a:pt x="8696" y="0"/>
                  </a:cubicBezTo>
                  <a:lnTo>
                    <a:pt x="8601" y="95"/>
                  </a:lnTo>
                  <a:lnTo>
                    <a:pt x="5860" y="2426"/>
                  </a:lnTo>
                  <a:cubicBezTo>
                    <a:pt x="5671" y="2583"/>
                    <a:pt x="5451" y="2678"/>
                    <a:pt x="5199" y="2678"/>
                  </a:cubicBezTo>
                  <a:cubicBezTo>
                    <a:pt x="4978" y="2678"/>
                    <a:pt x="4726" y="2583"/>
                    <a:pt x="4537" y="2426"/>
                  </a:cubicBezTo>
                  <a:lnTo>
                    <a:pt x="1828" y="95"/>
                  </a:lnTo>
                  <a:lnTo>
                    <a:pt x="17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2" name="Google Shape;6992;p72"/>
          <p:cNvGrpSpPr/>
          <p:nvPr/>
        </p:nvGrpSpPr>
        <p:grpSpPr>
          <a:xfrm>
            <a:off x="7582324" y="2266044"/>
            <a:ext cx="227180" cy="350079"/>
            <a:chOff x="2819150" y="3955025"/>
            <a:chExt cx="192200" cy="296175"/>
          </a:xfrm>
        </p:grpSpPr>
        <p:sp>
          <p:nvSpPr>
            <p:cNvPr id="6993" name="Google Shape;6993;p72"/>
            <p:cNvSpPr/>
            <p:nvPr/>
          </p:nvSpPr>
          <p:spPr>
            <a:xfrm>
              <a:off x="2856175" y="4007025"/>
              <a:ext cx="122100" cy="70125"/>
            </a:xfrm>
            <a:custGeom>
              <a:avLst/>
              <a:gdLst/>
              <a:ahLst/>
              <a:cxnLst/>
              <a:rect l="l" t="t" r="r" b="b"/>
              <a:pathLst>
                <a:path w="4884" h="2805" extrusionOk="0">
                  <a:moveTo>
                    <a:pt x="1324" y="0"/>
                  </a:moveTo>
                  <a:cubicBezTo>
                    <a:pt x="631" y="0"/>
                    <a:pt x="127" y="725"/>
                    <a:pt x="347" y="1386"/>
                  </a:cubicBezTo>
                  <a:lnTo>
                    <a:pt x="599" y="2080"/>
                  </a:lnTo>
                  <a:lnTo>
                    <a:pt x="379" y="2080"/>
                  </a:lnTo>
                  <a:cubicBezTo>
                    <a:pt x="158" y="2080"/>
                    <a:pt x="0" y="2237"/>
                    <a:pt x="0" y="2458"/>
                  </a:cubicBezTo>
                  <a:cubicBezTo>
                    <a:pt x="0" y="2647"/>
                    <a:pt x="158" y="2804"/>
                    <a:pt x="347" y="2804"/>
                  </a:cubicBezTo>
                  <a:lnTo>
                    <a:pt x="4506" y="2804"/>
                  </a:lnTo>
                  <a:cubicBezTo>
                    <a:pt x="4726" y="2804"/>
                    <a:pt x="4884" y="2647"/>
                    <a:pt x="4884" y="2458"/>
                  </a:cubicBezTo>
                  <a:cubicBezTo>
                    <a:pt x="4884" y="2237"/>
                    <a:pt x="4726" y="2080"/>
                    <a:pt x="4506" y="2080"/>
                  </a:cubicBezTo>
                  <a:lnTo>
                    <a:pt x="4317" y="2080"/>
                  </a:lnTo>
                  <a:lnTo>
                    <a:pt x="4569" y="1386"/>
                  </a:lnTo>
                  <a:cubicBezTo>
                    <a:pt x="4789" y="725"/>
                    <a:pt x="4285" y="0"/>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2"/>
            <p:cNvSpPr/>
            <p:nvPr/>
          </p:nvSpPr>
          <p:spPr>
            <a:xfrm>
              <a:off x="2819150" y="4180300"/>
              <a:ext cx="192200" cy="70900"/>
            </a:xfrm>
            <a:custGeom>
              <a:avLst/>
              <a:gdLst/>
              <a:ahLst/>
              <a:cxnLst/>
              <a:rect l="l" t="t" r="r" b="b"/>
              <a:pathLst>
                <a:path w="7688" h="2836" extrusionOk="0">
                  <a:moveTo>
                    <a:pt x="1418" y="0"/>
                  </a:moveTo>
                  <a:cubicBezTo>
                    <a:pt x="1040" y="0"/>
                    <a:pt x="725" y="315"/>
                    <a:pt x="725" y="725"/>
                  </a:cubicBezTo>
                  <a:lnTo>
                    <a:pt x="725" y="1418"/>
                  </a:lnTo>
                  <a:cubicBezTo>
                    <a:pt x="316" y="1418"/>
                    <a:pt x="1" y="1733"/>
                    <a:pt x="1" y="2143"/>
                  </a:cubicBezTo>
                  <a:lnTo>
                    <a:pt x="1" y="2489"/>
                  </a:lnTo>
                  <a:cubicBezTo>
                    <a:pt x="1" y="2678"/>
                    <a:pt x="158" y="2836"/>
                    <a:pt x="379" y="2836"/>
                  </a:cubicBezTo>
                  <a:lnTo>
                    <a:pt x="7310" y="2836"/>
                  </a:lnTo>
                  <a:cubicBezTo>
                    <a:pt x="7530" y="2804"/>
                    <a:pt x="7688" y="2678"/>
                    <a:pt x="7688" y="2489"/>
                  </a:cubicBezTo>
                  <a:lnTo>
                    <a:pt x="7688" y="2143"/>
                  </a:lnTo>
                  <a:cubicBezTo>
                    <a:pt x="7688" y="1733"/>
                    <a:pt x="7373" y="1418"/>
                    <a:pt x="6995" y="1418"/>
                  </a:cubicBezTo>
                  <a:lnTo>
                    <a:pt x="6995" y="725"/>
                  </a:lnTo>
                  <a:cubicBezTo>
                    <a:pt x="6995" y="315"/>
                    <a:pt x="6680"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2"/>
            <p:cNvSpPr/>
            <p:nvPr/>
          </p:nvSpPr>
          <p:spPr>
            <a:xfrm>
              <a:off x="2882950" y="3955025"/>
              <a:ext cx="68550" cy="35475"/>
            </a:xfrm>
            <a:custGeom>
              <a:avLst/>
              <a:gdLst/>
              <a:ahLst/>
              <a:cxnLst/>
              <a:rect l="l" t="t" r="r" b="b"/>
              <a:pathLst>
                <a:path w="2742" h="1419" extrusionOk="0">
                  <a:moveTo>
                    <a:pt x="1355" y="1"/>
                  </a:moveTo>
                  <a:cubicBezTo>
                    <a:pt x="1166" y="1"/>
                    <a:pt x="1009" y="158"/>
                    <a:pt x="1009" y="348"/>
                  </a:cubicBezTo>
                  <a:lnTo>
                    <a:pt x="1009" y="726"/>
                  </a:lnTo>
                  <a:cubicBezTo>
                    <a:pt x="568" y="820"/>
                    <a:pt x="221" y="1072"/>
                    <a:pt x="1" y="1419"/>
                  </a:cubicBezTo>
                  <a:lnTo>
                    <a:pt x="2742" y="1419"/>
                  </a:lnTo>
                  <a:cubicBezTo>
                    <a:pt x="2521" y="1104"/>
                    <a:pt x="2111" y="852"/>
                    <a:pt x="1733" y="726"/>
                  </a:cubicBezTo>
                  <a:lnTo>
                    <a:pt x="1733" y="348"/>
                  </a:lnTo>
                  <a:cubicBezTo>
                    <a:pt x="1670" y="158"/>
                    <a:pt x="1513"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2"/>
            <p:cNvSpPr/>
            <p:nvPr/>
          </p:nvSpPr>
          <p:spPr>
            <a:xfrm>
              <a:off x="2856975" y="4093650"/>
              <a:ext cx="118950" cy="70125"/>
            </a:xfrm>
            <a:custGeom>
              <a:avLst/>
              <a:gdLst/>
              <a:ahLst/>
              <a:cxnLst/>
              <a:rect l="l" t="t" r="r" b="b"/>
              <a:pathLst>
                <a:path w="4758" h="2805" extrusionOk="0">
                  <a:moveTo>
                    <a:pt x="473" y="1"/>
                  </a:moveTo>
                  <a:lnTo>
                    <a:pt x="0" y="2805"/>
                  </a:lnTo>
                  <a:lnTo>
                    <a:pt x="4757" y="2805"/>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7" name="Google Shape;6997;p72"/>
          <p:cNvGrpSpPr/>
          <p:nvPr/>
        </p:nvGrpSpPr>
        <p:grpSpPr>
          <a:xfrm>
            <a:off x="6206097" y="2731642"/>
            <a:ext cx="349133" cy="348217"/>
            <a:chOff x="4629125" y="3235150"/>
            <a:chExt cx="295375" cy="294600"/>
          </a:xfrm>
        </p:grpSpPr>
        <p:sp>
          <p:nvSpPr>
            <p:cNvPr id="6998" name="Google Shape;6998;p72"/>
            <p:cNvSpPr/>
            <p:nvPr/>
          </p:nvSpPr>
          <p:spPr>
            <a:xfrm>
              <a:off x="4696850" y="3391100"/>
              <a:ext cx="35475" cy="35475"/>
            </a:xfrm>
            <a:custGeom>
              <a:avLst/>
              <a:gdLst/>
              <a:ahLst/>
              <a:cxnLst/>
              <a:rect l="l" t="t" r="r" b="b"/>
              <a:pathLst>
                <a:path w="1419" h="1419" extrusionOk="0">
                  <a:moveTo>
                    <a:pt x="725" y="1"/>
                  </a:moveTo>
                  <a:cubicBezTo>
                    <a:pt x="316" y="1"/>
                    <a:pt x="1" y="316"/>
                    <a:pt x="1" y="694"/>
                  </a:cubicBezTo>
                  <a:cubicBezTo>
                    <a:pt x="64"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2"/>
            <p:cNvSpPr/>
            <p:nvPr/>
          </p:nvSpPr>
          <p:spPr>
            <a:xfrm>
              <a:off x="4680300" y="3443875"/>
              <a:ext cx="69350" cy="34675"/>
            </a:xfrm>
            <a:custGeom>
              <a:avLst/>
              <a:gdLst/>
              <a:ahLst/>
              <a:cxnLst/>
              <a:rect l="l" t="t" r="r" b="b"/>
              <a:pathLst>
                <a:path w="2774" h="1387" extrusionOk="0">
                  <a:moveTo>
                    <a:pt x="1387" y="0"/>
                  </a:moveTo>
                  <a:cubicBezTo>
                    <a:pt x="631" y="0"/>
                    <a:pt x="1" y="630"/>
                    <a:pt x="1" y="1387"/>
                  </a:cubicBezTo>
                  <a:lnTo>
                    <a:pt x="2773" y="1387"/>
                  </a:lnTo>
                  <a:cubicBezTo>
                    <a:pt x="2773" y="630"/>
                    <a:pt x="217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2"/>
            <p:cNvSpPr/>
            <p:nvPr/>
          </p:nvSpPr>
          <p:spPr>
            <a:xfrm>
              <a:off x="4629125" y="3339900"/>
              <a:ext cx="295375" cy="189850"/>
            </a:xfrm>
            <a:custGeom>
              <a:avLst/>
              <a:gdLst/>
              <a:ahLst/>
              <a:cxnLst/>
              <a:rect l="l" t="t" r="r" b="b"/>
              <a:pathLst>
                <a:path w="11815" h="7594" extrusionOk="0">
                  <a:moveTo>
                    <a:pt x="10050" y="2080"/>
                  </a:moveTo>
                  <a:cubicBezTo>
                    <a:pt x="10239" y="2080"/>
                    <a:pt x="10397" y="2238"/>
                    <a:pt x="10397" y="2427"/>
                  </a:cubicBezTo>
                  <a:cubicBezTo>
                    <a:pt x="10397" y="2616"/>
                    <a:pt x="10239" y="2773"/>
                    <a:pt x="10050" y="2773"/>
                  </a:cubicBezTo>
                  <a:lnTo>
                    <a:pt x="6553" y="2773"/>
                  </a:lnTo>
                  <a:cubicBezTo>
                    <a:pt x="6333" y="2773"/>
                    <a:pt x="6175" y="2616"/>
                    <a:pt x="6175" y="2427"/>
                  </a:cubicBezTo>
                  <a:cubicBezTo>
                    <a:pt x="6175" y="2238"/>
                    <a:pt x="6333" y="2080"/>
                    <a:pt x="6553" y="2080"/>
                  </a:cubicBezTo>
                  <a:close/>
                  <a:moveTo>
                    <a:pt x="10050" y="3466"/>
                  </a:moveTo>
                  <a:cubicBezTo>
                    <a:pt x="10239" y="3466"/>
                    <a:pt x="10397" y="3624"/>
                    <a:pt x="10397" y="3813"/>
                  </a:cubicBezTo>
                  <a:cubicBezTo>
                    <a:pt x="10397" y="4002"/>
                    <a:pt x="10239" y="4159"/>
                    <a:pt x="10050" y="4159"/>
                  </a:cubicBezTo>
                  <a:lnTo>
                    <a:pt x="6553" y="4159"/>
                  </a:lnTo>
                  <a:cubicBezTo>
                    <a:pt x="6333" y="4159"/>
                    <a:pt x="6175" y="4002"/>
                    <a:pt x="6175" y="3813"/>
                  </a:cubicBezTo>
                  <a:cubicBezTo>
                    <a:pt x="6175" y="3624"/>
                    <a:pt x="6333" y="3466"/>
                    <a:pt x="6553" y="3466"/>
                  </a:cubicBezTo>
                  <a:close/>
                  <a:moveTo>
                    <a:pt x="10050" y="4821"/>
                  </a:moveTo>
                  <a:cubicBezTo>
                    <a:pt x="10239" y="4821"/>
                    <a:pt x="10397" y="4978"/>
                    <a:pt x="10397" y="5199"/>
                  </a:cubicBezTo>
                  <a:cubicBezTo>
                    <a:pt x="10397" y="5388"/>
                    <a:pt x="10239" y="5546"/>
                    <a:pt x="10050" y="5546"/>
                  </a:cubicBezTo>
                  <a:lnTo>
                    <a:pt x="6553" y="5546"/>
                  </a:lnTo>
                  <a:cubicBezTo>
                    <a:pt x="6333" y="5546"/>
                    <a:pt x="6175" y="5388"/>
                    <a:pt x="6175" y="5199"/>
                  </a:cubicBezTo>
                  <a:cubicBezTo>
                    <a:pt x="6175" y="4978"/>
                    <a:pt x="6333" y="4821"/>
                    <a:pt x="6553" y="4821"/>
                  </a:cubicBezTo>
                  <a:close/>
                  <a:moveTo>
                    <a:pt x="3403" y="1418"/>
                  </a:moveTo>
                  <a:cubicBezTo>
                    <a:pt x="4127" y="1418"/>
                    <a:pt x="4757" y="2049"/>
                    <a:pt x="4757" y="2773"/>
                  </a:cubicBezTo>
                  <a:cubicBezTo>
                    <a:pt x="4757" y="3151"/>
                    <a:pt x="4600" y="3498"/>
                    <a:pt x="4379" y="3718"/>
                  </a:cubicBezTo>
                  <a:cubicBezTo>
                    <a:pt x="5009" y="4065"/>
                    <a:pt x="5451" y="4758"/>
                    <a:pt x="5451" y="5546"/>
                  </a:cubicBezTo>
                  <a:lnTo>
                    <a:pt x="5451" y="5892"/>
                  </a:lnTo>
                  <a:lnTo>
                    <a:pt x="5514" y="5892"/>
                  </a:lnTo>
                  <a:cubicBezTo>
                    <a:pt x="5514" y="6081"/>
                    <a:pt x="5356" y="6239"/>
                    <a:pt x="5167" y="6239"/>
                  </a:cubicBezTo>
                  <a:lnTo>
                    <a:pt x="1701" y="6239"/>
                  </a:lnTo>
                  <a:cubicBezTo>
                    <a:pt x="1512" y="6239"/>
                    <a:pt x="1355" y="6081"/>
                    <a:pt x="1355" y="5892"/>
                  </a:cubicBezTo>
                  <a:lnTo>
                    <a:pt x="1355" y="5546"/>
                  </a:lnTo>
                  <a:cubicBezTo>
                    <a:pt x="1355" y="4758"/>
                    <a:pt x="1764" y="4096"/>
                    <a:pt x="2395" y="3718"/>
                  </a:cubicBezTo>
                  <a:cubicBezTo>
                    <a:pt x="2174" y="3498"/>
                    <a:pt x="2016" y="3151"/>
                    <a:pt x="2016" y="2773"/>
                  </a:cubicBezTo>
                  <a:cubicBezTo>
                    <a:pt x="2016" y="2049"/>
                    <a:pt x="2647" y="1418"/>
                    <a:pt x="3403" y="1418"/>
                  </a:cubicBezTo>
                  <a:close/>
                  <a:moveTo>
                    <a:pt x="1040" y="1"/>
                  </a:moveTo>
                  <a:cubicBezTo>
                    <a:pt x="441" y="1"/>
                    <a:pt x="0" y="473"/>
                    <a:pt x="0" y="1009"/>
                  </a:cubicBezTo>
                  <a:lnTo>
                    <a:pt x="0" y="6554"/>
                  </a:lnTo>
                  <a:cubicBezTo>
                    <a:pt x="0" y="7152"/>
                    <a:pt x="473" y="7593"/>
                    <a:pt x="1040" y="7593"/>
                  </a:cubicBezTo>
                  <a:lnTo>
                    <a:pt x="10806" y="7593"/>
                  </a:lnTo>
                  <a:cubicBezTo>
                    <a:pt x="11373" y="7593"/>
                    <a:pt x="11815" y="7121"/>
                    <a:pt x="11815" y="6554"/>
                  </a:cubicBezTo>
                  <a:lnTo>
                    <a:pt x="11815" y="1009"/>
                  </a:lnTo>
                  <a:cubicBezTo>
                    <a:pt x="11783" y="473"/>
                    <a:pt x="11310" y="1"/>
                    <a:pt x="10743" y="1"/>
                  </a:cubicBezTo>
                  <a:lnTo>
                    <a:pt x="7593" y="1"/>
                  </a:lnTo>
                  <a:lnTo>
                    <a:pt x="7593" y="347"/>
                  </a:lnTo>
                  <a:cubicBezTo>
                    <a:pt x="7593" y="946"/>
                    <a:pt x="7120" y="1355"/>
                    <a:pt x="6585" y="1355"/>
                  </a:cubicBezTo>
                  <a:lnTo>
                    <a:pt x="5198" y="1355"/>
                  </a:lnTo>
                  <a:cubicBezTo>
                    <a:pt x="4600" y="1355"/>
                    <a:pt x="4190" y="883"/>
                    <a:pt x="4190" y="347"/>
                  </a:cubicBezTo>
                  <a:lnTo>
                    <a:pt x="41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72"/>
            <p:cNvSpPr/>
            <p:nvPr/>
          </p:nvSpPr>
          <p:spPr>
            <a:xfrm>
              <a:off x="4714975" y="3287125"/>
              <a:ext cx="122100" cy="70125"/>
            </a:xfrm>
            <a:custGeom>
              <a:avLst/>
              <a:gdLst/>
              <a:ahLst/>
              <a:cxnLst/>
              <a:rect l="l" t="t" r="r" b="b"/>
              <a:pathLst>
                <a:path w="4884" h="2805" extrusionOk="0">
                  <a:moveTo>
                    <a:pt x="693" y="1"/>
                  </a:moveTo>
                  <a:cubicBezTo>
                    <a:pt x="315" y="1"/>
                    <a:pt x="0" y="316"/>
                    <a:pt x="0" y="725"/>
                  </a:cubicBezTo>
                  <a:cubicBezTo>
                    <a:pt x="0" y="1104"/>
                    <a:pt x="315" y="1419"/>
                    <a:pt x="693" y="1419"/>
                  </a:cubicBezTo>
                  <a:lnTo>
                    <a:pt x="1418" y="1419"/>
                  </a:lnTo>
                  <a:lnTo>
                    <a:pt x="1418" y="2458"/>
                  </a:lnTo>
                  <a:cubicBezTo>
                    <a:pt x="1386" y="2647"/>
                    <a:pt x="1544" y="2805"/>
                    <a:pt x="1733" y="2805"/>
                  </a:cubicBezTo>
                  <a:lnTo>
                    <a:pt x="3119" y="2805"/>
                  </a:lnTo>
                  <a:cubicBezTo>
                    <a:pt x="3308" y="2805"/>
                    <a:pt x="3466" y="2647"/>
                    <a:pt x="3466" y="2458"/>
                  </a:cubicBezTo>
                  <a:lnTo>
                    <a:pt x="3466" y="1419"/>
                  </a:lnTo>
                  <a:lnTo>
                    <a:pt x="4159" y="1419"/>
                  </a:lnTo>
                  <a:cubicBezTo>
                    <a:pt x="4568" y="1419"/>
                    <a:pt x="4883" y="1104"/>
                    <a:pt x="4883" y="725"/>
                  </a:cubicBezTo>
                  <a:cubicBezTo>
                    <a:pt x="4883" y="316"/>
                    <a:pt x="4568"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72"/>
            <p:cNvSpPr/>
            <p:nvPr/>
          </p:nvSpPr>
          <p:spPr>
            <a:xfrm>
              <a:off x="4732300" y="3235150"/>
              <a:ext cx="86650" cy="35475"/>
            </a:xfrm>
            <a:custGeom>
              <a:avLst/>
              <a:gdLst/>
              <a:ahLst/>
              <a:cxnLst/>
              <a:rect l="l" t="t" r="r" b="b"/>
              <a:pathLst>
                <a:path w="3466" h="1419" extrusionOk="0">
                  <a:moveTo>
                    <a:pt x="378" y="1"/>
                  </a:moveTo>
                  <a:cubicBezTo>
                    <a:pt x="158" y="1"/>
                    <a:pt x="0" y="158"/>
                    <a:pt x="0" y="347"/>
                  </a:cubicBezTo>
                  <a:lnTo>
                    <a:pt x="0" y="1418"/>
                  </a:lnTo>
                  <a:lnTo>
                    <a:pt x="3466" y="1418"/>
                  </a:lnTo>
                  <a:lnTo>
                    <a:pt x="3466" y="347"/>
                  </a:lnTo>
                  <a:cubicBezTo>
                    <a:pt x="3466" y="158"/>
                    <a:pt x="3308"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03" name="Google Shape;7003;p72"/>
          <p:cNvGrpSpPr/>
          <p:nvPr/>
        </p:nvGrpSpPr>
        <p:grpSpPr>
          <a:xfrm>
            <a:off x="6206082" y="3179175"/>
            <a:ext cx="349163" cy="349133"/>
            <a:chOff x="4628325" y="3599825"/>
            <a:chExt cx="295400" cy="295375"/>
          </a:xfrm>
        </p:grpSpPr>
        <p:sp>
          <p:nvSpPr>
            <p:cNvPr id="7004" name="Google Shape;7004;p72"/>
            <p:cNvSpPr/>
            <p:nvPr/>
          </p:nvSpPr>
          <p:spPr>
            <a:xfrm>
              <a:off x="4679525" y="3686450"/>
              <a:ext cx="17350" cy="86675"/>
            </a:xfrm>
            <a:custGeom>
              <a:avLst/>
              <a:gdLst/>
              <a:ahLst/>
              <a:cxnLst/>
              <a:rect l="l" t="t" r="r" b="b"/>
              <a:pathLst>
                <a:path w="694" h="3467" extrusionOk="0">
                  <a:moveTo>
                    <a:pt x="0" y="1"/>
                  </a:moveTo>
                  <a:lnTo>
                    <a:pt x="0" y="3466"/>
                  </a:lnTo>
                  <a:lnTo>
                    <a:pt x="694" y="3466"/>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2"/>
            <p:cNvSpPr/>
            <p:nvPr/>
          </p:nvSpPr>
          <p:spPr>
            <a:xfrm>
              <a:off x="4854375" y="3686450"/>
              <a:ext cx="18150" cy="86675"/>
            </a:xfrm>
            <a:custGeom>
              <a:avLst/>
              <a:gdLst/>
              <a:ahLst/>
              <a:cxnLst/>
              <a:rect l="l" t="t" r="r" b="b"/>
              <a:pathLst>
                <a:path w="726" h="3467" extrusionOk="0">
                  <a:moveTo>
                    <a:pt x="1" y="1"/>
                  </a:moveTo>
                  <a:lnTo>
                    <a:pt x="1" y="3466"/>
                  </a:lnTo>
                  <a:lnTo>
                    <a:pt x="725" y="3466"/>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2"/>
            <p:cNvSpPr/>
            <p:nvPr/>
          </p:nvSpPr>
          <p:spPr>
            <a:xfrm>
              <a:off x="4679525" y="3790425"/>
              <a:ext cx="17350" cy="104000"/>
            </a:xfrm>
            <a:custGeom>
              <a:avLst/>
              <a:gdLst/>
              <a:ahLst/>
              <a:cxnLst/>
              <a:rect l="l" t="t" r="r" b="b"/>
              <a:pathLst>
                <a:path w="694" h="4160" extrusionOk="0">
                  <a:moveTo>
                    <a:pt x="0" y="0"/>
                  </a:moveTo>
                  <a:lnTo>
                    <a:pt x="0" y="4159"/>
                  </a:lnTo>
                  <a:lnTo>
                    <a:pt x="694" y="4159"/>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2"/>
            <p:cNvSpPr/>
            <p:nvPr/>
          </p:nvSpPr>
          <p:spPr>
            <a:xfrm>
              <a:off x="4854375" y="3790425"/>
              <a:ext cx="18150" cy="104000"/>
            </a:xfrm>
            <a:custGeom>
              <a:avLst/>
              <a:gdLst/>
              <a:ahLst/>
              <a:cxnLst/>
              <a:rect l="l" t="t" r="r" b="b"/>
              <a:pathLst>
                <a:path w="726" h="4160" extrusionOk="0">
                  <a:moveTo>
                    <a:pt x="1" y="0"/>
                  </a:moveTo>
                  <a:lnTo>
                    <a:pt x="1" y="4159"/>
                  </a:lnTo>
                  <a:lnTo>
                    <a:pt x="725" y="4159"/>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2"/>
            <p:cNvSpPr/>
            <p:nvPr/>
          </p:nvSpPr>
          <p:spPr>
            <a:xfrm>
              <a:off x="4628325" y="3686450"/>
              <a:ext cx="34675" cy="86675"/>
            </a:xfrm>
            <a:custGeom>
              <a:avLst/>
              <a:gdLst/>
              <a:ahLst/>
              <a:cxnLst/>
              <a:rect l="l" t="t" r="r" b="b"/>
              <a:pathLst>
                <a:path w="1387" h="3467" extrusionOk="0">
                  <a:moveTo>
                    <a:pt x="1009" y="1"/>
                  </a:moveTo>
                  <a:cubicBezTo>
                    <a:pt x="442" y="1"/>
                    <a:pt x="1" y="442"/>
                    <a:pt x="1" y="1009"/>
                  </a:cubicBezTo>
                  <a:lnTo>
                    <a:pt x="1" y="2049"/>
                  </a:lnTo>
                  <a:cubicBezTo>
                    <a:pt x="1" y="2427"/>
                    <a:pt x="158" y="2773"/>
                    <a:pt x="442" y="3025"/>
                  </a:cubicBezTo>
                  <a:cubicBezTo>
                    <a:pt x="662" y="3340"/>
                    <a:pt x="1009" y="3466"/>
                    <a:pt x="1387" y="3466"/>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2"/>
            <p:cNvSpPr/>
            <p:nvPr/>
          </p:nvSpPr>
          <p:spPr>
            <a:xfrm>
              <a:off x="4714975" y="3686450"/>
              <a:ext cx="122100" cy="86675"/>
            </a:xfrm>
            <a:custGeom>
              <a:avLst/>
              <a:gdLst/>
              <a:ahLst/>
              <a:cxnLst/>
              <a:rect l="l" t="t" r="r" b="b"/>
              <a:pathLst>
                <a:path w="4884" h="3467" extrusionOk="0">
                  <a:moveTo>
                    <a:pt x="0" y="1"/>
                  </a:moveTo>
                  <a:lnTo>
                    <a:pt x="0" y="3466"/>
                  </a:lnTo>
                  <a:lnTo>
                    <a:pt x="4883" y="3466"/>
                  </a:lnTo>
                  <a:lnTo>
                    <a:pt x="4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2"/>
            <p:cNvSpPr/>
            <p:nvPr/>
          </p:nvSpPr>
          <p:spPr>
            <a:xfrm>
              <a:off x="4889025" y="3777825"/>
              <a:ext cx="34700" cy="117375"/>
            </a:xfrm>
            <a:custGeom>
              <a:avLst/>
              <a:gdLst/>
              <a:ahLst/>
              <a:cxnLst/>
              <a:rect l="l" t="t" r="r" b="b"/>
              <a:pathLst>
                <a:path w="1388" h="4695" extrusionOk="0">
                  <a:moveTo>
                    <a:pt x="1387" y="0"/>
                  </a:moveTo>
                  <a:cubicBezTo>
                    <a:pt x="977" y="315"/>
                    <a:pt x="505" y="504"/>
                    <a:pt x="1" y="504"/>
                  </a:cubicBezTo>
                  <a:lnTo>
                    <a:pt x="1" y="4695"/>
                  </a:lnTo>
                  <a:lnTo>
                    <a:pt x="347" y="4695"/>
                  </a:lnTo>
                  <a:cubicBezTo>
                    <a:pt x="946" y="4695"/>
                    <a:pt x="1387" y="4222"/>
                    <a:pt x="1387" y="3655"/>
                  </a:cubicBez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72"/>
            <p:cNvSpPr/>
            <p:nvPr/>
          </p:nvSpPr>
          <p:spPr>
            <a:xfrm>
              <a:off x="4628325" y="3777825"/>
              <a:ext cx="34675" cy="116600"/>
            </a:xfrm>
            <a:custGeom>
              <a:avLst/>
              <a:gdLst/>
              <a:ahLst/>
              <a:cxnLst/>
              <a:rect l="l" t="t" r="r" b="b"/>
              <a:pathLst>
                <a:path w="1387" h="4664" extrusionOk="0">
                  <a:moveTo>
                    <a:pt x="1" y="0"/>
                  </a:moveTo>
                  <a:lnTo>
                    <a:pt x="1" y="3655"/>
                  </a:lnTo>
                  <a:cubicBezTo>
                    <a:pt x="1" y="4222"/>
                    <a:pt x="442" y="4663"/>
                    <a:pt x="1009" y="4663"/>
                  </a:cubicBezTo>
                  <a:lnTo>
                    <a:pt x="1387" y="4663"/>
                  </a:lnTo>
                  <a:lnTo>
                    <a:pt x="1387" y="504"/>
                  </a:lnTo>
                  <a:cubicBezTo>
                    <a:pt x="851" y="504"/>
                    <a:pt x="379" y="31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72"/>
            <p:cNvSpPr/>
            <p:nvPr/>
          </p:nvSpPr>
          <p:spPr>
            <a:xfrm>
              <a:off x="4766950" y="3790425"/>
              <a:ext cx="17350" cy="18150"/>
            </a:xfrm>
            <a:custGeom>
              <a:avLst/>
              <a:gdLst/>
              <a:ahLst/>
              <a:cxnLst/>
              <a:rect l="l" t="t" r="r" b="b"/>
              <a:pathLst>
                <a:path w="694" h="726" extrusionOk="0">
                  <a:moveTo>
                    <a:pt x="1" y="0"/>
                  </a:moveTo>
                  <a:lnTo>
                    <a:pt x="1" y="347"/>
                  </a:lnTo>
                  <a:cubicBezTo>
                    <a:pt x="1" y="568"/>
                    <a:pt x="158" y="725"/>
                    <a:pt x="347" y="725"/>
                  </a:cubicBezTo>
                  <a:cubicBezTo>
                    <a:pt x="568" y="725"/>
                    <a:pt x="694" y="568"/>
                    <a:pt x="694" y="347"/>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2"/>
            <p:cNvSpPr/>
            <p:nvPr/>
          </p:nvSpPr>
          <p:spPr>
            <a:xfrm>
              <a:off x="4889025" y="3686450"/>
              <a:ext cx="34700" cy="86675"/>
            </a:xfrm>
            <a:custGeom>
              <a:avLst/>
              <a:gdLst/>
              <a:ahLst/>
              <a:cxnLst/>
              <a:rect l="l" t="t" r="r" b="b"/>
              <a:pathLst>
                <a:path w="1388" h="3467" extrusionOk="0">
                  <a:moveTo>
                    <a:pt x="1" y="1"/>
                  </a:moveTo>
                  <a:lnTo>
                    <a:pt x="1" y="3466"/>
                  </a:lnTo>
                  <a:cubicBezTo>
                    <a:pt x="347" y="3466"/>
                    <a:pt x="662" y="3340"/>
                    <a:pt x="946" y="3088"/>
                  </a:cubicBezTo>
                  <a:cubicBezTo>
                    <a:pt x="1229" y="2836"/>
                    <a:pt x="1387" y="2458"/>
                    <a:pt x="1387" y="2080"/>
                  </a:cubicBezTo>
                  <a:lnTo>
                    <a:pt x="1387" y="1040"/>
                  </a:lnTo>
                  <a:cubicBezTo>
                    <a:pt x="1387" y="442"/>
                    <a:pt x="91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2"/>
            <p:cNvSpPr/>
            <p:nvPr/>
          </p:nvSpPr>
          <p:spPr>
            <a:xfrm>
              <a:off x="4714975" y="3790425"/>
              <a:ext cx="122100" cy="104000"/>
            </a:xfrm>
            <a:custGeom>
              <a:avLst/>
              <a:gdLst/>
              <a:ahLst/>
              <a:cxnLst/>
              <a:rect l="l" t="t" r="r" b="b"/>
              <a:pathLst>
                <a:path w="4884" h="4160" extrusionOk="0">
                  <a:moveTo>
                    <a:pt x="0" y="0"/>
                  </a:moveTo>
                  <a:lnTo>
                    <a:pt x="0" y="4159"/>
                  </a:lnTo>
                  <a:lnTo>
                    <a:pt x="4883" y="4159"/>
                  </a:lnTo>
                  <a:lnTo>
                    <a:pt x="4883" y="0"/>
                  </a:lnTo>
                  <a:lnTo>
                    <a:pt x="3466" y="0"/>
                  </a:lnTo>
                  <a:lnTo>
                    <a:pt x="3466" y="347"/>
                  </a:lnTo>
                  <a:cubicBezTo>
                    <a:pt x="3466" y="946"/>
                    <a:pt x="2993" y="1387"/>
                    <a:pt x="2426" y="1387"/>
                  </a:cubicBezTo>
                  <a:cubicBezTo>
                    <a:pt x="1827" y="1387"/>
                    <a:pt x="1418" y="914"/>
                    <a:pt x="1418" y="347"/>
                  </a:cubicBez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2"/>
            <p:cNvSpPr/>
            <p:nvPr/>
          </p:nvSpPr>
          <p:spPr>
            <a:xfrm>
              <a:off x="4714175" y="3599825"/>
              <a:ext cx="122100" cy="69325"/>
            </a:xfrm>
            <a:custGeom>
              <a:avLst/>
              <a:gdLst/>
              <a:ahLst/>
              <a:cxnLst/>
              <a:rect l="l" t="t" r="r" b="b"/>
              <a:pathLst>
                <a:path w="4884" h="2773" extrusionOk="0">
                  <a:moveTo>
                    <a:pt x="2427" y="0"/>
                  </a:moveTo>
                  <a:cubicBezTo>
                    <a:pt x="1103" y="0"/>
                    <a:pt x="1" y="1103"/>
                    <a:pt x="1" y="2426"/>
                  </a:cubicBezTo>
                  <a:lnTo>
                    <a:pt x="1" y="2773"/>
                  </a:lnTo>
                  <a:lnTo>
                    <a:pt x="1355" y="2773"/>
                  </a:lnTo>
                  <a:lnTo>
                    <a:pt x="1355" y="2426"/>
                  </a:lnTo>
                  <a:cubicBezTo>
                    <a:pt x="1355" y="1828"/>
                    <a:pt x="1828" y="1418"/>
                    <a:pt x="2395" y="1418"/>
                  </a:cubicBezTo>
                  <a:cubicBezTo>
                    <a:pt x="2994" y="1418"/>
                    <a:pt x="3403" y="1891"/>
                    <a:pt x="3403" y="2426"/>
                  </a:cubicBezTo>
                  <a:lnTo>
                    <a:pt x="3403" y="2773"/>
                  </a:lnTo>
                  <a:lnTo>
                    <a:pt x="4884" y="2773"/>
                  </a:lnTo>
                  <a:lnTo>
                    <a:pt x="4884" y="2426"/>
                  </a:ln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16" name="Google Shape;7016;p72"/>
          <p:cNvGrpSpPr/>
          <p:nvPr/>
        </p:nvGrpSpPr>
        <p:grpSpPr>
          <a:xfrm>
            <a:off x="6227033" y="3654786"/>
            <a:ext cx="307261" cy="350079"/>
            <a:chOff x="4645650" y="3962900"/>
            <a:chExt cx="259950" cy="296175"/>
          </a:xfrm>
        </p:grpSpPr>
        <p:sp>
          <p:nvSpPr>
            <p:cNvPr id="7017" name="Google Shape;7017;p72"/>
            <p:cNvSpPr/>
            <p:nvPr/>
          </p:nvSpPr>
          <p:spPr>
            <a:xfrm>
              <a:off x="4853600" y="4155100"/>
              <a:ext cx="52000" cy="103975"/>
            </a:xfrm>
            <a:custGeom>
              <a:avLst/>
              <a:gdLst/>
              <a:ahLst/>
              <a:cxnLst/>
              <a:rect l="l" t="t" r="r" b="b"/>
              <a:pathLst>
                <a:path w="2080" h="4159" extrusionOk="0">
                  <a:moveTo>
                    <a:pt x="0" y="0"/>
                  </a:moveTo>
                  <a:lnTo>
                    <a:pt x="0" y="4159"/>
                  </a:lnTo>
                  <a:lnTo>
                    <a:pt x="1733" y="4159"/>
                  </a:lnTo>
                  <a:cubicBezTo>
                    <a:pt x="1922" y="4159"/>
                    <a:pt x="2079" y="4001"/>
                    <a:pt x="2079" y="3812"/>
                  </a:cubicBezTo>
                  <a:lnTo>
                    <a:pt x="2079" y="1733"/>
                  </a:lnTo>
                  <a:cubicBezTo>
                    <a:pt x="2079" y="788"/>
                    <a:pt x="129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2"/>
            <p:cNvSpPr/>
            <p:nvPr/>
          </p:nvSpPr>
          <p:spPr>
            <a:xfrm>
              <a:off x="4714975" y="4155100"/>
              <a:ext cx="121300" cy="50625"/>
            </a:xfrm>
            <a:custGeom>
              <a:avLst/>
              <a:gdLst/>
              <a:ahLst/>
              <a:cxnLst/>
              <a:rect l="l" t="t" r="r" b="b"/>
              <a:pathLst>
                <a:path w="4852" h="2025" extrusionOk="0">
                  <a:moveTo>
                    <a:pt x="0" y="0"/>
                  </a:moveTo>
                  <a:lnTo>
                    <a:pt x="0" y="1481"/>
                  </a:lnTo>
                  <a:cubicBezTo>
                    <a:pt x="772" y="1843"/>
                    <a:pt x="1599" y="2024"/>
                    <a:pt x="2426" y="2024"/>
                  </a:cubicBezTo>
                  <a:cubicBezTo>
                    <a:pt x="3253" y="2024"/>
                    <a:pt x="4080" y="1843"/>
                    <a:pt x="4852" y="1481"/>
                  </a:cubicBezTo>
                  <a:lnTo>
                    <a:pt x="4852" y="0"/>
                  </a:lnTo>
                  <a:lnTo>
                    <a:pt x="4789" y="0"/>
                  </a:lnTo>
                  <a:cubicBezTo>
                    <a:pt x="4348" y="410"/>
                    <a:pt x="3781" y="693"/>
                    <a:pt x="3119" y="693"/>
                  </a:cubicBezTo>
                  <a:lnTo>
                    <a:pt x="1733" y="693"/>
                  </a:lnTo>
                  <a:cubicBezTo>
                    <a:pt x="1071" y="693"/>
                    <a:pt x="473" y="410"/>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2"/>
            <p:cNvSpPr/>
            <p:nvPr/>
          </p:nvSpPr>
          <p:spPr>
            <a:xfrm>
              <a:off x="4714975" y="4211025"/>
              <a:ext cx="121300" cy="48050"/>
            </a:xfrm>
            <a:custGeom>
              <a:avLst/>
              <a:gdLst/>
              <a:ahLst/>
              <a:cxnLst/>
              <a:rect l="l" t="t" r="r" b="b"/>
              <a:pathLst>
                <a:path w="4852" h="1922" extrusionOk="0">
                  <a:moveTo>
                    <a:pt x="0" y="0"/>
                  </a:moveTo>
                  <a:lnTo>
                    <a:pt x="0" y="1922"/>
                  </a:lnTo>
                  <a:lnTo>
                    <a:pt x="4852" y="1922"/>
                  </a:lnTo>
                  <a:lnTo>
                    <a:pt x="4852" y="0"/>
                  </a:lnTo>
                  <a:cubicBezTo>
                    <a:pt x="4080" y="315"/>
                    <a:pt x="3253" y="473"/>
                    <a:pt x="2426" y="473"/>
                  </a:cubicBezTo>
                  <a:cubicBezTo>
                    <a:pt x="1599" y="473"/>
                    <a:pt x="772" y="31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2"/>
            <p:cNvSpPr/>
            <p:nvPr/>
          </p:nvSpPr>
          <p:spPr>
            <a:xfrm>
              <a:off x="4645650" y="4154300"/>
              <a:ext cx="52025" cy="104775"/>
            </a:xfrm>
            <a:custGeom>
              <a:avLst/>
              <a:gdLst/>
              <a:ahLst/>
              <a:cxnLst/>
              <a:rect l="l" t="t" r="r" b="b"/>
              <a:pathLst>
                <a:path w="2081" h="4191" extrusionOk="0">
                  <a:moveTo>
                    <a:pt x="1734" y="1"/>
                  </a:moveTo>
                  <a:cubicBezTo>
                    <a:pt x="757" y="32"/>
                    <a:pt x="1" y="757"/>
                    <a:pt x="1" y="1765"/>
                  </a:cubicBezTo>
                  <a:lnTo>
                    <a:pt x="1" y="3844"/>
                  </a:lnTo>
                  <a:cubicBezTo>
                    <a:pt x="1" y="4033"/>
                    <a:pt x="158" y="4191"/>
                    <a:pt x="379" y="4191"/>
                  </a:cubicBezTo>
                  <a:lnTo>
                    <a:pt x="2080" y="419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2"/>
            <p:cNvSpPr/>
            <p:nvPr/>
          </p:nvSpPr>
          <p:spPr>
            <a:xfrm>
              <a:off x="4722850" y="4049550"/>
              <a:ext cx="103975" cy="105575"/>
            </a:xfrm>
            <a:custGeom>
              <a:avLst/>
              <a:gdLst/>
              <a:ahLst/>
              <a:cxnLst/>
              <a:rect l="l" t="t" r="r" b="b"/>
              <a:pathLst>
                <a:path w="4159" h="4223" extrusionOk="0">
                  <a:moveTo>
                    <a:pt x="2080" y="1"/>
                  </a:moveTo>
                  <a:cubicBezTo>
                    <a:pt x="1765" y="442"/>
                    <a:pt x="1260" y="694"/>
                    <a:pt x="693" y="694"/>
                  </a:cubicBezTo>
                  <a:lnTo>
                    <a:pt x="0" y="694"/>
                  </a:lnTo>
                  <a:lnTo>
                    <a:pt x="0" y="3498"/>
                  </a:lnTo>
                  <a:cubicBezTo>
                    <a:pt x="347" y="3939"/>
                    <a:pt x="851" y="4222"/>
                    <a:pt x="1418" y="4222"/>
                  </a:cubicBezTo>
                  <a:lnTo>
                    <a:pt x="2804" y="4222"/>
                  </a:lnTo>
                  <a:cubicBezTo>
                    <a:pt x="3340" y="4222"/>
                    <a:pt x="3844" y="3939"/>
                    <a:pt x="4159" y="3498"/>
                  </a:cubicBezTo>
                  <a:lnTo>
                    <a:pt x="4159" y="694"/>
                  </a:lnTo>
                  <a:lnTo>
                    <a:pt x="3466" y="694"/>
                  </a:lnTo>
                  <a:cubicBezTo>
                    <a:pt x="2899" y="694"/>
                    <a:pt x="2395" y="442"/>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2"/>
            <p:cNvSpPr/>
            <p:nvPr/>
          </p:nvSpPr>
          <p:spPr>
            <a:xfrm>
              <a:off x="4678725" y="3962900"/>
              <a:ext cx="190650" cy="174100"/>
            </a:xfrm>
            <a:custGeom>
              <a:avLst/>
              <a:gdLst/>
              <a:ahLst/>
              <a:cxnLst/>
              <a:rect l="l" t="t" r="r" b="b"/>
              <a:pathLst>
                <a:path w="7626" h="6964" extrusionOk="0">
                  <a:moveTo>
                    <a:pt x="3813" y="1"/>
                  </a:moveTo>
                  <a:cubicBezTo>
                    <a:pt x="1734" y="1"/>
                    <a:pt x="1" y="1702"/>
                    <a:pt x="1" y="3813"/>
                  </a:cubicBezTo>
                  <a:lnTo>
                    <a:pt x="1" y="5955"/>
                  </a:lnTo>
                  <a:lnTo>
                    <a:pt x="64" y="5955"/>
                  </a:lnTo>
                  <a:cubicBezTo>
                    <a:pt x="64" y="6522"/>
                    <a:pt x="537" y="6964"/>
                    <a:pt x="1104" y="6964"/>
                  </a:cubicBezTo>
                  <a:lnTo>
                    <a:pt x="1104" y="3813"/>
                  </a:lnTo>
                  <a:cubicBezTo>
                    <a:pt x="1104" y="3624"/>
                    <a:pt x="1261" y="3467"/>
                    <a:pt x="1450" y="3467"/>
                  </a:cubicBezTo>
                  <a:lnTo>
                    <a:pt x="2458" y="3467"/>
                  </a:lnTo>
                  <a:cubicBezTo>
                    <a:pt x="3057" y="3467"/>
                    <a:pt x="3498" y="2994"/>
                    <a:pt x="3498" y="2427"/>
                  </a:cubicBezTo>
                  <a:lnTo>
                    <a:pt x="3498" y="1734"/>
                  </a:lnTo>
                  <a:cubicBezTo>
                    <a:pt x="3498" y="1545"/>
                    <a:pt x="3656" y="1387"/>
                    <a:pt x="3845" y="1387"/>
                  </a:cubicBezTo>
                  <a:cubicBezTo>
                    <a:pt x="4034" y="1387"/>
                    <a:pt x="4191" y="1545"/>
                    <a:pt x="4191" y="1734"/>
                  </a:cubicBezTo>
                  <a:lnTo>
                    <a:pt x="4191" y="2427"/>
                  </a:lnTo>
                  <a:cubicBezTo>
                    <a:pt x="4191" y="3025"/>
                    <a:pt x="4664" y="3467"/>
                    <a:pt x="5231" y="3467"/>
                  </a:cubicBezTo>
                  <a:lnTo>
                    <a:pt x="6239" y="3467"/>
                  </a:lnTo>
                  <a:cubicBezTo>
                    <a:pt x="6459" y="3467"/>
                    <a:pt x="6617" y="3624"/>
                    <a:pt x="6617" y="3813"/>
                  </a:cubicBezTo>
                  <a:lnTo>
                    <a:pt x="6617" y="6964"/>
                  </a:lnTo>
                  <a:cubicBezTo>
                    <a:pt x="7184" y="6964"/>
                    <a:pt x="7625" y="6491"/>
                    <a:pt x="7625" y="5955"/>
                  </a:cubicBezTo>
                  <a:lnTo>
                    <a:pt x="7625" y="3813"/>
                  </a:lnTo>
                  <a:cubicBezTo>
                    <a:pt x="7625" y="1734"/>
                    <a:pt x="592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3" name="Google Shape;7023;p72"/>
          <p:cNvGrpSpPr/>
          <p:nvPr/>
        </p:nvGrpSpPr>
        <p:grpSpPr>
          <a:xfrm>
            <a:off x="7979994" y="3179648"/>
            <a:ext cx="349133" cy="348188"/>
            <a:chOff x="6143725" y="3582500"/>
            <a:chExt cx="295375" cy="294575"/>
          </a:xfrm>
        </p:grpSpPr>
        <p:sp>
          <p:nvSpPr>
            <p:cNvPr id="7024" name="Google Shape;7024;p72"/>
            <p:cNvSpPr/>
            <p:nvPr/>
          </p:nvSpPr>
          <p:spPr>
            <a:xfrm>
              <a:off x="6143725" y="3720325"/>
              <a:ext cx="295375" cy="156750"/>
            </a:xfrm>
            <a:custGeom>
              <a:avLst/>
              <a:gdLst/>
              <a:ahLst/>
              <a:cxnLst/>
              <a:rect l="l" t="t" r="r" b="b"/>
              <a:pathLst>
                <a:path w="11815" h="6270" extrusionOk="0">
                  <a:moveTo>
                    <a:pt x="7309" y="1418"/>
                  </a:moveTo>
                  <a:cubicBezTo>
                    <a:pt x="7908" y="1418"/>
                    <a:pt x="8349" y="1891"/>
                    <a:pt x="8349" y="2458"/>
                  </a:cubicBezTo>
                  <a:cubicBezTo>
                    <a:pt x="8349" y="2993"/>
                    <a:pt x="7845" y="3466"/>
                    <a:pt x="7309" y="3466"/>
                  </a:cubicBezTo>
                  <a:lnTo>
                    <a:pt x="4474" y="3466"/>
                  </a:lnTo>
                  <a:cubicBezTo>
                    <a:pt x="3875" y="3466"/>
                    <a:pt x="3434" y="2993"/>
                    <a:pt x="3434" y="2458"/>
                  </a:cubicBezTo>
                  <a:cubicBezTo>
                    <a:pt x="3434" y="1859"/>
                    <a:pt x="3907" y="1418"/>
                    <a:pt x="4474" y="1418"/>
                  </a:cubicBezTo>
                  <a:close/>
                  <a:moveTo>
                    <a:pt x="1008" y="1"/>
                  </a:moveTo>
                  <a:cubicBezTo>
                    <a:pt x="410" y="1"/>
                    <a:pt x="0" y="473"/>
                    <a:pt x="0" y="1040"/>
                  </a:cubicBezTo>
                  <a:lnTo>
                    <a:pt x="0" y="5262"/>
                  </a:lnTo>
                  <a:cubicBezTo>
                    <a:pt x="0" y="5829"/>
                    <a:pt x="473" y="6270"/>
                    <a:pt x="1008" y="6270"/>
                  </a:cubicBezTo>
                  <a:lnTo>
                    <a:pt x="10775" y="6270"/>
                  </a:lnTo>
                  <a:cubicBezTo>
                    <a:pt x="11373" y="6270"/>
                    <a:pt x="11815" y="5797"/>
                    <a:pt x="11815" y="5262"/>
                  </a:cubicBezTo>
                  <a:lnTo>
                    <a:pt x="11815" y="1040"/>
                  </a:lnTo>
                  <a:cubicBezTo>
                    <a:pt x="11783" y="473"/>
                    <a:pt x="11342" y="1"/>
                    <a:pt x="10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72"/>
            <p:cNvSpPr/>
            <p:nvPr/>
          </p:nvSpPr>
          <p:spPr>
            <a:xfrm>
              <a:off x="6246900" y="3773100"/>
              <a:ext cx="88225" cy="17350"/>
            </a:xfrm>
            <a:custGeom>
              <a:avLst/>
              <a:gdLst/>
              <a:ahLst/>
              <a:cxnLst/>
              <a:rect l="l" t="t" r="r" b="b"/>
              <a:pathLst>
                <a:path w="3529" h="694" extrusionOk="0">
                  <a:moveTo>
                    <a:pt x="347" y="0"/>
                  </a:moveTo>
                  <a:cubicBezTo>
                    <a:pt x="158" y="0"/>
                    <a:pt x="0" y="126"/>
                    <a:pt x="0" y="347"/>
                  </a:cubicBezTo>
                  <a:cubicBezTo>
                    <a:pt x="0" y="536"/>
                    <a:pt x="158" y="693"/>
                    <a:pt x="347" y="693"/>
                  </a:cubicBezTo>
                  <a:lnTo>
                    <a:pt x="3182" y="693"/>
                  </a:lnTo>
                  <a:cubicBezTo>
                    <a:pt x="3371" y="693"/>
                    <a:pt x="3529" y="536"/>
                    <a:pt x="3529" y="347"/>
                  </a:cubicBezTo>
                  <a:cubicBezTo>
                    <a:pt x="3529" y="126"/>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72"/>
            <p:cNvSpPr/>
            <p:nvPr/>
          </p:nvSpPr>
          <p:spPr>
            <a:xfrm>
              <a:off x="6161050" y="3582500"/>
              <a:ext cx="86650" cy="34675"/>
            </a:xfrm>
            <a:custGeom>
              <a:avLst/>
              <a:gdLst/>
              <a:ahLst/>
              <a:cxnLst/>
              <a:rect l="l" t="t" r="r" b="b"/>
              <a:pathLst>
                <a:path w="3466" h="1387" extrusionOk="0">
                  <a:moveTo>
                    <a:pt x="1008" y="0"/>
                  </a:moveTo>
                  <a:cubicBezTo>
                    <a:pt x="441" y="0"/>
                    <a:pt x="0" y="473"/>
                    <a:pt x="0" y="1040"/>
                  </a:cubicBezTo>
                  <a:lnTo>
                    <a:pt x="0" y="1386"/>
                  </a:lnTo>
                  <a:lnTo>
                    <a:pt x="3466" y="1386"/>
                  </a:lnTo>
                  <a:lnTo>
                    <a:pt x="3466" y="1040"/>
                  </a:lnTo>
                  <a:lnTo>
                    <a:pt x="3434" y="1040"/>
                  </a:lnTo>
                  <a:cubicBezTo>
                    <a:pt x="3434" y="441"/>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2"/>
            <p:cNvSpPr/>
            <p:nvPr/>
          </p:nvSpPr>
          <p:spPr>
            <a:xfrm>
              <a:off x="6160250" y="3633675"/>
              <a:ext cx="86675" cy="69350"/>
            </a:xfrm>
            <a:custGeom>
              <a:avLst/>
              <a:gdLst/>
              <a:ahLst/>
              <a:cxnLst/>
              <a:rect l="l" t="t" r="r" b="b"/>
              <a:pathLst>
                <a:path w="3467" h="2774" extrusionOk="0">
                  <a:moveTo>
                    <a:pt x="2112" y="726"/>
                  </a:moveTo>
                  <a:cubicBezTo>
                    <a:pt x="2332" y="726"/>
                    <a:pt x="2458" y="883"/>
                    <a:pt x="2458" y="1072"/>
                  </a:cubicBezTo>
                  <a:cubicBezTo>
                    <a:pt x="2458" y="1261"/>
                    <a:pt x="2332" y="1419"/>
                    <a:pt x="2112" y="1419"/>
                  </a:cubicBezTo>
                  <a:lnTo>
                    <a:pt x="1419" y="1419"/>
                  </a:lnTo>
                  <a:cubicBezTo>
                    <a:pt x="1230" y="1419"/>
                    <a:pt x="1072" y="1261"/>
                    <a:pt x="1072" y="1072"/>
                  </a:cubicBezTo>
                  <a:cubicBezTo>
                    <a:pt x="1072" y="883"/>
                    <a:pt x="1230" y="726"/>
                    <a:pt x="1419" y="726"/>
                  </a:cubicBezTo>
                  <a:close/>
                  <a:moveTo>
                    <a:pt x="1" y="1"/>
                  </a:moveTo>
                  <a:lnTo>
                    <a:pt x="1" y="2773"/>
                  </a:lnTo>
                  <a:lnTo>
                    <a:pt x="3466" y="2773"/>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2"/>
            <p:cNvSpPr/>
            <p:nvPr/>
          </p:nvSpPr>
          <p:spPr>
            <a:xfrm>
              <a:off x="6336675" y="3599025"/>
              <a:ext cx="85875" cy="69350"/>
            </a:xfrm>
            <a:custGeom>
              <a:avLst/>
              <a:gdLst/>
              <a:ahLst/>
              <a:cxnLst/>
              <a:rect l="l" t="t" r="r" b="b"/>
              <a:pathLst>
                <a:path w="3435" h="2774" extrusionOk="0">
                  <a:moveTo>
                    <a:pt x="1986" y="1387"/>
                  </a:moveTo>
                  <a:cubicBezTo>
                    <a:pt x="2206" y="1387"/>
                    <a:pt x="2364" y="1545"/>
                    <a:pt x="2364" y="1765"/>
                  </a:cubicBezTo>
                  <a:cubicBezTo>
                    <a:pt x="2364" y="1954"/>
                    <a:pt x="2206" y="2112"/>
                    <a:pt x="1986" y="2112"/>
                  </a:cubicBezTo>
                  <a:lnTo>
                    <a:pt x="1293" y="2112"/>
                  </a:lnTo>
                  <a:cubicBezTo>
                    <a:pt x="1104" y="2112"/>
                    <a:pt x="946" y="1954"/>
                    <a:pt x="946" y="1765"/>
                  </a:cubicBezTo>
                  <a:cubicBezTo>
                    <a:pt x="946" y="1545"/>
                    <a:pt x="1104" y="1387"/>
                    <a:pt x="1293" y="1387"/>
                  </a:cubicBezTo>
                  <a:close/>
                  <a:moveTo>
                    <a:pt x="1009" y="1"/>
                  </a:moveTo>
                  <a:cubicBezTo>
                    <a:pt x="410" y="1"/>
                    <a:pt x="1" y="473"/>
                    <a:pt x="1" y="1040"/>
                  </a:cubicBezTo>
                  <a:lnTo>
                    <a:pt x="1" y="2773"/>
                  </a:lnTo>
                  <a:lnTo>
                    <a:pt x="3435" y="2773"/>
                  </a:lnTo>
                  <a:lnTo>
                    <a:pt x="3435" y="1040"/>
                  </a:lnTo>
                  <a:lnTo>
                    <a:pt x="3403" y="1040"/>
                  </a:lnTo>
                  <a:cubicBezTo>
                    <a:pt x="3403" y="442"/>
                    <a:pt x="293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2"/>
            <p:cNvSpPr/>
            <p:nvPr/>
          </p:nvSpPr>
          <p:spPr>
            <a:xfrm>
              <a:off x="6335100" y="3686450"/>
              <a:ext cx="86675" cy="17350"/>
            </a:xfrm>
            <a:custGeom>
              <a:avLst/>
              <a:gdLst/>
              <a:ahLst/>
              <a:cxnLst/>
              <a:rect l="l" t="t" r="r" b="b"/>
              <a:pathLst>
                <a:path w="3467" h="694" extrusionOk="0">
                  <a:moveTo>
                    <a:pt x="1" y="1"/>
                  </a:moveTo>
                  <a:lnTo>
                    <a:pt x="1" y="694"/>
                  </a:lnTo>
                  <a:lnTo>
                    <a:pt x="3466" y="694"/>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2"/>
            <p:cNvSpPr/>
            <p:nvPr/>
          </p:nvSpPr>
          <p:spPr>
            <a:xfrm>
              <a:off x="6264225" y="3617150"/>
              <a:ext cx="53575" cy="86650"/>
            </a:xfrm>
            <a:custGeom>
              <a:avLst/>
              <a:gdLst/>
              <a:ahLst/>
              <a:cxnLst/>
              <a:rect l="l" t="t" r="r" b="b"/>
              <a:pathLst>
                <a:path w="2143" h="3466" extrusionOk="0">
                  <a:moveTo>
                    <a:pt x="1072" y="0"/>
                  </a:moveTo>
                  <a:cubicBezTo>
                    <a:pt x="473" y="0"/>
                    <a:pt x="0" y="441"/>
                    <a:pt x="0" y="1040"/>
                  </a:cubicBezTo>
                  <a:lnTo>
                    <a:pt x="0" y="3466"/>
                  </a:lnTo>
                  <a:lnTo>
                    <a:pt x="2143" y="3466"/>
                  </a:lnTo>
                  <a:lnTo>
                    <a:pt x="2143" y="1040"/>
                  </a:lnTo>
                  <a:cubicBezTo>
                    <a:pt x="2143" y="441"/>
                    <a:pt x="1670"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31" name="Google Shape;7031;p72"/>
          <p:cNvGrpSpPr/>
          <p:nvPr/>
        </p:nvGrpSpPr>
        <p:grpSpPr>
          <a:xfrm>
            <a:off x="5748820" y="1378987"/>
            <a:ext cx="350995" cy="350049"/>
            <a:chOff x="1310075" y="3253275"/>
            <a:chExt cx="296950" cy="296150"/>
          </a:xfrm>
        </p:grpSpPr>
        <p:sp>
          <p:nvSpPr>
            <p:cNvPr id="7032" name="Google Shape;7032;p72"/>
            <p:cNvSpPr/>
            <p:nvPr/>
          </p:nvSpPr>
          <p:spPr>
            <a:xfrm>
              <a:off x="1423475" y="3359600"/>
              <a:ext cx="69350" cy="68550"/>
            </a:xfrm>
            <a:custGeom>
              <a:avLst/>
              <a:gdLst/>
              <a:ahLst/>
              <a:cxnLst/>
              <a:rect l="l" t="t" r="r" b="b"/>
              <a:pathLst>
                <a:path w="2774" h="2742"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72"/>
            <p:cNvSpPr/>
            <p:nvPr/>
          </p:nvSpPr>
          <p:spPr>
            <a:xfrm>
              <a:off x="1310075" y="3253275"/>
              <a:ext cx="296950" cy="296150"/>
            </a:xfrm>
            <a:custGeom>
              <a:avLst/>
              <a:gdLst/>
              <a:ahLst/>
              <a:cxnLst/>
              <a:rect l="l" t="t" r="r" b="b"/>
              <a:pathLst>
                <a:path w="11878" h="11846" extrusionOk="0">
                  <a:moveTo>
                    <a:pt x="5923" y="2111"/>
                  </a:moveTo>
                  <a:cubicBezTo>
                    <a:pt x="8003" y="2111"/>
                    <a:pt x="9735" y="3812"/>
                    <a:pt x="9735" y="5923"/>
                  </a:cubicBezTo>
                  <a:cubicBezTo>
                    <a:pt x="9735" y="8034"/>
                    <a:pt x="8034" y="9767"/>
                    <a:pt x="5923" y="9767"/>
                  </a:cubicBezTo>
                  <a:cubicBezTo>
                    <a:pt x="3844" y="9767"/>
                    <a:pt x="2080" y="8065"/>
                    <a:pt x="2080" y="5923"/>
                  </a:cubicBezTo>
                  <a:cubicBezTo>
                    <a:pt x="2111" y="3844"/>
                    <a:pt x="3844" y="2111"/>
                    <a:pt x="5923" y="2111"/>
                  </a:cubicBezTo>
                  <a:close/>
                  <a:moveTo>
                    <a:pt x="5262" y="0"/>
                  </a:moveTo>
                  <a:cubicBezTo>
                    <a:pt x="5104" y="0"/>
                    <a:pt x="4947" y="95"/>
                    <a:pt x="4884" y="252"/>
                  </a:cubicBezTo>
                  <a:lnTo>
                    <a:pt x="4726" y="1166"/>
                  </a:lnTo>
                  <a:cubicBezTo>
                    <a:pt x="4253" y="1292"/>
                    <a:pt x="3844" y="1481"/>
                    <a:pt x="3434" y="1733"/>
                  </a:cubicBezTo>
                  <a:lnTo>
                    <a:pt x="2678" y="1197"/>
                  </a:lnTo>
                  <a:cubicBezTo>
                    <a:pt x="2641" y="1160"/>
                    <a:pt x="2584" y="1142"/>
                    <a:pt x="2523" y="1142"/>
                  </a:cubicBezTo>
                  <a:cubicBezTo>
                    <a:pt x="2429" y="1142"/>
                    <a:pt x="2326" y="1184"/>
                    <a:pt x="2269" y="1260"/>
                  </a:cubicBezTo>
                  <a:lnTo>
                    <a:pt x="1260" y="2237"/>
                  </a:lnTo>
                  <a:cubicBezTo>
                    <a:pt x="1166" y="2363"/>
                    <a:pt x="1166" y="2552"/>
                    <a:pt x="1229" y="2678"/>
                  </a:cubicBezTo>
                  <a:lnTo>
                    <a:pt x="1733" y="3403"/>
                  </a:lnTo>
                  <a:cubicBezTo>
                    <a:pt x="1512" y="3812"/>
                    <a:pt x="1323" y="4253"/>
                    <a:pt x="1197" y="4726"/>
                  </a:cubicBezTo>
                  <a:lnTo>
                    <a:pt x="284" y="4883"/>
                  </a:lnTo>
                  <a:cubicBezTo>
                    <a:pt x="126" y="4915"/>
                    <a:pt x="0" y="5041"/>
                    <a:pt x="0" y="5230"/>
                  </a:cubicBezTo>
                  <a:lnTo>
                    <a:pt x="0" y="6616"/>
                  </a:lnTo>
                  <a:cubicBezTo>
                    <a:pt x="0" y="6805"/>
                    <a:pt x="126" y="6963"/>
                    <a:pt x="284" y="6963"/>
                  </a:cubicBezTo>
                  <a:lnTo>
                    <a:pt x="1197" y="7120"/>
                  </a:lnTo>
                  <a:cubicBezTo>
                    <a:pt x="1292" y="7593"/>
                    <a:pt x="1512" y="8002"/>
                    <a:pt x="1733" y="8412"/>
                  </a:cubicBezTo>
                  <a:lnTo>
                    <a:pt x="1229" y="9168"/>
                  </a:lnTo>
                  <a:cubicBezTo>
                    <a:pt x="1103" y="9263"/>
                    <a:pt x="1166" y="9483"/>
                    <a:pt x="1260" y="9578"/>
                  </a:cubicBezTo>
                  <a:lnTo>
                    <a:pt x="2269" y="10586"/>
                  </a:lnTo>
                  <a:cubicBezTo>
                    <a:pt x="2321" y="10638"/>
                    <a:pt x="2411" y="10661"/>
                    <a:pt x="2497" y="10661"/>
                  </a:cubicBezTo>
                  <a:cubicBezTo>
                    <a:pt x="2568" y="10661"/>
                    <a:pt x="2636" y="10646"/>
                    <a:pt x="2678" y="10617"/>
                  </a:cubicBezTo>
                  <a:lnTo>
                    <a:pt x="3434" y="10113"/>
                  </a:lnTo>
                  <a:cubicBezTo>
                    <a:pt x="3844" y="10334"/>
                    <a:pt x="4253" y="10554"/>
                    <a:pt x="4726" y="10649"/>
                  </a:cubicBezTo>
                  <a:lnTo>
                    <a:pt x="4884" y="11562"/>
                  </a:lnTo>
                  <a:cubicBezTo>
                    <a:pt x="4947" y="11720"/>
                    <a:pt x="5041" y="11846"/>
                    <a:pt x="5262" y="11846"/>
                  </a:cubicBezTo>
                  <a:lnTo>
                    <a:pt x="6616" y="11846"/>
                  </a:lnTo>
                  <a:cubicBezTo>
                    <a:pt x="6774" y="11846"/>
                    <a:pt x="6931" y="11720"/>
                    <a:pt x="6994" y="11562"/>
                  </a:cubicBezTo>
                  <a:lnTo>
                    <a:pt x="7152" y="10649"/>
                  </a:lnTo>
                  <a:cubicBezTo>
                    <a:pt x="7624" y="10523"/>
                    <a:pt x="8034" y="10334"/>
                    <a:pt x="8444" y="10113"/>
                  </a:cubicBezTo>
                  <a:lnTo>
                    <a:pt x="9200" y="10617"/>
                  </a:lnTo>
                  <a:cubicBezTo>
                    <a:pt x="9242" y="10646"/>
                    <a:pt x="9310" y="10661"/>
                    <a:pt x="9381" y="10661"/>
                  </a:cubicBezTo>
                  <a:cubicBezTo>
                    <a:pt x="9467" y="10661"/>
                    <a:pt x="9557" y="10638"/>
                    <a:pt x="9609" y="10586"/>
                  </a:cubicBezTo>
                  <a:lnTo>
                    <a:pt x="10617" y="9578"/>
                  </a:lnTo>
                  <a:cubicBezTo>
                    <a:pt x="10712" y="9483"/>
                    <a:pt x="10712" y="9263"/>
                    <a:pt x="10649" y="9168"/>
                  </a:cubicBezTo>
                  <a:lnTo>
                    <a:pt x="10145" y="8412"/>
                  </a:lnTo>
                  <a:cubicBezTo>
                    <a:pt x="10365" y="8002"/>
                    <a:pt x="10554" y="7593"/>
                    <a:pt x="10680" y="7120"/>
                  </a:cubicBezTo>
                  <a:lnTo>
                    <a:pt x="11594" y="6963"/>
                  </a:lnTo>
                  <a:cubicBezTo>
                    <a:pt x="11752" y="6900"/>
                    <a:pt x="11878" y="6805"/>
                    <a:pt x="11878" y="6616"/>
                  </a:cubicBezTo>
                  <a:lnTo>
                    <a:pt x="11878" y="5230"/>
                  </a:lnTo>
                  <a:cubicBezTo>
                    <a:pt x="11878" y="5072"/>
                    <a:pt x="11752" y="4915"/>
                    <a:pt x="11594" y="4883"/>
                  </a:cubicBezTo>
                  <a:lnTo>
                    <a:pt x="10680" y="4726"/>
                  </a:lnTo>
                  <a:cubicBezTo>
                    <a:pt x="10554" y="4253"/>
                    <a:pt x="10365" y="3812"/>
                    <a:pt x="10145" y="3403"/>
                  </a:cubicBezTo>
                  <a:lnTo>
                    <a:pt x="10649" y="2678"/>
                  </a:lnTo>
                  <a:cubicBezTo>
                    <a:pt x="10775" y="2552"/>
                    <a:pt x="10712" y="2363"/>
                    <a:pt x="10617" y="2237"/>
                  </a:cubicBezTo>
                  <a:lnTo>
                    <a:pt x="9609" y="1260"/>
                  </a:lnTo>
                  <a:cubicBezTo>
                    <a:pt x="9554" y="1187"/>
                    <a:pt x="9455" y="1156"/>
                    <a:pt x="9364" y="1156"/>
                  </a:cubicBezTo>
                  <a:cubicBezTo>
                    <a:pt x="9300" y="1156"/>
                    <a:pt x="9239" y="1171"/>
                    <a:pt x="9200" y="1197"/>
                  </a:cubicBezTo>
                  <a:lnTo>
                    <a:pt x="8444" y="1733"/>
                  </a:lnTo>
                  <a:cubicBezTo>
                    <a:pt x="8034" y="1481"/>
                    <a:pt x="7624" y="1292"/>
                    <a:pt x="7152" y="1166"/>
                  </a:cubicBezTo>
                  <a:lnTo>
                    <a:pt x="6994" y="252"/>
                  </a:lnTo>
                  <a:cubicBezTo>
                    <a:pt x="6931" y="95"/>
                    <a:pt x="6837" y="0"/>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72"/>
            <p:cNvSpPr/>
            <p:nvPr/>
          </p:nvSpPr>
          <p:spPr>
            <a:xfrm>
              <a:off x="1399850" y="3426550"/>
              <a:ext cx="116600" cy="52800"/>
            </a:xfrm>
            <a:custGeom>
              <a:avLst/>
              <a:gdLst/>
              <a:ahLst/>
              <a:cxnLst/>
              <a:rect l="l" t="t" r="r" b="b"/>
              <a:pathLst>
                <a:path w="4664" h="2112" extrusionOk="0">
                  <a:moveTo>
                    <a:pt x="725" y="0"/>
                  </a:moveTo>
                  <a:cubicBezTo>
                    <a:pt x="410" y="252"/>
                    <a:pt x="127" y="662"/>
                    <a:pt x="1" y="1103"/>
                  </a:cubicBezTo>
                  <a:cubicBezTo>
                    <a:pt x="599" y="1733"/>
                    <a:pt x="1387" y="2111"/>
                    <a:pt x="2332" y="2111"/>
                  </a:cubicBezTo>
                  <a:cubicBezTo>
                    <a:pt x="3246" y="2111"/>
                    <a:pt x="4065" y="1733"/>
                    <a:pt x="4664" y="1103"/>
                  </a:cubicBezTo>
                  <a:cubicBezTo>
                    <a:pt x="4538" y="662"/>
                    <a:pt x="4254" y="252"/>
                    <a:pt x="3939" y="0"/>
                  </a:cubicBezTo>
                  <a:cubicBezTo>
                    <a:pt x="3561" y="473"/>
                    <a:pt x="2994" y="788"/>
                    <a:pt x="2332" y="788"/>
                  </a:cubicBezTo>
                  <a:cubicBezTo>
                    <a:pt x="1702" y="788"/>
                    <a:pt x="1103" y="473"/>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35" name="Google Shape;7035;p72"/>
          <p:cNvSpPr/>
          <p:nvPr/>
        </p:nvSpPr>
        <p:spPr>
          <a:xfrm>
            <a:off x="5750241" y="1821075"/>
            <a:ext cx="348217" cy="347272"/>
          </a:xfrm>
          <a:custGeom>
            <a:avLst/>
            <a:gdLst/>
            <a:ahLst/>
            <a:cxnLst/>
            <a:rect l="l" t="t" r="r" b="b"/>
            <a:pathLst>
              <a:path w="11784" h="11752" extrusionOk="0">
                <a:moveTo>
                  <a:pt x="1040" y="0"/>
                </a:moveTo>
                <a:cubicBezTo>
                  <a:pt x="441" y="0"/>
                  <a:pt x="0" y="473"/>
                  <a:pt x="0" y="1040"/>
                </a:cubicBezTo>
                <a:cubicBezTo>
                  <a:pt x="0" y="1639"/>
                  <a:pt x="473" y="2048"/>
                  <a:pt x="1040" y="2048"/>
                </a:cubicBezTo>
                <a:lnTo>
                  <a:pt x="1386" y="2048"/>
                </a:lnTo>
                <a:lnTo>
                  <a:pt x="1386" y="2426"/>
                </a:lnTo>
                <a:cubicBezTo>
                  <a:pt x="1386" y="2993"/>
                  <a:pt x="1859" y="3434"/>
                  <a:pt x="2426" y="3434"/>
                </a:cubicBezTo>
                <a:lnTo>
                  <a:pt x="5577" y="3434"/>
                </a:lnTo>
                <a:lnTo>
                  <a:pt x="5577" y="4159"/>
                </a:lnTo>
                <a:lnTo>
                  <a:pt x="4537" y="4159"/>
                </a:lnTo>
                <a:cubicBezTo>
                  <a:pt x="3938" y="4159"/>
                  <a:pt x="3466" y="4632"/>
                  <a:pt x="3466" y="5167"/>
                </a:cubicBezTo>
                <a:lnTo>
                  <a:pt x="3466" y="6585"/>
                </a:lnTo>
                <a:cubicBezTo>
                  <a:pt x="3466" y="7183"/>
                  <a:pt x="3938" y="7625"/>
                  <a:pt x="4537" y="7625"/>
                </a:cubicBezTo>
                <a:lnTo>
                  <a:pt x="5577" y="7625"/>
                </a:lnTo>
                <a:lnTo>
                  <a:pt x="5577" y="8318"/>
                </a:lnTo>
                <a:lnTo>
                  <a:pt x="2426" y="8318"/>
                </a:lnTo>
                <a:cubicBezTo>
                  <a:pt x="1828" y="8318"/>
                  <a:pt x="1386" y="8790"/>
                  <a:pt x="1386" y="9357"/>
                </a:cubicBezTo>
                <a:lnTo>
                  <a:pt x="1386" y="9704"/>
                </a:lnTo>
                <a:lnTo>
                  <a:pt x="1040" y="9704"/>
                </a:lnTo>
                <a:cubicBezTo>
                  <a:pt x="441" y="9704"/>
                  <a:pt x="0" y="10176"/>
                  <a:pt x="0" y="10744"/>
                </a:cubicBezTo>
                <a:cubicBezTo>
                  <a:pt x="0" y="11311"/>
                  <a:pt x="473" y="11752"/>
                  <a:pt x="1040" y="11752"/>
                </a:cubicBezTo>
                <a:lnTo>
                  <a:pt x="2426" y="11752"/>
                </a:lnTo>
                <a:cubicBezTo>
                  <a:pt x="2993" y="11752"/>
                  <a:pt x="3434" y="11279"/>
                  <a:pt x="3434" y="10744"/>
                </a:cubicBezTo>
                <a:cubicBezTo>
                  <a:pt x="3434" y="10145"/>
                  <a:pt x="2962" y="9704"/>
                  <a:pt x="2426" y="9704"/>
                </a:cubicBezTo>
                <a:lnTo>
                  <a:pt x="2048" y="9704"/>
                </a:lnTo>
                <a:lnTo>
                  <a:pt x="2048" y="9357"/>
                </a:lnTo>
                <a:cubicBezTo>
                  <a:pt x="2048" y="9168"/>
                  <a:pt x="2206" y="9011"/>
                  <a:pt x="2426" y="9011"/>
                </a:cubicBezTo>
                <a:lnTo>
                  <a:pt x="5577" y="9011"/>
                </a:lnTo>
                <a:lnTo>
                  <a:pt x="5577" y="9704"/>
                </a:lnTo>
                <a:lnTo>
                  <a:pt x="5199" y="9704"/>
                </a:lnTo>
                <a:cubicBezTo>
                  <a:pt x="4631" y="9704"/>
                  <a:pt x="4190" y="10176"/>
                  <a:pt x="4190" y="10744"/>
                </a:cubicBezTo>
                <a:cubicBezTo>
                  <a:pt x="4190" y="11311"/>
                  <a:pt x="4663" y="11752"/>
                  <a:pt x="5199" y="11752"/>
                </a:cubicBezTo>
                <a:lnTo>
                  <a:pt x="6585" y="11752"/>
                </a:lnTo>
                <a:cubicBezTo>
                  <a:pt x="7183" y="11752"/>
                  <a:pt x="7593" y="11279"/>
                  <a:pt x="7593" y="10744"/>
                </a:cubicBezTo>
                <a:cubicBezTo>
                  <a:pt x="7593" y="10145"/>
                  <a:pt x="7120" y="9704"/>
                  <a:pt x="6585" y="9704"/>
                </a:cubicBezTo>
                <a:lnTo>
                  <a:pt x="6238" y="9704"/>
                </a:lnTo>
                <a:lnTo>
                  <a:pt x="6238" y="9011"/>
                </a:lnTo>
                <a:lnTo>
                  <a:pt x="9389" y="9011"/>
                </a:lnTo>
                <a:cubicBezTo>
                  <a:pt x="9578" y="9011"/>
                  <a:pt x="9735" y="9168"/>
                  <a:pt x="9735" y="9357"/>
                </a:cubicBezTo>
                <a:lnTo>
                  <a:pt x="9735" y="9704"/>
                </a:lnTo>
                <a:lnTo>
                  <a:pt x="9389" y="9704"/>
                </a:lnTo>
                <a:cubicBezTo>
                  <a:pt x="8790" y="9704"/>
                  <a:pt x="8349" y="10176"/>
                  <a:pt x="8349" y="10744"/>
                </a:cubicBezTo>
                <a:cubicBezTo>
                  <a:pt x="8349" y="11311"/>
                  <a:pt x="8822" y="11752"/>
                  <a:pt x="9389" y="11752"/>
                </a:cubicBezTo>
                <a:lnTo>
                  <a:pt x="10743" y="11752"/>
                </a:lnTo>
                <a:cubicBezTo>
                  <a:pt x="11342" y="11752"/>
                  <a:pt x="11783" y="11279"/>
                  <a:pt x="11783" y="10744"/>
                </a:cubicBezTo>
                <a:cubicBezTo>
                  <a:pt x="11783" y="10145"/>
                  <a:pt x="11311" y="9704"/>
                  <a:pt x="10743" y="9704"/>
                </a:cubicBezTo>
                <a:lnTo>
                  <a:pt x="10397" y="9704"/>
                </a:lnTo>
                <a:lnTo>
                  <a:pt x="10397" y="9357"/>
                </a:lnTo>
                <a:cubicBezTo>
                  <a:pt x="10397" y="8759"/>
                  <a:pt x="9924" y="8318"/>
                  <a:pt x="9389" y="8318"/>
                </a:cubicBezTo>
                <a:lnTo>
                  <a:pt x="6238" y="8318"/>
                </a:lnTo>
                <a:lnTo>
                  <a:pt x="6238" y="7625"/>
                </a:lnTo>
                <a:lnTo>
                  <a:pt x="7246" y="7625"/>
                </a:lnTo>
                <a:cubicBezTo>
                  <a:pt x="7845" y="7625"/>
                  <a:pt x="8318" y="7152"/>
                  <a:pt x="8318" y="6585"/>
                </a:cubicBezTo>
                <a:lnTo>
                  <a:pt x="8318" y="5167"/>
                </a:lnTo>
                <a:cubicBezTo>
                  <a:pt x="8318" y="4569"/>
                  <a:pt x="7845" y="4159"/>
                  <a:pt x="7246" y="4159"/>
                </a:cubicBezTo>
                <a:lnTo>
                  <a:pt x="6238" y="4159"/>
                </a:lnTo>
                <a:lnTo>
                  <a:pt x="6238" y="3434"/>
                </a:lnTo>
                <a:lnTo>
                  <a:pt x="9389" y="3434"/>
                </a:lnTo>
                <a:cubicBezTo>
                  <a:pt x="9956" y="3434"/>
                  <a:pt x="10397" y="2962"/>
                  <a:pt x="10397" y="2426"/>
                </a:cubicBezTo>
                <a:lnTo>
                  <a:pt x="10397" y="2048"/>
                </a:lnTo>
                <a:lnTo>
                  <a:pt x="10743" y="2048"/>
                </a:lnTo>
                <a:cubicBezTo>
                  <a:pt x="11342" y="2048"/>
                  <a:pt x="11783" y="1576"/>
                  <a:pt x="11783" y="1040"/>
                </a:cubicBezTo>
                <a:cubicBezTo>
                  <a:pt x="11783" y="441"/>
                  <a:pt x="11311" y="0"/>
                  <a:pt x="10743" y="0"/>
                </a:cubicBezTo>
                <a:lnTo>
                  <a:pt x="9389" y="0"/>
                </a:lnTo>
                <a:cubicBezTo>
                  <a:pt x="8790" y="0"/>
                  <a:pt x="8349" y="473"/>
                  <a:pt x="8349" y="1040"/>
                </a:cubicBezTo>
                <a:cubicBezTo>
                  <a:pt x="8349" y="1639"/>
                  <a:pt x="8822" y="2048"/>
                  <a:pt x="9389" y="2048"/>
                </a:cubicBezTo>
                <a:lnTo>
                  <a:pt x="9735" y="2048"/>
                </a:lnTo>
                <a:lnTo>
                  <a:pt x="9735" y="2426"/>
                </a:lnTo>
                <a:cubicBezTo>
                  <a:pt x="9735" y="2615"/>
                  <a:pt x="9578" y="2773"/>
                  <a:pt x="9389" y="2773"/>
                </a:cubicBezTo>
                <a:lnTo>
                  <a:pt x="6238" y="2773"/>
                </a:lnTo>
                <a:lnTo>
                  <a:pt x="6238" y="2048"/>
                </a:lnTo>
                <a:lnTo>
                  <a:pt x="6585" y="2048"/>
                </a:lnTo>
                <a:cubicBezTo>
                  <a:pt x="7183" y="2048"/>
                  <a:pt x="7593" y="1576"/>
                  <a:pt x="7593" y="1040"/>
                </a:cubicBezTo>
                <a:cubicBezTo>
                  <a:pt x="7593" y="441"/>
                  <a:pt x="7120" y="0"/>
                  <a:pt x="6585" y="0"/>
                </a:cubicBezTo>
                <a:lnTo>
                  <a:pt x="5199" y="0"/>
                </a:lnTo>
                <a:cubicBezTo>
                  <a:pt x="4631" y="0"/>
                  <a:pt x="4190" y="473"/>
                  <a:pt x="4190" y="1040"/>
                </a:cubicBezTo>
                <a:cubicBezTo>
                  <a:pt x="4190" y="1639"/>
                  <a:pt x="4663" y="2048"/>
                  <a:pt x="5199" y="2048"/>
                </a:cubicBezTo>
                <a:lnTo>
                  <a:pt x="5577" y="2048"/>
                </a:lnTo>
                <a:lnTo>
                  <a:pt x="5577" y="2773"/>
                </a:lnTo>
                <a:lnTo>
                  <a:pt x="2426" y="2773"/>
                </a:lnTo>
                <a:cubicBezTo>
                  <a:pt x="2206" y="2773"/>
                  <a:pt x="2048" y="2615"/>
                  <a:pt x="2048" y="2426"/>
                </a:cubicBezTo>
                <a:lnTo>
                  <a:pt x="2048" y="2048"/>
                </a:lnTo>
                <a:lnTo>
                  <a:pt x="2426" y="2048"/>
                </a:lnTo>
                <a:cubicBezTo>
                  <a:pt x="2993" y="2048"/>
                  <a:pt x="3434" y="1576"/>
                  <a:pt x="3434" y="1040"/>
                </a:cubicBezTo>
                <a:cubicBezTo>
                  <a:pt x="3434" y="441"/>
                  <a:pt x="2962"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6" name="Google Shape;7036;p72"/>
          <p:cNvGrpSpPr/>
          <p:nvPr/>
        </p:nvGrpSpPr>
        <p:grpSpPr>
          <a:xfrm>
            <a:off x="5748347" y="2265246"/>
            <a:ext cx="351941" cy="351675"/>
            <a:chOff x="1310075" y="3980250"/>
            <a:chExt cx="297750" cy="297525"/>
          </a:xfrm>
        </p:grpSpPr>
        <p:sp>
          <p:nvSpPr>
            <p:cNvPr id="7037" name="Google Shape;7037;p72"/>
            <p:cNvSpPr/>
            <p:nvPr/>
          </p:nvSpPr>
          <p:spPr>
            <a:xfrm>
              <a:off x="1310075" y="3980250"/>
              <a:ext cx="297750" cy="297525"/>
            </a:xfrm>
            <a:custGeom>
              <a:avLst/>
              <a:gdLst/>
              <a:ahLst/>
              <a:cxnLst/>
              <a:rect l="l" t="t" r="r" b="b"/>
              <a:pathLst>
                <a:path w="11910" h="11901" extrusionOk="0">
                  <a:moveTo>
                    <a:pt x="3844" y="4946"/>
                  </a:moveTo>
                  <a:cubicBezTo>
                    <a:pt x="4033" y="4946"/>
                    <a:pt x="4190" y="5104"/>
                    <a:pt x="4190" y="5293"/>
                  </a:cubicBezTo>
                  <a:lnTo>
                    <a:pt x="4190" y="6679"/>
                  </a:lnTo>
                  <a:cubicBezTo>
                    <a:pt x="4190" y="6868"/>
                    <a:pt x="4033" y="7026"/>
                    <a:pt x="3844" y="7026"/>
                  </a:cubicBezTo>
                  <a:lnTo>
                    <a:pt x="2458" y="7026"/>
                  </a:lnTo>
                  <a:cubicBezTo>
                    <a:pt x="2269" y="7026"/>
                    <a:pt x="2111" y="6868"/>
                    <a:pt x="2111" y="6679"/>
                  </a:cubicBezTo>
                  <a:lnTo>
                    <a:pt x="2111" y="5293"/>
                  </a:lnTo>
                  <a:cubicBezTo>
                    <a:pt x="2111" y="5104"/>
                    <a:pt x="2269" y="4946"/>
                    <a:pt x="2458" y="4946"/>
                  </a:cubicBezTo>
                  <a:close/>
                  <a:moveTo>
                    <a:pt x="6616" y="3560"/>
                  </a:moveTo>
                  <a:cubicBezTo>
                    <a:pt x="6837" y="3560"/>
                    <a:pt x="6994" y="3718"/>
                    <a:pt x="6994" y="3907"/>
                  </a:cubicBezTo>
                  <a:lnTo>
                    <a:pt x="6994" y="6679"/>
                  </a:lnTo>
                  <a:cubicBezTo>
                    <a:pt x="6994" y="6868"/>
                    <a:pt x="6837" y="7026"/>
                    <a:pt x="6616" y="7026"/>
                  </a:cubicBezTo>
                  <a:lnTo>
                    <a:pt x="5262" y="7026"/>
                  </a:lnTo>
                  <a:cubicBezTo>
                    <a:pt x="5041" y="7026"/>
                    <a:pt x="4884" y="6868"/>
                    <a:pt x="4884" y="6679"/>
                  </a:cubicBezTo>
                  <a:lnTo>
                    <a:pt x="4884" y="3907"/>
                  </a:lnTo>
                  <a:cubicBezTo>
                    <a:pt x="4884" y="3718"/>
                    <a:pt x="5041" y="3560"/>
                    <a:pt x="5262" y="3560"/>
                  </a:cubicBezTo>
                  <a:close/>
                  <a:moveTo>
                    <a:pt x="9389" y="2174"/>
                  </a:moveTo>
                  <a:cubicBezTo>
                    <a:pt x="9578" y="2174"/>
                    <a:pt x="9735" y="2331"/>
                    <a:pt x="9735" y="2520"/>
                  </a:cubicBezTo>
                  <a:lnTo>
                    <a:pt x="9735" y="6679"/>
                  </a:lnTo>
                  <a:cubicBezTo>
                    <a:pt x="9735" y="6868"/>
                    <a:pt x="9578" y="7026"/>
                    <a:pt x="9389" y="7026"/>
                  </a:cubicBezTo>
                  <a:lnTo>
                    <a:pt x="8003" y="7026"/>
                  </a:lnTo>
                  <a:cubicBezTo>
                    <a:pt x="7813" y="7026"/>
                    <a:pt x="7656" y="6868"/>
                    <a:pt x="7656" y="6679"/>
                  </a:cubicBezTo>
                  <a:lnTo>
                    <a:pt x="7656" y="2520"/>
                  </a:lnTo>
                  <a:cubicBezTo>
                    <a:pt x="7656" y="2331"/>
                    <a:pt x="7813" y="2174"/>
                    <a:pt x="8003" y="2174"/>
                  </a:cubicBezTo>
                  <a:close/>
                  <a:moveTo>
                    <a:pt x="5577" y="8412"/>
                  </a:moveTo>
                  <a:lnTo>
                    <a:pt x="5577" y="9105"/>
                  </a:lnTo>
                  <a:lnTo>
                    <a:pt x="5167" y="9105"/>
                  </a:lnTo>
                  <a:lnTo>
                    <a:pt x="5451" y="8412"/>
                  </a:lnTo>
                  <a:close/>
                  <a:moveTo>
                    <a:pt x="6396" y="8412"/>
                  </a:moveTo>
                  <a:lnTo>
                    <a:pt x="6679" y="9105"/>
                  </a:lnTo>
                  <a:lnTo>
                    <a:pt x="6270" y="9105"/>
                  </a:lnTo>
                  <a:lnTo>
                    <a:pt x="6270" y="8412"/>
                  </a:lnTo>
                  <a:close/>
                  <a:moveTo>
                    <a:pt x="5955" y="0"/>
                  </a:moveTo>
                  <a:cubicBezTo>
                    <a:pt x="5766" y="0"/>
                    <a:pt x="5608" y="158"/>
                    <a:pt x="5608" y="378"/>
                  </a:cubicBezTo>
                  <a:lnTo>
                    <a:pt x="5608" y="725"/>
                  </a:lnTo>
                  <a:lnTo>
                    <a:pt x="347" y="725"/>
                  </a:lnTo>
                  <a:cubicBezTo>
                    <a:pt x="158" y="725"/>
                    <a:pt x="0" y="882"/>
                    <a:pt x="0" y="1071"/>
                  </a:cubicBezTo>
                  <a:cubicBezTo>
                    <a:pt x="0" y="1260"/>
                    <a:pt x="158" y="1418"/>
                    <a:pt x="347" y="1418"/>
                  </a:cubicBezTo>
                  <a:lnTo>
                    <a:pt x="725" y="1418"/>
                  </a:lnTo>
                  <a:lnTo>
                    <a:pt x="725" y="7719"/>
                  </a:lnTo>
                  <a:lnTo>
                    <a:pt x="378" y="7719"/>
                  </a:lnTo>
                  <a:cubicBezTo>
                    <a:pt x="158" y="7719"/>
                    <a:pt x="0" y="7876"/>
                    <a:pt x="0" y="8097"/>
                  </a:cubicBezTo>
                  <a:cubicBezTo>
                    <a:pt x="0" y="8286"/>
                    <a:pt x="158" y="8443"/>
                    <a:pt x="378" y="8443"/>
                  </a:cubicBezTo>
                  <a:lnTo>
                    <a:pt x="4726" y="8443"/>
                  </a:lnTo>
                  <a:lnTo>
                    <a:pt x="3560" y="11436"/>
                  </a:lnTo>
                  <a:cubicBezTo>
                    <a:pt x="3466" y="11625"/>
                    <a:pt x="3560" y="11814"/>
                    <a:pt x="3749" y="11877"/>
                  </a:cubicBezTo>
                  <a:cubicBezTo>
                    <a:pt x="3788" y="11893"/>
                    <a:pt x="3831" y="11901"/>
                    <a:pt x="3876" y="11901"/>
                  </a:cubicBezTo>
                  <a:cubicBezTo>
                    <a:pt x="4016" y="11901"/>
                    <a:pt x="4167" y="11824"/>
                    <a:pt x="4190" y="11657"/>
                  </a:cubicBezTo>
                  <a:lnTo>
                    <a:pt x="4947" y="9830"/>
                  </a:lnTo>
                  <a:lnTo>
                    <a:pt x="5608" y="9830"/>
                  </a:lnTo>
                  <a:lnTo>
                    <a:pt x="5608" y="10838"/>
                  </a:lnTo>
                  <a:cubicBezTo>
                    <a:pt x="5608" y="11027"/>
                    <a:pt x="5766" y="11184"/>
                    <a:pt x="5955" y="11184"/>
                  </a:cubicBezTo>
                  <a:cubicBezTo>
                    <a:pt x="6144" y="11184"/>
                    <a:pt x="6301" y="11027"/>
                    <a:pt x="6301" y="10838"/>
                  </a:cubicBezTo>
                  <a:lnTo>
                    <a:pt x="6301" y="9830"/>
                  </a:lnTo>
                  <a:lnTo>
                    <a:pt x="6994" y="9830"/>
                  </a:lnTo>
                  <a:lnTo>
                    <a:pt x="7719" y="11657"/>
                  </a:lnTo>
                  <a:cubicBezTo>
                    <a:pt x="7791" y="11824"/>
                    <a:pt x="7916" y="11901"/>
                    <a:pt x="8042" y="11901"/>
                  </a:cubicBezTo>
                  <a:cubicBezTo>
                    <a:pt x="8082" y="11901"/>
                    <a:pt x="8122" y="11893"/>
                    <a:pt x="8160" y="11877"/>
                  </a:cubicBezTo>
                  <a:cubicBezTo>
                    <a:pt x="8349" y="11783"/>
                    <a:pt x="8444" y="11594"/>
                    <a:pt x="8349" y="11436"/>
                  </a:cubicBezTo>
                  <a:lnTo>
                    <a:pt x="7183" y="8443"/>
                  </a:lnTo>
                  <a:lnTo>
                    <a:pt x="11531" y="8443"/>
                  </a:lnTo>
                  <a:cubicBezTo>
                    <a:pt x="11752" y="8443"/>
                    <a:pt x="11909" y="8286"/>
                    <a:pt x="11909" y="8097"/>
                  </a:cubicBezTo>
                  <a:cubicBezTo>
                    <a:pt x="11909" y="7876"/>
                    <a:pt x="11752" y="7719"/>
                    <a:pt x="11531" y="7719"/>
                  </a:cubicBezTo>
                  <a:lnTo>
                    <a:pt x="11185" y="7719"/>
                  </a:lnTo>
                  <a:lnTo>
                    <a:pt x="11185" y="1418"/>
                  </a:lnTo>
                  <a:lnTo>
                    <a:pt x="11531" y="1418"/>
                  </a:lnTo>
                  <a:cubicBezTo>
                    <a:pt x="11752" y="1418"/>
                    <a:pt x="11909" y="1260"/>
                    <a:pt x="11909" y="1071"/>
                  </a:cubicBezTo>
                  <a:cubicBezTo>
                    <a:pt x="11909" y="882"/>
                    <a:pt x="11752" y="725"/>
                    <a:pt x="11531" y="725"/>
                  </a:cubicBezTo>
                  <a:lnTo>
                    <a:pt x="6301" y="725"/>
                  </a:lnTo>
                  <a:lnTo>
                    <a:pt x="6301" y="378"/>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2"/>
            <p:cNvSpPr/>
            <p:nvPr/>
          </p:nvSpPr>
          <p:spPr>
            <a:xfrm>
              <a:off x="1449475" y="4086575"/>
              <a:ext cx="17350" cy="52000"/>
            </a:xfrm>
            <a:custGeom>
              <a:avLst/>
              <a:gdLst/>
              <a:ahLst/>
              <a:cxnLst/>
              <a:rect l="l" t="t" r="r" b="b"/>
              <a:pathLst>
                <a:path w="694" h="2080" extrusionOk="0">
                  <a:moveTo>
                    <a:pt x="1" y="0"/>
                  </a:moveTo>
                  <a:lnTo>
                    <a:pt x="1" y="2080"/>
                  </a:lnTo>
                  <a:lnTo>
                    <a:pt x="694" y="2080"/>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72"/>
            <p:cNvSpPr/>
            <p:nvPr/>
          </p:nvSpPr>
          <p:spPr>
            <a:xfrm>
              <a:off x="1380175" y="4121225"/>
              <a:ext cx="17350" cy="17350"/>
            </a:xfrm>
            <a:custGeom>
              <a:avLst/>
              <a:gdLst/>
              <a:ahLst/>
              <a:cxnLst/>
              <a:rect l="l" t="t" r="r" b="b"/>
              <a:pathLst>
                <a:path w="694" h="694" extrusionOk="0">
                  <a:moveTo>
                    <a:pt x="0" y="0"/>
                  </a:moveTo>
                  <a:lnTo>
                    <a:pt x="0" y="694"/>
                  </a:lnTo>
                  <a:lnTo>
                    <a:pt x="693" y="694"/>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72"/>
            <p:cNvSpPr/>
            <p:nvPr/>
          </p:nvSpPr>
          <p:spPr>
            <a:xfrm>
              <a:off x="1518800" y="4051925"/>
              <a:ext cx="18125" cy="86650"/>
            </a:xfrm>
            <a:custGeom>
              <a:avLst/>
              <a:gdLst/>
              <a:ahLst/>
              <a:cxnLst/>
              <a:rect l="l" t="t" r="r" b="b"/>
              <a:pathLst>
                <a:path w="725" h="3466" extrusionOk="0">
                  <a:moveTo>
                    <a:pt x="0" y="0"/>
                  </a:moveTo>
                  <a:lnTo>
                    <a:pt x="0" y="3466"/>
                  </a:lnTo>
                  <a:lnTo>
                    <a:pt x="725" y="346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41" name="Google Shape;7041;p72"/>
          <p:cNvGrpSpPr/>
          <p:nvPr/>
        </p:nvGrpSpPr>
        <p:grpSpPr>
          <a:xfrm>
            <a:off x="8013136" y="1379445"/>
            <a:ext cx="266305" cy="349133"/>
            <a:chOff x="3167275" y="3227275"/>
            <a:chExt cx="225300" cy="295375"/>
          </a:xfrm>
        </p:grpSpPr>
        <p:sp>
          <p:nvSpPr>
            <p:cNvPr id="7042" name="Google Shape;7042;p72"/>
            <p:cNvSpPr/>
            <p:nvPr/>
          </p:nvSpPr>
          <p:spPr>
            <a:xfrm>
              <a:off x="3167275" y="3227275"/>
              <a:ext cx="225300" cy="207950"/>
            </a:xfrm>
            <a:custGeom>
              <a:avLst/>
              <a:gdLst/>
              <a:ahLst/>
              <a:cxnLst/>
              <a:rect l="l" t="t" r="r" b="b"/>
              <a:pathLst>
                <a:path w="9012" h="8318" extrusionOk="0">
                  <a:moveTo>
                    <a:pt x="4538" y="1"/>
                  </a:moveTo>
                  <a:cubicBezTo>
                    <a:pt x="2112" y="1"/>
                    <a:pt x="1" y="1985"/>
                    <a:pt x="32" y="4537"/>
                  </a:cubicBezTo>
                  <a:cubicBezTo>
                    <a:pt x="32" y="5860"/>
                    <a:pt x="631" y="7184"/>
                    <a:pt x="1797" y="8066"/>
                  </a:cubicBezTo>
                  <a:cubicBezTo>
                    <a:pt x="1923" y="8192"/>
                    <a:pt x="2017" y="8223"/>
                    <a:pt x="2049" y="8318"/>
                  </a:cubicBezTo>
                  <a:lnTo>
                    <a:pt x="4160" y="8318"/>
                  </a:lnTo>
                  <a:lnTo>
                    <a:pt x="4160" y="6900"/>
                  </a:lnTo>
                  <a:lnTo>
                    <a:pt x="2427" y="6900"/>
                  </a:lnTo>
                  <a:cubicBezTo>
                    <a:pt x="2238" y="6900"/>
                    <a:pt x="2080" y="6743"/>
                    <a:pt x="2080" y="6554"/>
                  </a:cubicBezTo>
                  <a:lnTo>
                    <a:pt x="2080" y="5829"/>
                  </a:lnTo>
                  <a:cubicBezTo>
                    <a:pt x="2080" y="4852"/>
                    <a:pt x="2679" y="4033"/>
                    <a:pt x="3498" y="3624"/>
                  </a:cubicBezTo>
                  <a:cubicBezTo>
                    <a:pt x="3277" y="3403"/>
                    <a:pt x="3151" y="3088"/>
                    <a:pt x="3151" y="2678"/>
                  </a:cubicBezTo>
                  <a:cubicBezTo>
                    <a:pt x="3151" y="1922"/>
                    <a:pt x="3782" y="1292"/>
                    <a:pt x="4538" y="1292"/>
                  </a:cubicBezTo>
                  <a:cubicBezTo>
                    <a:pt x="5262" y="1292"/>
                    <a:pt x="5892" y="1922"/>
                    <a:pt x="5892" y="2678"/>
                  </a:cubicBezTo>
                  <a:cubicBezTo>
                    <a:pt x="5892" y="3025"/>
                    <a:pt x="5735" y="3340"/>
                    <a:pt x="5546" y="3624"/>
                  </a:cubicBezTo>
                  <a:cubicBezTo>
                    <a:pt x="6365" y="4033"/>
                    <a:pt x="6964" y="4852"/>
                    <a:pt x="6964" y="5829"/>
                  </a:cubicBezTo>
                  <a:lnTo>
                    <a:pt x="6964" y="6554"/>
                  </a:lnTo>
                  <a:cubicBezTo>
                    <a:pt x="6964" y="6743"/>
                    <a:pt x="6806" y="6900"/>
                    <a:pt x="6617" y="6900"/>
                  </a:cubicBezTo>
                  <a:lnTo>
                    <a:pt x="4884" y="6900"/>
                  </a:lnTo>
                  <a:lnTo>
                    <a:pt x="4884" y="8318"/>
                  </a:lnTo>
                  <a:lnTo>
                    <a:pt x="6995" y="8318"/>
                  </a:lnTo>
                  <a:cubicBezTo>
                    <a:pt x="7027" y="8286"/>
                    <a:pt x="7121" y="8192"/>
                    <a:pt x="7247" y="8129"/>
                  </a:cubicBezTo>
                  <a:cubicBezTo>
                    <a:pt x="8413" y="7184"/>
                    <a:pt x="9011" y="5829"/>
                    <a:pt x="9011" y="4506"/>
                  </a:cubicBezTo>
                  <a:cubicBezTo>
                    <a:pt x="9011" y="2017"/>
                    <a:pt x="6995" y="1"/>
                    <a:pt x="45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2"/>
            <p:cNvSpPr/>
            <p:nvPr/>
          </p:nvSpPr>
          <p:spPr>
            <a:xfrm>
              <a:off x="3262600" y="3278475"/>
              <a:ext cx="35450" cy="35475"/>
            </a:xfrm>
            <a:custGeom>
              <a:avLst/>
              <a:gdLst/>
              <a:ahLst/>
              <a:cxnLst/>
              <a:rect l="l" t="t" r="r" b="b"/>
              <a:pathLst>
                <a:path w="1418" h="1419" extrusionOk="0">
                  <a:moveTo>
                    <a:pt x="725" y="0"/>
                  </a:moveTo>
                  <a:cubicBezTo>
                    <a:pt x="315" y="0"/>
                    <a:pt x="0" y="315"/>
                    <a:pt x="0" y="725"/>
                  </a:cubicBezTo>
                  <a:cubicBezTo>
                    <a:pt x="0" y="1103"/>
                    <a:pt x="315"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72"/>
            <p:cNvSpPr/>
            <p:nvPr/>
          </p:nvSpPr>
          <p:spPr>
            <a:xfrm>
              <a:off x="3220050" y="3452525"/>
              <a:ext cx="121325" cy="35475"/>
            </a:xfrm>
            <a:custGeom>
              <a:avLst/>
              <a:gdLst/>
              <a:ahLst/>
              <a:cxnLst/>
              <a:rect l="l" t="t" r="r" b="b"/>
              <a:pathLst>
                <a:path w="4853" h="1419" extrusionOk="0">
                  <a:moveTo>
                    <a:pt x="1" y="1"/>
                  </a:moveTo>
                  <a:lnTo>
                    <a:pt x="1" y="347"/>
                  </a:lnTo>
                  <a:cubicBezTo>
                    <a:pt x="1" y="946"/>
                    <a:pt x="473" y="1419"/>
                    <a:pt x="1040" y="1419"/>
                  </a:cubicBezTo>
                  <a:lnTo>
                    <a:pt x="3781" y="1419"/>
                  </a:lnTo>
                  <a:cubicBezTo>
                    <a:pt x="4380" y="1419"/>
                    <a:pt x="4853" y="946"/>
                    <a:pt x="4853" y="347"/>
                  </a:cubicBezTo>
                  <a:lnTo>
                    <a:pt x="4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2"/>
            <p:cNvSpPr/>
            <p:nvPr/>
          </p:nvSpPr>
          <p:spPr>
            <a:xfrm>
              <a:off x="3237375" y="3332025"/>
              <a:ext cx="86675" cy="52000"/>
            </a:xfrm>
            <a:custGeom>
              <a:avLst/>
              <a:gdLst/>
              <a:ahLst/>
              <a:cxnLst/>
              <a:rect l="l" t="t" r="r" b="b"/>
              <a:pathLst>
                <a:path w="3467" h="2080" extrusionOk="0">
                  <a:moveTo>
                    <a:pt x="1734" y="1"/>
                  </a:moveTo>
                  <a:cubicBezTo>
                    <a:pt x="789" y="1"/>
                    <a:pt x="1" y="725"/>
                    <a:pt x="1" y="1733"/>
                  </a:cubicBezTo>
                  <a:lnTo>
                    <a:pt x="1" y="2080"/>
                  </a:lnTo>
                  <a:lnTo>
                    <a:pt x="3466" y="2080"/>
                  </a:lnTo>
                  <a:lnTo>
                    <a:pt x="3466" y="1733"/>
                  </a:lnTo>
                  <a:cubicBezTo>
                    <a:pt x="3466" y="788"/>
                    <a:pt x="2679"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2"/>
            <p:cNvSpPr/>
            <p:nvPr/>
          </p:nvSpPr>
          <p:spPr>
            <a:xfrm>
              <a:off x="3237375" y="3505300"/>
              <a:ext cx="87450" cy="17350"/>
            </a:xfrm>
            <a:custGeom>
              <a:avLst/>
              <a:gdLst/>
              <a:ahLst/>
              <a:cxnLst/>
              <a:rect l="l" t="t" r="r" b="b"/>
              <a:pathLst>
                <a:path w="3498" h="694" extrusionOk="0">
                  <a:moveTo>
                    <a:pt x="32" y="1"/>
                  </a:moveTo>
                  <a:cubicBezTo>
                    <a:pt x="1" y="379"/>
                    <a:pt x="284" y="694"/>
                    <a:pt x="694" y="694"/>
                  </a:cubicBezTo>
                  <a:lnTo>
                    <a:pt x="2773" y="694"/>
                  </a:lnTo>
                  <a:cubicBezTo>
                    <a:pt x="3183" y="694"/>
                    <a:pt x="3498" y="379"/>
                    <a:pt x="34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47" name="Google Shape;7047;p72"/>
          <p:cNvSpPr/>
          <p:nvPr/>
        </p:nvSpPr>
        <p:spPr>
          <a:xfrm>
            <a:off x="7962474" y="1819331"/>
            <a:ext cx="367779" cy="350758"/>
          </a:xfrm>
          <a:custGeom>
            <a:avLst/>
            <a:gdLst/>
            <a:ahLst/>
            <a:cxnLst/>
            <a:rect l="l" t="t" r="r" b="b"/>
            <a:pathLst>
              <a:path w="12446" h="11870" extrusionOk="0">
                <a:moveTo>
                  <a:pt x="9421" y="1410"/>
                </a:moveTo>
                <a:cubicBezTo>
                  <a:pt x="9775" y="1410"/>
                  <a:pt x="10130" y="1544"/>
                  <a:pt x="10397" y="1812"/>
                </a:cubicBezTo>
                <a:cubicBezTo>
                  <a:pt x="10901" y="2316"/>
                  <a:pt x="10901" y="3198"/>
                  <a:pt x="10366" y="3734"/>
                </a:cubicBezTo>
                <a:lnTo>
                  <a:pt x="9169" y="4931"/>
                </a:lnTo>
                <a:cubicBezTo>
                  <a:pt x="8948" y="5152"/>
                  <a:pt x="8633" y="5278"/>
                  <a:pt x="8318" y="5309"/>
                </a:cubicBezTo>
                <a:lnTo>
                  <a:pt x="8476" y="5152"/>
                </a:lnTo>
                <a:cubicBezTo>
                  <a:pt x="8854" y="4773"/>
                  <a:pt x="8854" y="4112"/>
                  <a:pt x="8476" y="3702"/>
                </a:cubicBezTo>
                <a:cubicBezTo>
                  <a:pt x="8271" y="3513"/>
                  <a:pt x="8003" y="3419"/>
                  <a:pt x="7739" y="3419"/>
                </a:cubicBezTo>
                <a:cubicBezTo>
                  <a:pt x="7475" y="3419"/>
                  <a:pt x="7215" y="3513"/>
                  <a:pt x="7026" y="3702"/>
                </a:cubicBezTo>
                <a:lnTo>
                  <a:pt x="6869" y="3860"/>
                </a:lnTo>
                <a:cubicBezTo>
                  <a:pt x="6900" y="3545"/>
                  <a:pt x="7026" y="3230"/>
                  <a:pt x="7247" y="3009"/>
                </a:cubicBezTo>
                <a:lnTo>
                  <a:pt x="8444" y="1812"/>
                </a:lnTo>
                <a:cubicBezTo>
                  <a:pt x="8712" y="1544"/>
                  <a:pt x="9066" y="1410"/>
                  <a:pt x="9421" y="1410"/>
                </a:cubicBezTo>
                <a:close/>
                <a:moveTo>
                  <a:pt x="4128" y="6475"/>
                </a:moveTo>
                <a:lnTo>
                  <a:pt x="3970" y="6601"/>
                </a:lnTo>
                <a:cubicBezTo>
                  <a:pt x="3592" y="7010"/>
                  <a:pt x="3592" y="7672"/>
                  <a:pt x="3970" y="8081"/>
                </a:cubicBezTo>
                <a:cubicBezTo>
                  <a:pt x="4175" y="8270"/>
                  <a:pt x="4443" y="8365"/>
                  <a:pt x="4711" y="8365"/>
                </a:cubicBezTo>
                <a:cubicBezTo>
                  <a:pt x="4978" y="8365"/>
                  <a:pt x="5246" y="8270"/>
                  <a:pt x="5451" y="8081"/>
                </a:cubicBezTo>
                <a:lnTo>
                  <a:pt x="5577" y="7924"/>
                </a:lnTo>
                <a:lnTo>
                  <a:pt x="5577" y="7924"/>
                </a:lnTo>
                <a:cubicBezTo>
                  <a:pt x="5640" y="8270"/>
                  <a:pt x="5483" y="8586"/>
                  <a:pt x="5231" y="8838"/>
                </a:cubicBezTo>
                <a:lnTo>
                  <a:pt x="4065" y="10003"/>
                </a:lnTo>
                <a:cubicBezTo>
                  <a:pt x="3781" y="10271"/>
                  <a:pt x="3427" y="10405"/>
                  <a:pt x="3072" y="10405"/>
                </a:cubicBezTo>
                <a:cubicBezTo>
                  <a:pt x="2718" y="10405"/>
                  <a:pt x="2364" y="10271"/>
                  <a:pt x="2080" y="10003"/>
                </a:cubicBezTo>
                <a:cubicBezTo>
                  <a:pt x="1544" y="9468"/>
                  <a:pt x="1544" y="8586"/>
                  <a:pt x="2080" y="8050"/>
                </a:cubicBezTo>
                <a:lnTo>
                  <a:pt x="3277" y="6853"/>
                </a:lnTo>
                <a:cubicBezTo>
                  <a:pt x="3498" y="6601"/>
                  <a:pt x="3813" y="6506"/>
                  <a:pt x="4128" y="6475"/>
                </a:cubicBezTo>
                <a:close/>
                <a:moveTo>
                  <a:pt x="9373" y="0"/>
                </a:moveTo>
                <a:cubicBezTo>
                  <a:pt x="8665" y="0"/>
                  <a:pt x="7956" y="268"/>
                  <a:pt x="7404" y="804"/>
                </a:cubicBezTo>
                <a:lnTo>
                  <a:pt x="6239" y="1970"/>
                </a:lnTo>
                <a:cubicBezTo>
                  <a:pt x="5451" y="2757"/>
                  <a:pt x="5199" y="3986"/>
                  <a:pt x="5640" y="4994"/>
                </a:cubicBezTo>
                <a:lnTo>
                  <a:pt x="5325" y="5309"/>
                </a:lnTo>
                <a:cubicBezTo>
                  <a:pt x="4994" y="5170"/>
                  <a:pt x="4634" y="5100"/>
                  <a:pt x="4270" y="5100"/>
                </a:cubicBezTo>
                <a:cubicBezTo>
                  <a:pt x="3562" y="5100"/>
                  <a:pt x="2842" y="5366"/>
                  <a:pt x="2301" y="5908"/>
                </a:cubicBezTo>
                <a:lnTo>
                  <a:pt x="1103" y="7105"/>
                </a:lnTo>
                <a:cubicBezTo>
                  <a:pt x="1" y="8144"/>
                  <a:pt x="1" y="9940"/>
                  <a:pt x="1103" y="11043"/>
                </a:cubicBezTo>
                <a:cubicBezTo>
                  <a:pt x="1655" y="11594"/>
                  <a:pt x="2364" y="11870"/>
                  <a:pt x="3072" y="11870"/>
                </a:cubicBezTo>
                <a:cubicBezTo>
                  <a:pt x="3781" y="11870"/>
                  <a:pt x="4490" y="11594"/>
                  <a:pt x="5041" y="11043"/>
                </a:cubicBezTo>
                <a:lnTo>
                  <a:pt x="6239" y="9846"/>
                </a:lnTo>
                <a:cubicBezTo>
                  <a:pt x="7026" y="9058"/>
                  <a:pt x="7247" y="7829"/>
                  <a:pt x="6806" y="6821"/>
                </a:cubicBezTo>
                <a:lnTo>
                  <a:pt x="7121" y="6506"/>
                </a:lnTo>
                <a:cubicBezTo>
                  <a:pt x="7473" y="6656"/>
                  <a:pt x="7840" y="6729"/>
                  <a:pt x="8204" y="6729"/>
                </a:cubicBezTo>
                <a:cubicBezTo>
                  <a:pt x="8914" y="6729"/>
                  <a:pt x="9614" y="6449"/>
                  <a:pt x="10177" y="5908"/>
                </a:cubicBezTo>
                <a:lnTo>
                  <a:pt x="11342" y="4742"/>
                </a:lnTo>
                <a:cubicBezTo>
                  <a:pt x="12445" y="3639"/>
                  <a:pt x="12445" y="1907"/>
                  <a:pt x="11342" y="804"/>
                </a:cubicBezTo>
                <a:cubicBezTo>
                  <a:pt x="10791" y="268"/>
                  <a:pt x="10082" y="0"/>
                  <a:pt x="9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48" name="Google Shape;7048;p72"/>
          <p:cNvGrpSpPr/>
          <p:nvPr/>
        </p:nvGrpSpPr>
        <p:grpSpPr>
          <a:xfrm>
            <a:off x="7970318" y="2266502"/>
            <a:ext cx="351940" cy="349163"/>
            <a:chOff x="3133425" y="3955025"/>
            <a:chExt cx="297750" cy="295400"/>
          </a:xfrm>
        </p:grpSpPr>
        <p:sp>
          <p:nvSpPr>
            <p:cNvPr id="7049" name="Google Shape;7049;p72"/>
            <p:cNvSpPr/>
            <p:nvPr/>
          </p:nvSpPr>
          <p:spPr>
            <a:xfrm>
              <a:off x="3133425" y="4058225"/>
              <a:ext cx="297750" cy="192200"/>
            </a:xfrm>
            <a:custGeom>
              <a:avLst/>
              <a:gdLst/>
              <a:ahLst/>
              <a:cxnLst/>
              <a:rect l="l" t="t" r="r" b="b"/>
              <a:pathLst>
                <a:path w="11910" h="7688" extrusionOk="0">
                  <a:moveTo>
                    <a:pt x="5923" y="0"/>
                  </a:moveTo>
                  <a:cubicBezTo>
                    <a:pt x="5325" y="0"/>
                    <a:pt x="4821" y="347"/>
                    <a:pt x="4631" y="914"/>
                  </a:cubicBezTo>
                  <a:cubicBezTo>
                    <a:pt x="4505" y="1166"/>
                    <a:pt x="4505" y="1449"/>
                    <a:pt x="4568" y="1764"/>
                  </a:cubicBezTo>
                  <a:cubicBezTo>
                    <a:pt x="4884" y="1922"/>
                    <a:pt x="5199" y="2016"/>
                    <a:pt x="5577" y="2048"/>
                  </a:cubicBezTo>
                  <a:lnTo>
                    <a:pt x="5577" y="2741"/>
                  </a:lnTo>
                  <a:lnTo>
                    <a:pt x="2458" y="2741"/>
                  </a:lnTo>
                  <a:cubicBezTo>
                    <a:pt x="1859" y="2741"/>
                    <a:pt x="1418" y="3214"/>
                    <a:pt x="1418" y="3781"/>
                  </a:cubicBezTo>
                  <a:lnTo>
                    <a:pt x="1418" y="4190"/>
                  </a:lnTo>
                  <a:cubicBezTo>
                    <a:pt x="630" y="4316"/>
                    <a:pt x="0" y="5041"/>
                    <a:pt x="0" y="5891"/>
                  </a:cubicBezTo>
                  <a:cubicBezTo>
                    <a:pt x="0" y="6837"/>
                    <a:pt x="788" y="7687"/>
                    <a:pt x="1765" y="7687"/>
                  </a:cubicBezTo>
                  <a:cubicBezTo>
                    <a:pt x="2710" y="7687"/>
                    <a:pt x="3497" y="6900"/>
                    <a:pt x="3497" y="5891"/>
                  </a:cubicBezTo>
                  <a:cubicBezTo>
                    <a:pt x="3497" y="5072"/>
                    <a:pt x="2930" y="4316"/>
                    <a:pt x="2143" y="4190"/>
                  </a:cubicBezTo>
                  <a:lnTo>
                    <a:pt x="2143" y="3781"/>
                  </a:lnTo>
                  <a:cubicBezTo>
                    <a:pt x="2143" y="3592"/>
                    <a:pt x="2300" y="3434"/>
                    <a:pt x="2489" y="3434"/>
                  </a:cubicBezTo>
                  <a:lnTo>
                    <a:pt x="5608" y="3434"/>
                  </a:lnTo>
                  <a:lnTo>
                    <a:pt x="5608" y="4127"/>
                  </a:lnTo>
                  <a:cubicBezTo>
                    <a:pt x="4821" y="4285"/>
                    <a:pt x="4222" y="5009"/>
                    <a:pt x="4222" y="5860"/>
                  </a:cubicBezTo>
                  <a:cubicBezTo>
                    <a:pt x="4222" y="6805"/>
                    <a:pt x="5010" y="7656"/>
                    <a:pt x="5955" y="7656"/>
                  </a:cubicBezTo>
                  <a:cubicBezTo>
                    <a:pt x="6900" y="7656"/>
                    <a:pt x="7687" y="6868"/>
                    <a:pt x="7687" y="5860"/>
                  </a:cubicBezTo>
                  <a:cubicBezTo>
                    <a:pt x="7687" y="5041"/>
                    <a:pt x="7089" y="4285"/>
                    <a:pt x="6301" y="4127"/>
                  </a:cubicBezTo>
                  <a:lnTo>
                    <a:pt x="6301" y="3434"/>
                  </a:lnTo>
                  <a:lnTo>
                    <a:pt x="9452" y="3434"/>
                  </a:lnTo>
                  <a:cubicBezTo>
                    <a:pt x="9641" y="3434"/>
                    <a:pt x="9798" y="3592"/>
                    <a:pt x="9798" y="3781"/>
                  </a:cubicBezTo>
                  <a:lnTo>
                    <a:pt x="9798" y="4190"/>
                  </a:lnTo>
                  <a:cubicBezTo>
                    <a:pt x="9011" y="4316"/>
                    <a:pt x="8444" y="5041"/>
                    <a:pt x="8444" y="5891"/>
                  </a:cubicBezTo>
                  <a:cubicBezTo>
                    <a:pt x="8444" y="6837"/>
                    <a:pt x="9231" y="7687"/>
                    <a:pt x="10176" y="7687"/>
                  </a:cubicBezTo>
                  <a:cubicBezTo>
                    <a:pt x="11121" y="7687"/>
                    <a:pt x="11909" y="6900"/>
                    <a:pt x="11909" y="5891"/>
                  </a:cubicBezTo>
                  <a:cubicBezTo>
                    <a:pt x="11783" y="5135"/>
                    <a:pt x="11185" y="4379"/>
                    <a:pt x="10397" y="4222"/>
                  </a:cubicBezTo>
                  <a:lnTo>
                    <a:pt x="10397" y="3812"/>
                  </a:lnTo>
                  <a:cubicBezTo>
                    <a:pt x="10397" y="3245"/>
                    <a:pt x="9924" y="2804"/>
                    <a:pt x="9389" y="2804"/>
                  </a:cubicBezTo>
                  <a:lnTo>
                    <a:pt x="6238" y="2804"/>
                  </a:lnTo>
                  <a:lnTo>
                    <a:pt x="6238" y="2079"/>
                  </a:lnTo>
                  <a:cubicBezTo>
                    <a:pt x="6585" y="2048"/>
                    <a:pt x="6900" y="1922"/>
                    <a:pt x="7215" y="1827"/>
                  </a:cubicBezTo>
                  <a:cubicBezTo>
                    <a:pt x="7341" y="1418"/>
                    <a:pt x="7246" y="977"/>
                    <a:pt x="7057" y="630"/>
                  </a:cubicBezTo>
                  <a:cubicBezTo>
                    <a:pt x="6774" y="221"/>
                    <a:pt x="6396"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2"/>
            <p:cNvSpPr/>
            <p:nvPr/>
          </p:nvSpPr>
          <p:spPr>
            <a:xfrm>
              <a:off x="3263375" y="4007025"/>
              <a:ext cx="35475" cy="35450"/>
            </a:xfrm>
            <a:custGeom>
              <a:avLst/>
              <a:gdLst/>
              <a:ahLst/>
              <a:cxnLst/>
              <a:rect l="l" t="t" r="r" b="b"/>
              <a:pathLst>
                <a:path w="1419" h="1418" extrusionOk="0">
                  <a:moveTo>
                    <a:pt x="725" y="0"/>
                  </a:moveTo>
                  <a:cubicBezTo>
                    <a:pt x="284" y="0"/>
                    <a:pt x="1" y="315"/>
                    <a:pt x="1" y="725"/>
                  </a:cubicBezTo>
                  <a:cubicBezTo>
                    <a:pt x="1"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72"/>
            <p:cNvSpPr/>
            <p:nvPr/>
          </p:nvSpPr>
          <p:spPr>
            <a:xfrm>
              <a:off x="3203525" y="3955025"/>
              <a:ext cx="155175" cy="135500"/>
            </a:xfrm>
            <a:custGeom>
              <a:avLst/>
              <a:gdLst/>
              <a:ahLst/>
              <a:cxnLst/>
              <a:rect l="l" t="t" r="r" b="b"/>
              <a:pathLst>
                <a:path w="6207" h="5420" extrusionOk="0">
                  <a:moveTo>
                    <a:pt x="3119" y="1"/>
                  </a:moveTo>
                  <a:cubicBezTo>
                    <a:pt x="1386" y="1"/>
                    <a:pt x="0" y="1387"/>
                    <a:pt x="0" y="3120"/>
                  </a:cubicBezTo>
                  <a:cubicBezTo>
                    <a:pt x="0" y="4002"/>
                    <a:pt x="410" y="4853"/>
                    <a:pt x="1071" y="5420"/>
                  </a:cubicBezTo>
                  <a:cubicBezTo>
                    <a:pt x="1071" y="5231"/>
                    <a:pt x="1103" y="5042"/>
                    <a:pt x="1197" y="4853"/>
                  </a:cubicBezTo>
                  <a:cubicBezTo>
                    <a:pt x="1323" y="4380"/>
                    <a:pt x="1701" y="3971"/>
                    <a:pt x="2111" y="3750"/>
                  </a:cubicBezTo>
                  <a:cubicBezTo>
                    <a:pt x="1890" y="3498"/>
                    <a:pt x="1733" y="3151"/>
                    <a:pt x="1733" y="2805"/>
                  </a:cubicBezTo>
                  <a:cubicBezTo>
                    <a:pt x="1733" y="2049"/>
                    <a:pt x="2363" y="1419"/>
                    <a:pt x="3119" y="1419"/>
                  </a:cubicBezTo>
                  <a:cubicBezTo>
                    <a:pt x="3844" y="1419"/>
                    <a:pt x="4474" y="2049"/>
                    <a:pt x="4474" y="2805"/>
                  </a:cubicBezTo>
                  <a:cubicBezTo>
                    <a:pt x="4474" y="3151"/>
                    <a:pt x="4348" y="3498"/>
                    <a:pt x="4096" y="3750"/>
                  </a:cubicBezTo>
                  <a:cubicBezTo>
                    <a:pt x="4379" y="3876"/>
                    <a:pt x="4600" y="4097"/>
                    <a:pt x="4789" y="4380"/>
                  </a:cubicBezTo>
                  <a:cubicBezTo>
                    <a:pt x="5009" y="4695"/>
                    <a:pt x="5135" y="5042"/>
                    <a:pt x="5167" y="5420"/>
                  </a:cubicBezTo>
                  <a:cubicBezTo>
                    <a:pt x="5797" y="4853"/>
                    <a:pt x="6207" y="4065"/>
                    <a:pt x="6207" y="3120"/>
                  </a:cubicBezTo>
                  <a:cubicBezTo>
                    <a:pt x="6207" y="1387"/>
                    <a:pt x="4852"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2" name="Google Shape;7052;p72"/>
          <p:cNvGrpSpPr/>
          <p:nvPr/>
        </p:nvGrpSpPr>
        <p:grpSpPr>
          <a:xfrm>
            <a:off x="6650491" y="2730090"/>
            <a:ext cx="350079" cy="351320"/>
            <a:chOff x="4991425" y="3234750"/>
            <a:chExt cx="296175" cy="297225"/>
          </a:xfrm>
        </p:grpSpPr>
        <p:sp>
          <p:nvSpPr>
            <p:cNvPr id="7053" name="Google Shape;7053;p72"/>
            <p:cNvSpPr/>
            <p:nvPr/>
          </p:nvSpPr>
          <p:spPr>
            <a:xfrm>
              <a:off x="5077275" y="3304450"/>
              <a:ext cx="122100" cy="99275"/>
            </a:xfrm>
            <a:custGeom>
              <a:avLst/>
              <a:gdLst/>
              <a:ahLst/>
              <a:cxnLst/>
              <a:rect l="l" t="t" r="r" b="b"/>
              <a:pathLst>
                <a:path w="4884" h="3971" extrusionOk="0">
                  <a:moveTo>
                    <a:pt x="2426" y="1"/>
                  </a:moveTo>
                  <a:cubicBezTo>
                    <a:pt x="1103" y="1"/>
                    <a:pt x="0" y="1104"/>
                    <a:pt x="0" y="2427"/>
                  </a:cubicBezTo>
                  <a:cubicBezTo>
                    <a:pt x="0" y="3025"/>
                    <a:pt x="190" y="3530"/>
                    <a:pt x="536" y="3971"/>
                  </a:cubicBezTo>
                  <a:cubicBezTo>
                    <a:pt x="820" y="3624"/>
                    <a:pt x="1103" y="3309"/>
                    <a:pt x="1481" y="3057"/>
                  </a:cubicBezTo>
                  <a:cubicBezTo>
                    <a:pt x="1261" y="2805"/>
                    <a:pt x="1103" y="2458"/>
                    <a:pt x="1103" y="2112"/>
                  </a:cubicBezTo>
                  <a:cubicBezTo>
                    <a:pt x="1103" y="1356"/>
                    <a:pt x="1733" y="726"/>
                    <a:pt x="2489" y="726"/>
                  </a:cubicBezTo>
                  <a:cubicBezTo>
                    <a:pt x="3214" y="726"/>
                    <a:pt x="3844" y="1356"/>
                    <a:pt x="3844" y="2112"/>
                  </a:cubicBezTo>
                  <a:cubicBezTo>
                    <a:pt x="3844" y="2458"/>
                    <a:pt x="3687" y="2805"/>
                    <a:pt x="3466" y="3057"/>
                  </a:cubicBezTo>
                  <a:cubicBezTo>
                    <a:pt x="3844" y="3246"/>
                    <a:pt x="4128" y="3561"/>
                    <a:pt x="4317" y="3971"/>
                  </a:cubicBezTo>
                  <a:cubicBezTo>
                    <a:pt x="4695" y="3530"/>
                    <a:pt x="4884" y="3025"/>
                    <a:pt x="4884" y="2427"/>
                  </a:cubicBezTo>
                  <a:cubicBezTo>
                    <a:pt x="4884"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72"/>
            <p:cNvSpPr/>
            <p:nvPr/>
          </p:nvSpPr>
          <p:spPr>
            <a:xfrm>
              <a:off x="5121375" y="3339900"/>
              <a:ext cx="35475" cy="35475"/>
            </a:xfrm>
            <a:custGeom>
              <a:avLst/>
              <a:gdLst/>
              <a:ahLst/>
              <a:cxnLst/>
              <a:rect l="l" t="t" r="r" b="b"/>
              <a:pathLst>
                <a:path w="1419" h="1419" extrusionOk="0">
                  <a:moveTo>
                    <a:pt x="725" y="1"/>
                  </a:moveTo>
                  <a:cubicBezTo>
                    <a:pt x="316" y="1"/>
                    <a:pt x="1" y="316"/>
                    <a:pt x="1" y="694"/>
                  </a:cubicBezTo>
                  <a:cubicBezTo>
                    <a:pt x="1"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72"/>
            <p:cNvSpPr/>
            <p:nvPr/>
          </p:nvSpPr>
          <p:spPr>
            <a:xfrm>
              <a:off x="5009550" y="3234750"/>
              <a:ext cx="259150" cy="261125"/>
            </a:xfrm>
            <a:custGeom>
              <a:avLst/>
              <a:gdLst/>
              <a:ahLst/>
              <a:cxnLst/>
              <a:rect l="l" t="t" r="r" b="b"/>
              <a:pathLst>
                <a:path w="10366" h="10445" extrusionOk="0">
                  <a:moveTo>
                    <a:pt x="5198" y="2159"/>
                  </a:moveTo>
                  <a:cubicBezTo>
                    <a:pt x="6931" y="2159"/>
                    <a:pt x="8286" y="3514"/>
                    <a:pt x="8286" y="5246"/>
                  </a:cubicBezTo>
                  <a:cubicBezTo>
                    <a:pt x="8286" y="6916"/>
                    <a:pt x="6931" y="8365"/>
                    <a:pt x="5198" y="8365"/>
                  </a:cubicBezTo>
                  <a:cubicBezTo>
                    <a:pt x="3340" y="8365"/>
                    <a:pt x="2079" y="6822"/>
                    <a:pt x="2079" y="5246"/>
                  </a:cubicBezTo>
                  <a:cubicBezTo>
                    <a:pt x="2079" y="3514"/>
                    <a:pt x="3497" y="2159"/>
                    <a:pt x="5198" y="2159"/>
                  </a:cubicBezTo>
                  <a:close/>
                  <a:moveTo>
                    <a:pt x="5167" y="1"/>
                  </a:moveTo>
                  <a:cubicBezTo>
                    <a:pt x="5088" y="1"/>
                    <a:pt x="5009" y="17"/>
                    <a:pt x="4946" y="48"/>
                  </a:cubicBezTo>
                  <a:lnTo>
                    <a:pt x="4001" y="836"/>
                  </a:lnTo>
                  <a:lnTo>
                    <a:pt x="2773" y="678"/>
                  </a:lnTo>
                  <a:cubicBezTo>
                    <a:pt x="2756" y="675"/>
                    <a:pt x="2739" y="673"/>
                    <a:pt x="2723" y="673"/>
                  </a:cubicBezTo>
                  <a:cubicBezTo>
                    <a:pt x="2583" y="673"/>
                    <a:pt x="2454" y="786"/>
                    <a:pt x="2426" y="899"/>
                  </a:cubicBezTo>
                  <a:lnTo>
                    <a:pt x="1953" y="2033"/>
                  </a:lnTo>
                  <a:lnTo>
                    <a:pt x="819" y="2505"/>
                  </a:lnTo>
                  <a:cubicBezTo>
                    <a:pt x="662" y="2568"/>
                    <a:pt x="567" y="2694"/>
                    <a:pt x="630" y="2852"/>
                  </a:cubicBezTo>
                  <a:lnTo>
                    <a:pt x="788" y="4081"/>
                  </a:lnTo>
                  <a:lnTo>
                    <a:pt x="32" y="5026"/>
                  </a:lnTo>
                  <a:cubicBezTo>
                    <a:pt x="0" y="5183"/>
                    <a:pt x="0" y="5341"/>
                    <a:pt x="63" y="5467"/>
                  </a:cubicBezTo>
                  <a:lnTo>
                    <a:pt x="819" y="6381"/>
                  </a:lnTo>
                  <a:lnTo>
                    <a:pt x="662" y="7609"/>
                  </a:lnTo>
                  <a:cubicBezTo>
                    <a:pt x="630" y="7767"/>
                    <a:pt x="725" y="7924"/>
                    <a:pt x="851" y="7956"/>
                  </a:cubicBezTo>
                  <a:lnTo>
                    <a:pt x="1985" y="8428"/>
                  </a:lnTo>
                  <a:lnTo>
                    <a:pt x="2457" y="9594"/>
                  </a:lnTo>
                  <a:cubicBezTo>
                    <a:pt x="2536" y="9725"/>
                    <a:pt x="2637" y="9791"/>
                    <a:pt x="2741" y="9791"/>
                  </a:cubicBezTo>
                  <a:cubicBezTo>
                    <a:pt x="2762" y="9791"/>
                    <a:pt x="2783" y="9788"/>
                    <a:pt x="2804" y="9783"/>
                  </a:cubicBezTo>
                  <a:lnTo>
                    <a:pt x="4033" y="9626"/>
                  </a:lnTo>
                  <a:lnTo>
                    <a:pt x="4978" y="10382"/>
                  </a:lnTo>
                  <a:cubicBezTo>
                    <a:pt x="5072" y="10413"/>
                    <a:pt x="5104" y="10445"/>
                    <a:pt x="5167" y="10445"/>
                  </a:cubicBezTo>
                  <a:cubicBezTo>
                    <a:pt x="5261" y="10445"/>
                    <a:pt x="5324" y="10413"/>
                    <a:pt x="5387" y="10382"/>
                  </a:cubicBezTo>
                  <a:lnTo>
                    <a:pt x="6333" y="9626"/>
                  </a:lnTo>
                  <a:lnTo>
                    <a:pt x="7530" y="9783"/>
                  </a:lnTo>
                  <a:cubicBezTo>
                    <a:pt x="7687" y="9783"/>
                    <a:pt x="7876" y="9689"/>
                    <a:pt x="7908" y="9594"/>
                  </a:cubicBezTo>
                  <a:lnTo>
                    <a:pt x="8380" y="8428"/>
                  </a:lnTo>
                  <a:lnTo>
                    <a:pt x="9515" y="7956"/>
                  </a:lnTo>
                  <a:cubicBezTo>
                    <a:pt x="9672" y="7893"/>
                    <a:pt x="9735" y="7767"/>
                    <a:pt x="9704" y="7609"/>
                  </a:cubicBezTo>
                  <a:lnTo>
                    <a:pt x="9546" y="6381"/>
                  </a:lnTo>
                  <a:lnTo>
                    <a:pt x="10302" y="5467"/>
                  </a:lnTo>
                  <a:cubicBezTo>
                    <a:pt x="10365" y="5341"/>
                    <a:pt x="10365" y="5120"/>
                    <a:pt x="10302" y="5026"/>
                  </a:cubicBezTo>
                  <a:lnTo>
                    <a:pt x="9546" y="4081"/>
                  </a:lnTo>
                  <a:lnTo>
                    <a:pt x="9704" y="2852"/>
                  </a:lnTo>
                  <a:cubicBezTo>
                    <a:pt x="9735" y="2694"/>
                    <a:pt x="9641" y="2537"/>
                    <a:pt x="9515" y="2505"/>
                  </a:cubicBezTo>
                  <a:lnTo>
                    <a:pt x="8380" y="2033"/>
                  </a:lnTo>
                  <a:lnTo>
                    <a:pt x="7908" y="899"/>
                  </a:lnTo>
                  <a:cubicBezTo>
                    <a:pt x="7826" y="762"/>
                    <a:pt x="7719" y="672"/>
                    <a:pt x="7589" y="672"/>
                  </a:cubicBezTo>
                  <a:cubicBezTo>
                    <a:pt x="7570" y="672"/>
                    <a:pt x="7550" y="674"/>
                    <a:pt x="7530" y="678"/>
                  </a:cubicBezTo>
                  <a:lnTo>
                    <a:pt x="6333" y="836"/>
                  </a:lnTo>
                  <a:lnTo>
                    <a:pt x="5387" y="48"/>
                  </a:lnTo>
                  <a:cubicBezTo>
                    <a:pt x="5324" y="17"/>
                    <a:pt x="5246"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2"/>
            <p:cNvSpPr/>
            <p:nvPr/>
          </p:nvSpPr>
          <p:spPr>
            <a:xfrm>
              <a:off x="5105625" y="3391900"/>
              <a:ext cx="66975" cy="34675"/>
            </a:xfrm>
            <a:custGeom>
              <a:avLst/>
              <a:gdLst/>
              <a:ahLst/>
              <a:cxnLst/>
              <a:rect l="l" t="t" r="r" b="b"/>
              <a:pathLst>
                <a:path w="2679" h="1387" extrusionOk="0">
                  <a:moveTo>
                    <a:pt x="1355" y="0"/>
                  </a:moveTo>
                  <a:cubicBezTo>
                    <a:pt x="725" y="0"/>
                    <a:pt x="190" y="441"/>
                    <a:pt x="1" y="977"/>
                  </a:cubicBezTo>
                  <a:cubicBezTo>
                    <a:pt x="410" y="1229"/>
                    <a:pt x="820" y="1386"/>
                    <a:pt x="1355" y="1386"/>
                  </a:cubicBezTo>
                  <a:cubicBezTo>
                    <a:pt x="1859" y="1386"/>
                    <a:pt x="2301" y="1229"/>
                    <a:pt x="2679" y="977"/>
                  </a:cubicBezTo>
                  <a:cubicBezTo>
                    <a:pt x="2521" y="410"/>
                    <a:pt x="1985"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72"/>
            <p:cNvSpPr/>
            <p:nvPr/>
          </p:nvSpPr>
          <p:spPr>
            <a:xfrm>
              <a:off x="5192275" y="3443075"/>
              <a:ext cx="95325" cy="86975"/>
            </a:xfrm>
            <a:custGeom>
              <a:avLst/>
              <a:gdLst/>
              <a:ahLst/>
              <a:cxnLst/>
              <a:rect l="l" t="t" r="r" b="b"/>
              <a:pathLst>
                <a:path w="3813" h="3479" extrusionOk="0">
                  <a:moveTo>
                    <a:pt x="2867" y="1"/>
                  </a:moveTo>
                  <a:cubicBezTo>
                    <a:pt x="2741" y="127"/>
                    <a:pt x="2647" y="221"/>
                    <a:pt x="2489" y="284"/>
                  </a:cubicBezTo>
                  <a:lnTo>
                    <a:pt x="1607" y="631"/>
                  </a:lnTo>
                  <a:lnTo>
                    <a:pt x="1260" y="1482"/>
                  </a:lnTo>
                  <a:cubicBezTo>
                    <a:pt x="1103" y="1891"/>
                    <a:pt x="693" y="2112"/>
                    <a:pt x="284" y="2112"/>
                  </a:cubicBezTo>
                  <a:lnTo>
                    <a:pt x="158" y="2112"/>
                  </a:lnTo>
                  <a:lnTo>
                    <a:pt x="0" y="2080"/>
                  </a:lnTo>
                  <a:lnTo>
                    <a:pt x="1166" y="3372"/>
                  </a:lnTo>
                  <a:cubicBezTo>
                    <a:pt x="1237" y="3443"/>
                    <a:pt x="1343" y="3478"/>
                    <a:pt x="1445" y="3478"/>
                  </a:cubicBezTo>
                  <a:cubicBezTo>
                    <a:pt x="1479" y="3478"/>
                    <a:pt x="1512" y="3474"/>
                    <a:pt x="1544" y="3466"/>
                  </a:cubicBezTo>
                  <a:cubicBezTo>
                    <a:pt x="1638" y="3403"/>
                    <a:pt x="1764" y="3340"/>
                    <a:pt x="1764" y="3183"/>
                  </a:cubicBezTo>
                  <a:lnTo>
                    <a:pt x="2080" y="1639"/>
                  </a:lnTo>
                  <a:lnTo>
                    <a:pt x="3497" y="1324"/>
                  </a:lnTo>
                  <a:cubicBezTo>
                    <a:pt x="3532" y="1338"/>
                    <a:pt x="3563" y="1344"/>
                    <a:pt x="3592" y="1344"/>
                  </a:cubicBezTo>
                  <a:cubicBezTo>
                    <a:pt x="3693" y="1344"/>
                    <a:pt x="3756" y="1265"/>
                    <a:pt x="3781" y="1167"/>
                  </a:cubicBezTo>
                  <a:cubicBezTo>
                    <a:pt x="3812" y="1072"/>
                    <a:pt x="3781" y="946"/>
                    <a:pt x="3686" y="820"/>
                  </a:cubicBezTo>
                  <a:lnTo>
                    <a:pt x="28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72"/>
            <p:cNvSpPr/>
            <p:nvPr/>
          </p:nvSpPr>
          <p:spPr>
            <a:xfrm>
              <a:off x="4991425" y="3444650"/>
              <a:ext cx="95325" cy="87325"/>
            </a:xfrm>
            <a:custGeom>
              <a:avLst/>
              <a:gdLst/>
              <a:ahLst/>
              <a:cxnLst/>
              <a:rect l="l" t="t" r="r" b="b"/>
              <a:pathLst>
                <a:path w="3813" h="3493" extrusionOk="0">
                  <a:moveTo>
                    <a:pt x="946" y="1"/>
                  </a:moveTo>
                  <a:lnTo>
                    <a:pt x="126" y="851"/>
                  </a:lnTo>
                  <a:cubicBezTo>
                    <a:pt x="0" y="851"/>
                    <a:pt x="0" y="1009"/>
                    <a:pt x="32" y="1104"/>
                  </a:cubicBezTo>
                  <a:cubicBezTo>
                    <a:pt x="95" y="1230"/>
                    <a:pt x="158" y="1324"/>
                    <a:pt x="315" y="1356"/>
                  </a:cubicBezTo>
                  <a:lnTo>
                    <a:pt x="1733" y="1671"/>
                  </a:lnTo>
                  <a:lnTo>
                    <a:pt x="2048" y="3214"/>
                  </a:lnTo>
                  <a:cubicBezTo>
                    <a:pt x="2080" y="3309"/>
                    <a:pt x="2174" y="3435"/>
                    <a:pt x="2300" y="3466"/>
                  </a:cubicBezTo>
                  <a:cubicBezTo>
                    <a:pt x="2328" y="3485"/>
                    <a:pt x="2361" y="3492"/>
                    <a:pt x="2396" y="3492"/>
                  </a:cubicBezTo>
                  <a:cubicBezTo>
                    <a:pt x="2482" y="3492"/>
                    <a:pt x="2580" y="3448"/>
                    <a:pt x="2647" y="3403"/>
                  </a:cubicBezTo>
                  <a:lnTo>
                    <a:pt x="3813" y="2112"/>
                  </a:lnTo>
                  <a:lnTo>
                    <a:pt x="3813" y="2112"/>
                  </a:lnTo>
                  <a:lnTo>
                    <a:pt x="3624" y="2143"/>
                  </a:lnTo>
                  <a:lnTo>
                    <a:pt x="3561" y="2143"/>
                  </a:lnTo>
                  <a:cubicBezTo>
                    <a:pt x="3119" y="2143"/>
                    <a:pt x="2773" y="1891"/>
                    <a:pt x="2552" y="1513"/>
                  </a:cubicBezTo>
                  <a:lnTo>
                    <a:pt x="2206" y="631"/>
                  </a:lnTo>
                  <a:lnTo>
                    <a:pt x="1355" y="284"/>
                  </a:lnTo>
                  <a:cubicBezTo>
                    <a:pt x="1198" y="221"/>
                    <a:pt x="1072" y="127"/>
                    <a:pt x="9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9" name="Google Shape;7059;p72"/>
          <p:cNvGrpSpPr/>
          <p:nvPr/>
        </p:nvGrpSpPr>
        <p:grpSpPr>
          <a:xfrm>
            <a:off x="6650491" y="3199653"/>
            <a:ext cx="350079" cy="308177"/>
            <a:chOff x="4991425" y="3617150"/>
            <a:chExt cx="296175" cy="260725"/>
          </a:xfrm>
        </p:grpSpPr>
        <p:sp>
          <p:nvSpPr>
            <p:cNvPr id="7060" name="Google Shape;7060;p72"/>
            <p:cNvSpPr/>
            <p:nvPr/>
          </p:nvSpPr>
          <p:spPr>
            <a:xfrm>
              <a:off x="5069400" y="3738450"/>
              <a:ext cx="139425" cy="139425"/>
            </a:xfrm>
            <a:custGeom>
              <a:avLst/>
              <a:gdLst/>
              <a:ahLst/>
              <a:cxnLst/>
              <a:rect l="l" t="t" r="r" b="b"/>
              <a:pathLst>
                <a:path w="5577" h="5577" extrusionOk="0">
                  <a:moveTo>
                    <a:pt x="2804" y="0"/>
                  </a:moveTo>
                  <a:cubicBezTo>
                    <a:pt x="1607" y="0"/>
                    <a:pt x="1450" y="725"/>
                    <a:pt x="1009" y="3308"/>
                  </a:cubicBezTo>
                  <a:cubicBezTo>
                    <a:pt x="946" y="3749"/>
                    <a:pt x="851" y="4285"/>
                    <a:pt x="757" y="4883"/>
                  </a:cubicBezTo>
                  <a:lnTo>
                    <a:pt x="347" y="4883"/>
                  </a:lnTo>
                  <a:cubicBezTo>
                    <a:pt x="158" y="4883"/>
                    <a:pt x="0" y="5041"/>
                    <a:pt x="0" y="5230"/>
                  </a:cubicBezTo>
                  <a:cubicBezTo>
                    <a:pt x="0" y="5419"/>
                    <a:pt x="158" y="5576"/>
                    <a:pt x="347" y="5576"/>
                  </a:cubicBezTo>
                  <a:lnTo>
                    <a:pt x="5230" y="5576"/>
                  </a:lnTo>
                  <a:cubicBezTo>
                    <a:pt x="5419" y="5545"/>
                    <a:pt x="5577" y="5387"/>
                    <a:pt x="5577" y="5198"/>
                  </a:cubicBezTo>
                  <a:cubicBezTo>
                    <a:pt x="5577" y="5009"/>
                    <a:pt x="5419" y="4852"/>
                    <a:pt x="5230" y="4852"/>
                  </a:cubicBezTo>
                  <a:lnTo>
                    <a:pt x="4852" y="4852"/>
                  </a:lnTo>
                  <a:cubicBezTo>
                    <a:pt x="4726" y="4253"/>
                    <a:pt x="4632" y="3749"/>
                    <a:pt x="4569" y="3277"/>
                  </a:cubicBezTo>
                  <a:cubicBezTo>
                    <a:pt x="4128" y="756"/>
                    <a:pt x="3970" y="0"/>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72"/>
            <p:cNvSpPr/>
            <p:nvPr/>
          </p:nvSpPr>
          <p:spPr>
            <a:xfrm>
              <a:off x="5200150" y="3617150"/>
              <a:ext cx="69325" cy="69325"/>
            </a:xfrm>
            <a:custGeom>
              <a:avLst/>
              <a:gdLst/>
              <a:ahLst/>
              <a:cxnLst/>
              <a:rect l="l" t="t" r="r" b="b"/>
              <a:pathLst>
                <a:path w="2773" h="2773" extrusionOk="0">
                  <a:moveTo>
                    <a:pt x="1386" y="0"/>
                  </a:moveTo>
                  <a:cubicBezTo>
                    <a:pt x="630" y="0"/>
                    <a:pt x="0" y="630"/>
                    <a:pt x="0" y="1387"/>
                  </a:cubicBezTo>
                  <a:cubicBezTo>
                    <a:pt x="0" y="2111"/>
                    <a:pt x="630" y="2773"/>
                    <a:pt x="1386" y="2773"/>
                  </a:cubicBezTo>
                  <a:cubicBezTo>
                    <a:pt x="2143" y="2773"/>
                    <a:pt x="2773" y="2111"/>
                    <a:pt x="2773" y="1387"/>
                  </a:cubicBezTo>
                  <a:cubicBezTo>
                    <a:pt x="2773" y="630"/>
                    <a:pt x="2143" y="0"/>
                    <a:pt x="1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2"/>
            <p:cNvSpPr/>
            <p:nvPr/>
          </p:nvSpPr>
          <p:spPr>
            <a:xfrm>
              <a:off x="5009550" y="3617150"/>
              <a:ext cx="68525" cy="69325"/>
            </a:xfrm>
            <a:custGeom>
              <a:avLst/>
              <a:gdLst/>
              <a:ahLst/>
              <a:cxnLst/>
              <a:rect l="l" t="t" r="r" b="b"/>
              <a:pathLst>
                <a:path w="2741" h="2773" extrusionOk="0">
                  <a:moveTo>
                    <a:pt x="1355" y="0"/>
                  </a:moveTo>
                  <a:cubicBezTo>
                    <a:pt x="599" y="0"/>
                    <a:pt x="0" y="630"/>
                    <a:pt x="0" y="1387"/>
                  </a:cubicBezTo>
                  <a:cubicBezTo>
                    <a:pt x="0" y="2143"/>
                    <a:pt x="599" y="2773"/>
                    <a:pt x="1355" y="2773"/>
                  </a:cubicBezTo>
                  <a:cubicBezTo>
                    <a:pt x="2111" y="2773"/>
                    <a:pt x="2741" y="2143"/>
                    <a:pt x="2741" y="1387"/>
                  </a:cubicBezTo>
                  <a:cubicBezTo>
                    <a:pt x="2741" y="630"/>
                    <a:pt x="2111"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72"/>
            <p:cNvSpPr/>
            <p:nvPr/>
          </p:nvSpPr>
          <p:spPr>
            <a:xfrm>
              <a:off x="4991425" y="3686450"/>
              <a:ext cx="104775" cy="52025"/>
            </a:xfrm>
            <a:custGeom>
              <a:avLst/>
              <a:gdLst/>
              <a:ahLst/>
              <a:cxnLst/>
              <a:rect l="l" t="t" r="r" b="b"/>
              <a:pathLst>
                <a:path w="4191" h="2081" extrusionOk="0">
                  <a:moveTo>
                    <a:pt x="568" y="1"/>
                  </a:moveTo>
                  <a:cubicBezTo>
                    <a:pt x="252" y="347"/>
                    <a:pt x="0" y="851"/>
                    <a:pt x="0" y="1356"/>
                  </a:cubicBezTo>
                  <a:lnTo>
                    <a:pt x="0" y="1734"/>
                  </a:lnTo>
                  <a:cubicBezTo>
                    <a:pt x="0" y="1923"/>
                    <a:pt x="158" y="2080"/>
                    <a:pt x="347" y="2080"/>
                  </a:cubicBezTo>
                  <a:lnTo>
                    <a:pt x="3813" y="2080"/>
                  </a:lnTo>
                  <a:cubicBezTo>
                    <a:pt x="4033" y="2080"/>
                    <a:pt x="4191" y="1923"/>
                    <a:pt x="4191" y="1734"/>
                  </a:cubicBezTo>
                  <a:lnTo>
                    <a:pt x="4191" y="1356"/>
                  </a:lnTo>
                  <a:cubicBezTo>
                    <a:pt x="4191" y="820"/>
                    <a:pt x="3970" y="347"/>
                    <a:pt x="3624" y="1"/>
                  </a:cubicBezTo>
                  <a:cubicBezTo>
                    <a:pt x="3245" y="410"/>
                    <a:pt x="2678" y="694"/>
                    <a:pt x="2080" y="694"/>
                  </a:cubicBezTo>
                  <a:cubicBezTo>
                    <a:pt x="1513" y="694"/>
                    <a:pt x="946" y="410"/>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72"/>
            <p:cNvSpPr/>
            <p:nvPr/>
          </p:nvSpPr>
          <p:spPr>
            <a:xfrm>
              <a:off x="5183600" y="3686450"/>
              <a:ext cx="104000" cy="52025"/>
            </a:xfrm>
            <a:custGeom>
              <a:avLst/>
              <a:gdLst/>
              <a:ahLst/>
              <a:cxnLst/>
              <a:rect l="l" t="t" r="r" b="b"/>
              <a:pathLst>
                <a:path w="4160" h="2081" extrusionOk="0">
                  <a:moveTo>
                    <a:pt x="536" y="1"/>
                  </a:moveTo>
                  <a:cubicBezTo>
                    <a:pt x="221" y="347"/>
                    <a:pt x="1" y="851"/>
                    <a:pt x="1" y="1356"/>
                  </a:cubicBezTo>
                  <a:lnTo>
                    <a:pt x="1" y="1702"/>
                  </a:lnTo>
                  <a:cubicBezTo>
                    <a:pt x="1" y="1923"/>
                    <a:pt x="158" y="2080"/>
                    <a:pt x="347" y="2080"/>
                  </a:cubicBezTo>
                  <a:lnTo>
                    <a:pt x="3813" y="2080"/>
                  </a:lnTo>
                  <a:cubicBezTo>
                    <a:pt x="4002" y="2080"/>
                    <a:pt x="4159" y="1923"/>
                    <a:pt x="4159" y="1702"/>
                  </a:cubicBezTo>
                  <a:lnTo>
                    <a:pt x="4159" y="1356"/>
                  </a:lnTo>
                  <a:cubicBezTo>
                    <a:pt x="4159" y="820"/>
                    <a:pt x="3970" y="347"/>
                    <a:pt x="3624" y="1"/>
                  </a:cubicBezTo>
                  <a:cubicBezTo>
                    <a:pt x="3214" y="410"/>
                    <a:pt x="2679" y="694"/>
                    <a:pt x="2080" y="694"/>
                  </a:cubicBezTo>
                  <a:cubicBezTo>
                    <a:pt x="1450" y="694"/>
                    <a:pt x="946" y="410"/>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2"/>
            <p:cNvSpPr/>
            <p:nvPr/>
          </p:nvSpPr>
          <p:spPr>
            <a:xfrm>
              <a:off x="5187550" y="3755775"/>
              <a:ext cx="100050" cy="52800"/>
            </a:xfrm>
            <a:custGeom>
              <a:avLst/>
              <a:gdLst/>
              <a:ahLst/>
              <a:cxnLst/>
              <a:rect l="l" t="t" r="r" b="b"/>
              <a:pathLst>
                <a:path w="4002" h="2112" extrusionOk="0">
                  <a:moveTo>
                    <a:pt x="0" y="0"/>
                  </a:moveTo>
                  <a:cubicBezTo>
                    <a:pt x="189" y="567"/>
                    <a:pt x="315" y="1229"/>
                    <a:pt x="473" y="2111"/>
                  </a:cubicBezTo>
                  <a:lnTo>
                    <a:pt x="3655" y="2111"/>
                  </a:lnTo>
                  <a:cubicBezTo>
                    <a:pt x="3844" y="2111"/>
                    <a:pt x="4001" y="1954"/>
                    <a:pt x="4001" y="1733"/>
                  </a:cubicBezTo>
                  <a:lnTo>
                    <a:pt x="4001" y="378"/>
                  </a:lnTo>
                  <a:cubicBezTo>
                    <a:pt x="3970" y="158"/>
                    <a:pt x="3844"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72"/>
            <p:cNvSpPr/>
            <p:nvPr/>
          </p:nvSpPr>
          <p:spPr>
            <a:xfrm>
              <a:off x="4991425" y="3755775"/>
              <a:ext cx="100850" cy="52000"/>
            </a:xfrm>
            <a:custGeom>
              <a:avLst/>
              <a:gdLst/>
              <a:ahLst/>
              <a:cxnLst/>
              <a:rect l="l" t="t" r="r" b="b"/>
              <a:pathLst>
                <a:path w="4034" h="2080" extrusionOk="0">
                  <a:moveTo>
                    <a:pt x="347" y="0"/>
                  </a:moveTo>
                  <a:cubicBezTo>
                    <a:pt x="158" y="0"/>
                    <a:pt x="0" y="158"/>
                    <a:pt x="0" y="347"/>
                  </a:cubicBezTo>
                  <a:lnTo>
                    <a:pt x="0" y="1733"/>
                  </a:lnTo>
                  <a:cubicBezTo>
                    <a:pt x="0" y="1954"/>
                    <a:pt x="158" y="2080"/>
                    <a:pt x="347" y="2080"/>
                  </a:cubicBezTo>
                  <a:lnTo>
                    <a:pt x="3561" y="2080"/>
                  </a:lnTo>
                  <a:cubicBezTo>
                    <a:pt x="3718" y="1229"/>
                    <a:pt x="3813" y="567"/>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7" name="Google Shape;7067;p72"/>
          <p:cNvGrpSpPr/>
          <p:nvPr/>
        </p:nvGrpSpPr>
        <p:grpSpPr>
          <a:xfrm>
            <a:off x="6727764" y="3655244"/>
            <a:ext cx="195532" cy="349163"/>
            <a:chOff x="5056800" y="3962900"/>
            <a:chExt cx="165425" cy="295400"/>
          </a:xfrm>
        </p:grpSpPr>
        <p:sp>
          <p:nvSpPr>
            <p:cNvPr id="7068" name="Google Shape;7068;p72"/>
            <p:cNvSpPr/>
            <p:nvPr/>
          </p:nvSpPr>
          <p:spPr>
            <a:xfrm>
              <a:off x="5155250" y="4042450"/>
              <a:ext cx="66975" cy="104800"/>
            </a:xfrm>
            <a:custGeom>
              <a:avLst/>
              <a:gdLst/>
              <a:ahLst/>
              <a:cxnLst/>
              <a:rect l="l" t="t" r="r" b="b"/>
              <a:pathLst>
                <a:path w="2679" h="4192" extrusionOk="0">
                  <a:moveTo>
                    <a:pt x="0" y="1"/>
                  </a:moveTo>
                  <a:lnTo>
                    <a:pt x="505" y="3467"/>
                  </a:lnTo>
                  <a:lnTo>
                    <a:pt x="1103" y="4065"/>
                  </a:lnTo>
                  <a:cubicBezTo>
                    <a:pt x="1166" y="4128"/>
                    <a:pt x="1261" y="4191"/>
                    <a:pt x="1324" y="4191"/>
                  </a:cubicBezTo>
                  <a:lnTo>
                    <a:pt x="2300" y="4191"/>
                  </a:lnTo>
                  <a:cubicBezTo>
                    <a:pt x="2521" y="4191"/>
                    <a:pt x="2678" y="4034"/>
                    <a:pt x="2678" y="3813"/>
                  </a:cubicBezTo>
                  <a:lnTo>
                    <a:pt x="2678" y="2805"/>
                  </a:lnTo>
                  <a:cubicBezTo>
                    <a:pt x="2678" y="2710"/>
                    <a:pt x="2615" y="2616"/>
                    <a:pt x="2552" y="2553"/>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72"/>
            <p:cNvSpPr/>
            <p:nvPr/>
          </p:nvSpPr>
          <p:spPr>
            <a:xfrm>
              <a:off x="5065450" y="3962900"/>
              <a:ext cx="88250" cy="52025"/>
            </a:xfrm>
            <a:custGeom>
              <a:avLst/>
              <a:gdLst/>
              <a:ahLst/>
              <a:cxnLst/>
              <a:rect l="l" t="t" r="r" b="b"/>
              <a:pathLst>
                <a:path w="3530" h="2081" extrusionOk="0">
                  <a:moveTo>
                    <a:pt x="347" y="1"/>
                  </a:moveTo>
                  <a:cubicBezTo>
                    <a:pt x="221" y="1"/>
                    <a:pt x="158" y="33"/>
                    <a:pt x="64" y="159"/>
                  </a:cubicBezTo>
                  <a:cubicBezTo>
                    <a:pt x="1" y="222"/>
                    <a:pt x="1" y="348"/>
                    <a:pt x="32" y="474"/>
                  </a:cubicBezTo>
                  <a:lnTo>
                    <a:pt x="568" y="2080"/>
                  </a:lnTo>
                  <a:lnTo>
                    <a:pt x="2931" y="2080"/>
                  </a:lnTo>
                  <a:lnTo>
                    <a:pt x="3498" y="474"/>
                  </a:lnTo>
                  <a:cubicBezTo>
                    <a:pt x="3529" y="348"/>
                    <a:pt x="3498" y="222"/>
                    <a:pt x="3466" y="159"/>
                  </a:cubicBezTo>
                  <a:cubicBezTo>
                    <a:pt x="3340" y="64"/>
                    <a:pt x="3214"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72"/>
            <p:cNvSpPr/>
            <p:nvPr/>
          </p:nvSpPr>
          <p:spPr>
            <a:xfrm>
              <a:off x="5056800" y="4032225"/>
              <a:ext cx="104000" cy="226075"/>
            </a:xfrm>
            <a:custGeom>
              <a:avLst/>
              <a:gdLst/>
              <a:ahLst/>
              <a:cxnLst/>
              <a:rect l="l" t="t" r="r" b="b"/>
              <a:pathLst>
                <a:path w="4160" h="9043" extrusionOk="0">
                  <a:moveTo>
                    <a:pt x="977" y="0"/>
                  </a:moveTo>
                  <a:lnTo>
                    <a:pt x="0" y="6553"/>
                  </a:lnTo>
                  <a:cubicBezTo>
                    <a:pt x="0" y="6648"/>
                    <a:pt x="0" y="6742"/>
                    <a:pt x="63" y="6837"/>
                  </a:cubicBezTo>
                  <a:lnTo>
                    <a:pt x="1796" y="8916"/>
                  </a:lnTo>
                  <a:cubicBezTo>
                    <a:pt x="1859" y="9011"/>
                    <a:pt x="1954" y="9042"/>
                    <a:pt x="2080" y="9042"/>
                  </a:cubicBezTo>
                  <a:cubicBezTo>
                    <a:pt x="2174" y="9042"/>
                    <a:pt x="2269" y="9011"/>
                    <a:pt x="2332" y="8916"/>
                  </a:cubicBezTo>
                  <a:lnTo>
                    <a:pt x="4065" y="6837"/>
                  </a:lnTo>
                  <a:cubicBezTo>
                    <a:pt x="4159" y="6742"/>
                    <a:pt x="4159" y="6679"/>
                    <a:pt x="4159" y="6553"/>
                  </a:cubicBezTo>
                  <a:lnTo>
                    <a:pt x="31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1" name="Google Shape;7071;p72"/>
          <p:cNvGrpSpPr/>
          <p:nvPr/>
        </p:nvGrpSpPr>
        <p:grpSpPr>
          <a:xfrm>
            <a:off x="7979062" y="3655260"/>
            <a:ext cx="350995" cy="349133"/>
            <a:chOff x="6168925" y="3936925"/>
            <a:chExt cx="296950" cy="295375"/>
          </a:xfrm>
        </p:grpSpPr>
        <p:sp>
          <p:nvSpPr>
            <p:cNvPr id="7072" name="Google Shape;7072;p72"/>
            <p:cNvSpPr/>
            <p:nvPr/>
          </p:nvSpPr>
          <p:spPr>
            <a:xfrm>
              <a:off x="6220900" y="416455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72"/>
            <p:cNvSpPr/>
            <p:nvPr/>
          </p:nvSpPr>
          <p:spPr>
            <a:xfrm>
              <a:off x="6168925" y="3972375"/>
              <a:ext cx="227650" cy="259925"/>
            </a:xfrm>
            <a:custGeom>
              <a:avLst/>
              <a:gdLst/>
              <a:ahLst/>
              <a:cxnLst/>
              <a:rect l="l" t="t" r="r" b="b"/>
              <a:pathLst>
                <a:path w="9106" h="10397" extrusionOk="0">
                  <a:moveTo>
                    <a:pt x="3115" y="2135"/>
                  </a:moveTo>
                  <a:cubicBezTo>
                    <a:pt x="3206" y="2135"/>
                    <a:pt x="3293" y="2158"/>
                    <a:pt x="3340" y="2205"/>
                  </a:cubicBezTo>
                  <a:cubicBezTo>
                    <a:pt x="3466" y="2331"/>
                    <a:pt x="3466" y="2583"/>
                    <a:pt x="3340" y="2678"/>
                  </a:cubicBezTo>
                  <a:lnTo>
                    <a:pt x="2930" y="3119"/>
                  </a:lnTo>
                  <a:lnTo>
                    <a:pt x="3340" y="3560"/>
                  </a:lnTo>
                  <a:cubicBezTo>
                    <a:pt x="3466" y="3686"/>
                    <a:pt x="3466" y="3907"/>
                    <a:pt x="3340" y="4033"/>
                  </a:cubicBezTo>
                  <a:cubicBezTo>
                    <a:pt x="3293" y="4096"/>
                    <a:pt x="3206" y="4127"/>
                    <a:pt x="3115" y="4127"/>
                  </a:cubicBezTo>
                  <a:cubicBezTo>
                    <a:pt x="3025" y="4127"/>
                    <a:pt x="2930" y="4096"/>
                    <a:pt x="2867" y="4033"/>
                  </a:cubicBezTo>
                  <a:lnTo>
                    <a:pt x="2458" y="3592"/>
                  </a:lnTo>
                  <a:lnTo>
                    <a:pt x="2017" y="4033"/>
                  </a:lnTo>
                  <a:cubicBezTo>
                    <a:pt x="1954" y="4096"/>
                    <a:pt x="1867" y="4127"/>
                    <a:pt x="1780" y="4127"/>
                  </a:cubicBezTo>
                  <a:cubicBezTo>
                    <a:pt x="1694" y="4127"/>
                    <a:pt x="1607" y="4096"/>
                    <a:pt x="1544" y="4033"/>
                  </a:cubicBezTo>
                  <a:cubicBezTo>
                    <a:pt x="1418" y="3907"/>
                    <a:pt x="1418" y="3686"/>
                    <a:pt x="1544" y="3560"/>
                  </a:cubicBezTo>
                  <a:lnTo>
                    <a:pt x="1985" y="3119"/>
                  </a:lnTo>
                  <a:lnTo>
                    <a:pt x="1544" y="2678"/>
                  </a:lnTo>
                  <a:cubicBezTo>
                    <a:pt x="1418" y="2583"/>
                    <a:pt x="1418" y="2331"/>
                    <a:pt x="1544" y="2205"/>
                  </a:cubicBezTo>
                  <a:cubicBezTo>
                    <a:pt x="1591" y="2158"/>
                    <a:pt x="1678" y="2135"/>
                    <a:pt x="1769" y="2135"/>
                  </a:cubicBezTo>
                  <a:cubicBezTo>
                    <a:pt x="1859" y="2135"/>
                    <a:pt x="1954" y="2158"/>
                    <a:pt x="2017" y="2205"/>
                  </a:cubicBezTo>
                  <a:lnTo>
                    <a:pt x="2458" y="2646"/>
                  </a:lnTo>
                  <a:lnTo>
                    <a:pt x="2867" y="2205"/>
                  </a:lnTo>
                  <a:cubicBezTo>
                    <a:pt x="2930" y="2158"/>
                    <a:pt x="3025" y="2135"/>
                    <a:pt x="3115" y="2135"/>
                  </a:cubicBezTo>
                  <a:close/>
                  <a:moveTo>
                    <a:pt x="6727" y="2079"/>
                  </a:moveTo>
                  <a:cubicBezTo>
                    <a:pt x="6813" y="2079"/>
                    <a:pt x="6900" y="2111"/>
                    <a:pt x="6963" y="2174"/>
                  </a:cubicBezTo>
                  <a:lnTo>
                    <a:pt x="7688" y="2898"/>
                  </a:lnTo>
                  <a:cubicBezTo>
                    <a:pt x="7719" y="2993"/>
                    <a:pt x="7719" y="3245"/>
                    <a:pt x="7593" y="3371"/>
                  </a:cubicBezTo>
                  <a:cubicBezTo>
                    <a:pt x="7546" y="3418"/>
                    <a:pt x="7459" y="3442"/>
                    <a:pt x="7369" y="3442"/>
                  </a:cubicBezTo>
                  <a:cubicBezTo>
                    <a:pt x="7278" y="3442"/>
                    <a:pt x="7183" y="3418"/>
                    <a:pt x="7120" y="3371"/>
                  </a:cubicBezTo>
                  <a:lnTo>
                    <a:pt x="7026" y="3245"/>
                  </a:lnTo>
                  <a:lnTo>
                    <a:pt x="7026" y="4505"/>
                  </a:lnTo>
                  <a:cubicBezTo>
                    <a:pt x="7026" y="5104"/>
                    <a:pt x="6553" y="5513"/>
                    <a:pt x="5986" y="5513"/>
                  </a:cubicBezTo>
                  <a:lnTo>
                    <a:pt x="3151" y="5513"/>
                  </a:lnTo>
                  <a:cubicBezTo>
                    <a:pt x="2962" y="5513"/>
                    <a:pt x="2804" y="5671"/>
                    <a:pt x="2804" y="5891"/>
                  </a:cubicBezTo>
                  <a:lnTo>
                    <a:pt x="2804" y="7026"/>
                  </a:lnTo>
                  <a:cubicBezTo>
                    <a:pt x="3182" y="7183"/>
                    <a:pt x="3497" y="7530"/>
                    <a:pt x="3497" y="8002"/>
                  </a:cubicBezTo>
                  <a:cubicBezTo>
                    <a:pt x="3497" y="8601"/>
                    <a:pt x="3025" y="9042"/>
                    <a:pt x="2489" y="9042"/>
                  </a:cubicBezTo>
                  <a:cubicBezTo>
                    <a:pt x="1922" y="9042"/>
                    <a:pt x="1450" y="8569"/>
                    <a:pt x="1450" y="8002"/>
                  </a:cubicBezTo>
                  <a:cubicBezTo>
                    <a:pt x="1450" y="7561"/>
                    <a:pt x="1733" y="7183"/>
                    <a:pt x="2174" y="7026"/>
                  </a:cubicBezTo>
                  <a:lnTo>
                    <a:pt x="2174" y="5891"/>
                  </a:lnTo>
                  <a:cubicBezTo>
                    <a:pt x="2174" y="5293"/>
                    <a:pt x="2647" y="4852"/>
                    <a:pt x="3182" y="4852"/>
                  </a:cubicBezTo>
                  <a:lnTo>
                    <a:pt x="6018" y="4852"/>
                  </a:lnTo>
                  <a:cubicBezTo>
                    <a:pt x="6207" y="4852"/>
                    <a:pt x="6364" y="4694"/>
                    <a:pt x="6364" y="4505"/>
                  </a:cubicBezTo>
                  <a:lnTo>
                    <a:pt x="6364" y="3245"/>
                  </a:lnTo>
                  <a:lnTo>
                    <a:pt x="6270" y="3371"/>
                  </a:lnTo>
                  <a:cubicBezTo>
                    <a:pt x="6207" y="3418"/>
                    <a:pt x="6120" y="3442"/>
                    <a:pt x="6034" y="3442"/>
                  </a:cubicBezTo>
                  <a:cubicBezTo>
                    <a:pt x="5947" y="3442"/>
                    <a:pt x="5860" y="3418"/>
                    <a:pt x="5797" y="3371"/>
                  </a:cubicBezTo>
                  <a:cubicBezTo>
                    <a:pt x="5671" y="3245"/>
                    <a:pt x="5671" y="2993"/>
                    <a:pt x="5797" y="2898"/>
                  </a:cubicBezTo>
                  <a:lnTo>
                    <a:pt x="6490" y="2174"/>
                  </a:lnTo>
                  <a:cubicBezTo>
                    <a:pt x="6553" y="2111"/>
                    <a:pt x="6640" y="2079"/>
                    <a:pt x="6727" y="2079"/>
                  </a:cubicBezTo>
                  <a:close/>
                  <a:moveTo>
                    <a:pt x="7369" y="7057"/>
                  </a:moveTo>
                  <a:cubicBezTo>
                    <a:pt x="7459" y="7057"/>
                    <a:pt x="7546" y="7089"/>
                    <a:pt x="7593" y="7152"/>
                  </a:cubicBezTo>
                  <a:cubicBezTo>
                    <a:pt x="7719" y="7246"/>
                    <a:pt x="7719" y="7498"/>
                    <a:pt x="7593" y="7624"/>
                  </a:cubicBezTo>
                  <a:lnTo>
                    <a:pt x="7183" y="8034"/>
                  </a:lnTo>
                  <a:lnTo>
                    <a:pt x="7593" y="8475"/>
                  </a:lnTo>
                  <a:cubicBezTo>
                    <a:pt x="7719" y="8601"/>
                    <a:pt x="7719" y="8821"/>
                    <a:pt x="7593" y="8947"/>
                  </a:cubicBezTo>
                  <a:cubicBezTo>
                    <a:pt x="7546" y="9010"/>
                    <a:pt x="7459" y="9042"/>
                    <a:pt x="7369" y="9042"/>
                  </a:cubicBezTo>
                  <a:cubicBezTo>
                    <a:pt x="7278" y="9042"/>
                    <a:pt x="7183" y="9010"/>
                    <a:pt x="7120" y="8947"/>
                  </a:cubicBezTo>
                  <a:lnTo>
                    <a:pt x="6711" y="8506"/>
                  </a:lnTo>
                  <a:lnTo>
                    <a:pt x="6270" y="8947"/>
                  </a:lnTo>
                  <a:cubicBezTo>
                    <a:pt x="6207" y="9010"/>
                    <a:pt x="6120" y="9042"/>
                    <a:pt x="6034" y="9042"/>
                  </a:cubicBezTo>
                  <a:cubicBezTo>
                    <a:pt x="5947" y="9042"/>
                    <a:pt x="5860" y="9010"/>
                    <a:pt x="5797" y="8947"/>
                  </a:cubicBezTo>
                  <a:cubicBezTo>
                    <a:pt x="5671" y="8821"/>
                    <a:pt x="5671" y="8601"/>
                    <a:pt x="5797" y="8475"/>
                  </a:cubicBezTo>
                  <a:lnTo>
                    <a:pt x="6207" y="8034"/>
                  </a:lnTo>
                  <a:lnTo>
                    <a:pt x="5797" y="7624"/>
                  </a:lnTo>
                  <a:cubicBezTo>
                    <a:pt x="5671" y="7498"/>
                    <a:pt x="5671" y="7246"/>
                    <a:pt x="5797" y="7152"/>
                  </a:cubicBezTo>
                  <a:cubicBezTo>
                    <a:pt x="5845" y="7089"/>
                    <a:pt x="5931" y="7057"/>
                    <a:pt x="6022" y="7057"/>
                  </a:cubicBezTo>
                  <a:cubicBezTo>
                    <a:pt x="6112" y="7057"/>
                    <a:pt x="6207" y="7089"/>
                    <a:pt x="6270" y="7152"/>
                  </a:cubicBezTo>
                  <a:lnTo>
                    <a:pt x="6711" y="7561"/>
                  </a:lnTo>
                  <a:lnTo>
                    <a:pt x="7120" y="7152"/>
                  </a:lnTo>
                  <a:cubicBezTo>
                    <a:pt x="7183" y="7089"/>
                    <a:pt x="7278" y="7057"/>
                    <a:pt x="7369" y="7057"/>
                  </a:cubicBezTo>
                  <a:close/>
                  <a:moveTo>
                    <a:pt x="1040" y="0"/>
                  </a:moveTo>
                  <a:cubicBezTo>
                    <a:pt x="441" y="0"/>
                    <a:pt x="0" y="473"/>
                    <a:pt x="0" y="1040"/>
                  </a:cubicBezTo>
                  <a:lnTo>
                    <a:pt x="0" y="9388"/>
                  </a:lnTo>
                  <a:cubicBezTo>
                    <a:pt x="0" y="9987"/>
                    <a:pt x="473" y="10397"/>
                    <a:pt x="1040" y="10397"/>
                  </a:cubicBezTo>
                  <a:lnTo>
                    <a:pt x="8003" y="10397"/>
                  </a:lnTo>
                  <a:cubicBezTo>
                    <a:pt x="8601" y="10397"/>
                    <a:pt x="9011" y="9924"/>
                    <a:pt x="9011" y="9388"/>
                  </a:cubicBezTo>
                  <a:lnTo>
                    <a:pt x="9011" y="1040"/>
                  </a:lnTo>
                  <a:cubicBezTo>
                    <a:pt x="9105" y="473"/>
                    <a:pt x="8633" y="0"/>
                    <a:pt x="8034" y="0"/>
                  </a:cubicBezTo>
                  <a:lnTo>
                    <a:pt x="7341" y="0"/>
                  </a:lnTo>
                  <a:cubicBezTo>
                    <a:pt x="7341" y="756"/>
                    <a:pt x="6711" y="1386"/>
                    <a:pt x="5955" y="1386"/>
                  </a:cubicBezTo>
                  <a:lnTo>
                    <a:pt x="3119" y="1386"/>
                  </a:lnTo>
                  <a:cubicBezTo>
                    <a:pt x="2363" y="1386"/>
                    <a:pt x="1733" y="756"/>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2"/>
            <p:cNvSpPr/>
            <p:nvPr/>
          </p:nvSpPr>
          <p:spPr>
            <a:xfrm>
              <a:off x="6228775" y="3936925"/>
              <a:ext cx="106350" cy="53575"/>
            </a:xfrm>
            <a:custGeom>
              <a:avLst/>
              <a:gdLst/>
              <a:ahLst/>
              <a:cxnLst/>
              <a:rect l="l" t="t" r="r" b="b"/>
              <a:pathLst>
                <a:path w="4254" h="2143" extrusionOk="0">
                  <a:moveTo>
                    <a:pt x="2143" y="0"/>
                  </a:moveTo>
                  <a:cubicBezTo>
                    <a:pt x="1860" y="0"/>
                    <a:pt x="1576" y="221"/>
                    <a:pt x="1450" y="473"/>
                  </a:cubicBezTo>
                  <a:lnTo>
                    <a:pt x="1387" y="725"/>
                  </a:lnTo>
                  <a:lnTo>
                    <a:pt x="725" y="725"/>
                  </a:lnTo>
                  <a:cubicBezTo>
                    <a:pt x="316" y="725"/>
                    <a:pt x="1" y="1040"/>
                    <a:pt x="1" y="1418"/>
                  </a:cubicBezTo>
                  <a:cubicBezTo>
                    <a:pt x="1" y="1828"/>
                    <a:pt x="316" y="2143"/>
                    <a:pt x="725" y="2143"/>
                  </a:cubicBezTo>
                  <a:lnTo>
                    <a:pt x="3561" y="2143"/>
                  </a:lnTo>
                  <a:cubicBezTo>
                    <a:pt x="3939" y="2143"/>
                    <a:pt x="4254" y="1828"/>
                    <a:pt x="4254" y="1418"/>
                  </a:cubicBezTo>
                  <a:cubicBezTo>
                    <a:pt x="4254" y="1040"/>
                    <a:pt x="3939" y="725"/>
                    <a:pt x="3561" y="725"/>
                  </a:cubicBezTo>
                  <a:lnTo>
                    <a:pt x="2868" y="725"/>
                  </a:lnTo>
                  <a:lnTo>
                    <a:pt x="2805" y="473"/>
                  </a:lnTo>
                  <a:cubicBezTo>
                    <a:pt x="2710" y="221"/>
                    <a:pt x="2458"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72"/>
            <p:cNvSpPr/>
            <p:nvPr/>
          </p:nvSpPr>
          <p:spPr>
            <a:xfrm>
              <a:off x="6412300" y="4059000"/>
              <a:ext cx="52000" cy="105575"/>
            </a:xfrm>
            <a:custGeom>
              <a:avLst/>
              <a:gdLst/>
              <a:ahLst/>
              <a:cxnLst/>
              <a:rect l="l" t="t" r="r" b="b"/>
              <a:pathLst>
                <a:path w="2080" h="4223" extrusionOk="0">
                  <a:moveTo>
                    <a:pt x="0" y="1"/>
                  </a:moveTo>
                  <a:lnTo>
                    <a:pt x="0" y="4222"/>
                  </a:lnTo>
                  <a:lnTo>
                    <a:pt x="32" y="4222"/>
                  </a:lnTo>
                  <a:cubicBezTo>
                    <a:pt x="315" y="4002"/>
                    <a:pt x="662" y="3876"/>
                    <a:pt x="1072" y="3876"/>
                  </a:cubicBezTo>
                  <a:cubicBezTo>
                    <a:pt x="1450" y="3876"/>
                    <a:pt x="1796" y="4002"/>
                    <a:pt x="2080" y="4222"/>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72"/>
            <p:cNvSpPr/>
            <p:nvPr/>
          </p:nvSpPr>
          <p:spPr>
            <a:xfrm>
              <a:off x="6413875" y="4007025"/>
              <a:ext cx="52000" cy="34675"/>
            </a:xfrm>
            <a:custGeom>
              <a:avLst/>
              <a:gdLst/>
              <a:ahLst/>
              <a:cxnLst/>
              <a:rect l="l" t="t" r="r" b="b"/>
              <a:pathLst>
                <a:path w="2080" h="1387" extrusionOk="0">
                  <a:moveTo>
                    <a:pt x="1040" y="0"/>
                  </a:moveTo>
                  <a:cubicBezTo>
                    <a:pt x="441" y="0"/>
                    <a:pt x="0" y="473"/>
                    <a:pt x="0" y="1040"/>
                  </a:cubicBezTo>
                  <a:lnTo>
                    <a:pt x="0" y="1386"/>
                  </a:lnTo>
                  <a:lnTo>
                    <a:pt x="2080" y="1386"/>
                  </a:lnTo>
                  <a:lnTo>
                    <a:pt x="2080" y="1040"/>
                  </a:lnTo>
                  <a:cubicBezTo>
                    <a:pt x="2048" y="473"/>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2"/>
            <p:cNvSpPr/>
            <p:nvPr/>
          </p:nvSpPr>
          <p:spPr>
            <a:xfrm>
              <a:off x="6417800" y="4173200"/>
              <a:ext cx="43350" cy="43350"/>
            </a:xfrm>
            <a:custGeom>
              <a:avLst/>
              <a:gdLst/>
              <a:ahLst/>
              <a:cxnLst/>
              <a:rect l="l" t="t" r="r" b="b"/>
              <a:pathLst>
                <a:path w="1734" h="1734" extrusionOk="0">
                  <a:moveTo>
                    <a:pt x="883" y="1"/>
                  </a:moveTo>
                  <a:cubicBezTo>
                    <a:pt x="537" y="1"/>
                    <a:pt x="190" y="221"/>
                    <a:pt x="1" y="442"/>
                  </a:cubicBezTo>
                  <a:lnTo>
                    <a:pt x="568" y="1545"/>
                  </a:lnTo>
                  <a:cubicBezTo>
                    <a:pt x="600" y="1671"/>
                    <a:pt x="757" y="1734"/>
                    <a:pt x="883" y="1734"/>
                  </a:cubicBezTo>
                  <a:cubicBezTo>
                    <a:pt x="978" y="1734"/>
                    <a:pt x="1104" y="1671"/>
                    <a:pt x="1198" y="1545"/>
                  </a:cubicBezTo>
                  <a:lnTo>
                    <a:pt x="1734" y="442"/>
                  </a:lnTo>
                  <a:cubicBezTo>
                    <a:pt x="1545" y="158"/>
                    <a:pt x="1230"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8" name="Google Shape;7078;p72"/>
          <p:cNvGrpSpPr/>
          <p:nvPr/>
        </p:nvGrpSpPr>
        <p:grpSpPr>
          <a:xfrm>
            <a:off x="6192781" y="1372332"/>
            <a:ext cx="348188" cy="349133"/>
            <a:chOff x="1674750" y="3254050"/>
            <a:chExt cx="294575" cy="295375"/>
          </a:xfrm>
        </p:grpSpPr>
        <p:sp>
          <p:nvSpPr>
            <p:cNvPr id="7079" name="Google Shape;7079;p72"/>
            <p:cNvSpPr/>
            <p:nvPr/>
          </p:nvSpPr>
          <p:spPr>
            <a:xfrm>
              <a:off x="1691275" y="3351700"/>
              <a:ext cx="278050" cy="197725"/>
            </a:xfrm>
            <a:custGeom>
              <a:avLst/>
              <a:gdLst/>
              <a:ahLst/>
              <a:cxnLst/>
              <a:rect l="l" t="t" r="r" b="b"/>
              <a:pathLst>
                <a:path w="11122" h="7909" extrusionOk="0">
                  <a:moveTo>
                    <a:pt x="10535" y="0"/>
                  </a:moveTo>
                  <a:cubicBezTo>
                    <a:pt x="10489" y="0"/>
                    <a:pt x="10442" y="10"/>
                    <a:pt x="10397" y="33"/>
                  </a:cubicBezTo>
                  <a:cubicBezTo>
                    <a:pt x="10208" y="64"/>
                    <a:pt x="10114" y="253"/>
                    <a:pt x="10177" y="474"/>
                  </a:cubicBezTo>
                  <a:cubicBezTo>
                    <a:pt x="10334" y="978"/>
                    <a:pt x="10429" y="1482"/>
                    <a:pt x="10429" y="1986"/>
                  </a:cubicBezTo>
                  <a:cubicBezTo>
                    <a:pt x="10429" y="4885"/>
                    <a:pt x="8066" y="7247"/>
                    <a:pt x="5199" y="7247"/>
                  </a:cubicBezTo>
                  <a:cubicBezTo>
                    <a:pt x="3561" y="7247"/>
                    <a:pt x="2017" y="6397"/>
                    <a:pt x="1072" y="5137"/>
                  </a:cubicBezTo>
                  <a:lnTo>
                    <a:pt x="1733" y="5137"/>
                  </a:lnTo>
                  <a:cubicBezTo>
                    <a:pt x="1922" y="5137"/>
                    <a:pt x="2080" y="4979"/>
                    <a:pt x="2080" y="4790"/>
                  </a:cubicBezTo>
                  <a:cubicBezTo>
                    <a:pt x="2080" y="4601"/>
                    <a:pt x="1922" y="4443"/>
                    <a:pt x="1733" y="4443"/>
                  </a:cubicBezTo>
                  <a:lnTo>
                    <a:pt x="347" y="4443"/>
                  </a:lnTo>
                  <a:cubicBezTo>
                    <a:pt x="158" y="4443"/>
                    <a:pt x="1" y="4601"/>
                    <a:pt x="1" y="4790"/>
                  </a:cubicBezTo>
                  <a:lnTo>
                    <a:pt x="1" y="6176"/>
                  </a:lnTo>
                  <a:cubicBezTo>
                    <a:pt x="1" y="6365"/>
                    <a:pt x="158" y="6523"/>
                    <a:pt x="347" y="6523"/>
                  </a:cubicBezTo>
                  <a:cubicBezTo>
                    <a:pt x="536" y="6523"/>
                    <a:pt x="694" y="6365"/>
                    <a:pt x="694" y="6176"/>
                  </a:cubicBezTo>
                  <a:lnTo>
                    <a:pt x="694" y="5767"/>
                  </a:lnTo>
                  <a:cubicBezTo>
                    <a:pt x="1796" y="7090"/>
                    <a:pt x="3466" y="7909"/>
                    <a:pt x="5199" y="7909"/>
                  </a:cubicBezTo>
                  <a:cubicBezTo>
                    <a:pt x="8412" y="7909"/>
                    <a:pt x="11122" y="5231"/>
                    <a:pt x="11122" y="1986"/>
                  </a:cubicBezTo>
                  <a:cubicBezTo>
                    <a:pt x="11122" y="1419"/>
                    <a:pt x="10996" y="820"/>
                    <a:pt x="10838" y="222"/>
                  </a:cubicBezTo>
                  <a:cubicBezTo>
                    <a:pt x="10814" y="102"/>
                    <a:pt x="10681" y="0"/>
                    <a:pt x="105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2"/>
            <p:cNvSpPr/>
            <p:nvPr/>
          </p:nvSpPr>
          <p:spPr>
            <a:xfrm>
              <a:off x="1674750" y="3254050"/>
              <a:ext cx="277250" cy="197900"/>
            </a:xfrm>
            <a:custGeom>
              <a:avLst/>
              <a:gdLst/>
              <a:ahLst/>
              <a:cxnLst/>
              <a:rect l="l" t="t" r="r" b="b"/>
              <a:pathLst>
                <a:path w="11090" h="7916" extrusionOk="0">
                  <a:moveTo>
                    <a:pt x="5891" y="1"/>
                  </a:moveTo>
                  <a:cubicBezTo>
                    <a:pt x="2678" y="1"/>
                    <a:pt x="0" y="2679"/>
                    <a:pt x="0" y="5892"/>
                  </a:cubicBezTo>
                  <a:cubicBezTo>
                    <a:pt x="0" y="6491"/>
                    <a:pt x="126" y="7089"/>
                    <a:pt x="284" y="7656"/>
                  </a:cubicBezTo>
                  <a:cubicBezTo>
                    <a:pt x="310" y="7842"/>
                    <a:pt x="448" y="7916"/>
                    <a:pt x="604" y="7916"/>
                  </a:cubicBezTo>
                  <a:cubicBezTo>
                    <a:pt x="633" y="7916"/>
                    <a:pt x="663" y="7913"/>
                    <a:pt x="693" y="7908"/>
                  </a:cubicBezTo>
                  <a:cubicBezTo>
                    <a:pt x="882" y="7877"/>
                    <a:pt x="977" y="7656"/>
                    <a:pt x="945" y="7467"/>
                  </a:cubicBezTo>
                  <a:cubicBezTo>
                    <a:pt x="788" y="6963"/>
                    <a:pt x="662" y="6459"/>
                    <a:pt x="662" y="5892"/>
                  </a:cubicBezTo>
                  <a:cubicBezTo>
                    <a:pt x="662" y="3025"/>
                    <a:pt x="3025" y="662"/>
                    <a:pt x="5891" y="662"/>
                  </a:cubicBezTo>
                  <a:cubicBezTo>
                    <a:pt x="7561" y="662"/>
                    <a:pt x="9105" y="1481"/>
                    <a:pt x="10050" y="2742"/>
                  </a:cubicBezTo>
                  <a:lnTo>
                    <a:pt x="9357" y="2742"/>
                  </a:lnTo>
                  <a:cubicBezTo>
                    <a:pt x="9168" y="2742"/>
                    <a:pt x="9010" y="2899"/>
                    <a:pt x="9010" y="3088"/>
                  </a:cubicBezTo>
                  <a:cubicBezTo>
                    <a:pt x="9010" y="3309"/>
                    <a:pt x="9168" y="3466"/>
                    <a:pt x="9357" y="3466"/>
                  </a:cubicBezTo>
                  <a:lnTo>
                    <a:pt x="10743" y="3466"/>
                  </a:lnTo>
                  <a:cubicBezTo>
                    <a:pt x="10932" y="3466"/>
                    <a:pt x="11090" y="3309"/>
                    <a:pt x="11090" y="3088"/>
                  </a:cubicBezTo>
                  <a:lnTo>
                    <a:pt x="11090" y="1733"/>
                  </a:lnTo>
                  <a:cubicBezTo>
                    <a:pt x="11090" y="1513"/>
                    <a:pt x="10932" y="1355"/>
                    <a:pt x="10743" y="1355"/>
                  </a:cubicBezTo>
                  <a:cubicBezTo>
                    <a:pt x="10554" y="1355"/>
                    <a:pt x="10397" y="1513"/>
                    <a:pt x="10397" y="1733"/>
                  </a:cubicBezTo>
                  <a:lnTo>
                    <a:pt x="10397" y="2111"/>
                  </a:lnTo>
                  <a:cubicBezTo>
                    <a:pt x="9294" y="820"/>
                    <a:pt x="7624" y="1"/>
                    <a:pt x="5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72"/>
            <p:cNvSpPr/>
            <p:nvPr/>
          </p:nvSpPr>
          <p:spPr>
            <a:xfrm>
              <a:off x="1727500" y="3306825"/>
              <a:ext cx="189075" cy="189050"/>
            </a:xfrm>
            <a:custGeom>
              <a:avLst/>
              <a:gdLst/>
              <a:ahLst/>
              <a:cxnLst/>
              <a:rect l="l" t="t" r="r" b="b"/>
              <a:pathLst>
                <a:path w="7563" h="7562" extrusionOk="0">
                  <a:moveTo>
                    <a:pt x="3750" y="2048"/>
                  </a:moveTo>
                  <a:cubicBezTo>
                    <a:pt x="3939" y="2048"/>
                    <a:pt x="4097" y="2206"/>
                    <a:pt x="4097" y="2426"/>
                  </a:cubicBezTo>
                  <a:lnTo>
                    <a:pt x="4097" y="3435"/>
                  </a:lnTo>
                  <a:lnTo>
                    <a:pt x="4475" y="3435"/>
                  </a:lnTo>
                  <a:cubicBezTo>
                    <a:pt x="4664" y="3435"/>
                    <a:pt x="4821" y="3592"/>
                    <a:pt x="4821" y="3781"/>
                  </a:cubicBezTo>
                  <a:cubicBezTo>
                    <a:pt x="4821" y="4002"/>
                    <a:pt x="4664" y="4159"/>
                    <a:pt x="4475" y="4159"/>
                  </a:cubicBezTo>
                  <a:lnTo>
                    <a:pt x="3750" y="4159"/>
                  </a:lnTo>
                  <a:cubicBezTo>
                    <a:pt x="3561" y="4159"/>
                    <a:pt x="3403" y="4002"/>
                    <a:pt x="3403" y="3781"/>
                  </a:cubicBezTo>
                  <a:lnTo>
                    <a:pt x="3403" y="2426"/>
                  </a:lnTo>
                  <a:cubicBezTo>
                    <a:pt x="3403" y="2206"/>
                    <a:pt x="3561" y="2048"/>
                    <a:pt x="3750" y="2048"/>
                  </a:cubicBezTo>
                  <a:close/>
                  <a:moveTo>
                    <a:pt x="3435" y="0"/>
                  </a:moveTo>
                  <a:cubicBezTo>
                    <a:pt x="2647" y="95"/>
                    <a:pt x="1923" y="410"/>
                    <a:pt x="1356" y="883"/>
                  </a:cubicBezTo>
                  <a:lnTo>
                    <a:pt x="2049" y="1576"/>
                  </a:lnTo>
                  <a:cubicBezTo>
                    <a:pt x="2175" y="1702"/>
                    <a:pt x="2175" y="1954"/>
                    <a:pt x="2049" y="2048"/>
                  </a:cubicBezTo>
                  <a:cubicBezTo>
                    <a:pt x="1986" y="2111"/>
                    <a:pt x="1899" y="2143"/>
                    <a:pt x="1812" y="2143"/>
                  </a:cubicBezTo>
                  <a:cubicBezTo>
                    <a:pt x="1726" y="2143"/>
                    <a:pt x="1639" y="2111"/>
                    <a:pt x="1576" y="2048"/>
                  </a:cubicBezTo>
                  <a:lnTo>
                    <a:pt x="883" y="1355"/>
                  </a:lnTo>
                  <a:cubicBezTo>
                    <a:pt x="410" y="1922"/>
                    <a:pt x="95" y="2647"/>
                    <a:pt x="1" y="3435"/>
                  </a:cubicBezTo>
                  <a:lnTo>
                    <a:pt x="1041" y="3435"/>
                  </a:lnTo>
                  <a:cubicBezTo>
                    <a:pt x="1230" y="3435"/>
                    <a:pt x="1387" y="3592"/>
                    <a:pt x="1387" y="3781"/>
                  </a:cubicBezTo>
                  <a:cubicBezTo>
                    <a:pt x="1387" y="3970"/>
                    <a:pt x="1230" y="4128"/>
                    <a:pt x="1041" y="4128"/>
                  </a:cubicBezTo>
                  <a:lnTo>
                    <a:pt x="1" y="4128"/>
                  </a:lnTo>
                  <a:cubicBezTo>
                    <a:pt x="95" y="4915"/>
                    <a:pt x="410" y="5640"/>
                    <a:pt x="883" y="6238"/>
                  </a:cubicBezTo>
                  <a:lnTo>
                    <a:pt x="1576" y="5514"/>
                  </a:lnTo>
                  <a:cubicBezTo>
                    <a:pt x="1639" y="5451"/>
                    <a:pt x="1734" y="5419"/>
                    <a:pt x="1824" y="5419"/>
                  </a:cubicBezTo>
                  <a:cubicBezTo>
                    <a:pt x="1915" y="5419"/>
                    <a:pt x="2001" y="5451"/>
                    <a:pt x="2049" y="5514"/>
                  </a:cubicBezTo>
                  <a:cubicBezTo>
                    <a:pt x="2175" y="5640"/>
                    <a:pt x="2175" y="5860"/>
                    <a:pt x="2049" y="5986"/>
                  </a:cubicBezTo>
                  <a:lnTo>
                    <a:pt x="1356" y="6711"/>
                  </a:lnTo>
                  <a:cubicBezTo>
                    <a:pt x="1923" y="7184"/>
                    <a:pt x="2647" y="7499"/>
                    <a:pt x="3435" y="7562"/>
                  </a:cubicBezTo>
                  <a:lnTo>
                    <a:pt x="3435" y="6553"/>
                  </a:lnTo>
                  <a:cubicBezTo>
                    <a:pt x="3435" y="6333"/>
                    <a:pt x="3592" y="6175"/>
                    <a:pt x="3781" y="6175"/>
                  </a:cubicBezTo>
                  <a:cubicBezTo>
                    <a:pt x="4002" y="6175"/>
                    <a:pt x="4160" y="6333"/>
                    <a:pt x="4160" y="6553"/>
                  </a:cubicBezTo>
                  <a:lnTo>
                    <a:pt x="4160" y="7562"/>
                  </a:lnTo>
                  <a:cubicBezTo>
                    <a:pt x="4947" y="7499"/>
                    <a:pt x="5640" y="7184"/>
                    <a:pt x="6239" y="6711"/>
                  </a:cubicBezTo>
                  <a:lnTo>
                    <a:pt x="5514" y="5986"/>
                  </a:lnTo>
                  <a:cubicBezTo>
                    <a:pt x="5420" y="5860"/>
                    <a:pt x="5420" y="5640"/>
                    <a:pt x="5514" y="5514"/>
                  </a:cubicBezTo>
                  <a:cubicBezTo>
                    <a:pt x="5577" y="5451"/>
                    <a:pt x="5672" y="5419"/>
                    <a:pt x="5762" y="5419"/>
                  </a:cubicBezTo>
                  <a:cubicBezTo>
                    <a:pt x="5853" y="5419"/>
                    <a:pt x="5940" y="5451"/>
                    <a:pt x="5987" y="5514"/>
                  </a:cubicBezTo>
                  <a:lnTo>
                    <a:pt x="6711" y="6238"/>
                  </a:lnTo>
                  <a:cubicBezTo>
                    <a:pt x="7184" y="5640"/>
                    <a:pt x="7499" y="4915"/>
                    <a:pt x="7562" y="4128"/>
                  </a:cubicBezTo>
                  <a:lnTo>
                    <a:pt x="6554" y="4128"/>
                  </a:lnTo>
                  <a:cubicBezTo>
                    <a:pt x="6365" y="4128"/>
                    <a:pt x="6207" y="3970"/>
                    <a:pt x="6207" y="3781"/>
                  </a:cubicBezTo>
                  <a:cubicBezTo>
                    <a:pt x="6207" y="3592"/>
                    <a:pt x="6365" y="3435"/>
                    <a:pt x="6554" y="3435"/>
                  </a:cubicBezTo>
                  <a:lnTo>
                    <a:pt x="7562" y="3435"/>
                  </a:lnTo>
                  <a:cubicBezTo>
                    <a:pt x="7499" y="2647"/>
                    <a:pt x="7184" y="1922"/>
                    <a:pt x="6711" y="1355"/>
                  </a:cubicBezTo>
                  <a:lnTo>
                    <a:pt x="5987" y="2048"/>
                  </a:lnTo>
                  <a:cubicBezTo>
                    <a:pt x="5940" y="2111"/>
                    <a:pt x="5853" y="2143"/>
                    <a:pt x="5762" y="2143"/>
                  </a:cubicBezTo>
                  <a:cubicBezTo>
                    <a:pt x="5672" y="2143"/>
                    <a:pt x="5577" y="2111"/>
                    <a:pt x="5514" y="2048"/>
                  </a:cubicBezTo>
                  <a:cubicBezTo>
                    <a:pt x="5420" y="1922"/>
                    <a:pt x="5420" y="1702"/>
                    <a:pt x="5514" y="1576"/>
                  </a:cubicBezTo>
                  <a:lnTo>
                    <a:pt x="6239" y="883"/>
                  </a:lnTo>
                  <a:cubicBezTo>
                    <a:pt x="5640" y="410"/>
                    <a:pt x="4947" y="95"/>
                    <a:pt x="4160" y="0"/>
                  </a:cubicBezTo>
                  <a:lnTo>
                    <a:pt x="4160" y="1040"/>
                  </a:lnTo>
                  <a:cubicBezTo>
                    <a:pt x="4160" y="1229"/>
                    <a:pt x="4002" y="1387"/>
                    <a:pt x="3781" y="1387"/>
                  </a:cubicBezTo>
                  <a:cubicBezTo>
                    <a:pt x="3592" y="1387"/>
                    <a:pt x="3435" y="1229"/>
                    <a:pt x="3435" y="1040"/>
                  </a:cubicBez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2" name="Google Shape;7082;p72"/>
          <p:cNvGrpSpPr/>
          <p:nvPr/>
        </p:nvGrpSpPr>
        <p:grpSpPr>
          <a:xfrm>
            <a:off x="6207177" y="1820035"/>
            <a:ext cx="319347" cy="349133"/>
            <a:chOff x="1687350" y="3618725"/>
            <a:chExt cx="270175" cy="295375"/>
          </a:xfrm>
        </p:grpSpPr>
        <p:sp>
          <p:nvSpPr>
            <p:cNvPr id="7083" name="Google Shape;7083;p72"/>
            <p:cNvSpPr/>
            <p:nvPr/>
          </p:nvSpPr>
          <p:spPr>
            <a:xfrm>
              <a:off x="1829900" y="3808550"/>
              <a:ext cx="18150" cy="35450"/>
            </a:xfrm>
            <a:custGeom>
              <a:avLst/>
              <a:gdLst/>
              <a:ahLst/>
              <a:cxnLst/>
              <a:rect l="l" t="t" r="r" b="b"/>
              <a:pathLst>
                <a:path w="726" h="1418" extrusionOk="0">
                  <a:moveTo>
                    <a:pt x="1" y="0"/>
                  </a:moveTo>
                  <a:lnTo>
                    <a:pt x="1" y="1418"/>
                  </a:lnTo>
                  <a:lnTo>
                    <a:pt x="379" y="1418"/>
                  </a:lnTo>
                  <a:cubicBezTo>
                    <a:pt x="568" y="1418"/>
                    <a:pt x="725" y="1260"/>
                    <a:pt x="725" y="1040"/>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72"/>
            <p:cNvSpPr/>
            <p:nvPr/>
          </p:nvSpPr>
          <p:spPr>
            <a:xfrm>
              <a:off x="1795250" y="3755775"/>
              <a:ext cx="18125" cy="35450"/>
            </a:xfrm>
            <a:custGeom>
              <a:avLst/>
              <a:gdLst/>
              <a:ahLst/>
              <a:cxnLst/>
              <a:rect l="l" t="t" r="r" b="b"/>
              <a:pathLst>
                <a:path w="725" h="1418" extrusionOk="0">
                  <a:moveTo>
                    <a:pt x="378" y="0"/>
                  </a:moveTo>
                  <a:cubicBezTo>
                    <a:pt x="189" y="0"/>
                    <a:pt x="0" y="158"/>
                    <a:pt x="0" y="378"/>
                  </a:cubicBezTo>
                  <a:lnTo>
                    <a:pt x="0" y="1071"/>
                  </a:lnTo>
                  <a:cubicBezTo>
                    <a:pt x="0" y="1260"/>
                    <a:pt x="189" y="1418"/>
                    <a:pt x="378" y="1418"/>
                  </a:cubicBezTo>
                  <a:lnTo>
                    <a:pt x="725" y="141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72"/>
            <p:cNvSpPr/>
            <p:nvPr/>
          </p:nvSpPr>
          <p:spPr>
            <a:xfrm>
              <a:off x="1687350" y="3618725"/>
              <a:ext cx="270175" cy="295375"/>
            </a:xfrm>
            <a:custGeom>
              <a:avLst/>
              <a:gdLst/>
              <a:ahLst/>
              <a:cxnLst/>
              <a:rect l="l" t="t" r="r" b="b"/>
              <a:pathLst>
                <a:path w="10807" h="11815" extrusionOk="0">
                  <a:moveTo>
                    <a:pt x="6459" y="662"/>
                  </a:moveTo>
                  <a:cubicBezTo>
                    <a:pt x="6868" y="662"/>
                    <a:pt x="7183" y="977"/>
                    <a:pt x="7183" y="1355"/>
                  </a:cubicBezTo>
                  <a:cubicBezTo>
                    <a:pt x="7183" y="1765"/>
                    <a:pt x="6868" y="2080"/>
                    <a:pt x="6459" y="2080"/>
                  </a:cubicBezTo>
                  <a:lnTo>
                    <a:pt x="6459" y="1702"/>
                  </a:lnTo>
                  <a:cubicBezTo>
                    <a:pt x="6459" y="1513"/>
                    <a:pt x="6301" y="1355"/>
                    <a:pt x="6112" y="1355"/>
                  </a:cubicBezTo>
                  <a:lnTo>
                    <a:pt x="4726" y="1355"/>
                  </a:lnTo>
                  <a:cubicBezTo>
                    <a:pt x="4537" y="1355"/>
                    <a:pt x="4379" y="1513"/>
                    <a:pt x="4379" y="1702"/>
                  </a:cubicBezTo>
                  <a:lnTo>
                    <a:pt x="4379" y="2080"/>
                  </a:lnTo>
                  <a:cubicBezTo>
                    <a:pt x="3970" y="2017"/>
                    <a:pt x="3655" y="1702"/>
                    <a:pt x="3655" y="1355"/>
                  </a:cubicBezTo>
                  <a:cubicBezTo>
                    <a:pt x="3655" y="977"/>
                    <a:pt x="3970" y="662"/>
                    <a:pt x="4379" y="662"/>
                  </a:cubicBezTo>
                  <a:close/>
                  <a:moveTo>
                    <a:pt x="5387" y="4128"/>
                  </a:moveTo>
                  <a:cubicBezTo>
                    <a:pt x="5608" y="4128"/>
                    <a:pt x="5766" y="4285"/>
                    <a:pt x="5766" y="4474"/>
                  </a:cubicBezTo>
                  <a:lnTo>
                    <a:pt x="5766" y="4821"/>
                  </a:lnTo>
                  <a:lnTo>
                    <a:pt x="6112" y="4821"/>
                  </a:lnTo>
                  <a:cubicBezTo>
                    <a:pt x="6711" y="4821"/>
                    <a:pt x="7120" y="5293"/>
                    <a:pt x="7120" y="5860"/>
                  </a:cubicBezTo>
                  <a:cubicBezTo>
                    <a:pt x="7120" y="6049"/>
                    <a:pt x="6963" y="6207"/>
                    <a:pt x="6774" y="6207"/>
                  </a:cubicBezTo>
                  <a:cubicBezTo>
                    <a:pt x="6585" y="6207"/>
                    <a:pt x="6427" y="6049"/>
                    <a:pt x="6427" y="5860"/>
                  </a:cubicBezTo>
                  <a:cubicBezTo>
                    <a:pt x="6427" y="5640"/>
                    <a:pt x="6270" y="5482"/>
                    <a:pt x="6081" y="5482"/>
                  </a:cubicBezTo>
                  <a:lnTo>
                    <a:pt x="5703" y="5482"/>
                  </a:lnTo>
                  <a:lnTo>
                    <a:pt x="5703" y="6868"/>
                  </a:lnTo>
                  <a:lnTo>
                    <a:pt x="6081" y="6868"/>
                  </a:lnTo>
                  <a:cubicBezTo>
                    <a:pt x="6648" y="6868"/>
                    <a:pt x="7089" y="7341"/>
                    <a:pt x="7089" y="7908"/>
                  </a:cubicBezTo>
                  <a:lnTo>
                    <a:pt x="7089" y="8601"/>
                  </a:lnTo>
                  <a:cubicBezTo>
                    <a:pt x="7089" y="9200"/>
                    <a:pt x="6616" y="9641"/>
                    <a:pt x="6081" y="9641"/>
                  </a:cubicBezTo>
                  <a:lnTo>
                    <a:pt x="5703" y="9641"/>
                  </a:lnTo>
                  <a:lnTo>
                    <a:pt x="5703" y="9987"/>
                  </a:lnTo>
                  <a:cubicBezTo>
                    <a:pt x="5703" y="10176"/>
                    <a:pt x="5545" y="10334"/>
                    <a:pt x="5356" y="10334"/>
                  </a:cubicBezTo>
                  <a:cubicBezTo>
                    <a:pt x="5167" y="10334"/>
                    <a:pt x="5009" y="10176"/>
                    <a:pt x="5009" y="9987"/>
                  </a:cubicBezTo>
                  <a:lnTo>
                    <a:pt x="5009" y="9704"/>
                  </a:lnTo>
                  <a:lnTo>
                    <a:pt x="4631" y="9704"/>
                  </a:lnTo>
                  <a:cubicBezTo>
                    <a:pt x="4064" y="9704"/>
                    <a:pt x="3623" y="9231"/>
                    <a:pt x="3623" y="8664"/>
                  </a:cubicBezTo>
                  <a:cubicBezTo>
                    <a:pt x="3623" y="8475"/>
                    <a:pt x="3781" y="8318"/>
                    <a:pt x="3970" y="8318"/>
                  </a:cubicBezTo>
                  <a:cubicBezTo>
                    <a:pt x="4159" y="8318"/>
                    <a:pt x="4316" y="8475"/>
                    <a:pt x="4316" y="8664"/>
                  </a:cubicBezTo>
                  <a:cubicBezTo>
                    <a:pt x="4316" y="8885"/>
                    <a:pt x="4505" y="9042"/>
                    <a:pt x="4694" y="9042"/>
                  </a:cubicBezTo>
                  <a:lnTo>
                    <a:pt x="5041" y="9042"/>
                  </a:lnTo>
                  <a:lnTo>
                    <a:pt x="5041" y="7625"/>
                  </a:lnTo>
                  <a:lnTo>
                    <a:pt x="4694" y="7625"/>
                  </a:lnTo>
                  <a:lnTo>
                    <a:pt x="4694" y="7593"/>
                  </a:lnTo>
                  <a:cubicBezTo>
                    <a:pt x="4096" y="7593"/>
                    <a:pt x="3655" y="7120"/>
                    <a:pt x="3655" y="6553"/>
                  </a:cubicBezTo>
                  <a:lnTo>
                    <a:pt x="3655" y="5860"/>
                  </a:lnTo>
                  <a:cubicBezTo>
                    <a:pt x="3655" y="5262"/>
                    <a:pt x="4127" y="4821"/>
                    <a:pt x="4694" y="4821"/>
                  </a:cubicBezTo>
                  <a:lnTo>
                    <a:pt x="5041" y="4821"/>
                  </a:lnTo>
                  <a:lnTo>
                    <a:pt x="5041" y="4474"/>
                  </a:lnTo>
                  <a:cubicBezTo>
                    <a:pt x="5041" y="4285"/>
                    <a:pt x="5198" y="4128"/>
                    <a:pt x="5387" y="4128"/>
                  </a:cubicBezTo>
                  <a:close/>
                  <a:moveTo>
                    <a:pt x="4379" y="0"/>
                  </a:moveTo>
                  <a:cubicBezTo>
                    <a:pt x="3623" y="0"/>
                    <a:pt x="2993" y="662"/>
                    <a:pt x="2993" y="1387"/>
                  </a:cubicBezTo>
                  <a:cubicBezTo>
                    <a:pt x="2993" y="2143"/>
                    <a:pt x="3623" y="2773"/>
                    <a:pt x="4379" y="2773"/>
                  </a:cubicBezTo>
                  <a:lnTo>
                    <a:pt x="4379" y="2899"/>
                  </a:lnTo>
                  <a:cubicBezTo>
                    <a:pt x="3781" y="3025"/>
                    <a:pt x="3277" y="3277"/>
                    <a:pt x="2804" y="3592"/>
                  </a:cubicBezTo>
                  <a:lnTo>
                    <a:pt x="2332" y="3056"/>
                  </a:lnTo>
                  <a:lnTo>
                    <a:pt x="2584" y="2804"/>
                  </a:lnTo>
                  <a:cubicBezTo>
                    <a:pt x="2710" y="2710"/>
                    <a:pt x="2710" y="2458"/>
                    <a:pt x="2615" y="2332"/>
                  </a:cubicBezTo>
                  <a:lnTo>
                    <a:pt x="1701" y="1292"/>
                  </a:lnTo>
                  <a:cubicBezTo>
                    <a:pt x="1630" y="1203"/>
                    <a:pt x="1529" y="1165"/>
                    <a:pt x="1432" y="1165"/>
                  </a:cubicBezTo>
                  <a:cubicBezTo>
                    <a:pt x="1357" y="1165"/>
                    <a:pt x="1284" y="1188"/>
                    <a:pt x="1229" y="1229"/>
                  </a:cubicBezTo>
                  <a:lnTo>
                    <a:pt x="158" y="2143"/>
                  </a:lnTo>
                  <a:cubicBezTo>
                    <a:pt x="0" y="2269"/>
                    <a:pt x="0" y="2489"/>
                    <a:pt x="126" y="2615"/>
                  </a:cubicBezTo>
                  <a:lnTo>
                    <a:pt x="1040" y="3686"/>
                  </a:lnTo>
                  <a:cubicBezTo>
                    <a:pt x="1090" y="3770"/>
                    <a:pt x="1183" y="3809"/>
                    <a:pt x="1279" y="3809"/>
                  </a:cubicBezTo>
                  <a:cubicBezTo>
                    <a:pt x="1365" y="3809"/>
                    <a:pt x="1453" y="3777"/>
                    <a:pt x="1512" y="3718"/>
                  </a:cubicBezTo>
                  <a:lnTo>
                    <a:pt x="1764" y="3497"/>
                  </a:lnTo>
                  <a:lnTo>
                    <a:pt x="2237" y="4033"/>
                  </a:lnTo>
                  <a:cubicBezTo>
                    <a:pt x="1418" y="4852"/>
                    <a:pt x="914" y="5986"/>
                    <a:pt x="914" y="7247"/>
                  </a:cubicBezTo>
                  <a:cubicBezTo>
                    <a:pt x="914" y="9735"/>
                    <a:pt x="2930" y="11815"/>
                    <a:pt x="5387" y="11815"/>
                  </a:cubicBezTo>
                  <a:cubicBezTo>
                    <a:pt x="7876" y="11815"/>
                    <a:pt x="9893" y="9798"/>
                    <a:pt x="9893" y="7247"/>
                  </a:cubicBezTo>
                  <a:cubicBezTo>
                    <a:pt x="9893" y="5986"/>
                    <a:pt x="9389" y="4852"/>
                    <a:pt x="8538" y="4033"/>
                  </a:cubicBezTo>
                  <a:lnTo>
                    <a:pt x="9011" y="3497"/>
                  </a:lnTo>
                  <a:lnTo>
                    <a:pt x="9294" y="3718"/>
                  </a:lnTo>
                  <a:cubicBezTo>
                    <a:pt x="9368" y="3777"/>
                    <a:pt x="9450" y="3809"/>
                    <a:pt x="9528" y="3809"/>
                  </a:cubicBezTo>
                  <a:cubicBezTo>
                    <a:pt x="9616" y="3809"/>
                    <a:pt x="9700" y="3770"/>
                    <a:pt x="9767" y="3686"/>
                  </a:cubicBezTo>
                  <a:lnTo>
                    <a:pt x="10680" y="2615"/>
                  </a:lnTo>
                  <a:cubicBezTo>
                    <a:pt x="10806" y="2458"/>
                    <a:pt x="10806" y="2269"/>
                    <a:pt x="10649" y="2143"/>
                  </a:cubicBezTo>
                  <a:lnTo>
                    <a:pt x="9578" y="1229"/>
                  </a:lnTo>
                  <a:cubicBezTo>
                    <a:pt x="9509" y="1188"/>
                    <a:pt x="9434" y="1165"/>
                    <a:pt x="9361" y="1165"/>
                  </a:cubicBezTo>
                  <a:cubicBezTo>
                    <a:pt x="9267" y="1165"/>
                    <a:pt x="9176" y="1203"/>
                    <a:pt x="9105" y="1292"/>
                  </a:cubicBezTo>
                  <a:lnTo>
                    <a:pt x="8191" y="2332"/>
                  </a:lnTo>
                  <a:cubicBezTo>
                    <a:pt x="8065" y="2489"/>
                    <a:pt x="8065" y="2710"/>
                    <a:pt x="8223" y="2804"/>
                  </a:cubicBezTo>
                  <a:lnTo>
                    <a:pt x="8506" y="3056"/>
                  </a:lnTo>
                  <a:lnTo>
                    <a:pt x="8034" y="3592"/>
                  </a:lnTo>
                  <a:cubicBezTo>
                    <a:pt x="7561" y="3245"/>
                    <a:pt x="7057" y="3025"/>
                    <a:pt x="6459" y="2899"/>
                  </a:cubicBezTo>
                  <a:lnTo>
                    <a:pt x="6459" y="2773"/>
                  </a:lnTo>
                  <a:cubicBezTo>
                    <a:pt x="7215" y="2773"/>
                    <a:pt x="7845" y="2143"/>
                    <a:pt x="7845" y="1387"/>
                  </a:cubicBezTo>
                  <a:cubicBezTo>
                    <a:pt x="7845" y="662"/>
                    <a:pt x="7215" y="0"/>
                    <a:pt x="64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6" name="Google Shape;7086;p72"/>
          <p:cNvGrpSpPr/>
          <p:nvPr/>
        </p:nvGrpSpPr>
        <p:grpSpPr>
          <a:xfrm>
            <a:off x="6190880" y="2266516"/>
            <a:ext cx="351940" cy="349133"/>
            <a:chOff x="1672375" y="3982600"/>
            <a:chExt cx="297750" cy="295375"/>
          </a:xfrm>
        </p:grpSpPr>
        <p:sp>
          <p:nvSpPr>
            <p:cNvPr id="7087" name="Google Shape;7087;p72"/>
            <p:cNvSpPr/>
            <p:nvPr/>
          </p:nvSpPr>
          <p:spPr>
            <a:xfrm>
              <a:off x="1796825" y="3982600"/>
              <a:ext cx="51225" cy="51225"/>
            </a:xfrm>
            <a:custGeom>
              <a:avLst/>
              <a:gdLst/>
              <a:ahLst/>
              <a:cxnLst/>
              <a:rect l="l" t="t" r="r" b="b"/>
              <a:pathLst>
                <a:path w="2049" h="2049" extrusionOk="0">
                  <a:moveTo>
                    <a:pt x="1008" y="1"/>
                  </a:moveTo>
                  <a:cubicBezTo>
                    <a:pt x="441" y="1"/>
                    <a:pt x="0" y="442"/>
                    <a:pt x="0" y="1009"/>
                  </a:cubicBezTo>
                  <a:cubicBezTo>
                    <a:pt x="0" y="1576"/>
                    <a:pt x="441" y="2048"/>
                    <a:pt x="1008" y="2048"/>
                  </a:cubicBezTo>
                  <a:cubicBezTo>
                    <a:pt x="1576" y="2048"/>
                    <a:pt x="2048" y="1576"/>
                    <a:pt x="2048" y="1009"/>
                  </a:cubicBezTo>
                  <a:cubicBezTo>
                    <a:pt x="2048" y="442"/>
                    <a:pt x="1576"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72"/>
            <p:cNvSpPr/>
            <p:nvPr/>
          </p:nvSpPr>
          <p:spPr>
            <a:xfrm>
              <a:off x="1672375" y="4092075"/>
              <a:ext cx="297750" cy="185900"/>
            </a:xfrm>
            <a:custGeom>
              <a:avLst/>
              <a:gdLst/>
              <a:ahLst/>
              <a:cxnLst/>
              <a:rect l="l" t="t" r="r" b="b"/>
              <a:pathLst>
                <a:path w="11910" h="7436" extrusionOk="0">
                  <a:moveTo>
                    <a:pt x="3498" y="1"/>
                  </a:moveTo>
                  <a:cubicBezTo>
                    <a:pt x="2174" y="316"/>
                    <a:pt x="1418" y="820"/>
                    <a:pt x="1418" y="1482"/>
                  </a:cubicBezTo>
                  <a:cubicBezTo>
                    <a:pt x="1418" y="2112"/>
                    <a:pt x="2080" y="2553"/>
                    <a:pt x="3088" y="2868"/>
                  </a:cubicBezTo>
                  <a:lnTo>
                    <a:pt x="1891" y="5357"/>
                  </a:lnTo>
                  <a:lnTo>
                    <a:pt x="1765" y="5357"/>
                  </a:lnTo>
                  <a:cubicBezTo>
                    <a:pt x="788" y="5357"/>
                    <a:pt x="1" y="5766"/>
                    <a:pt x="1" y="6365"/>
                  </a:cubicBezTo>
                  <a:cubicBezTo>
                    <a:pt x="1" y="6963"/>
                    <a:pt x="757" y="7404"/>
                    <a:pt x="1765" y="7404"/>
                  </a:cubicBezTo>
                  <a:cubicBezTo>
                    <a:pt x="2804" y="7404"/>
                    <a:pt x="3498" y="6963"/>
                    <a:pt x="3498" y="6365"/>
                  </a:cubicBezTo>
                  <a:cubicBezTo>
                    <a:pt x="3498" y="5987"/>
                    <a:pt x="3151" y="5609"/>
                    <a:pt x="2615" y="5451"/>
                  </a:cubicBezTo>
                  <a:lnTo>
                    <a:pt x="3781" y="3025"/>
                  </a:lnTo>
                  <a:cubicBezTo>
                    <a:pt x="4348" y="3151"/>
                    <a:pt x="4978" y="3183"/>
                    <a:pt x="5608" y="3214"/>
                  </a:cubicBezTo>
                  <a:lnTo>
                    <a:pt x="5608" y="5388"/>
                  </a:lnTo>
                  <a:cubicBezTo>
                    <a:pt x="4758" y="5451"/>
                    <a:pt x="4222" y="5892"/>
                    <a:pt x="4222" y="6396"/>
                  </a:cubicBezTo>
                  <a:cubicBezTo>
                    <a:pt x="4222" y="6995"/>
                    <a:pt x="4978" y="7436"/>
                    <a:pt x="5955" y="7436"/>
                  </a:cubicBezTo>
                  <a:cubicBezTo>
                    <a:pt x="6932" y="7436"/>
                    <a:pt x="7688" y="6995"/>
                    <a:pt x="7688" y="6396"/>
                  </a:cubicBezTo>
                  <a:cubicBezTo>
                    <a:pt x="7688" y="5892"/>
                    <a:pt x="7089" y="5451"/>
                    <a:pt x="6302" y="5388"/>
                  </a:cubicBezTo>
                  <a:lnTo>
                    <a:pt x="6302" y="3214"/>
                  </a:lnTo>
                  <a:cubicBezTo>
                    <a:pt x="6932" y="3214"/>
                    <a:pt x="7562" y="3151"/>
                    <a:pt x="8129" y="3025"/>
                  </a:cubicBezTo>
                  <a:lnTo>
                    <a:pt x="9295" y="5451"/>
                  </a:lnTo>
                  <a:cubicBezTo>
                    <a:pt x="8759" y="5609"/>
                    <a:pt x="8381" y="5987"/>
                    <a:pt x="8381" y="6365"/>
                  </a:cubicBezTo>
                  <a:cubicBezTo>
                    <a:pt x="8381" y="6963"/>
                    <a:pt x="9137" y="7404"/>
                    <a:pt x="10114" y="7404"/>
                  </a:cubicBezTo>
                  <a:cubicBezTo>
                    <a:pt x="11122" y="7404"/>
                    <a:pt x="11909" y="6963"/>
                    <a:pt x="11909" y="6365"/>
                  </a:cubicBezTo>
                  <a:cubicBezTo>
                    <a:pt x="11909" y="5766"/>
                    <a:pt x="11122" y="5357"/>
                    <a:pt x="10145" y="5357"/>
                  </a:cubicBezTo>
                  <a:lnTo>
                    <a:pt x="10019" y="5357"/>
                  </a:lnTo>
                  <a:lnTo>
                    <a:pt x="8822" y="2868"/>
                  </a:lnTo>
                  <a:cubicBezTo>
                    <a:pt x="9830" y="2584"/>
                    <a:pt x="10492" y="2112"/>
                    <a:pt x="10492" y="1482"/>
                  </a:cubicBezTo>
                  <a:cubicBezTo>
                    <a:pt x="10492" y="820"/>
                    <a:pt x="9736" y="316"/>
                    <a:pt x="8381" y="1"/>
                  </a:cubicBezTo>
                  <a:lnTo>
                    <a:pt x="8381" y="64"/>
                  </a:lnTo>
                  <a:lnTo>
                    <a:pt x="8381" y="1450"/>
                  </a:lnTo>
                  <a:cubicBezTo>
                    <a:pt x="8381" y="1639"/>
                    <a:pt x="8223" y="1797"/>
                    <a:pt x="8034" y="1797"/>
                  </a:cubicBezTo>
                  <a:lnTo>
                    <a:pt x="3876" y="1797"/>
                  </a:lnTo>
                  <a:cubicBezTo>
                    <a:pt x="3655" y="1797"/>
                    <a:pt x="3498" y="1639"/>
                    <a:pt x="3498" y="1450"/>
                  </a:cubicBezTo>
                  <a:lnTo>
                    <a:pt x="3498" y="64"/>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2"/>
            <p:cNvSpPr/>
            <p:nvPr/>
          </p:nvSpPr>
          <p:spPr>
            <a:xfrm>
              <a:off x="1778700" y="4051125"/>
              <a:ext cx="86675" cy="69325"/>
            </a:xfrm>
            <a:custGeom>
              <a:avLst/>
              <a:gdLst/>
              <a:ahLst/>
              <a:cxnLst/>
              <a:rect l="l" t="t" r="r" b="b"/>
              <a:pathLst>
                <a:path w="3467" h="2773" extrusionOk="0">
                  <a:moveTo>
                    <a:pt x="1733" y="1"/>
                  </a:moveTo>
                  <a:cubicBezTo>
                    <a:pt x="788" y="1"/>
                    <a:pt x="1" y="757"/>
                    <a:pt x="1" y="1733"/>
                  </a:cubicBezTo>
                  <a:lnTo>
                    <a:pt x="1" y="2773"/>
                  </a:lnTo>
                  <a:lnTo>
                    <a:pt x="3466" y="2773"/>
                  </a:lnTo>
                  <a:lnTo>
                    <a:pt x="3466" y="1733"/>
                  </a:ln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0" name="Google Shape;7090;p72"/>
          <p:cNvGrpSpPr/>
          <p:nvPr/>
        </p:nvGrpSpPr>
        <p:grpSpPr>
          <a:xfrm>
            <a:off x="4882872" y="2730711"/>
            <a:ext cx="350079" cy="350079"/>
            <a:chOff x="3497300" y="3227275"/>
            <a:chExt cx="296175" cy="296175"/>
          </a:xfrm>
        </p:grpSpPr>
        <p:sp>
          <p:nvSpPr>
            <p:cNvPr id="7091" name="Google Shape;7091;p72"/>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2"/>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72"/>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72"/>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2"/>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72"/>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72"/>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2"/>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9" name="Google Shape;7099;p72"/>
          <p:cNvGrpSpPr/>
          <p:nvPr/>
        </p:nvGrpSpPr>
        <p:grpSpPr>
          <a:xfrm>
            <a:off x="4883345" y="3180106"/>
            <a:ext cx="349133" cy="347272"/>
            <a:chOff x="3497300" y="3591950"/>
            <a:chExt cx="295375" cy="293800"/>
          </a:xfrm>
        </p:grpSpPr>
        <p:sp>
          <p:nvSpPr>
            <p:cNvPr id="7100" name="Google Shape;7100;p72"/>
            <p:cNvSpPr/>
            <p:nvPr/>
          </p:nvSpPr>
          <p:spPr>
            <a:xfrm>
              <a:off x="3628825" y="3724275"/>
              <a:ext cx="18150" cy="16550"/>
            </a:xfrm>
            <a:custGeom>
              <a:avLst/>
              <a:gdLst/>
              <a:ahLst/>
              <a:cxnLst/>
              <a:rect l="l" t="t" r="r" b="b"/>
              <a:pathLst>
                <a:path w="726" h="662" extrusionOk="0">
                  <a:moveTo>
                    <a:pt x="375" y="0"/>
                  </a:moveTo>
                  <a:cubicBezTo>
                    <a:pt x="292" y="0"/>
                    <a:pt x="206" y="32"/>
                    <a:pt x="127" y="95"/>
                  </a:cubicBezTo>
                  <a:cubicBezTo>
                    <a:pt x="1" y="221"/>
                    <a:pt x="1" y="441"/>
                    <a:pt x="127" y="567"/>
                  </a:cubicBezTo>
                  <a:cubicBezTo>
                    <a:pt x="190" y="630"/>
                    <a:pt x="277" y="662"/>
                    <a:pt x="363" y="662"/>
                  </a:cubicBezTo>
                  <a:cubicBezTo>
                    <a:pt x="450" y="662"/>
                    <a:pt x="536" y="630"/>
                    <a:pt x="599" y="567"/>
                  </a:cubicBezTo>
                  <a:cubicBezTo>
                    <a:pt x="725" y="441"/>
                    <a:pt x="725" y="221"/>
                    <a:pt x="599" y="95"/>
                  </a:cubicBezTo>
                  <a:cubicBezTo>
                    <a:pt x="536" y="32"/>
                    <a:pt x="458" y="0"/>
                    <a:pt x="3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2"/>
            <p:cNvSpPr/>
            <p:nvPr/>
          </p:nvSpPr>
          <p:spPr>
            <a:xfrm>
              <a:off x="3590250" y="3689400"/>
              <a:ext cx="94525" cy="86675"/>
            </a:xfrm>
            <a:custGeom>
              <a:avLst/>
              <a:gdLst/>
              <a:ahLst/>
              <a:cxnLst/>
              <a:rect l="l" t="t" r="r" b="b"/>
              <a:pathLst>
                <a:path w="3781" h="3467" extrusionOk="0">
                  <a:moveTo>
                    <a:pt x="1922" y="710"/>
                  </a:moveTo>
                  <a:cubicBezTo>
                    <a:pt x="2190" y="710"/>
                    <a:pt x="2458" y="812"/>
                    <a:pt x="2647" y="1017"/>
                  </a:cubicBezTo>
                  <a:cubicBezTo>
                    <a:pt x="3088" y="1395"/>
                    <a:pt x="3088" y="2088"/>
                    <a:pt x="2647" y="2466"/>
                  </a:cubicBezTo>
                  <a:cubicBezTo>
                    <a:pt x="2458" y="2671"/>
                    <a:pt x="2190" y="2773"/>
                    <a:pt x="1922" y="2773"/>
                  </a:cubicBezTo>
                  <a:cubicBezTo>
                    <a:pt x="1654" y="2773"/>
                    <a:pt x="1386" y="2671"/>
                    <a:pt x="1197" y="2466"/>
                  </a:cubicBezTo>
                  <a:cubicBezTo>
                    <a:pt x="788" y="2088"/>
                    <a:pt x="788" y="1395"/>
                    <a:pt x="1197" y="1017"/>
                  </a:cubicBezTo>
                  <a:cubicBezTo>
                    <a:pt x="1386" y="812"/>
                    <a:pt x="1654" y="710"/>
                    <a:pt x="1922" y="710"/>
                  </a:cubicBezTo>
                  <a:close/>
                  <a:moveTo>
                    <a:pt x="1930" y="1"/>
                  </a:moveTo>
                  <a:cubicBezTo>
                    <a:pt x="1489" y="1"/>
                    <a:pt x="1040" y="182"/>
                    <a:pt x="693" y="544"/>
                  </a:cubicBezTo>
                  <a:cubicBezTo>
                    <a:pt x="0" y="1206"/>
                    <a:pt x="0" y="2309"/>
                    <a:pt x="693" y="2970"/>
                  </a:cubicBezTo>
                  <a:cubicBezTo>
                    <a:pt x="1024" y="3301"/>
                    <a:pt x="1473" y="3466"/>
                    <a:pt x="1918" y="3466"/>
                  </a:cubicBezTo>
                  <a:cubicBezTo>
                    <a:pt x="2363" y="3466"/>
                    <a:pt x="2804" y="3301"/>
                    <a:pt x="3119" y="2970"/>
                  </a:cubicBezTo>
                  <a:cubicBezTo>
                    <a:pt x="3781" y="2309"/>
                    <a:pt x="3781" y="1206"/>
                    <a:pt x="3119" y="544"/>
                  </a:cubicBezTo>
                  <a:cubicBezTo>
                    <a:pt x="2804" y="182"/>
                    <a:pt x="2371" y="1"/>
                    <a:pt x="1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72"/>
            <p:cNvSpPr/>
            <p:nvPr/>
          </p:nvSpPr>
          <p:spPr>
            <a:xfrm>
              <a:off x="3674525" y="3601400"/>
              <a:ext cx="118150" cy="118950"/>
            </a:xfrm>
            <a:custGeom>
              <a:avLst/>
              <a:gdLst/>
              <a:ahLst/>
              <a:cxnLst/>
              <a:rect l="l" t="t" r="r" b="b"/>
              <a:pathLst>
                <a:path w="4726" h="4758" extrusionOk="0">
                  <a:moveTo>
                    <a:pt x="3533" y="0"/>
                  </a:moveTo>
                  <a:cubicBezTo>
                    <a:pt x="3442" y="0"/>
                    <a:pt x="3355" y="32"/>
                    <a:pt x="3308" y="95"/>
                  </a:cubicBezTo>
                  <a:lnTo>
                    <a:pt x="0" y="3308"/>
                  </a:lnTo>
                  <a:cubicBezTo>
                    <a:pt x="410" y="3623"/>
                    <a:pt x="788" y="4127"/>
                    <a:pt x="1953" y="4758"/>
                  </a:cubicBezTo>
                  <a:lnTo>
                    <a:pt x="4600" y="2678"/>
                  </a:lnTo>
                  <a:cubicBezTo>
                    <a:pt x="4663" y="2615"/>
                    <a:pt x="4726" y="2521"/>
                    <a:pt x="4726" y="2395"/>
                  </a:cubicBezTo>
                  <a:cubicBezTo>
                    <a:pt x="4726" y="1544"/>
                    <a:pt x="4348" y="693"/>
                    <a:pt x="3781" y="95"/>
                  </a:cubicBezTo>
                  <a:cubicBezTo>
                    <a:pt x="3718" y="32"/>
                    <a:pt x="3623" y="0"/>
                    <a:pt x="3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72"/>
            <p:cNvSpPr/>
            <p:nvPr/>
          </p:nvSpPr>
          <p:spPr>
            <a:xfrm>
              <a:off x="3631200" y="3774675"/>
              <a:ext cx="103200" cy="102400"/>
            </a:xfrm>
            <a:custGeom>
              <a:avLst/>
              <a:gdLst/>
              <a:ahLst/>
              <a:cxnLst/>
              <a:rect l="l" t="t" r="r" b="b"/>
              <a:pathLst>
                <a:path w="4128" h="4096" extrusionOk="0">
                  <a:moveTo>
                    <a:pt x="2048" y="0"/>
                  </a:moveTo>
                  <a:cubicBezTo>
                    <a:pt x="1985" y="32"/>
                    <a:pt x="1985" y="63"/>
                    <a:pt x="1954" y="126"/>
                  </a:cubicBezTo>
                  <a:cubicBezTo>
                    <a:pt x="1506" y="546"/>
                    <a:pt x="859" y="767"/>
                    <a:pt x="235" y="767"/>
                  </a:cubicBezTo>
                  <a:cubicBezTo>
                    <a:pt x="156" y="767"/>
                    <a:pt x="78" y="764"/>
                    <a:pt x="0" y="756"/>
                  </a:cubicBezTo>
                  <a:lnTo>
                    <a:pt x="0" y="756"/>
                  </a:lnTo>
                  <a:cubicBezTo>
                    <a:pt x="567" y="1670"/>
                    <a:pt x="1355" y="3749"/>
                    <a:pt x="1418" y="3875"/>
                  </a:cubicBezTo>
                  <a:cubicBezTo>
                    <a:pt x="1450" y="4001"/>
                    <a:pt x="1607" y="4096"/>
                    <a:pt x="1733" y="4096"/>
                  </a:cubicBezTo>
                  <a:cubicBezTo>
                    <a:pt x="1891" y="4096"/>
                    <a:pt x="1985" y="4033"/>
                    <a:pt x="2048" y="3875"/>
                  </a:cubicBezTo>
                  <a:lnTo>
                    <a:pt x="2426" y="2647"/>
                  </a:lnTo>
                  <a:lnTo>
                    <a:pt x="3182" y="2647"/>
                  </a:lnTo>
                  <a:cubicBezTo>
                    <a:pt x="4128" y="2647"/>
                    <a:pt x="2710" y="63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2"/>
            <p:cNvSpPr/>
            <p:nvPr/>
          </p:nvSpPr>
          <p:spPr>
            <a:xfrm>
              <a:off x="3691850" y="3726625"/>
              <a:ext cx="89800" cy="89050"/>
            </a:xfrm>
            <a:custGeom>
              <a:avLst/>
              <a:gdLst/>
              <a:ahLst/>
              <a:cxnLst/>
              <a:rect l="l" t="t" r="r" b="b"/>
              <a:pathLst>
                <a:path w="3592" h="3562" extrusionOk="0">
                  <a:moveTo>
                    <a:pt x="252" y="1"/>
                  </a:moveTo>
                  <a:cubicBezTo>
                    <a:pt x="284" y="410"/>
                    <a:pt x="189" y="883"/>
                    <a:pt x="0" y="1292"/>
                  </a:cubicBezTo>
                  <a:cubicBezTo>
                    <a:pt x="630" y="1922"/>
                    <a:pt x="1134" y="2615"/>
                    <a:pt x="1544" y="3466"/>
                  </a:cubicBezTo>
                  <a:cubicBezTo>
                    <a:pt x="1565" y="3530"/>
                    <a:pt x="1634" y="3562"/>
                    <a:pt x="1715" y="3562"/>
                  </a:cubicBezTo>
                  <a:cubicBezTo>
                    <a:pt x="1874" y="3562"/>
                    <a:pt x="2080" y="3443"/>
                    <a:pt x="2080" y="3214"/>
                  </a:cubicBezTo>
                  <a:lnTo>
                    <a:pt x="2080" y="2458"/>
                  </a:lnTo>
                  <a:lnTo>
                    <a:pt x="3308" y="2080"/>
                  </a:lnTo>
                  <a:cubicBezTo>
                    <a:pt x="3497" y="1985"/>
                    <a:pt x="3592" y="1891"/>
                    <a:pt x="3592" y="1733"/>
                  </a:cubicBezTo>
                  <a:cubicBezTo>
                    <a:pt x="3592" y="1576"/>
                    <a:pt x="3497" y="1450"/>
                    <a:pt x="3340" y="1418"/>
                  </a:cubicBezTo>
                  <a:cubicBezTo>
                    <a:pt x="3182" y="1355"/>
                    <a:pt x="1134" y="568"/>
                    <a:pt x="2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72"/>
            <p:cNvSpPr/>
            <p:nvPr/>
          </p:nvSpPr>
          <p:spPr>
            <a:xfrm>
              <a:off x="3505175" y="3767575"/>
              <a:ext cx="120525" cy="118175"/>
            </a:xfrm>
            <a:custGeom>
              <a:avLst/>
              <a:gdLst/>
              <a:ahLst/>
              <a:cxnLst/>
              <a:rect l="l" t="t" r="r" b="b"/>
              <a:pathLst>
                <a:path w="4821" h="4727" extrusionOk="0">
                  <a:moveTo>
                    <a:pt x="3372" y="1"/>
                  </a:moveTo>
                  <a:lnTo>
                    <a:pt x="95" y="3277"/>
                  </a:lnTo>
                  <a:cubicBezTo>
                    <a:pt x="1" y="3435"/>
                    <a:pt x="1" y="3687"/>
                    <a:pt x="158" y="3781"/>
                  </a:cubicBezTo>
                  <a:cubicBezTo>
                    <a:pt x="788" y="4411"/>
                    <a:pt x="1607" y="4727"/>
                    <a:pt x="2458" y="4727"/>
                  </a:cubicBezTo>
                  <a:cubicBezTo>
                    <a:pt x="2584" y="4727"/>
                    <a:pt x="2679" y="4695"/>
                    <a:pt x="2742" y="4632"/>
                  </a:cubicBezTo>
                  <a:lnTo>
                    <a:pt x="4821" y="1986"/>
                  </a:lnTo>
                  <a:cubicBezTo>
                    <a:pt x="4254" y="851"/>
                    <a:pt x="3718" y="442"/>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72"/>
            <p:cNvSpPr/>
            <p:nvPr/>
          </p:nvSpPr>
          <p:spPr>
            <a:xfrm>
              <a:off x="3631200" y="3591950"/>
              <a:ext cx="104000" cy="84300"/>
            </a:xfrm>
            <a:custGeom>
              <a:avLst/>
              <a:gdLst/>
              <a:ahLst/>
              <a:cxnLst/>
              <a:rect l="l" t="t" r="r" b="b"/>
              <a:pathLst>
                <a:path w="4160" h="3372" extrusionOk="0">
                  <a:moveTo>
                    <a:pt x="2836" y="0"/>
                  </a:moveTo>
                  <a:cubicBezTo>
                    <a:pt x="2678" y="0"/>
                    <a:pt x="2584" y="32"/>
                    <a:pt x="2521" y="95"/>
                  </a:cubicBezTo>
                  <a:lnTo>
                    <a:pt x="0" y="3245"/>
                  </a:lnTo>
                  <a:cubicBezTo>
                    <a:pt x="90" y="3238"/>
                    <a:pt x="181" y="3234"/>
                    <a:pt x="272" y="3234"/>
                  </a:cubicBezTo>
                  <a:cubicBezTo>
                    <a:pt x="568" y="3234"/>
                    <a:pt x="870" y="3275"/>
                    <a:pt x="1135" y="3371"/>
                  </a:cubicBezTo>
                  <a:cubicBezTo>
                    <a:pt x="1324" y="3119"/>
                    <a:pt x="3939" y="567"/>
                    <a:pt x="4159" y="347"/>
                  </a:cubicBezTo>
                  <a:cubicBezTo>
                    <a:pt x="3718" y="158"/>
                    <a:pt x="3308"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2"/>
            <p:cNvSpPr/>
            <p:nvPr/>
          </p:nvSpPr>
          <p:spPr>
            <a:xfrm>
              <a:off x="3497300" y="3721900"/>
              <a:ext cx="84300" cy="107150"/>
            </a:xfrm>
            <a:custGeom>
              <a:avLst/>
              <a:gdLst/>
              <a:ahLst/>
              <a:cxnLst/>
              <a:rect l="l" t="t" r="r" b="b"/>
              <a:pathLst>
                <a:path w="3372" h="4286" extrusionOk="0">
                  <a:moveTo>
                    <a:pt x="3246" y="1"/>
                  </a:moveTo>
                  <a:lnTo>
                    <a:pt x="95" y="2552"/>
                  </a:lnTo>
                  <a:cubicBezTo>
                    <a:pt x="32" y="2615"/>
                    <a:pt x="1" y="2710"/>
                    <a:pt x="1" y="2836"/>
                  </a:cubicBezTo>
                  <a:cubicBezTo>
                    <a:pt x="1" y="3340"/>
                    <a:pt x="95" y="3844"/>
                    <a:pt x="347" y="4285"/>
                  </a:cubicBezTo>
                  <a:lnTo>
                    <a:pt x="3372" y="1261"/>
                  </a:lnTo>
                  <a:cubicBezTo>
                    <a:pt x="3214" y="851"/>
                    <a:pt x="3183" y="410"/>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8" name="Google Shape;7108;p72"/>
          <p:cNvGrpSpPr/>
          <p:nvPr/>
        </p:nvGrpSpPr>
        <p:grpSpPr>
          <a:xfrm>
            <a:off x="4883345" y="3655244"/>
            <a:ext cx="349133" cy="349163"/>
            <a:chOff x="3497300" y="3955025"/>
            <a:chExt cx="295375" cy="295400"/>
          </a:xfrm>
        </p:grpSpPr>
        <p:sp>
          <p:nvSpPr>
            <p:cNvPr id="7109" name="Google Shape;7109;p72"/>
            <p:cNvSpPr/>
            <p:nvPr/>
          </p:nvSpPr>
          <p:spPr>
            <a:xfrm>
              <a:off x="3660350" y="4035375"/>
              <a:ext cx="132325" cy="155175"/>
            </a:xfrm>
            <a:custGeom>
              <a:avLst/>
              <a:gdLst/>
              <a:ahLst/>
              <a:cxnLst/>
              <a:rect l="l" t="t" r="r" b="b"/>
              <a:pathLst>
                <a:path w="5293" h="6207" extrusionOk="0">
                  <a:moveTo>
                    <a:pt x="4663" y="0"/>
                  </a:moveTo>
                  <a:lnTo>
                    <a:pt x="0" y="2773"/>
                  </a:lnTo>
                  <a:lnTo>
                    <a:pt x="4127" y="6207"/>
                  </a:lnTo>
                  <a:cubicBezTo>
                    <a:pt x="4852" y="5199"/>
                    <a:pt x="5293" y="4033"/>
                    <a:pt x="5293" y="2678"/>
                  </a:cubicBezTo>
                  <a:cubicBezTo>
                    <a:pt x="5293" y="1733"/>
                    <a:pt x="5041" y="851"/>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2"/>
            <p:cNvSpPr/>
            <p:nvPr/>
          </p:nvSpPr>
          <p:spPr>
            <a:xfrm>
              <a:off x="3653250" y="3955025"/>
              <a:ext cx="114225" cy="133150"/>
            </a:xfrm>
            <a:custGeom>
              <a:avLst/>
              <a:gdLst/>
              <a:ahLst/>
              <a:cxnLst/>
              <a:rect l="l" t="t" r="r" b="b"/>
              <a:pathLst>
                <a:path w="4569" h="5326" extrusionOk="0">
                  <a:moveTo>
                    <a:pt x="1" y="1"/>
                  </a:moveTo>
                  <a:lnTo>
                    <a:pt x="1" y="5325"/>
                  </a:lnTo>
                  <a:lnTo>
                    <a:pt x="4569" y="2679"/>
                  </a:lnTo>
                  <a:cubicBezTo>
                    <a:pt x="3561" y="1167"/>
                    <a:pt x="1891"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72"/>
            <p:cNvSpPr/>
            <p:nvPr/>
          </p:nvSpPr>
          <p:spPr>
            <a:xfrm>
              <a:off x="3497300" y="3955025"/>
              <a:ext cx="256000" cy="295400"/>
            </a:xfrm>
            <a:custGeom>
              <a:avLst/>
              <a:gdLst/>
              <a:ahLst/>
              <a:cxnLst/>
              <a:rect l="l" t="t" r="r" b="b"/>
              <a:pathLst>
                <a:path w="10240" h="11816" extrusionOk="0">
                  <a:moveTo>
                    <a:pt x="5577" y="1"/>
                  </a:moveTo>
                  <a:cubicBezTo>
                    <a:pt x="2521" y="190"/>
                    <a:pt x="1" y="2805"/>
                    <a:pt x="1" y="5892"/>
                  </a:cubicBezTo>
                  <a:cubicBezTo>
                    <a:pt x="1" y="9137"/>
                    <a:pt x="2678" y="11815"/>
                    <a:pt x="5923" y="11815"/>
                  </a:cubicBezTo>
                  <a:cubicBezTo>
                    <a:pt x="7625" y="11815"/>
                    <a:pt x="9168" y="11059"/>
                    <a:pt x="10240" y="9925"/>
                  </a:cubicBezTo>
                  <a:lnTo>
                    <a:pt x="5703" y="6176"/>
                  </a:lnTo>
                  <a:cubicBezTo>
                    <a:pt x="5608" y="6144"/>
                    <a:pt x="5577" y="5987"/>
                    <a:pt x="5577" y="5892"/>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2" name="Google Shape;7112;p72"/>
          <p:cNvGrpSpPr/>
          <p:nvPr/>
        </p:nvGrpSpPr>
        <p:grpSpPr>
          <a:xfrm>
            <a:off x="7107917" y="2731435"/>
            <a:ext cx="327739" cy="348631"/>
            <a:chOff x="5364750" y="3235150"/>
            <a:chExt cx="277275" cy="294950"/>
          </a:xfrm>
        </p:grpSpPr>
        <p:sp>
          <p:nvSpPr>
            <p:cNvPr id="7113" name="Google Shape;7113;p72"/>
            <p:cNvSpPr/>
            <p:nvPr/>
          </p:nvSpPr>
          <p:spPr>
            <a:xfrm>
              <a:off x="5502600" y="32351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72"/>
            <p:cNvSpPr/>
            <p:nvPr/>
          </p:nvSpPr>
          <p:spPr>
            <a:xfrm>
              <a:off x="5555375" y="3253850"/>
              <a:ext cx="35450" cy="34100"/>
            </a:xfrm>
            <a:custGeom>
              <a:avLst/>
              <a:gdLst/>
              <a:ahLst/>
              <a:cxnLst/>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72"/>
            <p:cNvSpPr/>
            <p:nvPr/>
          </p:nvSpPr>
          <p:spPr>
            <a:xfrm>
              <a:off x="5606550" y="3357225"/>
              <a:ext cx="35475" cy="18150"/>
            </a:xfrm>
            <a:custGeom>
              <a:avLst/>
              <a:gdLst/>
              <a:ahLst/>
              <a:cxnLst/>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2"/>
            <p:cNvSpPr/>
            <p:nvPr/>
          </p:nvSpPr>
          <p:spPr>
            <a:xfrm>
              <a:off x="5364750" y="3357225"/>
              <a:ext cx="35475" cy="17350"/>
            </a:xfrm>
            <a:custGeom>
              <a:avLst/>
              <a:gdLst/>
              <a:ahLst/>
              <a:cxnLst/>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72"/>
            <p:cNvSpPr/>
            <p:nvPr/>
          </p:nvSpPr>
          <p:spPr>
            <a:xfrm>
              <a:off x="5433275" y="3253850"/>
              <a:ext cx="35475" cy="34100"/>
            </a:xfrm>
            <a:custGeom>
              <a:avLst/>
              <a:gdLst/>
              <a:ahLst/>
              <a:cxnLst/>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72"/>
            <p:cNvSpPr/>
            <p:nvPr/>
          </p:nvSpPr>
          <p:spPr>
            <a:xfrm>
              <a:off x="5380500" y="3287775"/>
              <a:ext cx="37050" cy="25975"/>
            </a:xfrm>
            <a:custGeom>
              <a:avLst/>
              <a:gdLst/>
              <a:ahLst/>
              <a:cxnLst/>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2"/>
            <p:cNvSpPr/>
            <p:nvPr/>
          </p:nvSpPr>
          <p:spPr>
            <a:xfrm>
              <a:off x="5588450" y="3288075"/>
              <a:ext cx="37025" cy="26800"/>
            </a:xfrm>
            <a:custGeom>
              <a:avLst/>
              <a:gdLst/>
              <a:ahLst/>
              <a:cxnLst/>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72"/>
            <p:cNvSpPr/>
            <p:nvPr/>
          </p:nvSpPr>
          <p:spPr>
            <a:xfrm>
              <a:off x="5412025" y="3286350"/>
              <a:ext cx="177225" cy="243750"/>
            </a:xfrm>
            <a:custGeom>
              <a:avLst/>
              <a:gdLst/>
              <a:ahLst/>
              <a:cxnLst/>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1" name="Google Shape;7121;p72"/>
          <p:cNvGrpSpPr/>
          <p:nvPr/>
        </p:nvGrpSpPr>
        <p:grpSpPr>
          <a:xfrm>
            <a:off x="7096274" y="3177771"/>
            <a:ext cx="351024" cy="351941"/>
            <a:chOff x="5355300" y="3598250"/>
            <a:chExt cx="296975" cy="297750"/>
          </a:xfrm>
        </p:grpSpPr>
        <p:sp>
          <p:nvSpPr>
            <p:cNvPr id="7122" name="Google Shape;7122;p72"/>
            <p:cNvSpPr/>
            <p:nvPr/>
          </p:nvSpPr>
          <p:spPr>
            <a:xfrm>
              <a:off x="5355300" y="3703000"/>
              <a:ext cx="35475" cy="191425"/>
            </a:xfrm>
            <a:custGeom>
              <a:avLst/>
              <a:gdLst/>
              <a:ahLst/>
              <a:cxnLst/>
              <a:rect l="l" t="t" r="r" b="b"/>
              <a:pathLst>
                <a:path w="1419" h="7657" extrusionOk="0">
                  <a:moveTo>
                    <a:pt x="410" y="0"/>
                  </a:moveTo>
                  <a:cubicBezTo>
                    <a:pt x="221" y="0"/>
                    <a:pt x="64" y="158"/>
                    <a:pt x="64" y="347"/>
                  </a:cubicBezTo>
                  <a:cubicBezTo>
                    <a:pt x="1" y="2867"/>
                    <a:pt x="1" y="4789"/>
                    <a:pt x="1" y="7310"/>
                  </a:cubicBezTo>
                  <a:cubicBezTo>
                    <a:pt x="1" y="7530"/>
                    <a:pt x="158" y="7656"/>
                    <a:pt x="379" y="7656"/>
                  </a:cubicBezTo>
                  <a:cubicBezTo>
                    <a:pt x="568" y="7656"/>
                    <a:pt x="725" y="7530"/>
                    <a:pt x="725" y="7310"/>
                  </a:cubicBezTo>
                  <a:lnTo>
                    <a:pt x="725" y="1355"/>
                  </a:lnTo>
                  <a:lnTo>
                    <a:pt x="1418" y="1355"/>
                  </a:ln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72"/>
            <p:cNvSpPr/>
            <p:nvPr/>
          </p:nvSpPr>
          <p:spPr>
            <a:xfrm>
              <a:off x="5389175" y="3773100"/>
              <a:ext cx="122900" cy="122900"/>
            </a:xfrm>
            <a:custGeom>
              <a:avLst/>
              <a:gdLst/>
              <a:ahLst/>
              <a:cxnLst/>
              <a:rect l="l" t="t" r="r" b="b"/>
              <a:pathLst>
                <a:path w="4916" h="4916" extrusionOk="0">
                  <a:moveTo>
                    <a:pt x="2080" y="0"/>
                  </a:moveTo>
                  <a:lnTo>
                    <a:pt x="2080" y="693"/>
                  </a:lnTo>
                  <a:lnTo>
                    <a:pt x="1733" y="693"/>
                  </a:lnTo>
                  <a:cubicBezTo>
                    <a:pt x="788" y="693"/>
                    <a:pt x="0" y="1481"/>
                    <a:pt x="0" y="2458"/>
                  </a:cubicBezTo>
                  <a:cubicBezTo>
                    <a:pt x="0" y="2678"/>
                    <a:pt x="158" y="2836"/>
                    <a:pt x="347" y="2836"/>
                  </a:cubicBezTo>
                  <a:lnTo>
                    <a:pt x="2080" y="2836"/>
                  </a:lnTo>
                  <a:lnTo>
                    <a:pt x="2080" y="3529"/>
                  </a:lnTo>
                  <a:lnTo>
                    <a:pt x="1072" y="3529"/>
                  </a:lnTo>
                  <a:cubicBezTo>
                    <a:pt x="473" y="3529"/>
                    <a:pt x="32" y="4001"/>
                    <a:pt x="32" y="4569"/>
                  </a:cubicBezTo>
                  <a:cubicBezTo>
                    <a:pt x="32" y="4758"/>
                    <a:pt x="189" y="4915"/>
                    <a:pt x="410" y="4915"/>
                  </a:cubicBezTo>
                  <a:cubicBezTo>
                    <a:pt x="599" y="4915"/>
                    <a:pt x="757" y="4758"/>
                    <a:pt x="757" y="4569"/>
                  </a:cubicBezTo>
                  <a:cubicBezTo>
                    <a:pt x="757" y="4348"/>
                    <a:pt x="914" y="4190"/>
                    <a:pt x="1103" y="4190"/>
                  </a:cubicBezTo>
                  <a:lnTo>
                    <a:pt x="2143" y="4190"/>
                  </a:lnTo>
                  <a:lnTo>
                    <a:pt x="2143" y="4569"/>
                  </a:lnTo>
                  <a:cubicBezTo>
                    <a:pt x="2143" y="4758"/>
                    <a:pt x="2300" y="4915"/>
                    <a:pt x="2489" y="4915"/>
                  </a:cubicBezTo>
                  <a:cubicBezTo>
                    <a:pt x="2678" y="4915"/>
                    <a:pt x="2836" y="4758"/>
                    <a:pt x="2836" y="4569"/>
                  </a:cubicBezTo>
                  <a:lnTo>
                    <a:pt x="2836" y="4190"/>
                  </a:lnTo>
                  <a:lnTo>
                    <a:pt x="3876" y="4190"/>
                  </a:lnTo>
                  <a:cubicBezTo>
                    <a:pt x="4065" y="4190"/>
                    <a:pt x="4222" y="4348"/>
                    <a:pt x="4222" y="4569"/>
                  </a:cubicBezTo>
                  <a:cubicBezTo>
                    <a:pt x="4222" y="4758"/>
                    <a:pt x="4380" y="4915"/>
                    <a:pt x="4569" y="4915"/>
                  </a:cubicBezTo>
                  <a:cubicBezTo>
                    <a:pt x="4758" y="4915"/>
                    <a:pt x="4915" y="4758"/>
                    <a:pt x="4915" y="4569"/>
                  </a:cubicBezTo>
                  <a:cubicBezTo>
                    <a:pt x="4915" y="3970"/>
                    <a:pt x="4443" y="3529"/>
                    <a:pt x="3907" y="3529"/>
                  </a:cubicBezTo>
                  <a:lnTo>
                    <a:pt x="2867" y="3529"/>
                  </a:lnTo>
                  <a:lnTo>
                    <a:pt x="2867" y="2836"/>
                  </a:lnTo>
                  <a:lnTo>
                    <a:pt x="4537" y="2836"/>
                  </a:lnTo>
                  <a:lnTo>
                    <a:pt x="4537" y="2773"/>
                  </a:lnTo>
                  <a:cubicBezTo>
                    <a:pt x="4726" y="2773"/>
                    <a:pt x="4884" y="2615"/>
                    <a:pt x="4884" y="2426"/>
                  </a:cubicBezTo>
                  <a:cubicBezTo>
                    <a:pt x="4884" y="1481"/>
                    <a:pt x="4096" y="662"/>
                    <a:pt x="3151" y="662"/>
                  </a:cubicBezTo>
                  <a:lnTo>
                    <a:pt x="2804" y="662"/>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72"/>
            <p:cNvSpPr/>
            <p:nvPr/>
          </p:nvSpPr>
          <p:spPr>
            <a:xfrm>
              <a:off x="5527800" y="3598250"/>
              <a:ext cx="105550" cy="35450"/>
            </a:xfrm>
            <a:custGeom>
              <a:avLst/>
              <a:gdLst/>
              <a:ahLst/>
              <a:cxnLst/>
              <a:rect l="l" t="t" r="r" b="b"/>
              <a:pathLst>
                <a:path w="4222" h="1418" extrusionOk="0">
                  <a:moveTo>
                    <a:pt x="725" y="0"/>
                  </a:moveTo>
                  <a:cubicBezTo>
                    <a:pt x="315" y="0"/>
                    <a:pt x="0" y="315"/>
                    <a:pt x="0" y="725"/>
                  </a:cubicBezTo>
                  <a:cubicBezTo>
                    <a:pt x="63" y="1103"/>
                    <a:pt x="378" y="1418"/>
                    <a:pt x="725" y="1418"/>
                  </a:cubicBezTo>
                  <a:lnTo>
                    <a:pt x="3875" y="1418"/>
                  </a:lnTo>
                  <a:cubicBezTo>
                    <a:pt x="4064" y="1418"/>
                    <a:pt x="4222" y="1260"/>
                    <a:pt x="4222" y="1071"/>
                  </a:cubicBezTo>
                  <a:lnTo>
                    <a:pt x="4222" y="378"/>
                  </a:lnTo>
                  <a:cubicBezTo>
                    <a:pt x="4222" y="158"/>
                    <a:pt x="4064" y="0"/>
                    <a:pt x="38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2"/>
            <p:cNvSpPr/>
            <p:nvPr/>
          </p:nvSpPr>
          <p:spPr>
            <a:xfrm>
              <a:off x="5545900" y="3651800"/>
              <a:ext cx="104800" cy="35475"/>
            </a:xfrm>
            <a:custGeom>
              <a:avLst/>
              <a:gdLst/>
              <a:ahLst/>
              <a:cxnLst/>
              <a:rect l="l" t="t" r="r" b="b"/>
              <a:pathLst>
                <a:path w="4192" h="1419" extrusionOk="0">
                  <a:moveTo>
                    <a:pt x="694" y="1"/>
                  </a:moveTo>
                  <a:cubicBezTo>
                    <a:pt x="316" y="1"/>
                    <a:pt x="1" y="316"/>
                    <a:pt x="1" y="694"/>
                  </a:cubicBezTo>
                  <a:cubicBezTo>
                    <a:pt x="1" y="1103"/>
                    <a:pt x="316" y="1418"/>
                    <a:pt x="694" y="1418"/>
                  </a:cubicBezTo>
                  <a:lnTo>
                    <a:pt x="3845" y="1418"/>
                  </a:lnTo>
                  <a:cubicBezTo>
                    <a:pt x="4065" y="1418"/>
                    <a:pt x="4191" y="1261"/>
                    <a:pt x="4191" y="1072"/>
                  </a:cubicBezTo>
                  <a:lnTo>
                    <a:pt x="4191" y="347"/>
                  </a:lnTo>
                  <a:cubicBezTo>
                    <a:pt x="4191" y="158"/>
                    <a:pt x="4065" y="1"/>
                    <a:pt x="3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72"/>
            <p:cNvSpPr/>
            <p:nvPr/>
          </p:nvSpPr>
          <p:spPr>
            <a:xfrm>
              <a:off x="5529375" y="3754975"/>
              <a:ext cx="122100" cy="35475"/>
            </a:xfrm>
            <a:custGeom>
              <a:avLst/>
              <a:gdLst/>
              <a:ahLst/>
              <a:cxnLst/>
              <a:rect l="l" t="t" r="r" b="b"/>
              <a:pathLst>
                <a:path w="4884" h="1419" extrusionOk="0">
                  <a:moveTo>
                    <a:pt x="0" y="1"/>
                  </a:moveTo>
                  <a:lnTo>
                    <a:pt x="0" y="1418"/>
                  </a:lnTo>
                  <a:lnTo>
                    <a:pt x="4884" y="1418"/>
                  </a:lnTo>
                  <a:lnTo>
                    <a:pt x="4884" y="1"/>
                  </a:lnTo>
                  <a:lnTo>
                    <a:pt x="2773" y="1"/>
                  </a:lnTo>
                  <a:lnTo>
                    <a:pt x="2773" y="347"/>
                  </a:lnTo>
                  <a:cubicBezTo>
                    <a:pt x="2773" y="568"/>
                    <a:pt x="2615" y="725"/>
                    <a:pt x="2426" y="725"/>
                  </a:cubicBezTo>
                  <a:cubicBezTo>
                    <a:pt x="2237" y="725"/>
                    <a:pt x="2080" y="568"/>
                    <a:pt x="2080" y="347"/>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72"/>
            <p:cNvSpPr/>
            <p:nvPr/>
          </p:nvSpPr>
          <p:spPr>
            <a:xfrm>
              <a:off x="5511250" y="3703000"/>
              <a:ext cx="140225" cy="33900"/>
            </a:xfrm>
            <a:custGeom>
              <a:avLst/>
              <a:gdLst/>
              <a:ahLst/>
              <a:cxnLst/>
              <a:rect l="l" t="t" r="r" b="b"/>
              <a:pathLst>
                <a:path w="5609" h="1356" extrusionOk="0">
                  <a:moveTo>
                    <a:pt x="1" y="0"/>
                  </a:moveTo>
                  <a:lnTo>
                    <a:pt x="1" y="1355"/>
                  </a:lnTo>
                  <a:lnTo>
                    <a:pt x="5609" y="1355"/>
                  </a:lnTo>
                  <a:lnTo>
                    <a:pt x="5609" y="347"/>
                  </a:lnTo>
                  <a:cubicBezTo>
                    <a:pt x="5577" y="158"/>
                    <a:pt x="5451"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2"/>
            <p:cNvSpPr/>
            <p:nvPr/>
          </p:nvSpPr>
          <p:spPr>
            <a:xfrm>
              <a:off x="5529375" y="3808550"/>
              <a:ext cx="122900" cy="87450"/>
            </a:xfrm>
            <a:custGeom>
              <a:avLst/>
              <a:gdLst/>
              <a:ahLst/>
              <a:cxnLst/>
              <a:rect l="l" t="t" r="r" b="b"/>
              <a:pathLst>
                <a:path w="4916" h="3498" extrusionOk="0">
                  <a:moveTo>
                    <a:pt x="0" y="0"/>
                  </a:moveTo>
                  <a:lnTo>
                    <a:pt x="0" y="3151"/>
                  </a:lnTo>
                  <a:cubicBezTo>
                    <a:pt x="0" y="3340"/>
                    <a:pt x="158" y="3497"/>
                    <a:pt x="347" y="3497"/>
                  </a:cubicBezTo>
                  <a:cubicBezTo>
                    <a:pt x="536" y="3497"/>
                    <a:pt x="693" y="3340"/>
                    <a:pt x="693" y="3151"/>
                  </a:cubicBezTo>
                  <a:lnTo>
                    <a:pt x="693" y="1418"/>
                  </a:lnTo>
                  <a:lnTo>
                    <a:pt x="4190" y="1418"/>
                  </a:lnTo>
                  <a:lnTo>
                    <a:pt x="4190" y="3151"/>
                  </a:lnTo>
                  <a:cubicBezTo>
                    <a:pt x="4190" y="3340"/>
                    <a:pt x="4348" y="3497"/>
                    <a:pt x="4569" y="3497"/>
                  </a:cubicBezTo>
                  <a:cubicBezTo>
                    <a:pt x="4758" y="3497"/>
                    <a:pt x="4915" y="3340"/>
                    <a:pt x="4915" y="3151"/>
                  </a:cubicBezTo>
                  <a:lnTo>
                    <a:pt x="4915" y="0"/>
                  </a:lnTo>
                  <a:lnTo>
                    <a:pt x="2773" y="0"/>
                  </a:lnTo>
                  <a:lnTo>
                    <a:pt x="2773" y="347"/>
                  </a:lnTo>
                  <a:cubicBezTo>
                    <a:pt x="2773" y="536"/>
                    <a:pt x="2615" y="693"/>
                    <a:pt x="2426" y="693"/>
                  </a:cubicBezTo>
                  <a:cubicBezTo>
                    <a:pt x="2237" y="693"/>
                    <a:pt x="2080" y="536"/>
                    <a:pt x="2080" y="347"/>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72"/>
            <p:cNvSpPr/>
            <p:nvPr/>
          </p:nvSpPr>
          <p:spPr>
            <a:xfrm>
              <a:off x="5408075" y="3651025"/>
              <a:ext cx="86675" cy="103975"/>
            </a:xfrm>
            <a:custGeom>
              <a:avLst/>
              <a:gdLst/>
              <a:ahLst/>
              <a:cxnLst/>
              <a:rect l="l" t="t" r="r" b="b"/>
              <a:pathLst>
                <a:path w="3467" h="4159" extrusionOk="0">
                  <a:moveTo>
                    <a:pt x="1733" y="0"/>
                  </a:moveTo>
                  <a:cubicBezTo>
                    <a:pt x="788" y="0"/>
                    <a:pt x="1" y="788"/>
                    <a:pt x="1" y="1733"/>
                  </a:cubicBezTo>
                  <a:lnTo>
                    <a:pt x="1" y="3812"/>
                  </a:lnTo>
                  <a:cubicBezTo>
                    <a:pt x="1" y="4001"/>
                    <a:pt x="158" y="4159"/>
                    <a:pt x="347" y="4159"/>
                  </a:cubicBezTo>
                  <a:lnTo>
                    <a:pt x="3120" y="4159"/>
                  </a:lnTo>
                  <a:cubicBezTo>
                    <a:pt x="3309" y="4159"/>
                    <a:pt x="3466" y="4001"/>
                    <a:pt x="3466" y="3812"/>
                  </a:cubicBez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0" name="Google Shape;7130;p72"/>
          <p:cNvGrpSpPr/>
          <p:nvPr/>
        </p:nvGrpSpPr>
        <p:grpSpPr>
          <a:xfrm>
            <a:off x="7100470" y="3716693"/>
            <a:ext cx="342632" cy="226264"/>
            <a:chOff x="5358450" y="4015675"/>
            <a:chExt cx="289875" cy="191425"/>
          </a:xfrm>
        </p:grpSpPr>
        <p:sp>
          <p:nvSpPr>
            <p:cNvPr id="7131" name="Google Shape;7131;p72"/>
            <p:cNvSpPr/>
            <p:nvPr/>
          </p:nvSpPr>
          <p:spPr>
            <a:xfrm>
              <a:off x="5358450" y="4015675"/>
              <a:ext cx="289875" cy="89025"/>
            </a:xfrm>
            <a:custGeom>
              <a:avLst/>
              <a:gdLst/>
              <a:ahLst/>
              <a:cxnLst/>
              <a:rect l="l" t="t" r="r" b="b"/>
              <a:pathLst>
                <a:path w="11595" h="3561" extrusionOk="0">
                  <a:moveTo>
                    <a:pt x="5798" y="1"/>
                  </a:moveTo>
                  <a:cubicBezTo>
                    <a:pt x="2773" y="1"/>
                    <a:pt x="316" y="3120"/>
                    <a:pt x="1" y="3561"/>
                  </a:cubicBezTo>
                  <a:cubicBezTo>
                    <a:pt x="1229" y="2679"/>
                    <a:pt x="3561" y="1734"/>
                    <a:pt x="5798" y="1734"/>
                  </a:cubicBezTo>
                  <a:cubicBezTo>
                    <a:pt x="7751" y="1734"/>
                    <a:pt x="10051" y="2490"/>
                    <a:pt x="11595" y="3561"/>
                  </a:cubicBezTo>
                  <a:cubicBezTo>
                    <a:pt x="11280" y="3120"/>
                    <a:pt x="8822" y="1"/>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72"/>
            <p:cNvSpPr/>
            <p:nvPr/>
          </p:nvSpPr>
          <p:spPr>
            <a:xfrm>
              <a:off x="5494725" y="4101525"/>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72"/>
            <p:cNvSpPr/>
            <p:nvPr/>
          </p:nvSpPr>
          <p:spPr>
            <a:xfrm>
              <a:off x="5460050" y="4077125"/>
              <a:ext cx="86675" cy="78000"/>
            </a:xfrm>
            <a:custGeom>
              <a:avLst/>
              <a:gdLst/>
              <a:ahLst/>
              <a:cxnLst/>
              <a:rect l="l" t="t" r="r" b="b"/>
              <a:pathLst>
                <a:path w="3467" h="3120" extrusionOk="0">
                  <a:moveTo>
                    <a:pt x="1734" y="315"/>
                  </a:moveTo>
                  <a:cubicBezTo>
                    <a:pt x="2332" y="315"/>
                    <a:pt x="2773" y="788"/>
                    <a:pt x="2773" y="1323"/>
                  </a:cubicBezTo>
                  <a:cubicBezTo>
                    <a:pt x="2773" y="1922"/>
                    <a:pt x="2269" y="2363"/>
                    <a:pt x="1734" y="2363"/>
                  </a:cubicBezTo>
                  <a:cubicBezTo>
                    <a:pt x="1135" y="2363"/>
                    <a:pt x="694" y="1890"/>
                    <a:pt x="694" y="1323"/>
                  </a:cubicBezTo>
                  <a:cubicBezTo>
                    <a:pt x="663" y="788"/>
                    <a:pt x="1135" y="315"/>
                    <a:pt x="1734" y="315"/>
                  </a:cubicBezTo>
                  <a:close/>
                  <a:moveTo>
                    <a:pt x="1734" y="0"/>
                  </a:moveTo>
                  <a:cubicBezTo>
                    <a:pt x="1324" y="0"/>
                    <a:pt x="978" y="32"/>
                    <a:pt x="599" y="63"/>
                  </a:cubicBezTo>
                  <a:cubicBezTo>
                    <a:pt x="190" y="378"/>
                    <a:pt x="1" y="851"/>
                    <a:pt x="1" y="1386"/>
                  </a:cubicBezTo>
                  <a:cubicBezTo>
                    <a:pt x="1" y="2332"/>
                    <a:pt x="789" y="3119"/>
                    <a:pt x="1734" y="3119"/>
                  </a:cubicBezTo>
                  <a:cubicBezTo>
                    <a:pt x="2679" y="3119"/>
                    <a:pt x="3466" y="2332"/>
                    <a:pt x="3466" y="1386"/>
                  </a:cubicBezTo>
                  <a:cubicBezTo>
                    <a:pt x="3466" y="851"/>
                    <a:pt x="3214" y="378"/>
                    <a:pt x="2868" y="63"/>
                  </a:cubicBezTo>
                  <a:cubicBezTo>
                    <a:pt x="2521" y="32"/>
                    <a:pt x="2112"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2"/>
            <p:cNvSpPr/>
            <p:nvPr/>
          </p:nvSpPr>
          <p:spPr>
            <a:xfrm>
              <a:off x="5362400" y="4084200"/>
              <a:ext cx="282000" cy="122900"/>
            </a:xfrm>
            <a:custGeom>
              <a:avLst/>
              <a:gdLst/>
              <a:ahLst/>
              <a:cxnLst/>
              <a:rect l="l" t="t" r="r" b="b"/>
              <a:pathLst>
                <a:path w="11280" h="4916" extrusionOk="0">
                  <a:moveTo>
                    <a:pt x="3466" y="1"/>
                  </a:moveTo>
                  <a:lnTo>
                    <a:pt x="3466" y="1"/>
                  </a:lnTo>
                  <a:cubicBezTo>
                    <a:pt x="2332" y="253"/>
                    <a:pt x="1103" y="820"/>
                    <a:pt x="0" y="1576"/>
                  </a:cubicBezTo>
                  <a:cubicBezTo>
                    <a:pt x="693" y="2395"/>
                    <a:pt x="2899" y="4915"/>
                    <a:pt x="5640" y="4915"/>
                  </a:cubicBezTo>
                  <a:cubicBezTo>
                    <a:pt x="8349" y="4884"/>
                    <a:pt x="10617" y="2395"/>
                    <a:pt x="11279" y="1576"/>
                  </a:cubicBezTo>
                  <a:cubicBezTo>
                    <a:pt x="10176" y="820"/>
                    <a:pt x="8948" y="253"/>
                    <a:pt x="7814" y="1"/>
                  </a:cubicBezTo>
                  <a:lnTo>
                    <a:pt x="7814" y="1"/>
                  </a:lnTo>
                  <a:cubicBezTo>
                    <a:pt x="7971" y="347"/>
                    <a:pt x="8097" y="694"/>
                    <a:pt x="8097" y="1103"/>
                  </a:cubicBezTo>
                  <a:cubicBezTo>
                    <a:pt x="8097" y="2427"/>
                    <a:pt x="6994" y="3529"/>
                    <a:pt x="5640" y="3529"/>
                  </a:cubicBezTo>
                  <a:cubicBezTo>
                    <a:pt x="4316" y="3529"/>
                    <a:pt x="3214" y="2427"/>
                    <a:pt x="3214" y="1103"/>
                  </a:cubicBezTo>
                  <a:cubicBezTo>
                    <a:pt x="3214" y="694"/>
                    <a:pt x="3277" y="347"/>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5" name="Google Shape;7135;p72"/>
          <p:cNvGrpSpPr/>
          <p:nvPr/>
        </p:nvGrpSpPr>
        <p:grpSpPr>
          <a:xfrm>
            <a:off x="6226953" y="4099224"/>
            <a:ext cx="351024" cy="325464"/>
            <a:chOff x="6543825" y="3202075"/>
            <a:chExt cx="296975" cy="275350"/>
          </a:xfrm>
        </p:grpSpPr>
        <p:sp>
          <p:nvSpPr>
            <p:cNvPr id="7136" name="Google Shape;7136;p72"/>
            <p:cNvSpPr/>
            <p:nvPr/>
          </p:nvSpPr>
          <p:spPr>
            <a:xfrm>
              <a:off x="6683250" y="3202075"/>
              <a:ext cx="17350" cy="43350"/>
            </a:xfrm>
            <a:custGeom>
              <a:avLst/>
              <a:gdLst/>
              <a:ahLst/>
              <a:cxnLst/>
              <a:rect l="l" t="t" r="r" b="b"/>
              <a:pathLst>
                <a:path w="694" h="1734" extrusionOk="0">
                  <a:moveTo>
                    <a:pt x="347" y="0"/>
                  </a:moveTo>
                  <a:cubicBezTo>
                    <a:pt x="158" y="0"/>
                    <a:pt x="0" y="158"/>
                    <a:pt x="0" y="347"/>
                  </a:cubicBezTo>
                  <a:lnTo>
                    <a:pt x="0" y="1355"/>
                  </a:lnTo>
                  <a:cubicBezTo>
                    <a:pt x="0" y="1576"/>
                    <a:pt x="158" y="1733"/>
                    <a:pt x="347" y="1733"/>
                  </a:cubicBezTo>
                  <a:cubicBezTo>
                    <a:pt x="536" y="1733"/>
                    <a:pt x="693" y="1576"/>
                    <a:pt x="693" y="1355"/>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2"/>
            <p:cNvSpPr/>
            <p:nvPr/>
          </p:nvSpPr>
          <p:spPr>
            <a:xfrm>
              <a:off x="6613925" y="3236125"/>
              <a:ext cx="35475" cy="34700"/>
            </a:xfrm>
            <a:custGeom>
              <a:avLst/>
              <a:gdLst/>
              <a:ahLst/>
              <a:cxnLst/>
              <a:rect l="l" t="t" r="r" b="b"/>
              <a:pathLst>
                <a:path w="1419" h="1388" extrusionOk="0">
                  <a:moveTo>
                    <a:pt x="363" y="1"/>
                  </a:moveTo>
                  <a:cubicBezTo>
                    <a:pt x="276" y="1"/>
                    <a:pt x="190" y="40"/>
                    <a:pt x="127" y="119"/>
                  </a:cubicBezTo>
                  <a:cubicBezTo>
                    <a:pt x="1" y="245"/>
                    <a:pt x="1" y="466"/>
                    <a:pt x="127" y="592"/>
                  </a:cubicBezTo>
                  <a:lnTo>
                    <a:pt x="820" y="1316"/>
                  </a:lnTo>
                  <a:cubicBezTo>
                    <a:pt x="883" y="1364"/>
                    <a:pt x="969" y="1387"/>
                    <a:pt x="1056" y="1387"/>
                  </a:cubicBezTo>
                  <a:cubicBezTo>
                    <a:pt x="1143" y="1387"/>
                    <a:pt x="1229" y="1364"/>
                    <a:pt x="1292" y="1316"/>
                  </a:cubicBezTo>
                  <a:cubicBezTo>
                    <a:pt x="1418" y="1190"/>
                    <a:pt x="1418" y="938"/>
                    <a:pt x="1292" y="844"/>
                  </a:cubicBezTo>
                  <a:lnTo>
                    <a:pt x="599" y="119"/>
                  </a:lnTo>
                  <a:cubicBezTo>
                    <a:pt x="536" y="40"/>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72"/>
            <p:cNvSpPr/>
            <p:nvPr/>
          </p:nvSpPr>
          <p:spPr>
            <a:xfrm>
              <a:off x="6734425" y="3236425"/>
              <a:ext cx="35475" cy="34400"/>
            </a:xfrm>
            <a:custGeom>
              <a:avLst/>
              <a:gdLst/>
              <a:ahLst/>
              <a:cxnLst/>
              <a:rect l="l" t="t" r="r" b="b"/>
              <a:pathLst>
                <a:path w="1419" h="1376" extrusionOk="0">
                  <a:moveTo>
                    <a:pt x="1054" y="0"/>
                  </a:moveTo>
                  <a:cubicBezTo>
                    <a:pt x="976" y="0"/>
                    <a:pt x="894" y="33"/>
                    <a:pt x="820" y="107"/>
                  </a:cubicBezTo>
                  <a:lnTo>
                    <a:pt x="95" y="832"/>
                  </a:lnTo>
                  <a:cubicBezTo>
                    <a:pt x="1" y="926"/>
                    <a:pt x="1" y="1178"/>
                    <a:pt x="95" y="1304"/>
                  </a:cubicBezTo>
                  <a:cubicBezTo>
                    <a:pt x="158" y="1352"/>
                    <a:pt x="253" y="1375"/>
                    <a:pt x="344" y="1375"/>
                  </a:cubicBezTo>
                  <a:cubicBezTo>
                    <a:pt x="434" y="1375"/>
                    <a:pt x="521" y="1352"/>
                    <a:pt x="568" y="1304"/>
                  </a:cubicBezTo>
                  <a:lnTo>
                    <a:pt x="1293" y="580"/>
                  </a:lnTo>
                  <a:cubicBezTo>
                    <a:pt x="1419" y="454"/>
                    <a:pt x="1419" y="233"/>
                    <a:pt x="1293" y="107"/>
                  </a:cubicBezTo>
                  <a:cubicBezTo>
                    <a:pt x="1226" y="41"/>
                    <a:pt x="1142" y="0"/>
                    <a:pt x="10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72"/>
            <p:cNvSpPr/>
            <p:nvPr/>
          </p:nvSpPr>
          <p:spPr>
            <a:xfrm>
              <a:off x="6805325" y="3322575"/>
              <a:ext cx="35475" cy="121325"/>
            </a:xfrm>
            <a:custGeom>
              <a:avLst/>
              <a:gdLst/>
              <a:ahLst/>
              <a:cxnLst/>
              <a:rect l="l" t="t" r="r" b="b"/>
              <a:pathLst>
                <a:path w="1419" h="4853" extrusionOk="0">
                  <a:moveTo>
                    <a:pt x="0" y="1"/>
                  </a:moveTo>
                  <a:lnTo>
                    <a:pt x="0" y="4852"/>
                  </a:lnTo>
                  <a:lnTo>
                    <a:pt x="1040" y="4852"/>
                  </a:lnTo>
                  <a:cubicBezTo>
                    <a:pt x="1261" y="4852"/>
                    <a:pt x="1418" y="4695"/>
                    <a:pt x="1418" y="4506"/>
                  </a:cubicBezTo>
                  <a:lnTo>
                    <a:pt x="1418" y="316"/>
                  </a:lnTo>
                  <a:cubicBezTo>
                    <a:pt x="1355" y="158"/>
                    <a:pt x="1198"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2"/>
            <p:cNvSpPr/>
            <p:nvPr/>
          </p:nvSpPr>
          <p:spPr>
            <a:xfrm>
              <a:off x="6543825" y="3323275"/>
              <a:ext cx="35475" cy="121400"/>
            </a:xfrm>
            <a:custGeom>
              <a:avLst/>
              <a:gdLst/>
              <a:ahLst/>
              <a:cxnLst/>
              <a:rect l="l" t="t" r="r" b="b"/>
              <a:pathLst>
                <a:path w="1419" h="4856" extrusionOk="0">
                  <a:moveTo>
                    <a:pt x="323" y="0"/>
                  </a:moveTo>
                  <a:cubicBezTo>
                    <a:pt x="132" y="0"/>
                    <a:pt x="1" y="149"/>
                    <a:pt x="1" y="351"/>
                  </a:cubicBezTo>
                  <a:lnTo>
                    <a:pt x="1" y="4509"/>
                  </a:lnTo>
                  <a:cubicBezTo>
                    <a:pt x="1" y="4698"/>
                    <a:pt x="158" y="4856"/>
                    <a:pt x="379" y="4856"/>
                  </a:cubicBezTo>
                  <a:lnTo>
                    <a:pt x="1418" y="4856"/>
                  </a:lnTo>
                  <a:lnTo>
                    <a:pt x="1418" y="4"/>
                  </a:lnTo>
                  <a:lnTo>
                    <a:pt x="379" y="4"/>
                  </a:lnTo>
                  <a:cubicBezTo>
                    <a:pt x="360" y="1"/>
                    <a:pt x="341" y="0"/>
                    <a:pt x="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72"/>
            <p:cNvSpPr/>
            <p:nvPr/>
          </p:nvSpPr>
          <p:spPr>
            <a:xfrm>
              <a:off x="6643075" y="3332025"/>
              <a:ext cx="143375" cy="104000"/>
            </a:xfrm>
            <a:custGeom>
              <a:avLst/>
              <a:gdLst/>
              <a:ahLst/>
              <a:cxnLst/>
              <a:rect l="l" t="t" r="r" b="b"/>
              <a:pathLst>
                <a:path w="5735" h="4160" extrusionOk="0">
                  <a:moveTo>
                    <a:pt x="1639" y="1"/>
                  </a:moveTo>
                  <a:cubicBezTo>
                    <a:pt x="1450" y="1"/>
                    <a:pt x="1198" y="158"/>
                    <a:pt x="1072" y="379"/>
                  </a:cubicBezTo>
                  <a:lnTo>
                    <a:pt x="0" y="2490"/>
                  </a:lnTo>
                  <a:cubicBezTo>
                    <a:pt x="158" y="2584"/>
                    <a:pt x="378" y="2616"/>
                    <a:pt x="567" y="2616"/>
                  </a:cubicBezTo>
                  <a:cubicBezTo>
                    <a:pt x="1072" y="2616"/>
                    <a:pt x="1544" y="2364"/>
                    <a:pt x="1796" y="1891"/>
                  </a:cubicBezTo>
                  <a:lnTo>
                    <a:pt x="2017" y="1418"/>
                  </a:lnTo>
                  <a:lnTo>
                    <a:pt x="2710" y="1418"/>
                  </a:lnTo>
                  <a:cubicBezTo>
                    <a:pt x="2899" y="1418"/>
                    <a:pt x="3056" y="1481"/>
                    <a:pt x="3182" y="1607"/>
                  </a:cubicBezTo>
                  <a:lnTo>
                    <a:pt x="5734" y="4159"/>
                  </a:lnTo>
                  <a:lnTo>
                    <a:pt x="573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72"/>
            <p:cNvSpPr/>
            <p:nvPr/>
          </p:nvSpPr>
          <p:spPr>
            <a:xfrm>
              <a:off x="6595025" y="3288700"/>
              <a:ext cx="175675" cy="188725"/>
            </a:xfrm>
            <a:custGeom>
              <a:avLst/>
              <a:gdLst/>
              <a:ahLst/>
              <a:cxnLst/>
              <a:rect l="l" t="t" r="r" b="b"/>
              <a:pathLst>
                <a:path w="7027" h="7549" extrusionOk="0">
                  <a:moveTo>
                    <a:pt x="2206" y="1"/>
                  </a:moveTo>
                  <a:cubicBezTo>
                    <a:pt x="1828" y="1"/>
                    <a:pt x="1481" y="221"/>
                    <a:pt x="1261" y="568"/>
                  </a:cubicBezTo>
                  <a:lnTo>
                    <a:pt x="946" y="1198"/>
                  </a:lnTo>
                  <a:cubicBezTo>
                    <a:pt x="914" y="1324"/>
                    <a:pt x="757" y="1419"/>
                    <a:pt x="631" y="1419"/>
                  </a:cubicBezTo>
                  <a:lnTo>
                    <a:pt x="1" y="1419"/>
                  </a:lnTo>
                  <a:lnTo>
                    <a:pt x="1" y="6239"/>
                  </a:lnTo>
                  <a:lnTo>
                    <a:pt x="1576" y="6239"/>
                  </a:lnTo>
                  <a:lnTo>
                    <a:pt x="2584" y="7247"/>
                  </a:lnTo>
                  <a:cubicBezTo>
                    <a:pt x="2768" y="7431"/>
                    <a:pt x="3054" y="7548"/>
                    <a:pt x="3330" y="7548"/>
                  </a:cubicBezTo>
                  <a:cubicBezTo>
                    <a:pt x="3431" y="7548"/>
                    <a:pt x="3531" y="7533"/>
                    <a:pt x="3624" y="7499"/>
                  </a:cubicBezTo>
                  <a:lnTo>
                    <a:pt x="6585" y="6554"/>
                  </a:lnTo>
                  <a:cubicBezTo>
                    <a:pt x="6743" y="6522"/>
                    <a:pt x="6900" y="6396"/>
                    <a:pt x="7026" y="6302"/>
                  </a:cubicBezTo>
                  <a:lnTo>
                    <a:pt x="4537" y="3813"/>
                  </a:lnTo>
                  <a:lnTo>
                    <a:pt x="4380" y="3813"/>
                  </a:lnTo>
                  <a:lnTo>
                    <a:pt x="4348" y="3844"/>
                  </a:lnTo>
                  <a:cubicBezTo>
                    <a:pt x="4033" y="4506"/>
                    <a:pt x="3340" y="4947"/>
                    <a:pt x="2647" y="5042"/>
                  </a:cubicBezTo>
                  <a:cubicBezTo>
                    <a:pt x="2601" y="5044"/>
                    <a:pt x="2556" y="5046"/>
                    <a:pt x="2511" y="5046"/>
                  </a:cubicBezTo>
                  <a:cubicBezTo>
                    <a:pt x="2046" y="5046"/>
                    <a:pt x="1698" y="4899"/>
                    <a:pt x="1324" y="4727"/>
                  </a:cubicBezTo>
                  <a:cubicBezTo>
                    <a:pt x="1103" y="4632"/>
                    <a:pt x="1040" y="4412"/>
                    <a:pt x="1166" y="4254"/>
                  </a:cubicBezTo>
                  <a:lnTo>
                    <a:pt x="2363" y="1797"/>
                  </a:lnTo>
                  <a:cubicBezTo>
                    <a:pt x="2615" y="1324"/>
                    <a:pt x="3088" y="1041"/>
                    <a:pt x="3592" y="1041"/>
                  </a:cubicBezTo>
                  <a:lnTo>
                    <a:pt x="5104" y="1041"/>
                  </a:lnTo>
                  <a:cubicBezTo>
                    <a:pt x="5167" y="852"/>
                    <a:pt x="5262" y="631"/>
                    <a:pt x="5262" y="347"/>
                  </a:cubicBezTo>
                  <a:cubicBezTo>
                    <a:pt x="5262" y="158"/>
                    <a:pt x="5104" y="1"/>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3" name="Google Shape;7143;p72"/>
          <p:cNvGrpSpPr/>
          <p:nvPr/>
        </p:nvGrpSpPr>
        <p:grpSpPr>
          <a:xfrm>
            <a:off x="6633934" y="1378972"/>
            <a:ext cx="350079" cy="350079"/>
            <a:chOff x="2037825" y="3254050"/>
            <a:chExt cx="296175" cy="296175"/>
          </a:xfrm>
        </p:grpSpPr>
        <p:sp>
          <p:nvSpPr>
            <p:cNvPr id="7144" name="Google Shape;7144;p72"/>
            <p:cNvSpPr/>
            <p:nvPr/>
          </p:nvSpPr>
          <p:spPr>
            <a:xfrm>
              <a:off x="2063825" y="3254050"/>
              <a:ext cx="86675" cy="86675"/>
            </a:xfrm>
            <a:custGeom>
              <a:avLst/>
              <a:gdLst/>
              <a:ahLst/>
              <a:cxnLst/>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72"/>
            <p:cNvSpPr/>
            <p:nvPr/>
          </p:nvSpPr>
          <p:spPr>
            <a:xfrm>
              <a:off x="2178025" y="3289500"/>
              <a:ext cx="104000" cy="67950"/>
            </a:xfrm>
            <a:custGeom>
              <a:avLst/>
              <a:gdLst/>
              <a:ahLst/>
              <a:cxnLst/>
              <a:rect l="l" t="t" r="r" b="b"/>
              <a:pathLst>
                <a:path w="4160" h="2718" extrusionOk="0">
                  <a:moveTo>
                    <a:pt x="347" y="0"/>
                  </a:moveTo>
                  <a:cubicBezTo>
                    <a:pt x="158" y="0"/>
                    <a:pt x="1" y="158"/>
                    <a:pt x="1" y="347"/>
                  </a:cubicBezTo>
                  <a:cubicBezTo>
                    <a:pt x="1" y="536"/>
                    <a:pt x="95" y="662"/>
                    <a:pt x="316" y="662"/>
                  </a:cubicBezTo>
                  <a:lnTo>
                    <a:pt x="2395" y="662"/>
                  </a:lnTo>
                  <a:cubicBezTo>
                    <a:pt x="2584" y="662"/>
                    <a:pt x="2742" y="820"/>
                    <a:pt x="2742" y="1009"/>
                  </a:cubicBezTo>
                  <a:lnTo>
                    <a:pt x="2742" y="1576"/>
                  </a:lnTo>
                  <a:lnTo>
                    <a:pt x="2616" y="1450"/>
                  </a:lnTo>
                  <a:cubicBezTo>
                    <a:pt x="2568" y="1387"/>
                    <a:pt x="2482" y="1355"/>
                    <a:pt x="2391" y="1355"/>
                  </a:cubicBezTo>
                  <a:cubicBezTo>
                    <a:pt x="2301" y="1355"/>
                    <a:pt x="2206" y="1387"/>
                    <a:pt x="2143" y="1450"/>
                  </a:cubicBezTo>
                  <a:cubicBezTo>
                    <a:pt x="2049" y="1576"/>
                    <a:pt x="2049" y="1796"/>
                    <a:pt x="2143" y="1922"/>
                  </a:cubicBezTo>
                  <a:lnTo>
                    <a:pt x="2868" y="2647"/>
                  </a:lnTo>
                  <a:cubicBezTo>
                    <a:pt x="2931" y="2694"/>
                    <a:pt x="3017" y="2718"/>
                    <a:pt x="3104" y="2718"/>
                  </a:cubicBezTo>
                  <a:cubicBezTo>
                    <a:pt x="3191" y="2718"/>
                    <a:pt x="3277" y="2694"/>
                    <a:pt x="3340" y="2647"/>
                  </a:cubicBezTo>
                  <a:lnTo>
                    <a:pt x="4033" y="1922"/>
                  </a:lnTo>
                  <a:cubicBezTo>
                    <a:pt x="4159" y="1796"/>
                    <a:pt x="4159" y="1576"/>
                    <a:pt x="4033" y="1450"/>
                  </a:cubicBezTo>
                  <a:cubicBezTo>
                    <a:pt x="3986" y="1387"/>
                    <a:pt x="3899" y="1355"/>
                    <a:pt x="3809" y="1355"/>
                  </a:cubicBezTo>
                  <a:cubicBezTo>
                    <a:pt x="3718" y="1355"/>
                    <a:pt x="3624" y="1387"/>
                    <a:pt x="3561" y="1450"/>
                  </a:cubicBezTo>
                  <a:lnTo>
                    <a:pt x="3466" y="1576"/>
                  </a:lnTo>
                  <a:lnTo>
                    <a:pt x="3466" y="1009"/>
                  </a:lnTo>
                  <a:cubicBezTo>
                    <a:pt x="3466" y="441"/>
                    <a:pt x="2994"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2"/>
            <p:cNvSpPr/>
            <p:nvPr/>
          </p:nvSpPr>
          <p:spPr>
            <a:xfrm>
              <a:off x="2070125" y="3444225"/>
              <a:ext cx="106350" cy="69075"/>
            </a:xfrm>
            <a:custGeom>
              <a:avLst/>
              <a:gdLst/>
              <a:ahLst/>
              <a:cxnLst/>
              <a:rect l="l" t="t" r="r" b="b"/>
              <a:pathLst>
                <a:path w="4254" h="2763" extrusionOk="0">
                  <a:moveTo>
                    <a:pt x="1095" y="0"/>
                  </a:moveTo>
                  <a:cubicBezTo>
                    <a:pt x="1002" y="0"/>
                    <a:pt x="904" y="28"/>
                    <a:pt x="820" y="112"/>
                  </a:cubicBezTo>
                  <a:lnTo>
                    <a:pt x="127" y="805"/>
                  </a:lnTo>
                  <a:cubicBezTo>
                    <a:pt x="1" y="931"/>
                    <a:pt x="1" y="1184"/>
                    <a:pt x="127" y="1278"/>
                  </a:cubicBezTo>
                  <a:cubicBezTo>
                    <a:pt x="190" y="1341"/>
                    <a:pt x="276" y="1373"/>
                    <a:pt x="363" y="1373"/>
                  </a:cubicBezTo>
                  <a:cubicBezTo>
                    <a:pt x="449" y="1373"/>
                    <a:pt x="536" y="1341"/>
                    <a:pt x="599" y="1278"/>
                  </a:cubicBezTo>
                  <a:lnTo>
                    <a:pt x="725" y="1184"/>
                  </a:lnTo>
                  <a:lnTo>
                    <a:pt x="725" y="1719"/>
                  </a:lnTo>
                  <a:cubicBezTo>
                    <a:pt x="725" y="2318"/>
                    <a:pt x="1198" y="2759"/>
                    <a:pt x="1733" y="2759"/>
                  </a:cubicBezTo>
                  <a:lnTo>
                    <a:pt x="3813" y="2759"/>
                  </a:lnTo>
                  <a:cubicBezTo>
                    <a:pt x="3837" y="2761"/>
                    <a:pt x="3861" y="2763"/>
                    <a:pt x="3883" y="2763"/>
                  </a:cubicBezTo>
                  <a:cubicBezTo>
                    <a:pt x="4122" y="2763"/>
                    <a:pt x="4254" y="2616"/>
                    <a:pt x="4254" y="2444"/>
                  </a:cubicBezTo>
                  <a:cubicBezTo>
                    <a:pt x="4254" y="2223"/>
                    <a:pt x="4096" y="2066"/>
                    <a:pt x="3907" y="2066"/>
                  </a:cubicBezTo>
                  <a:lnTo>
                    <a:pt x="1828" y="2066"/>
                  </a:lnTo>
                  <a:cubicBezTo>
                    <a:pt x="1639" y="2066"/>
                    <a:pt x="1481" y="1908"/>
                    <a:pt x="1481" y="1719"/>
                  </a:cubicBezTo>
                  <a:lnTo>
                    <a:pt x="1481" y="1184"/>
                  </a:lnTo>
                  <a:lnTo>
                    <a:pt x="1576" y="1278"/>
                  </a:lnTo>
                  <a:cubicBezTo>
                    <a:pt x="1639" y="1341"/>
                    <a:pt x="1733" y="1373"/>
                    <a:pt x="1824" y="1373"/>
                  </a:cubicBezTo>
                  <a:cubicBezTo>
                    <a:pt x="1914" y="1373"/>
                    <a:pt x="2001" y="1341"/>
                    <a:pt x="2048" y="1278"/>
                  </a:cubicBezTo>
                  <a:cubicBezTo>
                    <a:pt x="2174" y="1184"/>
                    <a:pt x="2174" y="931"/>
                    <a:pt x="2048" y="805"/>
                  </a:cubicBezTo>
                  <a:lnTo>
                    <a:pt x="1355" y="112"/>
                  </a:lnTo>
                  <a:cubicBezTo>
                    <a:pt x="1292" y="81"/>
                    <a:pt x="1261" y="81"/>
                    <a:pt x="1229" y="18"/>
                  </a:cubicBezTo>
                  <a:cubicBezTo>
                    <a:pt x="1187" y="7"/>
                    <a:pt x="1142" y="0"/>
                    <a:pt x="1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72"/>
            <p:cNvSpPr/>
            <p:nvPr/>
          </p:nvSpPr>
          <p:spPr>
            <a:xfrm>
              <a:off x="2219775" y="3375350"/>
              <a:ext cx="89025" cy="85875"/>
            </a:xfrm>
            <a:custGeom>
              <a:avLst/>
              <a:gdLst/>
              <a:ahLst/>
              <a:cxnLst/>
              <a:rect l="l" t="t" r="r" b="b"/>
              <a:pathLst>
                <a:path w="3561" h="3435" extrusionOk="0">
                  <a:moveTo>
                    <a:pt x="1796" y="0"/>
                  </a:moveTo>
                  <a:cubicBezTo>
                    <a:pt x="788" y="0"/>
                    <a:pt x="0" y="788"/>
                    <a:pt x="0" y="1733"/>
                  </a:cubicBezTo>
                  <a:cubicBezTo>
                    <a:pt x="0" y="2647"/>
                    <a:pt x="788" y="3434"/>
                    <a:pt x="1796" y="3434"/>
                  </a:cubicBezTo>
                  <a:cubicBezTo>
                    <a:pt x="2741" y="3434"/>
                    <a:pt x="3561" y="2647"/>
                    <a:pt x="3561" y="1733"/>
                  </a:cubicBezTo>
                  <a:cubicBezTo>
                    <a:pt x="3561" y="788"/>
                    <a:pt x="2773"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72"/>
            <p:cNvSpPr/>
            <p:nvPr/>
          </p:nvSpPr>
          <p:spPr>
            <a:xfrm>
              <a:off x="2037825" y="3339125"/>
              <a:ext cx="138650" cy="88225"/>
            </a:xfrm>
            <a:custGeom>
              <a:avLst/>
              <a:gdLst/>
              <a:ahLst/>
              <a:cxnLst/>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2"/>
            <p:cNvSpPr/>
            <p:nvPr/>
          </p:nvSpPr>
          <p:spPr>
            <a:xfrm>
              <a:off x="2193775" y="3460400"/>
              <a:ext cx="140225" cy="89825"/>
            </a:xfrm>
            <a:custGeom>
              <a:avLst/>
              <a:gdLst/>
              <a:ahLst/>
              <a:cxnLst/>
              <a:rect l="l" t="t" r="r" b="b"/>
              <a:pathLst>
                <a:path w="5609" h="3593" extrusionOk="0">
                  <a:moveTo>
                    <a:pt x="1009" y="1"/>
                  </a:moveTo>
                  <a:cubicBezTo>
                    <a:pt x="379" y="537"/>
                    <a:pt x="1" y="1261"/>
                    <a:pt x="1" y="2143"/>
                  </a:cubicBezTo>
                  <a:lnTo>
                    <a:pt x="1" y="3246"/>
                  </a:lnTo>
                  <a:cubicBezTo>
                    <a:pt x="1" y="3435"/>
                    <a:pt x="158" y="3592"/>
                    <a:pt x="347" y="3592"/>
                  </a:cubicBezTo>
                  <a:lnTo>
                    <a:pt x="5262" y="3592"/>
                  </a:lnTo>
                  <a:cubicBezTo>
                    <a:pt x="5451" y="3592"/>
                    <a:pt x="5609" y="3435"/>
                    <a:pt x="5609" y="3246"/>
                  </a:cubicBezTo>
                  <a:lnTo>
                    <a:pt x="5609" y="2143"/>
                  </a:lnTo>
                  <a:cubicBezTo>
                    <a:pt x="5577" y="1261"/>
                    <a:pt x="5199" y="537"/>
                    <a:pt x="4569" y="1"/>
                  </a:cubicBezTo>
                  <a:cubicBezTo>
                    <a:pt x="4128" y="474"/>
                    <a:pt x="3498" y="757"/>
                    <a:pt x="2773" y="757"/>
                  </a:cubicBezTo>
                  <a:cubicBezTo>
                    <a:pt x="2080" y="757"/>
                    <a:pt x="1450" y="474"/>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0" name="Google Shape;7150;p72"/>
          <p:cNvGrpSpPr/>
          <p:nvPr/>
        </p:nvGrpSpPr>
        <p:grpSpPr>
          <a:xfrm>
            <a:off x="6632072" y="1820139"/>
            <a:ext cx="353802" cy="348926"/>
            <a:chOff x="2034675" y="3617925"/>
            <a:chExt cx="299325" cy="295200"/>
          </a:xfrm>
        </p:grpSpPr>
        <p:sp>
          <p:nvSpPr>
            <p:cNvPr id="7151" name="Google Shape;7151;p72"/>
            <p:cNvSpPr/>
            <p:nvPr/>
          </p:nvSpPr>
          <p:spPr>
            <a:xfrm>
              <a:off x="2195350" y="3721900"/>
              <a:ext cx="69350" cy="33900"/>
            </a:xfrm>
            <a:custGeom>
              <a:avLst/>
              <a:gdLst/>
              <a:ahLst/>
              <a:cxnLst/>
              <a:rect l="l" t="t" r="r" b="b"/>
              <a:pathLst>
                <a:path w="2774" h="1356" extrusionOk="0">
                  <a:moveTo>
                    <a:pt x="1387" y="1"/>
                  </a:moveTo>
                  <a:cubicBezTo>
                    <a:pt x="631" y="1"/>
                    <a:pt x="1" y="631"/>
                    <a:pt x="1" y="1355"/>
                  </a:cubicBezTo>
                  <a:lnTo>
                    <a:pt x="2773" y="1355"/>
                  </a:ln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2"/>
            <p:cNvSpPr/>
            <p:nvPr/>
          </p:nvSpPr>
          <p:spPr>
            <a:xfrm>
              <a:off x="2211900" y="3669125"/>
              <a:ext cx="35475" cy="35475"/>
            </a:xfrm>
            <a:custGeom>
              <a:avLst/>
              <a:gdLst/>
              <a:ahLst/>
              <a:cxnLst/>
              <a:rect l="l" t="t" r="r" b="b"/>
              <a:pathLst>
                <a:path w="1419" h="1419" extrusionOk="0">
                  <a:moveTo>
                    <a:pt x="725" y="1"/>
                  </a:moveTo>
                  <a:cubicBezTo>
                    <a:pt x="315" y="1"/>
                    <a:pt x="0" y="316"/>
                    <a:pt x="0" y="725"/>
                  </a:cubicBezTo>
                  <a:cubicBezTo>
                    <a:pt x="0" y="1103"/>
                    <a:pt x="315" y="1418"/>
                    <a:pt x="725" y="1418"/>
                  </a:cubicBezTo>
                  <a:cubicBezTo>
                    <a:pt x="1103" y="1418"/>
                    <a:pt x="1418" y="1103"/>
                    <a:pt x="1418" y="725"/>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72"/>
            <p:cNvSpPr/>
            <p:nvPr/>
          </p:nvSpPr>
          <p:spPr>
            <a:xfrm>
              <a:off x="2125250" y="3617925"/>
              <a:ext cx="208750" cy="208750"/>
            </a:xfrm>
            <a:custGeom>
              <a:avLst/>
              <a:gdLst/>
              <a:ahLst/>
              <a:cxnLst/>
              <a:rect l="l" t="t" r="r" b="b"/>
              <a:pathLst>
                <a:path w="8350" h="8350" extrusionOk="0">
                  <a:moveTo>
                    <a:pt x="4128" y="1387"/>
                  </a:moveTo>
                  <a:cubicBezTo>
                    <a:pt x="4884" y="1387"/>
                    <a:pt x="5514" y="2017"/>
                    <a:pt x="5514" y="2773"/>
                  </a:cubicBezTo>
                  <a:cubicBezTo>
                    <a:pt x="5514" y="3120"/>
                    <a:pt x="5357" y="3466"/>
                    <a:pt x="5136" y="3718"/>
                  </a:cubicBezTo>
                  <a:cubicBezTo>
                    <a:pt x="5766" y="4065"/>
                    <a:pt x="6176" y="4727"/>
                    <a:pt x="6176" y="5514"/>
                  </a:cubicBezTo>
                  <a:lnTo>
                    <a:pt x="6176" y="5892"/>
                  </a:lnTo>
                  <a:lnTo>
                    <a:pt x="6270" y="5892"/>
                  </a:lnTo>
                  <a:cubicBezTo>
                    <a:pt x="6270" y="6081"/>
                    <a:pt x="6113" y="6239"/>
                    <a:pt x="5924" y="6239"/>
                  </a:cubicBezTo>
                  <a:lnTo>
                    <a:pt x="2458" y="6239"/>
                  </a:lnTo>
                  <a:cubicBezTo>
                    <a:pt x="2238" y="6239"/>
                    <a:pt x="2080" y="6081"/>
                    <a:pt x="2080" y="5892"/>
                  </a:cubicBezTo>
                  <a:lnTo>
                    <a:pt x="2080" y="5514"/>
                  </a:lnTo>
                  <a:cubicBezTo>
                    <a:pt x="2080" y="4727"/>
                    <a:pt x="2521" y="4065"/>
                    <a:pt x="3151" y="3718"/>
                  </a:cubicBezTo>
                  <a:cubicBezTo>
                    <a:pt x="2931" y="3466"/>
                    <a:pt x="2773" y="3120"/>
                    <a:pt x="2773" y="2773"/>
                  </a:cubicBezTo>
                  <a:cubicBezTo>
                    <a:pt x="2773" y="2017"/>
                    <a:pt x="3403" y="1387"/>
                    <a:pt x="4128" y="1387"/>
                  </a:cubicBezTo>
                  <a:close/>
                  <a:moveTo>
                    <a:pt x="4191" y="1"/>
                  </a:moveTo>
                  <a:cubicBezTo>
                    <a:pt x="1891" y="1"/>
                    <a:pt x="1" y="1860"/>
                    <a:pt x="1" y="4191"/>
                  </a:cubicBezTo>
                  <a:cubicBezTo>
                    <a:pt x="1" y="6522"/>
                    <a:pt x="1860" y="8350"/>
                    <a:pt x="4191" y="8350"/>
                  </a:cubicBezTo>
                  <a:cubicBezTo>
                    <a:pt x="6459" y="8350"/>
                    <a:pt x="8350" y="6522"/>
                    <a:pt x="8350" y="4191"/>
                  </a:cubicBezTo>
                  <a:cubicBezTo>
                    <a:pt x="8350" y="1860"/>
                    <a:pt x="6459" y="1"/>
                    <a:pt x="41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72"/>
            <p:cNvSpPr/>
            <p:nvPr/>
          </p:nvSpPr>
          <p:spPr>
            <a:xfrm>
              <a:off x="2107150" y="3771525"/>
              <a:ext cx="73275" cy="72475"/>
            </a:xfrm>
            <a:custGeom>
              <a:avLst/>
              <a:gdLst/>
              <a:ahLst/>
              <a:cxnLst/>
              <a:rect l="l" t="t" r="r" b="b"/>
              <a:pathLst>
                <a:path w="2931" h="2899" extrusionOk="0">
                  <a:moveTo>
                    <a:pt x="504" y="0"/>
                  </a:moveTo>
                  <a:lnTo>
                    <a:pt x="378" y="126"/>
                  </a:lnTo>
                  <a:cubicBezTo>
                    <a:pt x="0" y="536"/>
                    <a:pt x="0" y="1198"/>
                    <a:pt x="378" y="1576"/>
                  </a:cubicBezTo>
                  <a:lnTo>
                    <a:pt x="1355" y="2584"/>
                  </a:lnTo>
                  <a:cubicBezTo>
                    <a:pt x="1576" y="2773"/>
                    <a:pt x="1828" y="2899"/>
                    <a:pt x="2111" y="2899"/>
                  </a:cubicBezTo>
                  <a:cubicBezTo>
                    <a:pt x="2395" y="2899"/>
                    <a:pt x="2678" y="2773"/>
                    <a:pt x="2867" y="2584"/>
                  </a:cubicBezTo>
                  <a:lnTo>
                    <a:pt x="2930" y="2458"/>
                  </a:lnTo>
                  <a:cubicBezTo>
                    <a:pt x="1828" y="1985"/>
                    <a:pt x="977" y="1071"/>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2"/>
            <p:cNvSpPr/>
            <p:nvPr/>
          </p:nvSpPr>
          <p:spPr>
            <a:xfrm>
              <a:off x="2034675" y="3816425"/>
              <a:ext cx="100050" cy="96700"/>
            </a:xfrm>
            <a:custGeom>
              <a:avLst/>
              <a:gdLst/>
              <a:ahLst/>
              <a:cxnLst/>
              <a:rect l="l" t="t" r="r" b="b"/>
              <a:pathLst>
                <a:path w="4002" h="3868" extrusionOk="0">
                  <a:moveTo>
                    <a:pt x="2521" y="0"/>
                  </a:moveTo>
                  <a:lnTo>
                    <a:pt x="410" y="2111"/>
                  </a:lnTo>
                  <a:cubicBezTo>
                    <a:pt x="1" y="2520"/>
                    <a:pt x="1" y="3182"/>
                    <a:pt x="410" y="3560"/>
                  </a:cubicBezTo>
                  <a:cubicBezTo>
                    <a:pt x="599" y="3765"/>
                    <a:pt x="867" y="3867"/>
                    <a:pt x="1135" y="3867"/>
                  </a:cubicBezTo>
                  <a:cubicBezTo>
                    <a:pt x="1403" y="3867"/>
                    <a:pt x="1671" y="3765"/>
                    <a:pt x="1860" y="3560"/>
                  </a:cubicBezTo>
                  <a:lnTo>
                    <a:pt x="4002" y="1449"/>
                  </a:lnTo>
                  <a:cubicBezTo>
                    <a:pt x="3907" y="1418"/>
                    <a:pt x="3844" y="1323"/>
                    <a:pt x="3750" y="1260"/>
                  </a:cubicBezTo>
                  <a:lnTo>
                    <a:pt x="2773" y="252"/>
                  </a:lnTo>
                  <a:cubicBezTo>
                    <a:pt x="2679" y="189"/>
                    <a:pt x="2616" y="95"/>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6" name="Google Shape;7156;p72"/>
          <p:cNvGrpSpPr/>
          <p:nvPr/>
        </p:nvGrpSpPr>
        <p:grpSpPr>
          <a:xfrm>
            <a:off x="6633934" y="2266516"/>
            <a:ext cx="350079" cy="349133"/>
            <a:chOff x="2037825" y="3981825"/>
            <a:chExt cx="296175" cy="295375"/>
          </a:xfrm>
        </p:grpSpPr>
        <p:sp>
          <p:nvSpPr>
            <p:cNvPr id="7157" name="Google Shape;7157;p72"/>
            <p:cNvSpPr/>
            <p:nvPr/>
          </p:nvSpPr>
          <p:spPr>
            <a:xfrm>
              <a:off x="2072500" y="4085775"/>
              <a:ext cx="88225" cy="86675"/>
            </a:xfrm>
            <a:custGeom>
              <a:avLst/>
              <a:gdLst/>
              <a:ahLst/>
              <a:cxnLst/>
              <a:rect l="l" t="t" r="r" b="b"/>
              <a:pathLst>
                <a:path w="3529" h="3467" extrusionOk="0">
                  <a:moveTo>
                    <a:pt x="1764" y="1"/>
                  </a:moveTo>
                  <a:cubicBezTo>
                    <a:pt x="819" y="1"/>
                    <a:pt x="0" y="788"/>
                    <a:pt x="0" y="1734"/>
                  </a:cubicBezTo>
                  <a:cubicBezTo>
                    <a:pt x="0" y="2679"/>
                    <a:pt x="819" y="3466"/>
                    <a:pt x="1764" y="3466"/>
                  </a:cubicBezTo>
                  <a:cubicBezTo>
                    <a:pt x="2709" y="3466"/>
                    <a:pt x="3529" y="2679"/>
                    <a:pt x="3529" y="1734"/>
                  </a:cubicBezTo>
                  <a:cubicBezTo>
                    <a:pt x="3529" y="788"/>
                    <a:pt x="2741"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2"/>
            <p:cNvSpPr/>
            <p:nvPr/>
          </p:nvSpPr>
          <p:spPr>
            <a:xfrm>
              <a:off x="2176450" y="3981825"/>
              <a:ext cx="157550" cy="155975"/>
            </a:xfrm>
            <a:custGeom>
              <a:avLst/>
              <a:gdLst/>
              <a:ahLst/>
              <a:cxnLst/>
              <a:rect l="l" t="t" r="r" b="b"/>
              <a:pathLst>
                <a:path w="6302" h="6239" extrusionOk="0">
                  <a:moveTo>
                    <a:pt x="3151" y="1733"/>
                  </a:moveTo>
                  <a:cubicBezTo>
                    <a:pt x="3372" y="1733"/>
                    <a:pt x="3529" y="1890"/>
                    <a:pt x="3529" y="2079"/>
                  </a:cubicBezTo>
                  <a:cubicBezTo>
                    <a:pt x="3529" y="2268"/>
                    <a:pt x="3372" y="2426"/>
                    <a:pt x="3151" y="2426"/>
                  </a:cubicBezTo>
                  <a:cubicBezTo>
                    <a:pt x="2962" y="2426"/>
                    <a:pt x="2805" y="2268"/>
                    <a:pt x="2805" y="2079"/>
                  </a:cubicBezTo>
                  <a:cubicBezTo>
                    <a:pt x="2805" y="1890"/>
                    <a:pt x="2962" y="1733"/>
                    <a:pt x="3151" y="1733"/>
                  </a:cubicBezTo>
                  <a:close/>
                  <a:moveTo>
                    <a:pt x="3151" y="2773"/>
                  </a:moveTo>
                  <a:cubicBezTo>
                    <a:pt x="3372" y="2773"/>
                    <a:pt x="3529" y="2930"/>
                    <a:pt x="3529" y="3151"/>
                  </a:cubicBezTo>
                  <a:lnTo>
                    <a:pt x="3529" y="4505"/>
                  </a:lnTo>
                  <a:cubicBezTo>
                    <a:pt x="3529" y="4726"/>
                    <a:pt x="3372" y="4883"/>
                    <a:pt x="3151" y="4883"/>
                  </a:cubicBezTo>
                  <a:cubicBezTo>
                    <a:pt x="2962" y="4883"/>
                    <a:pt x="2805" y="4726"/>
                    <a:pt x="2805" y="4505"/>
                  </a:cubicBezTo>
                  <a:lnTo>
                    <a:pt x="2805" y="3151"/>
                  </a:lnTo>
                  <a:cubicBezTo>
                    <a:pt x="2805" y="2930"/>
                    <a:pt x="2962" y="2773"/>
                    <a:pt x="3151" y="2773"/>
                  </a:cubicBezTo>
                  <a:close/>
                  <a:moveTo>
                    <a:pt x="3151" y="0"/>
                  </a:moveTo>
                  <a:cubicBezTo>
                    <a:pt x="1418" y="0"/>
                    <a:pt x="64" y="1418"/>
                    <a:pt x="64" y="3088"/>
                  </a:cubicBezTo>
                  <a:cubicBezTo>
                    <a:pt x="64" y="3655"/>
                    <a:pt x="158" y="4159"/>
                    <a:pt x="442" y="4631"/>
                  </a:cubicBezTo>
                  <a:lnTo>
                    <a:pt x="64" y="5765"/>
                  </a:lnTo>
                  <a:cubicBezTo>
                    <a:pt x="1" y="5892"/>
                    <a:pt x="64" y="6018"/>
                    <a:pt x="127" y="6112"/>
                  </a:cubicBezTo>
                  <a:cubicBezTo>
                    <a:pt x="190" y="6207"/>
                    <a:pt x="379" y="6238"/>
                    <a:pt x="473" y="6238"/>
                  </a:cubicBezTo>
                  <a:lnTo>
                    <a:pt x="1796" y="5923"/>
                  </a:lnTo>
                  <a:cubicBezTo>
                    <a:pt x="2206" y="6175"/>
                    <a:pt x="2679" y="6238"/>
                    <a:pt x="3214" y="6238"/>
                  </a:cubicBezTo>
                  <a:cubicBezTo>
                    <a:pt x="4947" y="6238"/>
                    <a:pt x="6302" y="4820"/>
                    <a:pt x="6302" y="3119"/>
                  </a:cubicBezTo>
                  <a:cubicBezTo>
                    <a:pt x="6270" y="1418"/>
                    <a:pt x="488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72"/>
            <p:cNvSpPr/>
            <p:nvPr/>
          </p:nvSpPr>
          <p:spPr>
            <a:xfrm>
              <a:off x="2037825" y="4168475"/>
              <a:ext cx="157550" cy="108725"/>
            </a:xfrm>
            <a:custGeom>
              <a:avLst/>
              <a:gdLst/>
              <a:ahLst/>
              <a:cxnLst/>
              <a:rect l="l" t="t" r="r" b="b"/>
              <a:pathLst>
                <a:path w="6302" h="4349" extrusionOk="0">
                  <a:moveTo>
                    <a:pt x="1356" y="1"/>
                  </a:moveTo>
                  <a:cubicBezTo>
                    <a:pt x="568" y="568"/>
                    <a:pt x="1" y="1513"/>
                    <a:pt x="1" y="2553"/>
                  </a:cubicBezTo>
                  <a:lnTo>
                    <a:pt x="1" y="3970"/>
                  </a:lnTo>
                  <a:cubicBezTo>
                    <a:pt x="1" y="4222"/>
                    <a:pt x="158" y="4348"/>
                    <a:pt x="347" y="4348"/>
                  </a:cubicBezTo>
                  <a:lnTo>
                    <a:pt x="5955" y="4348"/>
                  </a:lnTo>
                  <a:cubicBezTo>
                    <a:pt x="6144" y="4348"/>
                    <a:pt x="6302" y="4191"/>
                    <a:pt x="6302" y="3970"/>
                  </a:cubicBezTo>
                  <a:lnTo>
                    <a:pt x="6302" y="2553"/>
                  </a:lnTo>
                  <a:cubicBezTo>
                    <a:pt x="6302" y="1513"/>
                    <a:pt x="5798" y="599"/>
                    <a:pt x="4947" y="1"/>
                  </a:cubicBezTo>
                  <a:cubicBezTo>
                    <a:pt x="4538" y="505"/>
                    <a:pt x="3844" y="820"/>
                    <a:pt x="3151" y="820"/>
                  </a:cubicBezTo>
                  <a:cubicBezTo>
                    <a:pt x="2427" y="820"/>
                    <a:pt x="1765" y="505"/>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0" name="Google Shape;7160;p72"/>
          <p:cNvGrpSpPr/>
          <p:nvPr/>
        </p:nvGrpSpPr>
        <p:grpSpPr>
          <a:xfrm>
            <a:off x="5318952" y="2762832"/>
            <a:ext cx="350079" cy="285837"/>
            <a:chOff x="3860400" y="3254050"/>
            <a:chExt cx="296175" cy="241825"/>
          </a:xfrm>
        </p:grpSpPr>
        <p:sp>
          <p:nvSpPr>
            <p:cNvPr id="7161" name="Google Shape;7161;p72"/>
            <p:cNvSpPr/>
            <p:nvPr/>
          </p:nvSpPr>
          <p:spPr>
            <a:xfrm>
              <a:off x="4112425" y="3358025"/>
              <a:ext cx="44150" cy="18125"/>
            </a:xfrm>
            <a:custGeom>
              <a:avLst/>
              <a:gdLst/>
              <a:ahLst/>
              <a:cxnLst/>
              <a:rect l="l" t="t" r="r" b="b"/>
              <a:pathLst>
                <a:path w="1766" h="725" extrusionOk="0">
                  <a:moveTo>
                    <a:pt x="347" y="0"/>
                  </a:moveTo>
                  <a:cubicBezTo>
                    <a:pt x="158" y="0"/>
                    <a:pt x="1" y="158"/>
                    <a:pt x="1" y="378"/>
                  </a:cubicBezTo>
                  <a:cubicBezTo>
                    <a:pt x="1" y="567"/>
                    <a:pt x="158" y="725"/>
                    <a:pt x="347" y="725"/>
                  </a:cubicBezTo>
                  <a:lnTo>
                    <a:pt x="1419" y="725"/>
                  </a:lnTo>
                  <a:cubicBezTo>
                    <a:pt x="1608" y="725"/>
                    <a:pt x="1765" y="567"/>
                    <a:pt x="1765" y="378"/>
                  </a:cubicBezTo>
                  <a:cubicBezTo>
                    <a:pt x="1734"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72"/>
            <p:cNvSpPr/>
            <p:nvPr/>
          </p:nvSpPr>
          <p:spPr>
            <a:xfrm>
              <a:off x="4102200" y="3393475"/>
              <a:ext cx="37050" cy="33875"/>
            </a:xfrm>
            <a:custGeom>
              <a:avLst/>
              <a:gdLst/>
              <a:ahLst/>
              <a:cxnLst/>
              <a:rect l="l" t="t" r="r" b="b"/>
              <a:pathLst>
                <a:path w="1482" h="1355" extrusionOk="0">
                  <a:moveTo>
                    <a:pt x="394" y="0"/>
                  </a:moveTo>
                  <a:cubicBezTo>
                    <a:pt x="308" y="0"/>
                    <a:pt x="221" y="32"/>
                    <a:pt x="158" y="95"/>
                  </a:cubicBezTo>
                  <a:cubicBezTo>
                    <a:pt x="0" y="221"/>
                    <a:pt x="0" y="410"/>
                    <a:pt x="158" y="567"/>
                  </a:cubicBezTo>
                  <a:lnTo>
                    <a:pt x="882" y="1260"/>
                  </a:lnTo>
                  <a:cubicBezTo>
                    <a:pt x="945" y="1323"/>
                    <a:pt x="1032" y="1355"/>
                    <a:pt x="1119" y="1355"/>
                  </a:cubicBezTo>
                  <a:cubicBezTo>
                    <a:pt x="1205" y="1355"/>
                    <a:pt x="1292" y="1323"/>
                    <a:pt x="1355" y="1260"/>
                  </a:cubicBezTo>
                  <a:cubicBezTo>
                    <a:pt x="1481" y="1134"/>
                    <a:pt x="1481" y="914"/>
                    <a:pt x="1355" y="788"/>
                  </a:cubicBezTo>
                  <a:lnTo>
                    <a:pt x="630" y="95"/>
                  </a:lnTo>
                  <a:cubicBezTo>
                    <a:pt x="567" y="32"/>
                    <a:pt x="481" y="0"/>
                    <a:pt x="3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72"/>
            <p:cNvSpPr/>
            <p:nvPr/>
          </p:nvSpPr>
          <p:spPr>
            <a:xfrm>
              <a:off x="4103775" y="3306025"/>
              <a:ext cx="35475" cy="34500"/>
            </a:xfrm>
            <a:custGeom>
              <a:avLst/>
              <a:gdLst/>
              <a:ahLst/>
              <a:cxnLst/>
              <a:rect l="l" t="t" r="r" b="b"/>
              <a:pathLst>
                <a:path w="1419" h="1380" extrusionOk="0">
                  <a:moveTo>
                    <a:pt x="1056" y="1"/>
                  </a:moveTo>
                  <a:cubicBezTo>
                    <a:pt x="969" y="1"/>
                    <a:pt x="882" y="32"/>
                    <a:pt x="819" y="96"/>
                  </a:cubicBezTo>
                  <a:lnTo>
                    <a:pt x="95" y="789"/>
                  </a:lnTo>
                  <a:cubicBezTo>
                    <a:pt x="0" y="915"/>
                    <a:pt x="0" y="1135"/>
                    <a:pt x="95" y="1261"/>
                  </a:cubicBezTo>
                  <a:cubicBezTo>
                    <a:pt x="158" y="1340"/>
                    <a:pt x="252" y="1379"/>
                    <a:pt x="343" y="1379"/>
                  </a:cubicBezTo>
                  <a:cubicBezTo>
                    <a:pt x="434" y="1379"/>
                    <a:pt x="520" y="1340"/>
                    <a:pt x="567" y="1261"/>
                  </a:cubicBezTo>
                  <a:lnTo>
                    <a:pt x="1292" y="568"/>
                  </a:lnTo>
                  <a:cubicBezTo>
                    <a:pt x="1418" y="442"/>
                    <a:pt x="1418" y="190"/>
                    <a:pt x="1292" y="96"/>
                  </a:cubicBezTo>
                  <a:cubicBezTo>
                    <a:pt x="1229" y="32"/>
                    <a:pt x="1142" y="1"/>
                    <a:pt x="1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2"/>
            <p:cNvSpPr/>
            <p:nvPr/>
          </p:nvSpPr>
          <p:spPr>
            <a:xfrm>
              <a:off x="3860400" y="3306025"/>
              <a:ext cx="105550" cy="104800"/>
            </a:xfrm>
            <a:custGeom>
              <a:avLst/>
              <a:gdLst/>
              <a:ahLst/>
              <a:cxnLst/>
              <a:rect l="l" t="t" r="r" b="b"/>
              <a:pathLst>
                <a:path w="4222" h="4192" extrusionOk="0">
                  <a:moveTo>
                    <a:pt x="2489" y="1"/>
                  </a:moveTo>
                  <a:cubicBezTo>
                    <a:pt x="2048" y="1"/>
                    <a:pt x="1639" y="285"/>
                    <a:pt x="1481" y="726"/>
                  </a:cubicBezTo>
                  <a:lnTo>
                    <a:pt x="1418" y="726"/>
                  </a:lnTo>
                  <a:cubicBezTo>
                    <a:pt x="662" y="726"/>
                    <a:pt x="0" y="1356"/>
                    <a:pt x="0" y="2080"/>
                  </a:cubicBezTo>
                  <a:cubicBezTo>
                    <a:pt x="0" y="2836"/>
                    <a:pt x="630" y="3467"/>
                    <a:pt x="1418" y="3467"/>
                  </a:cubicBezTo>
                  <a:lnTo>
                    <a:pt x="1481" y="3467"/>
                  </a:lnTo>
                  <a:cubicBezTo>
                    <a:pt x="1639" y="3845"/>
                    <a:pt x="2017" y="4191"/>
                    <a:pt x="2489" y="4191"/>
                  </a:cubicBezTo>
                  <a:lnTo>
                    <a:pt x="4222" y="4191"/>
                  </a:lnTo>
                  <a:lnTo>
                    <a:pt x="42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72"/>
            <p:cNvSpPr/>
            <p:nvPr/>
          </p:nvSpPr>
          <p:spPr>
            <a:xfrm>
              <a:off x="4050225" y="3254050"/>
              <a:ext cx="35450" cy="208750"/>
            </a:xfrm>
            <a:custGeom>
              <a:avLst/>
              <a:gdLst/>
              <a:ahLst/>
              <a:cxnLst/>
              <a:rect l="l" t="t" r="r" b="b"/>
              <a:pathLst>
                <a:path w="1418" h="8350" extrusionOk="0">
                  <a:moveTo>
                    <a:pt x="725" y="1"/>
                  </a:moveTo>
                  <a:cubicBezTo>
                    <a:pt x="315" y="1"/>
                    <a:pt x="0" y="316"/>
                    <a:pt x="0" y="694"/>
                  </a:cubicBezTo>
                  <a:lnTo>
                    <a:pt x="0" y="7625"/>
                  </a:lnTo>
                  <a:cubicBezTo>
                    <a:pt x="0" y="8034"/>
                    <a:pt x="315" y="8349"/>
                    <a:pt x="725" y="8349"/>
                  </a:cubicBezTo>
                  <a:cubicBezTo>
                    <a:pt x="1134" y="8286"/>
                    <a:pt x="1418" y="8003"/>
                    <a:pt x="1418" y="7625"/>
                  </a:cubicBezTo>
                  <a:lnTo>
                    <a:pt x="1418" y="694"/>
                  </a:ln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72"/>
            <p:cNvSpPr/>
            <p:nvPr/>
          </p:nvSpPr>
          <p:spPr>
            <a:xfrm>
              <a:off x="3912375" y="3426550"/>
              <a:ext cx="51225" cy="69325"/>
            </a:xfrm>
            <a:custGeom>
              <a:avLst/>
              <a:gdLst/>
              <a:ahLst/>
              <a:cxnLst/>
              <a:rect l="l" t="t" r="r" b="b"/>
              <a:pathLst>
                <a:path w="2049" h="2773" extrusionOk="0">
                  <a:moveTo>
                    <a:pt x="1" y="0"/>
                  </a:moveTo>
                  <a:lnTo>
                    <a:pt x="1" y="1764"/>
                  </a:lnTo>
                  <a:cubicBezTo>
                    <a:pt x="1" y="2363"/>
                    <a:pt x="473" y="2773"/>
                    <a:pt x="1040" y="2773"/>
                  </a:cubicBezTo>
                  <a:cubicBezTo>
                    <a:pt x="1607" y="2773"/>
                    <a:pt x="2048" y="2300"/>
                    <a:pt x="2048" y="1764"/>
                  </a:cubicBezTo>
                  <a:lnTo>
                    <a:pt x="2048" y="32"/>
                  </a:lnTo>
                  <a:lnTo>
                    <a:pt x="316"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2"/>
            <p:cNvSpPr/>
            <p:nvPr/>
          </p:nvSpPr>
          <p:spPr>
            <a:xfrm>
              <a:off x="3982475" y="3275325"/>
              <a:ext cx="52000" cy="163850"/>
            </a:xfrm>
            <a:custGeom>
              <a:avLst/>
              <a:gdLst/>
              <a:ahLst/>
              <a:cxnLst/>
              <a:rect l="l" t="t" r="r" b="b"/>
              <a:pathLst>
                <a:path w="2080" h="6554" extrusionOk="0">
                  <a:moveTo>
                    <a:pt x="2080" y="0"/>
                  </a:moveTo>
                  <a:lnTo>
                    <a:pt x="1765" y="315"/>
                  </a:lnTo>
                  <a:cubicBezTo>
                    <a:pt x="1292" y="788"/>
                    <a:pt x="662" y="1071"/>
                    <a:pt x="1" y="1166"/>
                  </a:cubicBezTo>
                  <a:lnTo>
                    <a:pt x="1" y="5419"/>
                  </a:lnTo>
                  <a:cubicBezTo>
                    <a:pt x="662" y="5482"/>
                    <a:pt x="1292" y="5766"/>
                    <a:pt x="1765" y="6238"/>
                  </a:cubicBezTo>
                  <a:lnTo>
                    <a:pt x="2080" y="6553"/>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8" name="Google Shape;7168;p72"/>
          <p:cNvGrpSpPr/>
          <p:nvPr/>
        </p:nvGrpSpPr>
        <p:grpSpPr>
          <a:xfrm>
            <a:off x="5318479" y="3178702"/>
            <a:ext cx="351024" cy="350079"/>
            <a:chOff x="3859600" y="3591950"/>
            <a:chExt cx="296975" cy="296175"/>
          </a:xfrm>
        </p:grpSpPr>
        <p:sp>
          <p:nvSpPr>
            <p:cNvPr id="7169" name="Google Shape;7169;p72"/>
            <p:cNvSpPr/>
            <p:nvPr/>
          </p:nvSpPr>
          <p:spPr>
            <a:xfrm>
              <a:off x="4034450" y="3766000"/>
              <a:ext cx="122125" cy="122125"/>
            </a:xfrm>
            <a:custGeom>
              <a:avLst/>
              <a:gdLst/>
              <a:ahLst/>
              <a:cxnLst/>
              <a:rect l="l" t="t" r="r" b="b"/>
              <a:pathLst>
                <a:path w="4885" h="4885" extrusionOk="0">
                  <a:moveTo>
                    <a:pt x="2395" y="1324"/>
                  </a:moveTo>
                  <a:cubicBezTo>
                    <a:pt x="2616" y="1324"/>
                    <a:pt x="2773" y="1482"/>
                    <a:pt x="2773" y="1702"/>
                  </a:cubicBezTo>
                  <a:lnTo>
                    <a:pt x="2773" y="2049"/>
                  </a:lnTo>
                  <a:lnTo>
                    <a:pt x="3120" y="2049"/>
                  </a:lnTo>
                  <a:cubicBezTo>
                    <a:pt x="3309" y="2049"/>
                    <a:pt x="3466" y="2206"/>
                    <a:pt x="3466" y="2395"/>
                  </a:cubicBezTo>
                  <a:cubicBezTo>
                    <a:pt x="3466" y="2584"/>
                    <a:pt x="3309" y="2742"/>
                    <a:pt x="3120" y="2742"/>
                  </a:cubicBezTo>
                  <a:lnTo>
                    <a:pt x="2395" y="2742"/>
                  </a:lnTo>
                  <a:cubicBezTo>
                    <a:pt x="2206" y="2742"/>
                    <a:pt x="2049" y="2584"/>
                    <a:pt x="2049" y="2395"/>
                  </a:cubicBezTo>
                  <a:lnTo>
                    <a:pt x="2049" y="1702"/>
                  </a:lnTo>
                  <a:cubicBezTo>
                    <a:pt x="2049" y="1482"/>
                    <a:pt x="2206" y="1324"/>
                    <a:pt x="2395" y="1324"/>
                  </a:cubicBezTo>
                  <a:close/>
                  <a:moveTo>
                    <a:pt x="2458" y="1"/>
                  </a:moveTo>
                  <a:cubicBezTo>
                    <a:pt x="1104" y="1"/>
                    <a:pt x="1" y="1103"/>
                    <a:pt x="1" y="2427"/>
                  </a:cubicBezTo>
                  <a:cubicBezTo>
                    <a:pt x="1" y="3781"/>
                    <a:pt x="1104" y="4884"/>
                    <a:pt x="2458" y="4884"/>
                  </a:cubicBezTo>
                  <a:cubicBezTo>
                    <a:pt x="3782" y="4884"/>
                    <a:pt x="4884" y="3781"/>
                    <a:pt x="4884" y="2427"/>
                  </a:cubicBezTo>
                  <a:cubicBezTo>
                    <a:pt x="4853" y="1072"/>
                    <a:pt x="3782"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2"/>
            <p:cNvSpPr/>
            <p:nvPr/>
          </p:nvSpPr>
          <p:spPr>
            <a:xfrm>
              <a:off x="3860400" y="3679375"/>
              <a:ext cx="260725" cy="173300"/>
            </a:xfrm>
            <a:custGeom>
              <a:avLst/>
              <a:gdLst/>
              <a:ahLst/>
              <a:cxnLst/>
              <a:rect l="l" t="t" r="r" b="b"/>
              <a:pathLst>
                <a:path w="10429" h="6932" extrusionOk="0">
                  <a:moveTo>
                    <a:pt x="2426" y="662"/>
                  </a:moveTo>
                  <a:cubicBezTo>
                    <a:pt x="2647" y="662"/>
                    <a:pt x="2804" y="819"/>
                    <a:pt x="2804" y="1008"/>
                  </a:cubicBezTo>
                  <a:cubicBezTo>
                    <a:pt x="2804" y="1197"/>
                    <a:pt x="2647" y="1355"/>
                    <a:pt x="2426" y="1355"/>
                  </a:cubicBezTo>
                  <a:lnTo>
                    <a:pt x="1733" y="1355"/>
                  </a:lnTo>
                  <a:cubicBezTo>
                    <a:pt x="1544" y="1355"/>
                    <a:pt x="1387" y="1197"/>
                    <a:pt x="1387" y="1008"/>
                  </a:cubicBezTo>
                  <a:cubicBezTo>
                    <a:pt x="1387" y="819"/>
                    <a:pt x="1544" y="662"/>
                    <a:pt x="1733" y="662"/>
                  </a:cubicBezTo>
                  <a:close/>
                  <a:moveTo>
                    <a:pt x="4537" y="662"/>
                  </a:moveTo>
                  <a:cubicBezTo>
                    <a:pt x="4726" y="662"/>
                    <a:pt x="4884" y="819"/>
                    <a:pt x="4884" y="1008"/>
                  </a:cubicBezTo>
                  <a:cubicBezTo>
                    <a:pt x="4884" y="1197"/>
                    <a:pt x="4695" y="1355"/>
                    <a:pt x="4537" y="1355"/>
                  </a:cubicBezTo>
                  <a:lnTo>
                    <a:pt x="3812" y="1355"/>
                  </a:lnTo>
                  <a:cubicBezTo>
                    <a:pt x="3623" y="1355"/>
                    <a:pt x="3466" y="1197"/>
                    <a:pt x="3466" y="1008"/>
                  </a:cubicBezTo>
                  <a:cubicBezTo>
                    <a:pt x="3466" y="819"/>
                    <a:pt x="3623" y="662"/>
                    <a:pt x="3812" y="662"/>
                  </a:cubicBezTo>
                  <a:close/>
                  <a:moveTo>
                    <a:pt x="6648" y="662"/>
                  </a:moveTo>
                  <a:cubicBezTo>
                    <a:pt x="6837" y="662"/>
                    <a:pt x="6994" y="819"/>
                    <a:pt x="6994" y="1008"/>
                  </a:cubicBezTo>
                  <a:cubicBezTo>
                    <a:pt x="6994" y="1197"/>
                    <a:pt x="6837" y="1355"/>
                    <a:pt x="6648" y="1355"/>
                  </a:cubicBezTo>
                  <a:lnTo>
                    <a:pt x="5955" y="1355"/>
                  </a:lnTo>
                  <a:cubicBezTo>
                    <a:pt x="5734" y="1355"/>
                    <a:pt x="5577" y="1197"/>
                    <a:pt x="5577" y="1008"/>
                  </a:cubicBezTo>
                  <a:cubicBezTo>
                    <a:pt x="5577" y="819"/>
                    <a:pt x="5734" y="662"/>
                    <a:pt x="5955" y="662"/>
                  </a:cubicBezTo>
                  <a:close/>
                  <a:moveTo>
                    <a:pt x="8727" y="662"/>
                  </a:moveTo>
                  <a:cubicBezTo>
                    <a:pt x="8948" y="662"/>
                    <a:pt x="9105" y="819"/>
                    <a:pt x="9105" y="1008"/>
                  </a:cubicBezTo>
                  <a:cubicBezTo>
                    <a:pt x="9105" y="1197"/>
                    <a:pt x="8948" y="1355"/>
                    <a:pt x="8727" y="1355"/>
                  </a:cubicBezTo>
                  <a:lnTo>
                    <a:pt x="8034" y="1355"/>
                  </a:lnTo>
                  <a:cubicBezTo>
                    <a:pt x="7845" y="1355"/>
                    <a:pt x="7688" y="1197"/>
                    <a:pt x="7688" y="1008"/>
                  </a:cubicBezTo>
                  <a:cubicBezTo>
                    <a:pt x="7688" y="819"/>
                    <a:pt x="7845" y="662"/>
                    <a:pt x="8034" y="662"/>
                  </a:cubicBezTo>
                  <a:close/>
                  <a:moveTo>
                    <a:pt x="2426" y="2080"/>
                  </a:moveTo>
                  <a:cubicBezTo>
                    <a:pt x="2647" y="2080"/>
                    <a:pt x="2804" y="2237"/>
                    <a:pt x="2804" y="2426"/>
                  </a:cubicBezTo>
                  <a:cubicBezTo>
                    <a:pt x="2804" y="2647"/>
                    <a:pt x="2647" y="2773"/>
                    <a:pt x="2426" y="2773"/>
                  </a:cubicBezTo>
                  <a:lnTo>
                    <a:pt x="1733" y="2773"/>
                  </a:lnTo>
                  <a:cubicBezTo>
                    <a:pt x="1544" y="2773"/>
                    <a:pt x="1387" y="2647"/>
                    <a:pt x="1387" y="2426"/>
                  </a:cubicBezTo>
                  <a:cubicBezTo>
                    <a:pt x="1387" y="2206"/>
                    <a:pt x="1544" y="2080"/>
                    <a:pt x="1733" y="2080"/>
                  </a:cubicBezTo>
                  <a:close/>
                  <a:moveTo>
                    <a:pt x="4537" y="2080"/>
                  </a:moveTo>
                  <a:cubicBezTo>
                    <a:pt x="4726" y="2080"/>
                    <a:pt x="4884" y="2237"/>
                    <a:pt x="4884" y="2426"/>
                  </a:cubicBezTo>
                  <a:cubicBezTo>
                    <a:pt x="4884" y="2647"/>
                    <a:pt x="4695" y="2773"/>
                    <a:pt x="4537" y="2773"/>
                  </a:cubicBezTo>
                  <a:lnTo>
                    <a:pt x="3812" y="2773"/>
                  </a:lnTo>
                  <a:cubicBezTo>
                    <a:pt x="3623" y="2773"/>
                    <a:pt x="3466" y="2647"/>
                    <a:pt x="3466" y="2426"/>
                  </a:cubicBezTo>
                  <a:cubicBezTo>
                    <a:pt x="3466" y="2206"/>
                    <a:pt x="3623" y="2080"/>
                    <a:pt x="3812" y="2080"/>
                  </a:cubicBezTo>
                  <a:close/>
                  <a:moveTo>
                    <a:pt x="6648" y="2080"/>
                  </a:moveTo>
                  <a:cubicBezTo>
                    <a:pt x="6837" y="2080"/>
                    <a:pt x="6994" y="2237"/>
                    <a:pt x="6994" y="2426"/>
                  </a:cubicBezTo>
                  <a:cubicBezTo>
                    <a:pt x="6994" y="2647"/>
                    <a:pt x="6837" y="2773"/>
                    <a:pt x="6648" y="2773"/>
                  </a:cubicBezTo>
                  <a:lnTo>
                    <a:pt x="5955" y="2773"/>
                  </a:lnTo>
                  <a:cubicBezTo>
                    <a:pt x="5734" y="2773"/>
                    <a:pt x="5577" y="2647"/>
                    <a:pt x="5577" y="2426"/>
                  </a:cubicBezTo>
                  <a:cubicBezTo>
                    <a:pt x="5577" y="2206"/>
                    <a:pt x="5734" y="2080"/>
                    <a:pt x="5955" y="2080"/>
                  </a:cubicBezTo>
                  <a:close/>
                  <a:moveTo>
                    <a:pt x="8727" y="2080"/>
                  </a:moveTo>
                  <a:cubicBezTo>
                    <a:pt x="8948" y="2080"/>
                    <a:pt x="9105" y="2237"/>
                    <a:pt x="9105" y="2426"/>
                  </a:cubicBezTo>
                  <a:cubicBezTo>
                    <a:pt x="9105" y="2647"/>
                    <a:pt x="8948" y="2773"/>
                    <a:pt x="8727" y="2773"/>
                  </a:cubicBezTo>
                  <a:lnTo>
                    <a:pt x="8034" y="2773"/>
                  </a:lnTo>
                  <a:cubicBezTo>
                    <a:pt x="7845" y="2773"/>
                    <a:pt x="7688" y="2647"/>
                    <a:pt x="7688" y="2426"/>
                  </a:cubicBezTo>
                  <a:cubicBezTo>
                    <a:pt x="7688" y="2206"/>
                    <a:pt x="7845" y="2080"/>
                    <a:pt x="8034" y="2080"/>
                  </a:cubicBezTo>
                  <a:close/>
                  <a:moveTo>
                    <a:pt x="2426" y="3466"/>
                  </a:moveTo>
                  <a:cubicBezTo>
                    <a:pt x="2647" y="3466"/>
                    <a:pt x="2804" y="3623"/>
                    <a:pt x="2804" y="3812"/>
                  </a:cubicBezTo>
                  <a:cubicBezTo>
                    <a:pt x="2804" y="4001"/>
                    <a:pt x="2647" y="4159"/>
                    <a:pt x="2426" y="4159"/>
                  </a:cubicBezTo>
                  <a:lnTo>
                    <a:pt x="1733" y="4159"/>
                  </a:lnTo>
                  <a:cubicBezTo>
                    <a:pt x="1544" y="4159"/>
                    <a:pt x="1387" y="4001"/>
                    <a:pt x="1387" y="3812"/>
                  </a:cubicBezTo>
                  <a:cubicBezTo>
                    <a:pt x="1387" y="3623"/>
                    <a:pt x="1544" y="3466"/>
                    <a:pt x="1733" y="3466"/>
                  </a:cubicBezTo>
                  <a:close/>
                  <a:moveTo>
                    <a:pt x="4537" y="3466"/>
                  </a:moveTo>
                  <a:cubicBezTo>
                    <a:pt x="4726" y="3466"/>
                    <a:pt x="4884" y="3623"/>
                    <a:pt x="4884" y="3812"/>
                  </a:cubicBezTo>
                  <a:cubicBezTo>
                    <a:pt x="4884" y="4001"/>
                    <a:pt x="4695" y="4159"/>
                    <a:pt x="4537" y="4159"/>
                  </a:cubicBezTo>
                  <a:lnTo>
                    <a:pt x="3812" y="4159"/>
                  </a:lnTo>
                  <a:cubicBezTo>
                    <a:pt x="3623" y="4159"/>
                    <a:pt x="3466" y="4001"/>
                    <a:pt x="3466" y="3812"/>
                  </a:cubicBezTo>
                  <a:cubicBezTo>
                    <a:pt x="3466" y="3623"/>
                    <a:pt x="3623" y="3466"/>
                    <a:pt x="3812" y="3466"/>
                  </a:cubicBezTo>
                  <a:close/>
                  <a:moveTo>
                    <a:pt x="6648" y="3466"/>
                  </a:moveTo>
                  <a:cubicBezTo>
                    <a:pt x="6837" y="3466"/>
                    <a:pt x="6994" y="3623"/>
                    <a:pt x="6994" y="3812"/>
                  </a:cubicBezTo>
                  <a:cubicBezTo>
                    <a:pt x="6994" y="4001"/>
                    <a:pt x="6837" y="4159"/>
                    <a:pt x="6648" y="4159"/>
                  </a:cubicBezTo>
                  <a:lnTo>
                    <a:pt x="5955" y="4159"/>
                  </a:lnTo>
                  <a:cubicBezTo>
                    <a:pt x="5734" y="4159"/>
                    <a:pt x="5577" y="4001"/>
                    <a:pt x="5577" y="3812"/>
                  </a:cubicBezTo>
                  <a:cubicBezTo>
                    <a:pt x="5577" y="3623"/>
                    <a:pt x="5734" y="3466"/>
                    <a:pt x="5955" y="3466"/>
                  </a:cubicBezTo>
                  <a:close/>
                  <a:moveTo>
                    <a:pt x="2426" y="4852"/>
                  </a:moveTo>
                  <a:cubicBezTo>
                    <a:pt x="2647" y="4852"/>
                    <a:pt x="2804" y="5010"/>
                    <a:pt x="2804" y="5199"/>
                  </a:cubicBezTo>
                  <a:cubicBezTo>
                    <a:pt x="2804" y="5388"/>
                    <a:pt x="2647" y="5545"/>
                    <a:pt x="2426" y="5545"/>
                  </a:cubicBezTo>
                  <a:lnTo>
                    <a:pt x="1733" y="5545"/>
                  </a:lnTo>
                  <a:cubicBezTo>
                    <a:pt x="1544" y="5545"/>
                    <a:pt x="1387" y="5388"/>
                    <a:pt x="1387" y="5199"/>
                  </a:cubicBezTo>
                  <a:cubicBezTo>
                    <a:pt x="1387" y="5010"/>
                    <a:pt x="1544" y="4852"/>
                    <a:pt x="1733" y="4852"/>
                  </a:cubicBezTo>
                  <a:close/>
                  <a:moveTo>
                    <a:pt x="4537" y="4852"/>
                  </a:moveTo>
                  <a:cubicBezTo>
                    <a:pt x="4726" y="4852"/>
                    <a:pt x="4884" y="5010"/>
                    <a:pt x="4884" y="5199"/>
                  </a:cubicBezTo>
                  <a:cubicBezTo>
                    <a:pt x="4884" y="5388"/>
                    <a:pt x="4695" y="5545"/>
                    <a:pt x="4537" y="5545"/>
                  </a:cubicBezTo>
                  <a:lnTo>
                    <a:pt x="3812" y="5545"/>
                  </a:lnTo>
                  <a:cubicBezTo>
                    <a:pt x="3623" y="5545"/>
                    <a:pt x="3466" y="5388"/>
                    <a:pt x="3466" y="5199"/>
                  </a:cubicBezTo>
                  <a:cubicBezTo>
                    <a:pt x="3466" y="5010"/>
                    <a:pt x="3623" y="4852"/>
                    <a:pt x="3812" y="4852"/>
                  </a:cubicBezTo>
                  <a:close/>
                  <a:moveTo>
                    <a:pt x="0" y="0"/>
                  </a:moveTo>
                  <a:lnTo>
                    <a:pt x="0" y="5892"/>
                  </a:lnTo>
                  <a:cubicBezTo>
                    <a:pt x="0" y="6459"/>
                    <a:pt x="473" y="6931"/>
                    <a:pt x="1071" y="6931"/>
                  </a:cubicBezTo>
                  <a:lnTo>
                    <a:pt x="6490" y="6931"/>
                  </a:lnTo>
                  <a:cubicBezTo>
                    <a:pt x="6364" y="6616"/>
                    <a:pt x="6301" y="6270"/>
                    <a:pt x="6301" y="5892"/>
                  </a:cubicBezTo>
                  <a:cubicBezTo>
                    <a:pt x="6301" y="5797"/>
                    <a:pt x="6333" y="5671"/>
                    <a:pt x="6333" y="5545"/>
                  </a:cubicBezTo>
                  <a:lnTo>
                    <a:pt x="5955" y="5545"/>
                  </a:lnTo>
                  <a:cubicBezTo>
                    <a:pt x="5734" y="5545"/>
                    <a:pt x="5577" y="5388"/>
                    <a:pt x="5577" y="5199"/>
                  </a:cubicBezTo>
                  <a:cubicBezTo>
                    <a:pt x="5577" y="5010"/>
                    <a:pt x="5734" y="4852"/>
                    <a:pt x="5955" y="4852"/>
                  </a:cubicBezTo>
                  <a:lnTo>
                    <a:pt x="6490" y="4852"/>
                  </a:lnTo>
                  <a:cubicBezTo>
                    <a:pt x="6931" y="3623"/>
                    <a:pt x="8066" y="2741"/>
                    <a:pt x="9420" y="2741"/>
                  </a:cubicBezTo>
                  <a:cubicBezTo>
                    <a:pt x="9767" y="2741"/>
                    <a:pt x="10113" y="2836"/>
                    <a:pt x="10428" y="2962"/>
                  </a:cubicBezTo>
                  <a:lnTo>
                    <a:pt x="104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72"/>
            <p:cNvSpPr/>
            <p:nvPr/>
          </p:nvSpPr>
          <p:spPr>
            <a:xfrm>
              <a:off x="3859600" y="3591950"/>
              <a:ext cx="261525" cy="70900"/>
            </a:xfrm>
            <a:custGeom>
              <a:avLst/>
              <a:gdLst/>
              <a:ahLst/>
              <a:cxnLst/>
              <a:rect l="l" t="t" r="r" b="b"/>
              <a:pathLst>
                <a:path w="10461" h="2836" extrusionOk="0">
                  <a:moveTo>
                    <a:pt x="1734" y="0"/>
                  </a:moveTo>
                  <a:cubicBezTo>
                    <a:pt x="1513" y="0"/>
                    <a:pt x="1356" y="158"/>
                    <a:pt x="1356" y="347"/>
                  </a:cubicBezTo>
                  <a:lnTo>
                    <a:pt x="1356" y="693"/>
                  </a:lnTo>
                  <a:lnTo>
                    <a:pt x="1009" y="693"/>
                  </a:lnTo>
                  <a:cubicBezTo>
                    <a:pt x="410" y="693"/>
                    <a:pt x="1" y="1166"/>
                    <a:pt x="1" y="1733"/>
                  </a:cubicBezTo>
                  <a:lnTo>
                    <a:pt x="1" y="2836"/>
                  </a:lnTo>
                  <a:lnTo>
                    <a:pt x="10429" y="2836"/>
                  </a:lnTo>
                  <a:lnTo>
                    <a:pt x="10429" y="1733"/>
                  </a:lnTo>
                  <a:lnTo>
                    <a:pt x="10460" y="1733"/>
                  </a:lnTo>
                  <a:cubicBezTo>
                    <a:pt x="10460" y="1134"/>
                    <a:pt x="9988" y="693"/>
                    <a:pt x="9421" y="693"/>
                  </a:cubicBezTo>
                  <a:lnTo>
                    <a:pt x="9074" y="693"/>
                  </a:lnTo>
                  <a:lnTo>
                    <a:pt x="9074" y="347"/>
                  </a:lnTo>
                  <a:cubicBezTo>
                    <a:pt x="9074" y="158"/>
                    <a:pt x="8917" y="0"/>
                    <a:pt x="8728" y="0"/>
                  </a:cubicBezTo>
                  <a:cubicBezTo>
                    <a:pt x="8539" y="0"/>
                    <a:pt x="8381" y="158"/>
                    <a:pt x="8381" y="347"/>
                  </a:cubicBezTo>
                  <a:lnTo>
                    <a:pt x="8381" y="693"/>
                  </a:lnTo>
                  <a:lnTo>
                    <a:pt x="6995" y="693"/>
                  </a:lnTo>
                  <a:lnTo>
                    <a:pt x="6995" y="347"/>
                  </a:lnTo>
                  <a:cubicBezTo>
                    <a:pt x="6995" y="158"/>
                    <a:pt x="6837" y="0"/>
                    <a:pt x="6648" y="0"/>
                  </a:cubicBezTo>
                  <a:cubicBezTo>
                    <a:pt x="6459" y="0"/>
                    <a:pt x="6302" y="158"/>
                    <a:pt x="6302" y="347"/>
                  </a:cubicBezTo>
                  <a:lnTo>
                    <a:pt x="6302" y="693"/>
                  </a:lnTo>
                  <a:lnTo>
                    <a:pt x="4159" y="693"/>
                  </a:lnTo>
                  <a:lnTo>
                    <a:pt x="4159" y="347"/>
                  </a:lnTo>
                  <a:cubicBezTo>
                    <a:pt x="4159" y="158"/>
                    <a:pt x="4002" y="0"/>
                    <a:pt x="3813" y="0"/>
                  </a:cubicBezTo>
                  <a:cubicBezTo>
                    <a:pt x="3624" y="0"/>
                    <a:pt x="3466" y="158"/>
                    <a:pt x="3466" y="347"/>
                  </a:cubicBezTo>
                  <a:lnTo>
                    <a:pt x="3466" y="693"/>
                  </a:lnTo>
                  <a:lnTo>
                    <a:pt x="2080" y="693"/>
                  </a:lnTo>
                  <a:lnTo>
                    <a:pt x="2080" y="347"/>
                  </a:ln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2" name="Google Shape;7172;p72"/>
          <p:cNvGrpSpPr/>
          <p:nvPr/>
        </p:nvGrpSpPr>
        <p:grpSpPr>
          <a:xfrm>
            <a:off x="5318952" y="3654786"/>
            <a:ext cx="350079" cy="350079"/>
            <a:chOff x="3860400" y="3955025"/>
            <a:chExt cx="296175" cy="296175"/>
          </a:xfrm>
        </p:grpSpPr>
        <p:sp>
          <p:nvSpPr>
            <p:cNvPr id="7173" name="Google Shape;7173;p72"/>
            <p:cNvSpPr/>
            <p:nvPr/>
          </p:nvSpPr>
          <p:spPr>
            <a:xfrm>
              <a:off x="3973825" y="3955025"/>
              <a:ext cx="68525" cy="68550"/>
            </a:xfrm>
            <a:custGeom>
              <a:avLst/>
              <a:gdLst/>
              <a:ahLst/>
              <a:cxnLst/>
              <a:rect l="l" t="t" r="r" b="b"/>
              <a:pathLst>
                <a:path w="2741" h="2742" extrusionOk="0">
                  <a:moveTo>
                    <a:pt x="1355" y="1"/>
                  </a:moveTo>
                  <a:cubicBezTo>
                    <a:pt x="630" y="1"/>
                    <a:pt x="0" y="631"/>
                    <a:pt x="0" y="1387"/>
                  </a:cubicBezTo>
                  <a:cubicBezTo>
                    <a:pt x="0" y="2112"/>
                    <a:pt x="630" y="2742"/>
                    <a:pt x="1355" y="2742"/>
                  </a:cubicBezTo>
                  <a:cubicBezTo>
                    <a:pt x="2111" y="2742"/>
                    <a:pt x="2741" y="2112"/>
                    <a:pt x="2741" y="1387"/>
                  </a:cubicBezTo>
                  <a:cubicBezTo>
                    <a:pt x="2741" y="631"/>
                    <a:pt x="2142"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72"/>
            <p:cNvSpPr/>
            <p:nvPr/>
          </p:nvSpPr>
          <p:spPr>
            <a:xfrm>
              <a:off x="3947025" y="4021975"/>
              <a:ext cx="122125" cy="71700"/>
            </a:xfrm>
            <a:custGeom>
              <a:avLst/>
              <a:gdLst/>
              <a:ahLst/>
              <a:cxnLst/>
              <a:rect l="l" t="t" r="r" b="b"/>
              <a:pathLst>
                <a:path w="4885" h="2868" extrusionOk="0">
                  <a:moveTo>
                    <a:pt x="820" y="1"/>
                  </a:moveTo>
                  <a:cubicBezTo>
                    <a:pt x="316" y="442"/>
                    <a:pt x="1" y="1104"/>
                    <a:pt x="1" y="1797"/>
                  </a:cubicBezTo>
                  <a:lnTo>
                    <a:pt x="1" y="2521"/>
                  </a:lnTo>
                  <a:cubicBezTo>
                    <a:pt x="1" y="2710"/>
                    <a:pt x="158" y="2868"/>
                    <a:pt x="347" y="2868"/>
                  </a:cubicBezTo>
                  <a:lnTo>
                    <a:pt x="4506" y="2868"/>
                  </a:lnTo>
                  <a:cubicBezTo>
                    <a:pt x="4727" y="2868"/>
                    <a:pt x="4884" y="2710"/>
                    <a:pt x="4884" y="2521"/>
                  </a:cubicBezTo>
                  <a:lnTo>
                    <a:pt x="4884" y="1860"/>
                  </a:lnTo>
                  <a:cubicBezTo>
                    <a:pt x="4884" y="1135"/>
                    <a:pt x="4569" y="473"/>
                    <a:pt x="4034" y="32"/>
                  </a:cubicBezTo>
                  <a:cubicBezTo>
                    <a:pt x="3655" y="473"/>
                    <a:pt x="3120" y="788"/>
                    <a:pt x="2427" y="788"/>
                  </a:cubicBezTo>
                  <a:cubicBezTo>
                    <a:pt x="1797" y="788"/>
                    <a:pt x="1198" y="473"/>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72"/>
            <p:cNvSpPr/>
            <p:nvPr/>
          </p:nvSpPr>
          <p:spPr>
            <a:xfrm>
              <a:off x="4086450" y="4145650"/>
              <a:ext cx="70125" cy="104775"/>
            </a:xfrm>
            <a:custGeom>
              <a:avLst/>
              <a:gdLst/>
              <a:ahLst/>
              <a:cxnLst/>
              <a:rect l="l" t="t" r="r" b="b"/>
              <a:pathLst>
                <a:path w="2805" h="4191" extrusionOk="0">
                  <a:moveTo>
                    <a:pt x="0" y="0"/>
                  </a:moveTo>
                  <a:lnTo>
                    <a:pt x="0" y="4190"/>
                  </a:lnTo>
                  <a:lnTo>
                    <a:pt x="2458" y="4190"/>
                  </a:lnTo>
                  <a:cubicBezTo>
                    <a:pt x="2647" y="4190"/>
                    <a:pt x="2804" y="4033"/>
                    <a:pt x="2804" y="3844"/>
                  </a:cubicBezTo>
                  <a:lnTo>
                    <a:pt x="2804" y="315"/>
                  </a:lnTo>
                  <a:cubicBezTo>
                    <a:pt x="2773" y="158"/>
                    <a:pt x="2647"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2"/>
            <p:cNvSpPr/>
            <p:nvPr/>
          </p:nvSpPr>
          <p:spPr>
            <a:xfrm>
              <a:off x="3860400" y="4180300"/>
              <a:ext cx="70125" cy="70125"/>
            </a:xfrm>
            <a:custGeom>
              <a:avLst/>
              <a:gdLst/>
              <a:ahLst/>
              <a:cxnLst/>
              <a:rect l="l" t="t" r="r" b="b"/>
              <a:pathLst>
                <a:path w="2805" h="2805" extrusionOk="0">
                  <a:moveTo>
                    <a:pt x="347" y="0"/>
                  </a:moveTo>
                  <a:cubicBezTo>
                    <a:pt x="158" y="0"/>
                    <a:pt x="0" y="189"/>
                    <a:pt x="0" y="347"/>
                  </a:cubicBezTo>
                  <a:lnTo>
                    <a:pt x="0" y="2458"/>
                  </a:lnTo>
                  <a:cubicBezTo>
                    <a:pt x="0" y="2678"/>
                    <a:pt x="158" y="2804"/>
                    <a:pt x="347" y="2804"/>
                  </a:cubicBezTo>
                  <a:lnTo>
                    <a:pt x="2804" y="2804"/>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72"/>
            <p:cNvSpPr/>
            <p:nvPr/>
          </p:nvSpPr>
          <p:spPr>
            <a:xfrm>
              <a:off x="3947025" y="4111775"/>
              <a:ext cx="122125" cy="139425"/>
            </a:xfrm>
            <a:custGeom>
              <a:avLst/>
              <a:gdLst/>
              <a:ahLst/>
              <a:cxnLst/>
              <a:rect l="l" t="t" r="r" b="b"/>
              <a:pathLst>
                <a:path w="4885" h="5577" extrusionOk="0">
                  <a:moveTo>
                    <a:pt x="2466" y="1377"/>
                  </a:moveTo>
                  <a:cubicBezTo>
                    <a:pt x="2522" y="1377"/>
                    <a:pt x="2582" y="1392"/>
                    <a:pt x="2647" y="1418"/>
                  </a:cubicBezTo>
                  <a:cubicBezTo>
                    <a:pt x="2742" y="1450"/>
                    <a:pt x="2836" y="1607"/>
                    <a:pt x="2836" y="1733"/>
                  </a:cubicBezTo>
                  <a:lnTo>
                    <a:pt x="2836" y="3497"/>
                  </a:lnTo>
                  <a:lnTo>
                    <a:pt x="3183" y="3497"/>
                  </a:lnTo>
                  <a:cubicBezTo>
                    <a:pt x="3372" y="3497"/>
                    <a:pt x="3529" y="3655"/>
                    <a:pt x="3529" y="3844"/>
                  </a:cubicBezTo>
                  <a:cubicBezTo>
                    <a:pt x="3529" y="4033"/>
                    <a:pt x="3340" y="4159"/>
                    <a:pt x="3151" y="4159"/>
                  </a:cubicBezTo>
                  <a:lnTo>
                    <a:pt x="1765" y="4159"/>
                  </a:lnTo>
                  <a:cubicBezTo>
                    <a:pt x="1576" y="4159"/>
                    <a:pt x="1419" y="4002"/>
                    <a:pt x="1419" y="3812"/>
                  </a:cubicBezTo>
                  <a:cubicBezTo>
                    <a:pt x="1419" y="3623"/>
                    <a:pt x="1576" y="3466"/>
                    <a:pt x="1765" y="3466"/>
                  </a:cubicBezTo>
                  <a:lnTo>
                    <a:pt x="2112" y="3466"/>
                  </a:lnTo>
                  <a:lnTo>
                    <a:pt x="2112" y="2552"/>
                  </a:lnTo>
                  <a:lnTo>
                    <a:pt x="1986" y="2678"/>
                  </a:lnTo>
                  <a:cubicBezTo>
                    <a:pt x="1938" y="2726"/>
                    <a:pt x="1852" y="2749"/>
                    <a:pt x="1765" y="2749"/>
                  </a:cubicBezTo>
                  <a:cubicBezTo>
                    <a:pt x="1679" y="2749"/>
                    <a:pt x="1592" y="2726"/>
                    <a:pt x="1545" y="2678"/>
                  </a:cubicBezTo>
                  <a:cubicBezTo>
                    <a:pt x="1419" y="2552"/>
                    <a:pt x="1419" y="2300"/>
                    <a:pt x="1545" y="2206"/>
                  </a:cubicBezTo>
                  <a:lnTo>
                    <a:pt x="2238" y="1481"/>
                  </a:lnTo>
                  <a:cubicBezTo>
                    <a:pt x="2312" y="1407"/>
                    <a:pt x="2385" y="1377"/>
                    <a:pt x="2466" y="1377"/>
                  </a:cubicBezTo>
                  <a:close/>
                  <a:moveTo>
                    <a:pt x="347" y="0"/>
                  </a:moveTo>
                  <a:cubicBezTo>
                    <a:pt x="158" y="0"/>
                    <a:pt x="1" y="158"/>
                    <a:pt x="1" y="347"/>
                  </a:cubicBezTo>
                  <a:lnTo>
                    <a:pt x="1" y="5577"/>
                  </a:lnTo>
                  <a:lnTo>
                    <a:pt x="4853" y="5577"/>
                  </a:lnTo>
                  <a:cubicBezTo>
                    <a:pt x="4884" y="3245"/>
                    <a:pt x="4884" y="2678"/>
                    <a:pt x="4884" y="347"/>
                  </a:cubicBezTo>
                  <a:cubicBezTo>
                    <a:pt x="4884" y="158"/>
                    <a:pt x="4727" y="0"/>
                    <a:pt x="45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8" name="Google Shape;7178;p72"/>
          <p:cNvGrpSpPr/>
          <p:nvPr/>
        </p:nvGrpSpPr>
        <p:grpSpPr>
          <a:xfrm>
            <a:off x="7534167" y="2731184"/>
            <a:ext cx="355664" cy="349133"/>
            <a:chOff x="5716825" y="3235950"/>
            <a:chExt cx="300900" cy="295375"/>
          </a:xfrm>
        </p:grpSpPr>
        <p:sp>
          <p:nvSpPr>
            <p:cNvPr id="7179" name="Google Shape;7179;p72"/>
            <p:cNvSpPr/>
            <p:nvPr/>
          </p:nvSpPr>
          <p:spPr>
            <a:xfrm>
              <a:off x="5716825" y="3309975"/>
              <a:ext cx="137075" cy="146525"/>
            </a:xfrm>
            <a:custGeom>
              <a:avLst/>
              <a:gdLst/>
              <a:ahLst/>
              <a:cxnLst/>
              <a:rect l="l" t="t" r="r" b="b"/>
              <a:pathLst>
                <a:path w="5483" h="5861" extrusionOk="0">
                  <a:moveTo>
                    <a:pt x="2584" y="1"/>
                  </a:moveTo>
                  <a:lnTo>
                    <a:pt x="410" y="2206"/>
                  </a:lnTo>
                  <a:cubicBezTo>
                    <a:pt x="1" y="2615"/>
                    <a:pt x="1" y="3277"/>
                    <a:pt x="410" y="3655"/>
                  </a:cubicBezTo>
                  <a:lnTo>
                    <a:pt x="2584" y="5860"/>
                  </a:lnTo>
                  <a:lnTo>
                    <a:pt x="3781" y="4632"/>
                  </a:lnTo>
                  <a:cubicBezTo>
                    <a:pt x="3844" y="4584"/>
                    <a:pt x="3939" y="4561"/>
                    <a:pt x="4029" y="4561"/>
                  </a:cubicBezTo>
                  <a:cubicBezTo>
                    <a:pt x="4120" y="4561"/>
                    <a:pt x="4206" y="4584"/>
                    <a:pt x="4254" y="4632"/>
                  </a:cubicBezTo>
                  <a:lnTo>
                    <a:pt x="4726" y="5104"/>
                  </a:lnTo>
                  <a:cubicBezTo>
                    <a:pt x="4789" y="5167"/>
                    <a:pt x="4884" y="5199"/>
                    <a:pt x="4974" y="5199"/>
                  </a:cubicBezTo>
                  <a:cubicBezTo>
                    <a:pt x="5065" y="5199"/>
                    <a:pt x="5152" y="5167"/>
                    <a:pt x="5199" y="5104"/>
                  </a:cubicBezTo>
                  <a:cubicBezTo>
                    <a:pt x="5325" y="5010"/>
                    <a:pt x="5325" y="4758"/>
                    <a:pt x="5199" y="4632"/>
                  </a:cubicBezTo>
                  <a:lnTo>
                    <a:pt x="4726" y="4159"/>
                  </a:lnTo>
                  <a:cubicBezTo>
                    <a:pt x="4632" y="4065"/>
                    <a:pt x="4632" y="3813"/>
                    <a:pt x="4726" y="3687"/>
                  </a:cubicBezTo>
                  <a:lnTo>
                    <a:pt x="5482" y="2962"/>
                  </a:lnTo>
                  <a:lnTo>
                    <a:pt x="5010" y="2489"/>
                  </a:lnTo>
                  <a:lnTo>
                    <a:pt x="4789" y="2710"/>
                  </a:lnTo>
                  <a:cubicBezTo>
                    <a:pt x="4584" y="2915"/>
                    <a:pt x="4317" y="3017"/>
                    <a:pt x="4049" y="3017"/>
                  </a:cubicBezTo>
                  <a:cubicBezTo>
                    <a:pt x="3781" y="3017"/>
                    <a:pt x="3513" y="2915"/>
                    <a:pt x="3309" y="2710"/>
                  </a:cubicBezTo>
                  <a:cubicBezTo>
                    <a:pt x="2930" y="2332"/>
                    <a:pt x="2930" y="1670"/>
                    <a:pt x="3309" y="1261"/>
                  </a:cubicBezTo>
                  <a:lnTo>
                    <a:pt x="3561" y="1040"/>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72"/>
            <p:cNvSpPr/>
            <p:nvPr/>
          </p:nvSpPr>
          <p:spPr>
            <a:xfrm>
              <a:off x="5794025" y="3235950"/>
              <a:ext cx="145725" cy="133900"/>
            </a:xfrm>
            <a:custGeom>
              <a:avLst/>
              <a:gdLst/>
              <a:ahLst/>
              <a:cxnLst/>
              <a:rect l="l" t="t" r="r" b="b"/>
              <a:pathLst>
                <a:path w="5829" h="5356" extrusionOk="0">
                  <a:moveTo>
                    <a:pt x="2926" y="0"/>
                  </a:moveTo>
                  <a:cubicBezTo>
                    <a:pt x="2662" y="0"/>
                    <a:pt x="2394" y="95"/>
                    <a:pt x="2205" y="284"/>
                  </a:cubicBezTo>
                  <a:lnTo>
                    <a:pt x="0" y="2457"/>
                  </a:lnTo>
                  <a:lnTo>
                    <a:pt x="1229" y="3686"/>
                  </a:lnTo>
                  <a:cubicBezTo>
                    <a:pt x="1323" y="3781"/>
                    <a:pt x="1323" y="4033"/>
                    <a:pt x="1229" y="4127"/>
                  </a:cubicBezTo>
                  <a:lnTo>
                    <a:pt x="725" y="4600"/>
                  </a:lnTo>
                  <a:cubicBezTo>
                    <a:pt x="630" y="4726"/>
                    <a:pt x="630" y="4978"/>
                    <a:pt x="725" y="5072"/>
                  </a:cubicBezTo>
                  <a:cubicBezTo>
                    <a:pt x="788" y="5135"/>
                    <a:pt x="882" y="5167"/>
                    <a:pt x="977" y="5167"/>
                  </a:cubicBezTo>
                  <a:cubicBezTo>
                    <a:pt x="1071" y="5167"/>
                    <a:pt x="1166" y="5135"/>
                    <a:pt x="1229" y="5072"/>
                  </a:cubicBezTo>
                  <a:lnTo>
                    <a:pt x="1701" y="4600"/>
                  </a:lnTo>
                  <a:cubicBezTo>
                    <a:pt x="1749" y="4553"/>
                    <a:pt x="1835" y="4529"/>
                    <a:pt x="1926" y="4529"/>
                  </a:cubicBezTo>
                  <a:cubicBezTo>
                    <a:pt x="2016" y="4529"/>
                    <a:pt x="2111" y="4553"/>
                    <a:pt x="2174" y="4600"/>
                  </a:cubicBezTo>
                  <a:lnTo>
                    <a:pt x="2898" y="5356"/>
                  </a:lnTo>
                  <a:lnTo>
                    <a:pt x="3371" y="4883"/>
                  </a:lnTo>
                  <a:lnTo>
                    <a:pt x="3151" y="4663"/>
                  </a:lnTo>
                  <a:cubicBezTo>
                    <a:pt x="2741" y="4253"/>
                    <a:pt x="2741" y="3592"/>
                    <a:pt x="3151" y="3214"/>
                  </a:cubicBezTo>
                  <a:cubicBezTo>
                    <a:pt x="3340" y="3009"/>
                    <a:pt x="3607" y="2906"/>
                    <a:pt x="3875" y="2906"/>
                  </a:cubicBezTo>
                  <a:cubicBezTo>
                    <a:pt x="4143" y="2906"/>
                    <a:pt x="4411" y="3009"/>
                    <a:pt x="4600" y="3214"/>
                  </a:cubicBezTo>
                  <a:lnTo>
                    <a:pt x="4852" y="3434"/>
                  </a:lnTo>
                  <a:lnTo>
                    <a:pt x="5828" y="2457"/>
                  </a:lnTo>
                  <a:lnTo>
                    <a:pt x="3623" y="284"/>
                  </a:lnTo>
                  <a:cubicBezTo>
                    <a:pt x="3450" y="95"/>
                    <a:pt x="3190" y="0"/>
                    <a:pt x="29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72"/>
            <p:cNvSpPr/>
            <p:nvPr/>
          </p:nvSpPr>
          <p:spPr>
            <a:xfrm>
              <a:off x="5880650" y="3309975"/>
              <a:ext cx="137075" cy="145725"/>
            </a:xfrm>
            <a:custGeom>
              <a:avLst/>
              <a:gdLst/>
              <a:ahLst/>
              <a:cxnLst/>
              <a:rect l="l" t="t" r="r" b="b"/>
              <a:pathLst>
                <a:path w="5483" h="5829" extrusionOk="0">
                  <a:moveTo>
                    <a:pt x="2899" y="1"/>
                  </a:moveTo>
                  <a:lnTo>
                    <a:pt x="1702" y="1229"/>
                  </a:lnTo>
                  <a:cubicBezTo>
                    <a:pt x="1639" y="1292"/>
                    <a:pt x="1544" y="1324"/>
                    <a:pt x="1450" y="1324"/>
                  </a:cubicBezTo>
                  <a:cubicBezTo>
                    <a:pt x="1355" y="1324"/>
                    <a:pt x="1261" y="1292"/>
                    <a:pt x="1198" y="1229"/>
                  </a:cubicBezTo>
                  <a:lnTo>
                    <a:pt x="725" y="757"/>
                  </a:lnTo>
                  <a:cubicBezTo>
                    <a:pt x="678" y="694"/>
                    <a:pt x="591" y="662"/>
                    <a:pt x="501" y="662"/>
                  </a:cubicBezTo>
                  <a:cubicBezTo>
                    <a:pt x="410" y="662"/>
                    <a:pt x="316" y="694"/>
                    <a:pt x="253" y="757"/>
                  </a:cubicBezTo>
                  <a:cubicBezTo>
                    <a:pt x="158" y="883"/>
                    <a:pt x="158" y="1103"/>
                    <a:pt x="253" y="1229"/>
                  </a:cubicBezTo>
                  <a:lnTo>
                    <a:pt x="725" y="1702"/>
                  </a:lnTo>
                  <a:cubicBezTo>
                    <a:pt x="851" y="1828"/>
                    <a:pt x="851" y="2048"/>
                    <a:pt x="725" y="2174"/>
                  </a:cubicBezTo>
                  <a:lnTo>
                    <a:pt x="1" y="2899"/>
                  </a:lnTo>
                  <a:lnTo>
                    <a:pt x="473" y="3372"/>
                  </a:lnTo>
                  <a:lnTo>
                    <a:pt x="694" y="3151"/>
                  </a:lnTo>
                  <a:cubicBezTo>
                    <a:pt x="898" y="2946"/>
                    <a:pt x="1166" y="2844"/>
                    <a:pt x="1434" y="2844"/>
                  </a:cubicBezTo>
                  <a:cubicBezTo>
                    <a:pt x="1702" y="2844"/>
                    <a:pt x="1970" y="2946"/>
                    <a:pt x="2174" y="3151"/>
                  </a:cubicBezTo>
                  <a:cubicBezTo>
                    <a:pt x="2552" y="3529"/>
                    <a:pt x="2552" y="4222"/>
                    <a:pt x="2174" y="4600"/>
                  </a:cubicBezTo>
                  <a:lnTo>
                    <a:pt x="1922" y="4852"/>
                  </a:lnTo>
                  <a:lnTo>
                    <a:pt x="2899" y="5829"/>
                  </a:lnTo>
                  <a:lnTo>
                    <a:pt x="5073" y="3655"/>
                  </a:lnTo>
                  <a:cubicBezTo>
                    <a:pt x="5482" y="3277"/>
                    <a:pt x="5482" y="2615"/>
                    <a:pt x="5073" y="2206"/>
                  </a:cubicBezTo>
                  <a:lnTo>
                    <a:pt x="28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2"/>
            <p:cNvSpPr/>
            <p:nvPr/>
          </p:nvSpPr>
          <p:spPr>
            <a:xfrm>
              <a:off x="5794025" y="3396625"/>
              <a:ext cx="147300" cy="134700"/>
            </a:xfrm>
            <a:custGeom>
              <a:avLst/>
              <a:gdLst/>
              <a:ahLst/>
              <a:cxnLst/>
              <a:rect l="l" t="t" r="r" b="b"/>
              <a:pathLst>
                <a:path w="5892" h="5388" extrusionOk="0">
                  <a:moveTo>
                    <a:pt x="2993" y="0"/>
                  </a:moveTo>
                  <a:lnTo>
                    <a:pt x="2520" y="473"/>
                  </a:lnTo>
                  <a:lnTo>
                    <a:pt x="2741" y="725"/>
                  </a:lnTo>
                  <a:cubicBezTo>
                    <a:pt x="3151" y="1103"/>
                    <a:pt x="3151" y="1764"/>
                    <a:pt x="2741" y="2174"/>
                  </a:cubicBezTo>
                  <a:cubicBezTo>
                    <a:pt x="2505" y="2363"/>
                    <a:pt x="2221" y="2457"/>
                    <a:pt x="1949" y="2457"/>
                  </a:cubicBezTo>
                  <a:cubicBezTo>
                    <a:pt x="1678" y="2457"/>
                    <a:pt x="1418" y="2363"/>
                    <a:pt x="1229" y="2174"/>
                  </a:cubicBezTo>
                  <a:lnTo>
                    <a:pt x="977" y="1922"/>
                  </a:lnTo>
                  <a:lnTo>
                    <a:pt x="0" y="2930"/>
                  </a:lnTo>
                  <a:lnTo>
                    <a:pt x="2205" y="5072"/>
                  </a:lnTo>
                  <a:cubicBezTo>
                    <a:pt x="2394" y="5293"/>
                    <a:pt x="2678" y="5387"/>
                    <a:pt x="2930" y="5387"/>
                  </a:cubicBezTo>
                  <a:cubicBezTo>
                    <a:pt x="3214" y="5387"/>
                    <a:pt x="3497" y="5293"/>
                    <a:pt x="3686" y="5072"/>
                  </a:cubicBezTo>
                  <a:lnTo>
                    <a:pt x="5891" y="2930"/>
                  </a:lnTo>
                  <a:lnTo>
                    <a:pt x="4663" y="1701"/>
                  </a:lnTo>
                  <a:cubicBezTo>
                    <a:pt x="4568" y="1575"/>
                    <a:pt x="4568" y="1355"/>
                    <a:pt x="4663" y="1229"/>
                  </a:cubicBezTo>
                  <a:lnTo>
                    <a:pt x="5167" y="756"/>
                  </a:lnTo>
                  <a:cubicBezTo>
                    <a:pt x="5261" y="630"/>
                    <a:pt x="5261" y="410"/>
                    <a:pt x="5167" y="284"/>
                  </a:cubicBezTo>
                  <a:cubicBezTo>
                    <a:pt x="5104" y="221"/>
                    <a:pt x="5009" y="189"/>
                    <a:pt x="4915" y="189"/>
                  </a:cubicBezTo>
                  <a:cubicBezTo>
                    <a:pt x="4820" y="189"/>
                    <a:pt x="4726" y="221"/>
                    <a:pt x="4663" y="284"/>
                  </a:cubicBezTo>
                  <a:lnTo>
                    <a:pt x="4190" y="756"/>
                  </a:lnTo>
                  <a:cubicBezTo>
                    <a:pt x="4143" y="819"/>
                    <a:pt x="4056" y="851"/>
                    <a:pt x="3966" y="851"/>
                  </a:cubicBezTo>
                  <a:cubicBezTo>
                    <a:pt x="3875" y="851"/>
                    <a:pt x="3781" y="819"/>
                    <a:pt x="3718" y="756"/>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3" name="Google Shape;7183;p72"/>
          <p:cNvGrpSpPr/>
          <p:nvPr/>
        </p:nvGrpSpPr>
        <p:grpSpPr>
          <a:xfrm>
            <a:off x="7547199" y="3189872"/>
            <a:ext cx="329601" cy="327739"/>
            <a:chOff x="5727850" y="3609275"/>
            <a:chExt cx="278850" cy="277275"/>
          </a:xfrm>
        </p:grpSpPr>
        <p:sp>
          <p:nvSpPr>
            <p:cNvPr id="7184" name="Google Shape;7184;p72"/>
            <p:cNvSpPr/>
            <p:nvPr/>
          </p:nvSpPr>
          <p:spPr>
            <a:xfrm>
              <a:off x="5884600" y="3765225"/>
              <a:ext cx="122100" cy="121325"/>
            </a:xfrm>
            <a:custGeom>
              <a:avLst/>
              <a:gdLst/>
              <a:ahLst/>
              <a:cxnLst/>
              <a:rect l="l" t="t" r="r" b="b"/>
              <a:pathLst>
                <a:path w="4884" h="4853" extrusionOk="0">
                  <a:moveTo>
                    <a:pt x="2426" y="662"/>
                  </a:moveTo>
                  <a:cubicBezTo>
                    <a:pt x="2646" y="662"/>
                    <a:pt x="2804" y="819"/>
                    <a:pt x="2804" y="1008"/>
                  </a:cubicBezTo>
                  <a:cubicBezTo>
                    <a:pt x="2804" y="1197"/>
                    <a:pt x="2646" y="1355"/>
                    <a:pt x="2426" y="1355"/>
                  </a:cubicBezTo>
                  <a:cubicBezTo>
                    <a:pt x="2237" y="1355"/>
                    <a:pt x="2079" y="1197"/>
                    <a:pt x="2079" y="1008"/>
                  </a:cubicBezTo>
                  <a:cubicBezTo>
                    <a:pt x="2079" y="819"/>
                    <a:pt x="2237" y="662"/>
                    <a:pt x="2426" y="662"/>
                  </a:cubicBezTo>
                  <a:close/>
                  <a:moveTo>
                    <a:pt x="2426" y="1670"/>
                  </a:moveTo>
                  <a:cubicBezTo>
                    <a:pt x="2646" y="1670"/>
                    <a:pt x="2804" y="1828"/>
                    <a:pt x="2804" y="2048"/>
                  </a:cubicBezTo>
                  <a:lnTo>
                    <a:pt x="2804" y="3781"/>
                  </a:lnTo>
                  <a:cubicBezTo>
                    <a:pt x="2804" y="3970"/>
                    <a:pt x="2646" y="4127"/>
                    <a:pt x="2426" y="4127"/>
                  </a:cubicBezTo>
                  <a:cubicBezTo>
                    <a:pt x="2237" y="4127"/>
                    <a:pt x="2079" y="3970"/>
                    <a:pt x="2079" y="3781"/>
                  </a:cubicBezTo>
                  <a:lnTo>
                    <a:pt x="2079" y="2048"/>
                  </a:lnTo>
                  <a:cubicBezTo>
                    <a:pt x="2079" y="1828"/>
                    <a:pt x="2237" y="1670"/>
                    <a:pt x="2426" y="1670"/>
                  </a:cubicBezTo>
                  <a:close/>
                  <a:moveTo>
                    <a:pt x="2426" y="0"/>
                  </a:moveTo>
                  <a:cubicBezTo>
                    <a:pt x="1103" y="0"/>
                    <a:pt x="0" y="1103"/>
                    <a:pt x="0" y="2426"/>
                  </a:cubicBezTo>
                  <a:cubicBezTo>
                    <a:pt x="0" y="3749"/>
                    <a:pt x="1103" y="4852"/>
                    <a:pt x="2426" y="4852"/>
                  </a:cubicBezTo>
                  <a:cubicBezTo>
                    <a:pt x="3781" y="4852"/>
                    <a:pt x="4883" y="3749"/>
                    <a:pt x="4883" y="2426"/>
                  </a:cubicBezTo>
                  <a:cubicBezTo>
                    <a:pt x="4883" y="1040"/>
                    <a:pt x="3781"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2"/>
            <p:cNvSpPr/>
            <p:nvPr/>
          </p:nvSpPr>
          <p:spPr>
            <a:xfrm>
              <a:off x="5727850" y="3669125"/>
              <a:ext cx="35475" cy="216625"/>
            </a:xfrm>
            <a:custGeom>
              <a:avLst/>
              <a:gdLst/>
              <a:ahLst/>
              <a:cxnLst/>
              <a:rect l="l" t="t" r="r" b="b"/>
              <a:pathLst>
                <a:path w="1419" h="8665" extrusionOk="0">
                  <a:moveTo>
                    <a:pt x="32" y="1"/>
                  </a:moveTo>
                  <a:lnTo>
                    <a:pt x="32" y="7310"/>
                  </a:lnTo>
                  <a:cubicBezTo>
                    <a:pt x="1" y="8034"/>
                    <a:pt x="631" y="8665"/>
                    <a:pt x="1418" y="8665"/>
                  </a:cubicBezTo>
                  <a:lnTo>
                    <a:pt x="1418" y="347"/>
                  </a:lnTo>
                  <a:lnTo>
                    <a:pt x="1072" y="347"/>
                  </a:lnTo>
                  <a:cubicBezTo>
                    <a:pt x="662" y="347"/>
                    <a:pt x="316" y="253"/>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72"/>
            <p:cNvSpPr/>
            <p:nvPr/>
          </p:nvSpPr>
          <p:spPr>
            <a:xfrm>
              <a:off x="5779825" y="3677800"/>
              <a:ext cx="174900" cy="207950"/>
            </a:xfrm>
            <a:custGeom>
              <a:avLst/>
              <a:gdLst/>
              <a:ahLst/>
              <a:cxnLst/>
              <a:rect l="l" t="t" r="r" b="b"/>
              <a:pathLst>
                <a:path w="6996" h="8318" extrusionOk="0">
                  <a:moveTo>
                    <a:pt x="5262" y="693"/>
                  </a:moveTo>
                  <a:cubicBezTo>
                    <a:pt x="5451" y="693"/>
                    <a:pt x="5609" y="851"/>
                    <a:pt x="5609" y="1040"/>
                  </a:cubicBezTo>
                  <a:cubicBezTo>
                    <a:pt x="5609" y="1229"/>
                    <a:pt x="5451" y="1386"/>
                    <a:pt x="5262" y="1386"/>
                  </a:cubicBezTo>
                  <a:lnTo>
                    <a:pt x="1072" y="1386"/>
                  </a:lnTo>
                  <a:cubicBezTo>
                    <a:pt x="883" y="1386"/>
                    <a:pt x="726" y="1229"/>
                    <a:pt x="726" y="1040"/>
                  </a:cubicBezTo>
                  <a:cubicBezTo>
                    <a:pt x="726" y="851"/>
                    <a:pt x="883" y="693"/>
                    <a:pt x="1072" y="693"/>
                  </a:cubicBezTo>
                  <a:close/>
                  <a:moveTo>
                    <a:pt x="5262" y="2080"/>
                  </a:moveTo>
                  <a:cubicBezTo>
                    <a:pt x="5451" y="2080"/>
                    <a:pt x="5609" y="2237"/>
                    <a:pt x="5609" y="2426"/>
                  </a:cubicBezTo>
                  <a:cubicBezTo>
                    <a:pt x="5609" y="2615"/>
                    <a:pt x="5451" y="2773"/>
                    <a:pt x="5262" y="2773"/>
                  </a:cubicBezTo>
                  <a:lnTo>
                    <a:pt x="1072" y="2773"/>
                  </a:lnTo>
                  <a:cubicBezTo>
                    <a:pt x="883" y="2773"/>
                    <a:pt x="726" y="2615"/>
                    <a:pt x="726" y="2426"/>
                  </a:cubicBezTo>
                  <a:cubicBezTo>
                    <a:pt x="726" y="2237"/>
                    <a:pt x="883" y="2080"/>
                    <a:pt x="1072" y="2080"/>
                  </a:cubicBezTo>
                  <a:close/>
                  <a:moveTo>
                    <a:pt x="1" y="0"/>
                  </a:moveTo>
                  <a:lnTo>
                    <a:pt x="1" y="8318"/>
                  </a:lnTo>
                  <a:lnTo>
                    <a:pt x="4695" y="8318"/>
                  </a:lnTo>
                  <a:cubicBezTo>
                    <a:pt x="4002" y="7750"/>
                    <a:pt x="3498" y="6868"/>
                    <a:pt x="3498" y="5892"/>
                  </a:cubicBezTo>
                  <a:cubicBezTo>
                    <a:pt x="3498" y="5766"/>
                    <a:pt x="3561" y="5640"/>
                    <a:pt x="3561" y="5545"/>
                  </a:cubicBezTo>
                  <a:lnTo>
                    <a:pt x="1072" y="5545"/>
                  </a:lnTo>
                  <a:cubicBezTo>
                    <a:pt x="883" y="5545"/>
                    <a:pt x="726" y="5388"/>
                    <a:pt x="726" y="5167"/>
                  </a:cubicBezTo>
                  <a:lnTo>
                    <a:pt x="726" y="3812"/>
                  </a:lnTo>
                  <a:cubicBezTo>
                    <a:pt x="726" y="3592"/>
                    <a:pt x="883" y="3434"/>
                    <a:pt x="1072" y="3434"/>
                  </a:cubicBezTo>
                  <a:lnTo>
                    <a:pt x="4695" y="3434"/>
                  </a:lnTo>
                  <a:cubicBezTo>
                    <a:pt x="5199" y="3056"/>
                    <a:pt x="5861" y="2773"/>
                    <a:pt x="6617" y="2773"/>
                  </a:cubicBezTo>
                  <a:cubicBezTo>
                    <a:pt x="6743" y="2773"/>
                    <a:pt x="6869" y="2804"/>
                    <a:pt x="6995" y="2804"/>
                  </a:cubicBezTo>
                  <a:lnTo>
                    <a:pt x="69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72"/>
            <p:cNvSpPr/>
            <p:nvPr/>
          </p:nvSpPr>
          <p:spPr>
            <a:xfrm>
              <a:off x="5815275" y="3781750"/>
              <a:ext cx="66200" cy="17350"/>
            </a:xfrm>
            <a:custGeom>
              <a:avLst/>
              <a:gdLst/>
              <a:ahLst/>
              <a:cxnLst/>
              <a:rect l="l" t="t" r="r" b="b"/>
              <a:pathLst>
                <a:path w="2648" h="694" extrusionOk="0">
                  <a:moveTo>
                    <a:pt x="1" y="1"/>
                  </a:moveTo>
                  <a:lnTo>
                    <a:pt x="1" y="694"/>
                  </a:lnTo>
                  <a:lnTo>
                    <a:pt x="2301" y="694"/>
                  </a:lnTo>
                  <a:cubicBezTo>
                    <a:pt x="2364" y="473"/>
                    <a:pt x="2490" y="221"/>
                    <a:pt x="2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2"/>
            <p:cNvSpPr/>
            <p:nvPr/>
          </p:nvSpPr>
          <p:spPr>
            <a:xfrm>
              <a:off x="5727850" y="3609275"/>
              <a:ext cx="226075" cy="51225"/>
            </a:xfrm>
            <a:custGeom>
              <a:avLst/>
              <a:gdLst/>
              <a:ahLst/>
              <a:cxnLst/>
              <a:rect l="l" t="t" r="r" b="b"/>
              <a:pathLst>
                <a:path w="9043" h="2049" extrusionOk="0">
                  <a:moveTo>
                    <a:pt x="1072" y="0"/>
                  </a:moveTo>
                  <a:cubicBezTo>
                    <a:pt x="473" y="0"/>
                    <a:pt x="32" y="473"/>
                    <a:pt x="32" y="1040"/>
                  </a:cubicBezTo>
                  <a:cubicBezTo>
                    <a:pt x="1" y="1576"/>
                    <a:pt x="473" y="2048"/>
                    <a:pt x="1072" y="2048"/>
                  </a:cubicBezTo>
                  <a:lnTo>
                    <a:pt x="9043" y="2048"/>
                  </a:lnTo>
                  <a:cubicBezTo>
                    <a:pt x="8475" y="2048"/>
                    <a:pt x="8034" y="1576"/>
                    <a:pt x="8034" y="1040"/>
                  </a:cubicBezTo>
                  <a:cubicBezTo>
                    <a:pt x="8034" y="441"/>
                    <a:pt x="8507" y="0"/>
                    <a:pt x="90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9" name="Google Shape;7189;p72"/>
          <p:cNvGrpSpPr/>
          <p:nvPr/>
        </p:nvGrpSpPr>
        <p:grpSpPr>
          <a:xfrm>
            <a:off x="7558383" y="3655259"/>
            <a:ext cx="307231" cy="349133"/>
            <a:chOff x="5736525" y="3963700"/>
            <a:chExt cx="259925" cy="295375"/>
          </a:xfrm>
        </p:grpSpPr>
        <p:sp>
          <p:nvSpPr>
            <p:cNvPr id="7190" name="Google Shape;7190;p72"/>
            <p:cNvSpPr/>
            <p:nvPr/>
          </p:nvSpPr>
          <p:spPr>
            <a:xfrm>
              <a:off x="5736525" y="4153525"/>
              <a:ext cx="121300" cy="105550"/>
            </a:xfrm>
            <a:custGeom>
              <a:avLst/>
              <a:gdLst/>
              <a:ahLst/>
              <a:cxnLst/>
              <a:rect l="l" t="t" r="r" b="b"/>
              <a:pathLst>
                <a:path w="4852" h="4222" extrusionOk="0">
                  <a:moveTo>
                    <a:pt x="1733" y="0"/>
                  </a:moveTo>
                  <a:cubicBezTo>
                    <a:pt x="788" y="0"/>
                    <a:pt x="0" y="788"/>
                    <a:pt x="0" y="1733"/>
                  </a:cubicBezTo>
                  <a:lnTo>
                    <a:pt x="0" y="3875"/>
                  </a:lnTo>
                  <a:cubicBezTo>
                    <a:pt x="0" y="4064"/>
                    <a:pt x="158" y="4222"/>
                    <a:pt x="378" y="4222"/>
                  </a:cubicBezTo>
                  <a:lnTo>
                    <a:pt x="4852" y="4222"/>
                  </a:lnTo>
                  <a:lnTo>
                    <a:pt x="4852" y="2584"/>
                  </a:lnTo>
                  <a:lnTo>
                    <a:pt x="23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2"/>
            <p:cNvSpPr/>
            <p:nvPr/>
          </p:nvSpPr>
          <p:spPr>
            <a:xfrm>
              <a:off x="5833400" y="4168475"/>
              <a:ext cx="66975" cy="33900"/>
            </a:xfrm>
            <a:custGeom>
              <a:avLst/>
              <a:gdLst/>
              <a:ahLst/>
              <a:cxnLst/>
              <a:rect l="l" t="t" r="r" b="b"/>
              <a:pathLst>
                <a:path w="2679" h="1356" extrusionOk="0">
                  <a:moveTo>
                    <a:pt x="2678" y="1"/>
                  </a:moveTo>
                  <a:lnTo>
                    <a:pt x="2678" y="1"/>
                  </a:lnTo>
                  <a:cubicBezTo>
                    <a:pt x="2458" y="32"/>
                    <a:pt x="2237" y="127"/>
                    <a:pt x="1985" y="127"/>
                  </a:cubicBezTo>
                  <a:lnTo>
                    <a:pt x="662" y="127"/>
                  </a:lnTo>
                  <a:cubicBezTo>
                    <a:pt x="441" y="127"/>
                    <a:pt x="221" y="95"/>
                    <a:pt x="0" y="1"/>
                  </a:cubicBezTo>
                  <a:lnTo>
                    <a:pt x="0" y="1"/>
                  </a:lnTo>
                  <a:lnTo>
                    <a:pt x="1323" y="1355"/>
                  </a:lnTo>
                  <a:lnTo>
                    <a:pt x="26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72"/>
            <p:cNvSpPr/>
            <p:nvPr/>
          </p:nvSpPr>
          <p:spPr>
            <a:xfrm>
              <a:off x="5875925" y="4153525"/>
              <a:ext cx="120525" cy="105550"/>
            </a:xfrm>
            <a:custGeom>
              <a:avLst/>
              <a:gdLst/>
              <a:ahLst/>
              <a:cxnLst/>
              <a:rect l="l" t="t" r="r" b="b"/>
              <a:pathLst>
                <a:path w="4821" h="4222" extrusionOk="0">
                  <a:moveTo>
                    <a:pt x="2426" y="2048"/>
                  </a:moveTo>
                  <a:cubicBezTo>
                    <a:pt x="2615" y="2048"/>
                    <a:pt x="2773" y="2205"/>
                    <a:pt x="2773" y="2426"/>
                  </a:cubicBezTo>
                  <a:cubicBezTo>
                    <a:pt x="2773" y="2615"/>
                    <a:pt x="2615" y="2773"/>
                    <a:pt x="2426" y="2773"/>
                  </a:cubicBezTo>
                  <a:lnTo>
                    <a:pt x="1733" y="2773"/>
                  </a:lnTo>
                  <a:cubicBezTo>
                    <a:pt x="1513" y="2773"/>
                    <a:pt x="1355" y="2615"/>
                    <a:pt x="1355" y="2426"/>
                  </a:cubicBezTo>
                  <a:cubicBezTo>
                    <a:pt x="1355" y="2205"/>
                    <a:pt x="1513" y="2048"/>
                    <a:pt x="1733" y="2048"/>
                  </a:cubicBezTo>
                  <a:close/>
                  <a:moveTo>
                    <a:pt x="2552" y="0"/>
                  </a:moveTo>
                  <a:lnTo>
                    <a:pt x="1" y="2584"/>
                  </a:lnTo>
                  <a:lnTo>
                    <a:pt x="1" y="4222"/>
                  </a:lnTo>
                  <a:lnTo>
                    <a:pt x="4474" y="4222"/>
                  </a:lnTo>
                  <a:cubicBezTo>
                    <a:pt x="4663" y="4222"/>
                    <a:pt x="4821" y="4064"/>
                    <a:pt x="4821" y="3875"/>
                  </a:cubicBezTo>
                  <a:lnTo>
                    <a:pt x="4821" y="1733"/>
                  </a:lnTo>
                  <a:cubicBezTo>
                    <a:pt x="4821" y="788"/>
                    <a:pt x="4033"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72"/>
            <p:cNvSpPr/>
            <p:nvPr/>
          </p:nvSpPr>
          <p:spPr>
            <a:xfrm>
              <a:off x="5754625" y="3963700"/>
              <a:ext cx="224500" cy="154400"/>
            </a:xfrm>
            <a:custGeom>
              <a:avLst/>
              <a:gdLst/>
              <a:ahLst/>
              <a:cxnLst/>
              <a:rect l="l" t="t" r="r" b="b"/>
              <a:pathLst>
                <a:path w="8980" h="6176" extrusionOk="0">
                  <a:moveTo>
                    <a:pt x="3120" y="1"/>
                  </a:moveTo>
                  <a:cubicBezTo>
                    <a:pt x="1387" y="1"/>
                    <a:pt x="1" y="1418"/>
                    <a:pt x="1" y="3119"/>
                  </a:cubicBezTo>
                  <a:lnTo>
                    <a:pt x="1" y="4506"/>
                  </a:lnTo>
                  <a:cubicBezTo>
                    <a:pt x="1" y="5325"/>
                    <a:pt x="568" y="6018"/>
                    <a:pt x="1355" y="6175"/>
                  </a:cubicBezTo>
                  <a:lnTo>
                    <a:pt x="1355" y="2773"/>
                  </a:lnTo>
                  <a:lnTo>
                    <a:pt x="1009" y="2773"/>
                  </a:lnTo>
                  <a:cubicBezTo>
                    <a:pt x="914" y="2773"/>
                    <a:pt x="820" y="2804"/>
                    <a:pt x="694" y="2804"/>
                  </a:cubicBezTo>
                  <a:cubicBezTo>
                    <a:pt x="851" y="1607"/>
                    <a:pt x="1860" y="662"/>
                    <a:pt x="3120" y="662"/>
                  </a:cubicBezTo>
                  <a:lnTo>
                    <a:pt x="5861" y="662"/>
                  </a:lnTo>
                  <a:cubicBezTo>
                    <a:pt x="7089" y="662"/>
                    <a:pt x="8098" y="1607"/>
                    <a:pt x="8255" y="2804"/>
                  </a:cubicBezTo>
                  <a:cubicBezTo>
                    <a:pt x="8161" y="2773"/>
                    <a:pt x="8066" y="2773"/>
                    <a:pt x="7940" y="2773"/>
                  </a:cubicBezTo>
                  <a:lnTo>
                    <a:pt x="7593" y="2773"/>
                  </a:lnTo>
                  <a:lnTo>
                    <a:pt x="7593" y="6175"/>
                  </a:lnTo>
                  <a:cubicBezTo>
                    <a:pt x="8381" y="6018"/>
                    <a:pt x="8980" y="5325"/>
                    <a:pt x="8980" y="4506"/>
                  </a:cubicBezTo>
                  <a:lnTo>
                    <a:pt x="8980" y="3119"/>
                  </a:lnTo>
                  <a:cubicBezTo>
                    <a:pt x="8980" y="1387"/>
                    <a:pt x="7562"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2"/>
            <p:cNvSpPr/>
            <p:nvPr/>
          </p:nvSpPr>
          <p:spPr>
            <a:xfrm>
              <a:off x="5806625" y="3998350"/>
              <a:ext cx="69325" cy="52025"/>
            </a:xfrm>
            <a:custGeom>
              <a:avLst/>
              <a:gdLst/>
              <a:ahLst/>
              <a:cxnLst/>
              <a:rect l="l" t="t" r="r" b="b"/>
              <a:pathLst>
                <a:path w="2773" h="2081" extrusionOk="0">
                  <a:moveTo>
                    <a:pt x="1733" y="1"/>
                  </a:moveTo>
                  <a:cubicBezTo>
                    <a:pt x="788" y="1"/>
                    <a:pt x="0" y="788"/>
                    <a:pt x="0" y="1733"/>
                  </a:cubicBezTo>
                  <a:lnTo>
                    <a:pt x="0" y="2080"/>
                  </a:lnTo>
                  <a:lnTo>
                    <a:pt x="1733" y="2080"/>
                  </a:lnTo>
                  <a:cubicBezTo>
                    <a:pt x="2300" y="2049"/>
                    <a:pt x="2773" y="1607"/>
                    <a:pt x="2773" y="1009"/>
                  </a:cubicBez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72"/>
            <p:cNvSpPr/>
            <p:nvPr/>
          </p:nvSpPr>
          <p:spPr>
            <a:xfrm>
              <a:off x="5893250" y="3999150"/>
              <a:ext cx="34675" cy="51225"/>
            </a:xfrm>
            <a:custGeom>
              <a:avLst/>
              <a:gdLst/>
              <a:ahLst/>
              <a:cxnLst/>
              <a:rect l="l" t="t" r="r" b="b"/>
              <a:pathLst>
                <a:path w="1387" h="2049" extrusionOk="0">
                  <a:moveTo>
                    <a:pt x="1" y="0"/>
                  </a:moveTo>
                  <a:lnTo>
                    <a:pt x="1" y="1040"/>
                  </a:lnTo>
                  <a:cubicBezTo>
                    <a:pt x="1" y="1607"/>
                    <a:pt x="473" y="2048"/>
                    <a:pt x="1040" y="2048"/>
                  </a:cubicBezTo>
                  <a:lnTo>
                    <a:pt x="1387" y="2048"/>
                  </a:lnTo>
                  <a:lnTo>
                    <a:pt x="1387" y="1701"/>
                  </a:lnTo>
                  <a:cubicBezTo>
                    <a:pt x="1387" y="882"/>
                    <a:pt x="788"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72"/>
            <p:cNvSpPr/>
            <p:nvPr/>
          </p:nvSpPr>
          <p:spPr>
            <a:xfrm>
              <a:off x="5806625" y="4049550"/>
              <a:ext cx="121300" cy="104000"/>
            </a:xfrm>
            <a:custGeom>
              <a:avLst/>
              <a:gdLst/>
              <a:ahLst/>
              <a:cxnLst/>
              <a:rect l="l" t="t" r="r" b="b"/>
              <a:pathLst>
                <a:path w="4852" h="4160" extrusionOk="0">
                  <a:moveTo>
                    <a:pt x="3119" y="1"/>
                  </a:moveTo>
                  <a:cubicBezTo>
                    <a:pt x="2804" y="442"/>
                    <a:pt x="2300" y="694"/>
                    <a:pt x="1733" y="694"/>
                  </a:cubicBezTo>
                  <a:lnTo>
                    <a:pt x="0" y="694"/>
                  </a:lnTo>
                  <a:lnTo>
                    <a:pt x="0" y="2426"/>
                  </a:lnTo>
                  <a:cubicBezTo>
                    <a:pt x="0" y="3372"/>
                    <a:pt x="788" y="4159"/>
                    <a:pt x="1733" y="4159"/>
                  </a:cubicBezTo>
                  <a:lnTo>
                    <a:pt x="3119" y="4159"/>
                  </a:lnTo>
                  <a:cubicBezTo>
                    <a:pt x="4064" y="4159"/>
                    <a:pt x="4852" y="3372"/>
                    <a:pt x="4852" y="2426"/>
                  </a:cubicBezTo>
                  <a:lnTo>
                    <a:pt x="4852" y="694"/>
                  </a:lnTo>
                  <a:lnTo>
                    <a:pt x="4505" y="694"/>
                  </a:lnTo>
                  <a:cubicBezTo>
                    <a:pt x="3938" y="694"/>
                    <a:pt x="3434" y="442"/>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7" name="Google Shape;7197;p72"/>
          <p:cNvGrpSpPr/>
          <p:nvPr/>
        </p:nvGrpSpPr>
        <p:grpSpPr>
          <a:xfrm>
            <a:off x="6649963" y="4104585"/>
            <a:ext cx="351024" cy="350079"/>
            <a:chOff x="6553275" y="3604550"/>
            <a:chExt cx="296975" cy="296175"/>
          </a:xfrm>
        </p:grpSpPr>
        <p:sp>
          <p:nvSpPr>
            <p:cNvPr id="7198" name="Google Shape;7198;p72"/>
            <p:cNvSpPr/>
            <p:nvPr/>
          </p:nvSpPr>
          <p:spPr>
            <a:xfrm>
              <a:off x="6657250" y="3604550"/>
              <a:ext cx="86650" cy="86650"/>
            </a:xfrm>
            <a:custGeom>
              <a:avLst/>
              <a:gdLst/>
              <a:ahLst/>
              <a:cxnLst/>
              <a:rect l="l" t="t" r="r" b="b"/>
              <a:pathLst>
                <a:path w="3466" h="3466" extrusionOk="0">
                  <a:moveTo>
                    <a:pt x="1733" y="0"/>
                  </a:moveTo>
                  <a:cubicBezTo>
                    <a:pt x="788" y="0"/>
                    <a:pt x="0" y="788"/>
                    <a:pt x="0" y="1733"/>
                  </a:cubicBezTo>
                  <a:cubicBezTo>
                    <a:pt x="0" y="2678"/>
                    <a:pt x="788" y="3466"/>
                    <a:pt x="1733" y="3466"/>
                  </a:cubicBezTo>
                  <a:cubicBezTo>
                    <a:pt x="2678" y="3466"/>
                    <a:pt x="3466" y="2678"/>
                    <a:pt x="3466" y="1733"/>
                  </a:cubicBez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72"/>
            <p:cNvSpPr/>
            <p:nvPr/>
          </p:nvSpPr>
          <p:spPr>
            <a:xfrm>
              <a:off x="6553275" y="3777825"/>
              <a:ext cx="296975" cy="122900"/>
            </a:xfrm>
            <a:custGeom>
              <a:avLst/>
              <a:gdLst/>
              <a:ahLst/>
              <a:cxnLst/>
              <a:rect l="l" t="t" r="r" b="b"/>
              <a:pathLst>
                <a:path w="11879" h="4916" extrusionOk="0">
                  <a:moveTo>
                    <a:pt x="694" y="0"/>
                  </a:moveTo>
                  <a:cubicBezTo>
                    <a:pt x="316" y="0"/>
                    <a:pt x="1" y="315"/>
                    <a:pt x="1" y="693"/>
                  </a:cubicBezTo>
                  <a:cubicBezTo>
                    <a:pt x="1" y="1103"/>
                    <a:pt x="316" y="1418"/>
                    <a:pt x="694" y="1418"/>
                  </a:cubicBezTo>
                  <a:lnTo>
                    <a:pt x="694" y="4569"/>
                  </a:lnTo>
                  <a:cubicBezTo>
                    <a:pt x="694" y="4758"/>
                    <a:pt x="851" y="4915"/>
                    <a:pt x="1040" y="4915"/>
                  </a:cubicBezTo>
                  <a:lnTo>
                    <a:pt x="10807" y="4915"/>
                  </a:lnTo>
                  <a:cubicBezTo>
                    <a:pt x="11028" y="4915"/>
                    <a:pt x="11185" y="4758"/>
                    <a:pt x="11185" y="4569"/>
                  </a:cubicBezTo>
                  <a:lnTo>
                    <a:pt x="11185" y="1418"/>
                  </a:lnTo>
                  <a:cubicBezTo>
                    <a:pt x="11563" y="1418"/>
                    <a:pt x="11878" y="1103"/>
                    <a:pt x="11878" y="693"/>
                  </a:cubicBezTo>
                  <a:cubicBezTo>
                    <a:pt x="11815" y="315"/>
                    <a:pt x="11500" y="0"/>
                    <a:pt x="111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2"/>
            <p:cNvSpPr/>
            <p:nvPr/>
          </p:nvSpPr>
          <p:spPr>
            <a:xfrm>
              <a:off x="6755700" y="3640000"/>
              <a:ext cx="74850" cy="121300"/>
            </a:xfrm>
            <a:custGeom>
              <a:avLst/>
              <a:gdLst/>
              <a:ahLst/>
              <a:cxnLst/>
              <a:rect l="l" t="t" r="r" b="b"/>
              <a:pathLst>
                <a:path w="2994" h="4852" extrusionOk="0">
                  <a:moveTo>
                    <a:pt x="190" y="0"/>
                  </a:moveTo>
                  <a:cubicBezTo>
                    <a:pt x="190" y="126"/>
                    <a:pt x="253" y="221"/>
                    <a:pt x="253" y="347"/>
                  </a:cubicBezTo>
                  <a:cubicBezTo>
                    <a:pt x="253" y="693"/>
                    <a:pt x="158" y="1071"/>
                    <a:pt x="1" y="1386"/>
                  </a:cubicBezTo>
                  <a:cubicBezTo>
                    <a:pt x="977" y="2079"/>
                    <a:pt x="1607" y="3182"/>
                    <a:pt x="1607" y="4474"/>
                  </a:cubicBezTo>
                  <a:lnTo>
                    <a:pt x="1607" y="4852"/>
                  </a:lnTo>
                  <a:lnTo>
                    <a:pt x="2994" y="4852"/>
                  </a:lnTo>
                  <a:lnTo>
                    <a:pt x="2489" y="756"/>
                  </a:lnTo>
                  <a:cubicBezTo>
                    <a:pt x="2363" y="315"/>
                    <a:pt x="1922"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72"/>
            <p:cNvSpPr/>
            <p:nvPr/>
          </p:nvSpPr>
          <p:spPr>
            <a:xfrm>
              <a:off x="6570600" y="3640000"/>
              <a:ext cx="74850" cy="121300"/>
            </a:xfrm>
            <a:custGeom>
              <a:avLst/>
              <a:gdLst/>
              <a:ahLst/>
              <a:cxnLst/>
              <a:rect l="l" t="t" r="r" b="b"/>
              <a:pathLst>
                <a:path w="2994" h="4852" extrusionOk="0">
                  <a:moveTo>
                    <a:pt x="1545" y="0"/>
                  </a:moveTo>
                  <a:cubicBezTo>
                    <a:pt x="1072" y="0"/>
                    <a:pt x="663" y="315"/>
                    <a:pt x="505" y="788"/>
                  </a:cubicBezTo>
                  <a:lnTo>
                    <a:pt x="1" y="4852"/>
                  </a:lnTo>
                  <a:lnTo>
                    <a:pt x="1356" y="4852"/>
                  </a:lnTo>
                  <a:lnTo>
                    <a:pt x="1356" y="4474"/>
                  </a:lnTo>
                  <a:lnTo>
                    <a:pt x="1387" y="4474"/>
                  </a:lnTo>
                  <a:cubicBezTo>
                    <a:pt x="1387" y="3182"/>
                    <a:pt x="2017" y="2048"/>
                    <a:pt x="2994" y="1386"/>
                  </a:cubicBezTo>
                  <a:cubicBezTo>
                    <a:pt x="2836" y="1071"/>
                    <a:pt x="2773" y="693"/>
                    <a:pt x="2773" y="347"/>
                  </a:cubicBezTo>
                  <a:cubicBezTo>
                    <a:pt x="2773" y="221"/>
                    <a:pt x="2773" y="95"/>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72"/>
            <p:cNvSpPr/>
            <p:nvPr/>
          </p:nvSpPr>
          <p:spPr>
            <a:xfrm>
              <a:off x="6707650" y="3688025"/>
              <a:ext cx="70925" cy="70925"/>
            </a:xfrm>
            <a:custGeom>
              <a:avLst/>
              <a:gdLst/>
              <a:ahLst/>
              <a:cxnLst/>
              <a:rect l="l" t="t" r="r" b="b"/>
              <a:pathLst>
                <a:path w="2837" h="2837" extrusionOk="0">
                  <a:moveTo>
                    <a:pt x="1482" y="1"/>
                  </a:moveTo>
                  <a:cubicBezTo>
                    <a:pt x="1450" y="32"/>
                    <a:pt x="1418" y="64"/>
                    <a:pt x="1324" y="127"/>
                  </a:cubicBezTo>
                  <a:cubicBezTo>
                    <a:pt x="1324" y="190"/>
                    <a:pt x="1292" y="253"/>
                    <a:pt x="1261" y="284"/>
                  </a:cubicBezTo>
                  <a:lnTo>
                    <a:pt x="1" y="1923"/>
                  </a:lnTo>
                  <a:lnTo>
                    <a:pt x="1" y="2836"/>
                  </a:lnTo>
                  <a:lnTo>
                    <a:pt x="2742" y="2836"/>
                  </a:lnTo>
                  <a:lnTo>
                    <a:pt x="2742" y="2553"/>
                  </a:lnTo>
                  <a:lnTo>
                    <a:pt x="2836" y="2553"/>
                  </a:lnTo>
                  <a:cubicBezTo>
                    <a:pt x="2836" y="1513"/>
                    <a:pt x="2332" y="599"/>
                    <a:pt x="1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2"/>
            <p:cNvSpPr/>
            <p:nvPr/>
          </p:nvSpPr>
          <p:spPr>
            <a:xfrm>
              <a:off x="6621025" y="3688825"/>
              <a:ext cx="70900" cy="73275"/>
            </a:xfrm>
            <a:custGeom>
              <a:avLst/>
              <a:gdLst/>
              <a:ahLst/>
              <a:cxnLst/>
              <a:rect l="l" t="t" r="r" b="b"/>
              <a:pathLst>
                <a:path w="2836" h="2931" extrusionOk="0">
                  <a:moveTo>
                    <a:pt x="1323" y="0"/>
                  </a:moveTo>
                  <a:cubicBezTo>
                    <a:pt x="536" y="567"/>
                    <a:pt x="0" y="1513"/>
                    <a:pt x="0" y="2584"/>
                  </a:cubicBezTo>
                  <a:lnTo>
                    <a:pt x="0" y="2930"/>
                  </a:lnTo>
                  <a:lnTo>
                    <a:pt x="2741" y="2930"/>
                  </a:lnTo>
                  <a:lnTo>
                    <a:pt x="2741" y="1922"/>
                  </a:lnTo>
                  <a:lnTo>
                    <a:pt x="2836" y="1922"/>
                  </a:lnTo>
                  <a:lnTo>
                    <a:pt x="1575" y="284"/>
                  </a:lnTo>
                  <a:cubicBezTo>
                    <a:pt x="1512" y="252"/>
                    <a:pt x="1512" y="158"/>
                    <a:pt x="1481" y="126"/>
                  </a:cubicBezTo>
                  <a:cubicBezTo>
                    <a:pt x="1449" y="95"/>
                    <a:pt x="1355" y="63"/>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04" name="Google Shape;7204;p72"/>
          <p:cNvSpPr txBox="1"/>
          <p:nvPr/>
        </p:nvSpPr>
        <p:spPr>
          <a:xfrm>
            <a:off x="849675"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Business Icons</a:t>
            </a:r>
            <a:endParaRPr sz="2400">
              <a:solidFill>
                <a:srgbClr val="FFFFFF"/>
              </a:solidFill>
            </a:endParaRPr>
          </a:p>
        </p:txBody>
      </p:sp>
      <p:sp>
        <p:nvSpPr>
          <p:cNvPr id="7205" name="Google Shape;7205;p72"/>
          <p:cNvSpPr txBox="1"/>
          <p:nvPr/>
        </p:nvSpPr>
        <p:spPr>
          <a:xfrm>
            <a:off x="4858400"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Teamwork Icons</a:t>
            </a:r>
            <a:endParaRPr sz="2400">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Lin Reg (</a:t>
            </a:r>
            <a:r>
              <a:rPr lang="en-GB" sz="2000" dirty="0" err="1"/>
              <a:t>Wiktor</a:t>
            </a:r>
            <a:r>
              <a:rPr lang="en-GB" sz="2000" dirty="0"/>
              <a:t>)</a:t>
            </a:r>
            <a:endParaRPr lang="en-AT" sz="2000" dirty="0"/>
          </a:p>
        </p:txBody>
      </p:sp>
      <p:grpSp>
        <p:nvGrpSpPr>
          <p:cNvPr id="2" name="Google Shape;2269;p64">
            <a:extLst>
              <a:ext uri="{FF2B5EF4-FFF2-40B4-BE49-F238E27FC236}">
                <a16:creationId xmlns:a16="http://schemas.microsoft.com/office/drawing/2014/main" id="{02DAE598-3B23-A1B7-065D-BBC1EFE524A2}"/>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A855D889-3C1C-DFD5-FB8F-E0EDC57FBFF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1BBFE062-DEBF-4549-7FCC-1DF265ACD00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A38E455-B12E-CD9D-4C1E-CB627FC21F24}"/>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9E11954C-13E4-6826-A074-EAF6CBB503E6}"/>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F888A9A7-3428-88EC-597C-489369A574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1938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209"/>
        <p:cNvGrpSpPr/>
        <p:nvPr/>
      </p:nvGrpSpPr>
      <p:grpSpPr>
        <a:xfrm>
          <a:off x="0" y="0"/>
          <a:ext cx="0" cy="0"/>
          <a:chOff x="0" y="0"/>
          <a:chExt cx="0" cy="0"/>
        </a:xfrm>
      </p:grpSpPr>
      <p:grpSp>
        <p:nvGrpSpPr>
          <p:cNvPr id="7210" name="Google Shape;7210;p73"/>
          <p:cNvGrpSpPr/>
          <p:nvPr/>
        </p:nvGrpSpPr>
        <p:grpSpPr>
          <a:xfrm>
            <a:off x="877057" y="1380546"/>
            <a:ext cx="294401" cy="353645"/>
            <a:chOff x="-35814600" y="3202075"/>
            <a:chExt cx="242625" cy="291450"/>
          </a:xfrm>
        </p:grpSpPr>
        <p:sp>
          <p:nvSpPr>
            <p:cNvPr id="7211" name="Google Shape;7211;p73"/>
            <p:cNvSpPr/>
            <p:nvPr/>
          </p:nvSpPr>
          <p:spPr>
            <a:xfrm>
              <a:off x="-35814600" y="3202075"/>
              <a:ext cx="51225" cy="202450"/>
            </a:xfrm>
            <a:custGeom>
              <a:avLst/>
              <a:gdLst/>
              <a:ahLst/>
              <a:cxnLst/>
              <a:rect l="l" t="t" r="r" b="b"/>
              <a:pathLst>
                <a:path w="2049" h="8098" extrusionOk="0">
                  <a:moveTo>
                    <a:pt x="1702" y="0"/>
                  </a:moveTo>
                  <a:cubicBezTo>
                    <a:pt x="757" y="0"/>
                    <a:pt x="1" y="788"/>
                    <a:pt x="1" y="1733"/>
                  </a:cubicBezTo>
                  <a:lnTo>
                    <a:pt x="1" y="8097"/>
                  </a:lnTo>
                  <a:cubicBezTo>
                    <a:pt x="348" y="7782"/>
                    <a:pt x="820" y="7562"/>
                    <a:pt x="1387" y="7562"/>
                  </a:cubicBezTo>
                  <a:lnTo>
                    <a:pt x="2049" y="7562"/>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3"/>
            <p:cNvSpPr/>
            <p:nvPr/>
          </p:nvSpPr>
          <p:spPr>
            <a:xfrm>
              <a:off x="-35814600" y="3407650"/>
              <a:ext cx="242625" cy="68550"/>
            </a:xfrm>
            <a:custGeom>
              <a:avLst/>
              <a:gdLst/>
              <a:ahLst/>
              <a:cxnLst/>
              <a:rect l="l" t="t" r="r" b="b"/>
              <a:pathLst>
                <a:path w="9705" h="2742" extrusionOk="0">
                  <a:moveTo>
                    <a:pt x="1387" y="0"/>
                  </a:moveTo>
                  <a:cubicBezTo>
                    <a:pt x="631" y="0"/>
                    <a:pt x="1" y="630"/>
                    <a:pt x="1" y="1386"/>
                  </a:cubicBezTo>
                  <a:cubicBezTo>
                    <a:pt x="1" y="2111"/>
                    <a:pt x="600" y="2741"/>
                    <a:pt x="1356" y="2741"/>
                  </a:cubicBezTo>
                  <a:lnTo>
                    <a:pt x="4758" y="2741"/>
                  </a:lnTo>
                  <a:lnTo>
                    <a:pt x="4758" y="1733"/>
                  </a:lnTo>
                  <a:lnTo>
                    <a:pt x="1702" y="1733"/>
                  </a:lnTo>
                  <a:cubicBezTo>
                    <a:pt x="1513" y="1733"/>
                    <a:pt x="1356" y="1575"/>
                    <a:pt x="1356" y="1355"/>
                  </a:cubicBezTo>
                  <a:cubicBezTo>
                    <a:pt x="1356" y="1166"/>
                    <a:pt x="1513" y="1008"/>
                    <a:pt x="1702" y="1008"/>
                  </a:cubicBezTo>
                  <a:lnTo>
                    <a:pt x="9232" y="1008"/>
                  </a:lnTo>
                  <a:cubicBezTo>
                    <a:pt x="9263" y="851"/>
                    <a:pt x="9326" y="662"/>
                    <a:pt x="9452" y="536"/>
                  </a:cubicBezTo>
                  <a:cubicBezTo>
                    <a:pt x="9704" y="221"/>
                    <a:pt x="9484" y="0"/>
                    <a:pt x="92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73"/>
            <p:cNvSpPr/>
            <p:nvPr/>
          </p:nvSpPr>
          <p:spPr>
            <a:xfrm>
              <a:off x="-35627125" y="3450950"/>
              <a:ext cx="55150" cy="25250"/>
            </a:xfrm>
            <a:custGeom>
              <a:avLst/>
              <a:gdLst/>
              <a:ahLst/>
              <a:cxnLst/>
              <a:rect l="l" t="t" r="r" b="b"/>
              <a:pathLst>
                <a:path w="2206" h="1010" extrusionOk="0">
                  <a:moveTo>
                    <a:pt x="0" y="1"/>
                  </a:moveTo>
                  <a:lnTo>
                    <a:pt x="0" y="1009"/>
                  </a:lnTo>
                  <a:lnTo>
                    <a:pt x="1670" y="1009"/>
                  </a:lnTo>
                  <a:cubicBezTo>
                    <a:pt x="1953" y="1009"/>
                    <a:pt x="2205" y="788"/>
                    <a:pt x="1953" y="505"/>
                  </a:cubicBezTo>
                  <a:cubicBezTo>
                    <a:pt x="1827" y="347"/>
                    <a:pt x="1764" y="190"/>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73"/>
            <p:cNvSpPr/>
            <p:nvPr/>
          </p:nvSpPr>
          <p:spPr>
            <a:xfrm>
              <a:off x="-35703525" y="3305250"/>
              <a:ext cx="84300" cy="34675"/>
            </a:xfrm>
            <a:custGeom>
              <a:avLst/>
              <a:gdLst/>
              <a:ahLst/>
              <a:cxnLst/>
              <a:rect l="l" t="t" r="r" b="b"/>
              <a:pathLst>
                <a:path w="3372" h="1387" extrusionOk="0">
                  <a:moveTo>
                    <a:pt x="1701" y="0"/>
                  </a:moveTo>
                  <a:cubicBezTo>
                    <a:pt x="882" y="0"/>
                    <a:pt x="221" y="599"/>
                    <a:pt x="0" y="1387"/>
                  </a:cubicBezTo>
                  <a:lnTo>
                    <a:pt x="3371" y="1387"/>
                  </a:lnTo>
                  <a:cubicBezTo>
                    <a:pt x="3214" y="599"/>
                    <a:pt x="2521"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3"/>
            <p:cNvSpPr/>
            <p:nvPr/>
          </p:nvSpPr>
          <p:spPr>
            <a:xfrm>
              <a:off x="-35677550" y="3254050"/>
              <a:ext cx="33100" cy="33100"/>
            </a:xfrm>
            <a:custGeom>
              <a:avLst/>
              <a:gdLst/>
              <a:ahLst/>
              <a:cxnLst/>
              <a:rect l="l" t="t" r="r" b="b"/>
              <a:pathLst>
                <a:path w="1324" h="1324" extrusionOk="0">
                  <a:moveTo>
                    <a:pt x="662" y="1"/>
                  </a:moveTo>
                  <a:cubicBezTo>
                    <a:pt x="316" y="1"/>
                    <a:pt x="1" y="284"/>
                    <a:pt x="1" y="662"/>
                  </a:cubicBezTo>
                  <a:cubicBezTo>
                    <a:pt x="1" y="1040"/>
                    <a:pt x="316" y="1324"/>
                    <a:pt x="662" y="1324"/>
                  </a:cubicBezTo>
                  <a:cubicBezTo>
                    <a:pt x="1040" y="1324"/>
                    <a:pt x="1324" y="1040"/>
                    <a:pt x="1324" y="662"/>
                  </a:cubicBezTo>
                  <a:cubicBezTo>
                    <a:pt x="1324" y="284"/>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73"/>
            <p:cNvSpPr/>
            <p:nvPr/>
          </p:nvSpPr>
          <p:spPr>
            <a:xfrm>
              <a:off x="-35746850" y="3202075"/>
              <a:ext cx="171725" cy="189050"/>
            </a:xfrm>
            <a:custGeom>
              <a:avLst/>
              <a:gdLst/>
              <a:ahLst/>
              <a:cxnLst/>
              <a:rect l="l" t="t" r="r" b="b"/>
              <a:pathLst>
                <a:path w="6869" h="7562" extrusionOk="0">
                  <a:moveTo>
                    <a:pt x="3434" y="1355"/>
                  </a:moveTo>
                  <a:cubicBezTo>
                    <a:pt x="4191" y="1355"/>
                    <a:pt x="4821" y="1985"/>
                    <a:pt x="4821" y="2741"/>
                  </a:cubicBezTo>
                  <a:cubicBezTo>
                    <a:pt x="4821" y="3088"/>
                    <a:pt x="4663" y="3403"/>
                    <a:pt x="4474" y="3655"/>
                  </a:cubicBezTo>
                  <a:cubicBezTo>
                    <a:pt x="5293" y="4033"/>
                    <a:pt x="5829" y="4852"/>
                    <a:pt x="5829" y="5829"/>
                  </a:cubicBezTo>
                  <a:cubicBezTo>
                    <a:pt x="5829" y="6018"/>
                    <a:pt x="5671" y="6175"/>
                    <a:pt x="5482" y="6175"/>
                  </a:cubicBezTo>
                  <a:lnTo>
                    <a:pt x="1387" y="6175"/>
                  </a:lnTo>
                  <a:cubicBezTo>
                    <a:pt x="1198" y="6175"/>
                    <a:pt x="1040" y="6018"/>
                    <a:pt x="1040" y="5829"/>
                  </a:cubicBezTo>
                  <a:cubicBezTo>
                    <a:pt x="1040" y="4852"/>
                    <a:pt x="1576" y="4033"/>
                    <a:pt x="2426" y="3655"/>
                  </a:cubicBezTo>
                  <a:cubicBezTo>
                    <a:pt x="2174" y="3403"/>
                    <a:pt x="2048" y="3088"/>
                    <a:pt x="2048" y="2741"/>
                  </a:cubicBezTo>
                  <a:cubicBezTo>
                    <a:pt x="2048" y="1985"/>
                    <a:pt x="2678" y="1355"/>
                    <a:pt x="3434" y="1355"/>
                  </a:cubicBezTo>
                  <a:close/>
                  <a:moveTo>
                    <a:pt x="0" y="0"/>
                  </a:moveTo>
                  <a:lnTo>
                    <a:pt x="0" y="7562"/>
                  </a:lnTo>
                  <a:lnTo>
                    <a:pt x="6868" y="7562"/>
                  </a:lnTo>
                  <a:lnTo>
                    <a:pt x="6868" y="1009"/>
                  </a:lnTo>
                  <a:cubicBezTo>
                    <a:pt x="6868" y="473"/>
                    <a:pt x="6396"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73"/>
            <p:cNvSpPr/>
            <p:nvPr/>
          </p:nvSpPr>
          <p:spPr>
            <a:xfrm>
              <a:off x="-35677550" y="3450950"/>
              <a:ext cx="34675" cy="42575"/>
            </a:xfrm>
            <a:custGeom>
              <a:avLst/>
              <a:gdLst/>
              <a:ahLst/>
              <a:cxnLst/>
              <a:rect l="l" t="t" r="r" b="b"/>
              <a:pathLst>
                <a:path w="1387" h="1703" extrusionOk="0">
                  <a:moveTo>
                    <a:pt x="1" y="1"/>
                  </a:moveTo>
                  <a:lnTo>
                    <a:pt x="1" y="1702"/>
                  </a:lnTo>
                  <a:lnTo>
                    <a:pt x="505" y="1387"/>
                  </a:lnTo>
                  <a:cubicBezTo>
                    <a:pt x="536" y="1324"/>
                    <a:pt x="631" y="1324"/>
                    <a:pt x="694" y="1324"/>
                  </a:cubicBezTo>
                  <a:cubicBezTo>
                    <a:pt x="711" y="1316"/>
                    <a:pt x="725" y="1312"/>
                    <a:pt x="739" y="1312"/>
                  </a:cubicBezTo>
                  <a:cubicBezTo>
                    <a:pt x="776" y="1312"/>
                    <a:pt x="805" y="1341"/>
                    <a:pt x="851" y="1387"/>
                  </a:cubicBezTo>
                  <a:lnTo>
                    <a:pt x="1387" y="1702"/>
                  </a:ln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8" name="Google Shape;7218;p73"/>
          <p:cNvGrpSpPr/>
          <p:nvPr/>
        </p:nvGrpSpPr>
        <p:grpSpPr>
          <a:xfrm>
            <a:off x="847435" y="1821466"/>
            <a:ext cx="353645" cy="353888"/>
            <a:chOff x="-35839800" y="3561025"/>
            <a:chExt cx="291450" cy="291650"/>
          </a:xfrm>
        </p:grpSpPr>
        <p:sp>
          <p:nvSpPr>
            <p:cNvPr id="7219" name="Google Shape;7219;p73"/>
            <p:cNvSpPr/>
            <p:nvPr/>
          </p:nvSpPr>
          <p:spPr>
            <a:xfrm>
              <a:off x="-35772850" y="3612425"/>
              <a:ext cx="155200" cy="142575"/>
            </a:xfrm>
            <a:custGeom>
              <a:avLst/>
              <a:gdLst/>
              <a:ahLst/>
              <a:cxnLst/>
              <a:rect l="l" t="t" r="r" b="b"/>
              <a:pathLst>
                <a:path w="6208" h="5703" extrusionOk="0">
                  <a:moveTo>
                    <a:pt x="3088" y="693"/>
                  </a:moveTo>
                  <a:cubicBezTo>
                    <a:pt x="3655" y="693"/>
                    <a:pt x="4128" y="1166"/>
                    <a:pt x="4128" y="1733"/>
                  </a:cubicBezTo>
                  <a:cubicBezTo>
                    <a:pt x="4128" y="2174"/>
                    <a:pt x="3844" y="2552"/>
                    <a:pt x="3466" y="2710"/>
                  </a:cubicBezTo>
                  <a:lnTo>
                    <a:pt x="3466" y="3119"/>
                  </a:lnTo>
                  <a:cubicBezTo>
                    <a:pt x="3466" y="3308"/>
                    <a:pt x="3309" y="3466"/>
                    <a:pt x="3088" y="3466"/>
                  </a:cubicBezTo>
                  <a:cubicBezTo>
                    <a:pt x="2899" y="3466"/>
                    <a:pt x="2742" y="3308"/>
                    <a:pt x="2742" y="3119"/>
                  </a:cubicBezTo>
                  <a:lnTo>
                    <a:pt x="2742" y="2710"/>
                  </a:lnTo>
                  <a:cubicBezTo>
                    <a:pt x="2742" y="2426"/>
                    <a:pt x="2931" y="2174"/>
                    <a:pt x="3214" y="2080"/>
                  </a:cubicBezTo>
                  <a:cubicBezTo>
                    <a:pt x="3340" y="2048"/>
                    <a:pt x="3466" y="1891"/>
                    <a:pt x="3466" y="1765"/>
                  </a:cubicBezTo>
                  <a:cubicBezTo>
                    <a:pt x="3466" y="1576"/>
                    <a:pt x="3309" y="1418"/>
                    <a:pt x="3088" y="1418"/>
                  </a:cubicBezTo>
                  <a:cubicBezTo>
                    <a:pt x="2899" y="1418"/>
                    <a:pt x="2742" y="1576"/>
                    <a:pt x="2742" y="1765"/>
                  </a:cubicBezTo>
                  <a:cubicBezTo>
                    <a:pt x="2742" y="1954"/>
                    <a:pt x="2584" y="2111"/>
                    <a:pt x="2395" y="2111"/>
                  </a:cubicBezTo>
                  <a:cubicBezTo>
                    <a:pt x="2206" y="2111"/>
                    <a:pt x="2049" y="1954"/>
                    <a:pt x="2049" y="1765"/>
                  </a:cubicBezTo>
                  <a:cubicBezTo>
                    <a:pt x="2080" y="1166"/>
                    <a:pt x="2553" y="693"/>
                    <a:pt x="3088" y="693"/>
                  </a:cubicBezTo>
                  <a:close/>
                  <a:moveTo>
                    <a:pt x="3088" y="3781"/>
                  </a:moveTo>
                  <a:cubicBezTo>
                    <a:pt x="3309" y="3781"/>
                    <a:pt x="3466" y="3938"/>
                    <a:pt x="3466" y="4127"/>
                  </a:cubicBezTo>
                  <a:cubicBezTo>
                    <a:pt x="3466" y="4317"/>
                    <a:pt x="3309" y="4474"/>
                    <a:pt x="3088" y="4474"/>
                  </a:cubicBezTo>
                  <a:cubicBezTo>
                    <a:pt x="2899" y="4474"/>
                    <a:pt x="2742" y="4317"/>
                    <a:pt x="2742" y="4127"/>
                  </a:cubicBezTo>
                  <a:cubicBezTo>
                    <a:pt x="2742" y="3938"/>
                    <a:pt x="2899" y="3781"/>
                    <a:pt x="3088" y="3781"/>
                  </a:cubicBezTo>
                  <a:close/>
                  <a:moveTo>
                    <a:pt x="347" y="0"/>
                  </a:moveTo>
                  <a:cubicBezTo>
                    <a:pt x="158" y="32"/>
                    <a:pt x="1" y="189"/>
                    <a:pt x="1" y="347"/>
                  </a:cubicBezTo>
                  <a:lnTo>
                    <a:pt x="1" y="5010"/>
                  </a:lnTo>
                  <a:lnTo>
                    <a:pt x="694" y="5703"/>
                  </a:lnTo>
                  <a:cubicBezTo>
                    <a:pt x="1371" y="5088"/>
                    <a:pt x="2238" y="4781"/>
                    <a:pt x="3104" y="4781"/>
                  </a:cubicBezTo>
                  <a:cubicBezTo>
                    <a:pt x="3970" y="4781"/>
                    <a:pt x="4837" y="5088"/>
                    <a:pt x="5514" y="5703"/>
                  </a:cubicBezTo>
                  <a:lnTo>
                    <a:pt x="6207" y="5010"/>
                  </a:lnTo>
                  <a:lnTo>
                    <a:pt x="6207" y="347"/>
                  </a:lnTo>
                  <a:cubicBezTo>
                    <a:pt x="6207" y="158"/>
                    <a:pt x="6050" y="0"/>
                    <a:pt x="58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73"/>
            <p:cNvSpPr/>
            <p:nvPr/>
          </p:nvSpPr>
          <p:spPr>
            <a:xfrm>
              <a:off x="-35621625" y="3694325"/>
              <a:ext cx="73275" cy="143375"/>
            </a:xfrm>
            <a:custGeom>
              <a:avLst/>
              <a:gdLst/>
              <a:ahLst/>
              <a:cxnLst/>
              <a:rect l="l" t="t" r="r" b="b"/>
              <a:pathLst>
                <a:path w="2931" h="5735" extrusionOk="0">
                  <a:moveTo>
                    <a:pt x="2931" y="1"/>
                  </a:moveTo>
                  <a:lnTo>
                    <a:pt x="1" y="2899"/>
                  </a:lnTo>
                  <a:lnTo>
                    <a:pt x="2805" y="5735"/>
                  </a:lnTo>
                  <a:cubicBezTo>
                    <a:pt x="2868" y="5609"/>
                    <a:pt x="2931" y="5451"/>
                    <a:pt x="2931" y="5294"/>
                  </a:cubicBez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3"/>
            <p:cNvSpPr/>
            <p:nvPr/>
          </p:nvSpPr>
          <p:spPr>
            <a:xfrm>
              <a:off x="-35827200" y="3748675"/>
              <a:ext cx="263100" cy="104000"/>
            </a:xfrm>
            <a:custGeom>
              <a:avLst/>
              <a:gdLst/>
              <a:ahLst/>
              <a:cxnLst/>
              <a:rect l="l" t="t" r="r" b="b"/>
              <a:pathLst>
                <a:path w="10524" h="4160" extrusionOk="0">
                  <a:moveTo>
                    <a:pt x="5235" y="1"/>
                  </a:moveTo>
                  <a:cubicBezTo>
                    <a:pt x="4482" y="1"/>
                    <a:pt x="3734" y="284"/>
                    <a:pt x="3183" y="851"/>
                  </a:cubicBezTo>
                  <a:lnTo>
                    <a:pt x="1" y="4033"/>
                  </a:lnTo>
                  <a:cubicBezTo>
                    <a:pt x="158" y="4128"/>
                    <a:pt x="316" y="4159"/>
                    <a:pt x="473" y="4159"/>
                  </a:cubicBezTo>
                  <a:lnTo>
                    <a:pt x="10082" y="4159"/>
                  </a:lnTo>
                  <a:cubicBezTo>
                    <a:pt x="10240" y="4159"/>
                    <a:pt x="10398" y="4128"/>
                    <a:pt x="10524" y="4033"/>
                  </a:cubicBezTo>
                  <a:lnTo>
                    <a:pt x="7310" y="851"/>
                  </a:lnTo>
                  <a:cubicBezTo>
                    <a:pt x="6743" y="284"/>
                    <a:pt x="5987" y="1"/>
                    <a:pt x="5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73"/>
            <p:cNvSpPr/>
            <p:nvPr/>
          </p:nvSpPr>
          <p:spPr>
            <a:xfrm>
              <a:off x="-35831925" y="3635275"/>
              <a:ext cx="41775" cy="85075"/>
            </a:xfrm>
            <a:custGeom>
              <a:avLst/>
              <a:gdLst/>
              <a:ahLst/>
              <a:cxnLst/>
              <a:rect l="l" t="t" r="r" b="b"/>
              <a:pathLst>
                <a:path w="1671" h="3403" extrusionOk="0">
                  <a:moveTo>
                    <a:pt x="1671" y="0"/>
                  </a:moveTo>
                  <a:lnTo>
                    <a:pt x="1" y="1701"/>
                  </a:lnTo>
                  <a:lnTo>
                    <a:pt x="1671" y="3403"/>
                  </a:ln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73"/>
            <p:cNvSpPr/>
            <p:nvPr/>
          </p:nvSpPr>
          <p:spPr>
            <a:xfrm>
              <a:off x="-35601150" y="3635275"/>
              <a:ext cx="43350" cy="85075"/>
            </a:xfrm>
            <a:custGeom>
              <a:avLst/>
              <a:gdLst/>
              <a:ahLst/>
              <a:cxnLst/>
              <a:rect l="l" t="t" r="r" b="b"/>
              <a:pathLst>
                <a:path w="1734" h="3403" extrusionOk="0">
                  <a:moveTo>
                    <a:pt x="1" y="0"/>
                  </a:moveTo>
                  <a:lnTo>
                    <a:pt x="1" y="3403"/>
                  </a:lnTo>
                  <a:lnTo>
                    <a:pt x="1734" y="170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3"/>
            <p:cNvSpPr/>
            <p:nvPr/>
          </p:nvSpPr>
          <p:spPr>
            <a:xfrm>
              <a:off x="-35750000" y="3561025"/>
              <a:ext cx="111075" cy="35675"/>
            </a:xfrm>
            <a:custGeom>
              <a:avLst/>
              <a:gdLst/>
              <a:ahLst/>
              <a:cxnLst/>
              <a:rect l="l" t="t" r="r" b="b"/>
              <a:pathLst>
                <a:path w="4443" h="1427" extrusionOk="0">
                  <a:moveTo>
                    <a:pt x="2182" y="1"/>
                  </a:moveTo>
                  <a:cubicBezTo>
                    <a:pt x="1686" y="1"/>
                    <a:pt x="1198" y="182"/>
                    <a:pt x="851" y="544"/>
                  </a:cubicBezTo>
                  <a:lnTo>
                    <a:pt x="0" y="1426"/>
                  </a:lnTo>
                  <a:lnTo>
                    <a:pt x="4443" y="1426"/>
                  </a:lnTo>
                  <a:lnTo>
                    <a:pt x="3560" y="544"/>
                  </a:lnTo>
                  <a:cubicBezTo>
                    <a:pt x="3182" y="182"/>
                    <a:pt x="2678" y="1"/>
                    <a:pt x="2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73"/>
            <p:cNvSpPr/>
            <p:nvPr/>
          </p:nvSpPr>
          <p:spPr>
            <a:xfrm>
              <a:off x="-35839800" y="3694325"/>
              <a:ext cx="72500" cy="143375"/>
            </a:xfrm>
            <a:custGeom>
              <a:avLst/>
              <a:gdLst/>
              <a:ahLst/>
              <a:cxnLst/>
              <a:rect l="l" t="t" r="r" b="b"/>
              <a:pathLst>
                <a:path w="2900" h="5735" extrusionOk="0">
                  <a:moveTo>
                    <a:pt x="1" y="1"/>
                  </a:moveTo>
                  <a:lnTo>
                    <a:pt x="1" y="5294"/>
                  </a:lnTo>
                  <a:cubicBezTo>
                    <a:pt x="1" y="5451"/>
                    <a:pt x="32" y="5609"/>
                    <a:pt x="95" y="5735"/>
                  </a:cubicBezTo>
                  <a:lnTo>
                    <a:pt x="2899" y="289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26" name="Google Shape;7226;p73"/>
          <p:cNvSpPr/>
          <p:nvPr/>
        </p:nvSpPr>
        <p:spPr>
          <a:xfrm>
            <a:off x="845859" y="2257004"/>
            <a:ext cx="355557" cy="353645"/>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27" name="Google Shape;7227;p73"/>
          <p:cNvGrpSpPr/>
          <p:nvPr/>
        </p:nvGrpSpPr>
        <p:grpSpPr>
          <a:xfrm>
            <a:off x="3084980" y="1380546"/>
            <a:ext cx="353645" cy="353645"/>
            <a:chOff x="-34003850" y="3227275"/>
            <a:chExt cx="291450" cy="291450"/>
          </a:xfrm>
        </p:grpSpPr>
        <p:sp>
          <p:nvSpPr>
            <p:cNvPr id="7228" name="Google Shape;7228;p73"/>
            <p:cNvSpPr/>
            <p:nvPr/>
          </p:nvSpPr>
          <p:spPr>
            <a:xfrm>
              <a:off x="-33852625" y="3313925"/>
              <a:ext cx="128425" cy="49625"/>
            </a:xfrm>
            <a:custGeom>
              <a:avLst/>
              <a:gdLst/>
              <a:ahLst/>
              <a:cxnLst/>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73"/>
            <p:cNvSpPr/>
            <p:nvPr/>
          </p:nvSpPr>
          <p:spPr>
            <a:xfrm>
              <a:off x="-33866000" y="3328875"/>
              <a:ext cx="153600" cy="103200"/>
            </a:xfrm>
            <a:custGeom>
              <a:avLst/>
              <a:gdLst/>
              <a:ahLst/>
              <a:cxnLst/>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3"/>
            <p:cNvSpPr/>
            <p:nvPr/>
          </p:nvSpPr>
          <p:spPr>
            <a:xfrm>
              <a:off x="-34003850" y="3279250"/>
              <a:ext cx="189050" cy="188275"/>
            </a:xfrm>
            <a:custGeom>
              <a:avLst/>
              <a:gdLst/>
              <a:ahLst/>
              <a:cxnLst/>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73"/>
            <p:cNvSpPr/>
            <p:nvPr/>
          </p:nvSpPr>
          <p:spPr>
            <a:xfrm>
              <a:off x="-34003850" y="3227275"/>
              <a:ext cx="189050" cy="34675"/>
            </a:xfrm>
            <a:custGeom>
              <a:avLst/>
              <a:gdLst/>
              <a:ahLst/>
              <a:cxnLst/>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73"/>
            <p:cNvSpPr/>
            <p:nvPr/>
          </p:nvSpPr>
          <p:spPr>
            <a:xfrm>
              <a:off x="-34003850" y="3484050"/>
              <a:ext cx="189050" cy="34675"/>
            </a:xfrm>
            <a:custGeom>
              <a:avLst/>
              <a:gdLst/>
              <a:ahLst/>
              <a:cxnLst/>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3" name="Google Shape;7233;p73"/>
          <p:cNvGrpSpPr/>
          <p:nvPr/>
        </p:nvGrpSpPr>
        <p:grpSpPr>
          <a:xfrm>
            <a:off x="3084510" y="1821238"/>
            <a:ext cx="354586" cy="354343"/>
            <a:chOff x="-34004625" y="3585850"/>
            <a:chExt cx="292225" cy="292025"/>
          </a:xfrm>
        </p:grpSpPr>
        <p:sp>
          <p:nvSpPr>
            <p:cNvPr id="7234" name="Google Shape;7234;p73"/>
            <p:cNvSpPr/>
            <p:nvPr/>
          </p:nvSpPr>
          <p:spPr>
            <a:xfrm>
              <a:off x="-33832150" y="3585850"/>
              <a:ext cx="103200" cy="154200"/>
            </a:xfrm>
            <a:custGeom>
              <a:avLst/>
              <a:gdLst/>
              <a:ahLst/>
              <a:cxnLst/>
              <a:rect l="l" t="t" r="r" b="b"/>
              <a:pathLst>
                <a:path w="4128" h="6168" extrusionOk="0">
                  <a:moveTo>
                    <a:pt x="2426" y="1"/>
                  </a:moveTo>
                  <a:cubicBezTo>
                    <a:pt x="2286" y="1"/>
                    <a:pt x="2136" y="77"/>
                    <a:pt x="2112" y="244"/>
                  </a:cubicBezTo>
                  <a:lnTo>
                    <a:pt x="64" y="5064"/>
                  </a:lnTo>
                  <a:cubicBezTo>
                    <a:pt x="1" y="5222"/>
                    <a:pt x="64" y="5474"/>
                    <a:pt x="253" y="5506"/>
                  </a:cubicBezTo>
                  <a:cubicBezTo>
                    <a:pt x="295" y="5531"/>
                    <a:pt x="342" y="5543"/>
                    <a:pt x="389" y="5543"/>
                  </a:cubicBezTo>
                  <a:cubicBezTo>
                    <a:pt x="517" y="5543"/>
                    <a:pt x="648" y="5455"/>
                    <a:pt x="694" y="5317"/>
                  </a:cubicBezTo>
                  <a:lnTo>
                    <a:pt x="1261" y="4025"/>
                  </a:lnTo>
                  <a:cubicBezTo>
                    <a:pt x="1419" y="4088"/>
                    <a:pt x="1576" y="4119"/>
                    <a:pt x="1765" y="4119"/>
                  </a:cubicBezTo>
                  <a:cubicBezTo>
                    <a:pt x="1891" y="4119"/>
                    <a:pt x="1986" y="4088"/>
                    <a:pt x="2112" y="4056"/>
                  </a:cubicBezTo>
                  <a:lnTo>
                    <a:pt x="2112" y="4844"/>
                  </a:lnTo>
                  <a:cubicBezTo>
                    <a:pt x="1450" y="4970"/>
                    <a:pt x="946" y="5506"/>
                    <a:pt x="789" y="6167"/>
                  </a:cubicBezTo>
                  <a:lnTo>
                    <a:pt x="4128" y="6167"/>
                  </a:lnTo>
                  <a:cubicBezTo>
                    <a:pt x="4002" y="5506"/>
                    <a:pt x="3466" y="5001"/>
                    <a:pt x="2773" y="4844"/>
                  </a:cubicBezTo>
                  <a:lnTo>
                    <a:pt x="2773" y="3143"/>
                  </a:lnTo>
                  <a:cubicBezTo>
                    <a:pt x="2773" y="2670"/>
                    <a:pt x="2458" y="2324"/>
                    <a:pt x="2080" y="2166"/>
                  </a:cubicBezTo>
                  <a:lnTo>
                    <a:pt x="2773" y="496"/>
                  </a:lnTo>
                  <a:cubicBezTo>
                    <a:pt x="2773" y="307"/>
                    <a:pt x="2710" y="118"/>
                    <a:pt x="2553" y="24"/>
                  </a:cubicBezTo>
                  <a:cubicBezTo>
                    <a:pt x="2515" y="8"/>
                    <a:pt x="247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3"/>
            <p:cNvSpPr/>
            <p:nvPr/>
          </p:nvSpPr>
          <p:spPr>
            <a:xfrm>
              <a:off x="-34004625" y="3690400"/>
              <a:ext cx="155175" cy="187475"/>
            </a:xfrm>
            <a:custGeom>
              <a:avLst/>
              <a:gdLst/>
              <a:ahLst/>
              <a:cxnLst/>
              <a:rect l="l" t="t" r="r" b="b"/>
              <a:pathLst>
                <a:path w="6207" h="7499" extrusionOk="0">
                  <a:moveTo>
                    <a:pt x="693" y="0"/>
                  </a:moveTo>
                  <a:cubicBezTo>
                    <a:pt x="315" y="0"/>
                    <a:pt x="0" y="315"/>
                    <a:pt x="0" y="662"/>
                  </a:cubicBezTo>
                  <a:lnTo>
                    <a:pt x="0" y="6490"/>
                  </a:lnTo>
                  <a:cubicBezTo>
                    <a:pt x="32" y="7026"/>
                    <a:pt x="504" y="7498"/>
                    <a:pt x="1103" y="7498"/>
                  </a:cubicBezTo>
                  <a:lnTo>
                    <a:pt x="6207" y="7498"/>
                  </a:lnTo>
                  <a:lnTo>
                    <a:pt x="6207" y="5797"/>
                  </a:lnTo>
                  <a:cubicBezTo>
                    <a:pt x="6207" y="5608"/>
                    <a:pt x="6049" y="5451"/>
                    <a:pt x="5860" y="5451"/>
                  </a:cubicBezTo>
                  <a:lnTo>
                    <a:pt x="1765" y="5451"/>
                  </a:lnTo>
                  <a:cubicBezTo>
                    <a:pt x="1576" y="5451"/>
                    <a:pt x="1418" y="5293"/>
                    <a:pt x="1418" y="5104"/>
                  </a:cubicBezTo>
                  <a:lnTo>
                    <a:pt x="1418" y="662"/>
                  </a:lnTo>
                  <a:cubicBezTo>
                    <a:pt x="1418" y="252"/>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73"/>
            <p:cNvSpPr/>
            <p:nvPr/>
          </p:nvSpPr>
          <p:spPr>
            <a:xfrm>
              <a:off x="-33936100" y="3621075"/>
              <a:ext cx="51200" cy="51225"/>
            </a:xfrm>
            <a:custGeom>
              <a:avLst/>
              <a:gdLst/>
              <a:ahLst/>
              <a:cxnLst/>
              <a:rect l="l" t="t" r="r" b="b"/>
              <a:pathLst>
                <a:path w="2048" h="2049" extrusionOk="0">
                  <a:moveTo>
                    <a:pt x="1040" y="1"/>
                  </a:moveTo>
                  <a:cubicBezTo>
                    <a:pt x="473" y="1"/>
                    <a:pt x="0" y="473"/>
                    <a:pt x="0" y="1041"/>
                  </a:cubicBezTo>
                  <a:cubicBezTo>
                    <a:pt x="0" y="1576"/>
                    <a:pt x="473" y="2049"/>
                    <a:pt x="1040" y="2049"/>
                  </a:cubicBezTo>
                  <a:cubicBezTo>
                    <a:pt x="1576" y="2049"/>
                    <a:pt x="2048" y="1576"/>
                    <a:pt x="2048" y="1041"/>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73"/>
            <p:cNvSpPr/>
            <p:nvPr/>
          </p:nvSpPr>
          <p:spPr>
            <a:xfrm>
              <a:off x="-33952650" y="3690125"/>
              <a:ext cx="155975" cy="186950"/>
            </a:xfrm>
            <a:custGeom>
              <a:avLst/>
              <a:gdLst/>
              <a:ahLst/>
              <a:cxnLst/>
              <a:rect l="l" t="t" r="r" b="b"/>
              <a:pathLst>
                <a:path w="6239" h="7478" extrusionOk="0">
                  <a:moveTo>
                    <a:pt x="1641" y="1"/>
                  </a:moveTo>
                  <a:cubicBezTo>
                    <a:pt x="1242" y="1"/>
                    <a:pt x="819" y="205"/>
                    <a:pt x="568" y="484"/>
                  </a:cubicBezTo>
                  <a:cubicBezTo>
                    <a:pt x="190" y="799"/>
                    <a:pt x="1" y="1209"/>
                    <a:pt x="1" y="1681"/>
                  </a:cubicBezTo>
                  <a:lnTo>
                    <a:pt x="1" y="4769"/>
                  </a:lnTo>
                  <a:lnTo>
                    <a:pt x="2679" y="4769"/>
                  </a:lnTo>
                  <a:cubicBezTo>
                    <a:pt x="2521" y="4359"/>
                    <a:pt x="2175" y="4107"/>
                    <a:pt x="1702" y="4107"/>
                  </a:cubicBezTo>
                  <a:lnTo>
                    <a:pt x="1040" y="4107"/>
                  </a:lnTo>
                  <a:cubicBezTo>
                    <a:pt x="820" y="4107"/>
                    <a:pt x="662" y="3949"/>
                    <a:pt x="662" y="3729"/>
                  </a:cubicBezTo>
                  <a:lnTo>
                    <a:pt x="662" y="2374"/>
                  </a:lnTo>
                  <a:cubicBezTo>
                    <a:pt x="662" y="2154"/>
                    <a:pt x="820" y="1996"/>
                    <a:pt x="1040" y="1996"/>
                  </a:cubicBezTo>
                  <a:cubicBezTo>
                    <a:pt x="1229" y="1996"/>
                    <a:pt x="1387" y="2154"/>
                    <a:pt x="1387" y="2374"/>
                  </a:cubicBezTo>
                  <a:lnTo>
                    <a:pt x="1387" y="3382"/>
                  </a:lnTo>
                  <a:lnTo>
                    <a:pt x="1733" y="3382"/>
                  </a:lnTo>
                  <a:cubicBezTo>
                    <a:pt x="2553" y="3382"/>
                    <a:pt x="3277" y="3981"/>
                    <a:pt x="3435" y="4769"/>
                  </a:cubicBezTo>
                  <a:lnTo>
                    <a:pt x="3813" y="4769"/>
                  </a:lnTo>
                  <a:cubicBezTo>
                    <a:pt x="4380" y="4769"/>
                    <a:pt x="4852" y="5241"/>
                    <a:pt x="4852" y="5777"/>
                  </a:cubicBezTo>
                  <a:lnTo>
                    <a:pt x="4852" y="7478"/>
                  </a:lnTo>
                  <a:lnTo>
                    <a:pt x="6239" y="7478"/>
                  </a:lnTo>
                  <a:lnTo>
                    <a:pt x="6239" y="5084"/>
                  </a:lnTo>
                  <a:cubicBezTo>
                    <a:pt x="6176" y="4580"/>
                    <a:pt x="5703" y="4107"/>
                    <a:pt x="5168" y="4107"/>
                  </a:cubicBezTo>
                  <a:lnTo>
                    <a:pt x="3781" y="4107"/>
                  </a:lnTo>
                  <a:cubicBezTo>
                    <a:pt x="3592" y="4107"/>
                    <a:pt x="3435" y="3949"/>
                    <a:pt x="3435" y="3729"/>
                  </a:cubicBezTo>
                  <a:lnTo>
                    <a:pt x="3435" y="1807"/>
                  </a:lnTo>
                  <a:cubicBezTo>
                    <a:pt x="3435" y="862"/>
                    <a:pt x="2710" y="43"/>
                    <a:pt x="1796" y="11"/>
                  </a:cubicBezTo>
                  <a:cubicBezTo>
                    <a:pt x="1745" y="4"/>
                    <a:pt x="1694" y="1"/>
                    <a:pt x="1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3"/>
            <p:cNvSpPr/>
            <p:nvPr/>
          </p:nvSpPr>
          <p:spPr>
            <a:xfrm>
              <a:off x="-33849475" y="3758125"/>
              <a:ext cx="137075" cy="33100"/>
            </a:xfrm>
            <a:custGeom>
              <a:avLst/>
              <a:gdLst/>
              <a:ahLst/>
              <a:cxnLst/>
              <a:rect l="l" t="t" r="r" b="b"/>
              <a:pathLst>
                <a:path w="5483" h="1324" extrusionOk="0">
                  <a:moveTo>
                    <a:pt x="1" y="1"/>
                  </a:moveTo>
                  <a:lnTo>
                    <a:pt x="1" y="662"/>
                  </a:lnTo>
                  <a:lnTo>
                    <a:pt x="1041" y="662"/>
                  </a:lnTo>
                  <a:cubicBezTo>
                    <a:pt x="1576" y="662"/>
                    <a:pt x="2080" y="946"/>
                    <a:pt x="2395" y="1324"/>
                  </a:cubicBezTo>
                  <a:lnTo>
                    <a:pt x="5136" y="1324"/>
                  </a:lnTo>
                  <a:cubicBezTo>
                    <a:pt x="5325" y="1324"/>
                    <a:pt x="5483" y="1166"/>
                    <a:pt x="5483" y="977"/>
                  </a:cubicBezTo>
                  <a:lnTo>
                    <a:pt x="5483" y="316"/>
                  </a:lnTo>
                  <a:cubicBezTo>
                    <a:pt x="5483" y="158"/>
                    <a:pt x="5325"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9" name="Google Shape;7239;p73"/>
          <p:cNvGrpSpPr/>
          <p:nvPr/>
        </p:nvGrpSpPr>
        <p:grpSpPr>
          <a:xfrm>
            <a:off x="3084025" y="2256439"/>
            <a:ext cx="355557" cy="354616"/>
            <a:chOff x="-34005425" y="3945575"/>
            <a:chExt cx="293025" cy="292250"/>
          </a:xfrm>
        </p:grpSpPr>
        <p:sp>
          <p:nvSpPr>
            <p:cNvPr id="7240" name="Google Shape;7240;p73"/>
            <p:cNvSpPr/>
            <p:nvPr/>
          </p:nvSpPr>
          <p:spPr>
            <a:xfrm>
              <a:off x="-33952650" y="3998350"/>
              <a:ext cx="186700" cy="186700"/>
            </a:xfrm>
            <a:custGeom>
              <a:avLst/>
              <a:gdLst/>
              <a:ahLst/>
              <a:cxnLst/>
              <a:rect l="l" t="t" r="r" b="b"/>
              <a:pathLst>
                <a:path w="7468" h="7468" extrusionOk="0">
                  <a:moveTo>
                    <a:pt x="5861" y="2017"/>
                  </a:moveTo>
                  <a:cubicBezTo>
                    <a:pt x="6050" y="2017"/>
                    <a:pt x="6207" y="2143"/>
                    <a:pt x="6207" y="2364"/>
                  </a:cubicBezTo>
                  <a:lnTo>
                    <a:pt x="6207" y="3750"/>
                  </a:lnTo>
                  <a:lnTo>
                    <a:pt x="6207" y="5104"/>
                  </a:lnTo>
                  <a:cubicBezTo>
                    <a:pt x="6207" y="5325"/>
                    <a:pt x="6050" y="5451"/>
                    <a:pt x="5861" y="5451"/>
                  </a:cubicBezTo>
                  <a:cubicBezTo>
                    <a:pt x="5672" y="5451"/>
                    <a:pt x="5514" y="5325"/>
                    <a:pt x="5514" y="5104"/>
                  </a:cubicBezTo>
                  <a:lnTo>
                    <a:pt x="5514" y="4096"/>
                  </a:lnTo>
                  <a:lnTo>
                    <a:pt x="4474" y="4096"/>
                  </a:lnTo>
                  <a:cubicBezTo>
                    <a:pt x="4285" y="4096"/>
                    <a:pt x="4128" y="3939"/>
                    <a:pt x="4128" y="3750"/>
                  </a:cubicBezTo>
                  <a:lnTo>
                    <a:pt x="4128" y="2364"/>
                  </a:lnTo>
                  <a:cubicBezTo>
                    <a:pt x="4128" y="2143"/>
                    <a:pt x="4285" y="2017"/>
                    <a:pt x="4474" y="2017"/>
                  </a:cubicBezTo>
                  <a:cubicBezTo>
                    <a:pt x="4695" y="2017"/>
                    <a:pt x="4852" y="2143"/>
                    <a:pt x="4852" y="2364"/>
                  </a:cubicBezTo>
                  <a:lnTo>
                    <a:pt x="4852" y="3372"/>
                  </a:lnTo>
                  <a:lnTo>
                    <a:pt x="5514" y="3372"/>
                  </a:lnTo>
                  <a:lnTo>
                    <a:pt x="5514" y="2364"/>
                  </a:lnTo>
                  <a:cubicBezTo>
                    <a:pt x="5514" y="2143"/>
                    <a:pt x="5672" y="2017"/>
                    <a:pt x="5861" y="2017"/>
                  </a:cubicBezTo>
                  <a:close/>
                  <a:moveTo>
                    <a:pt x="2332" y="2017"/>
                  </a:moveTo>
                  <a:cubicBezTo>
                    <a:pt x="2868" y="2017"/>
                    <a:pt x="3340" y="2490"/>
                    <a:pt x="3340" y="3025"/>
                  </a:cubicBezTo>
                  <a:lnTo>
                    <a:pt x="3340" y="3309"/>
                  </a:lnTo>
                  <a:lnTo>
                    <a:pt x="3435" y="3309"/>
                  </a:lnTo>
                  <a:cubicBezTo>
                    <a:pt x="3435" y="3687"/>
                    <a:pt x="3183" y="4065"/>
                    <a:pt x="2868" y="4222"/>
                  </a:cubicBezTo>
                  <a:lnTo>
                    <a:pt x="2238" y="4537"/>
                  </a:lnTo>
                  <a:cubicBezTo>
                    <a:pt x="2175" y="4569"/>
                    <a:pt x="2080" y="4632"/>
                    <a:pt x="2049" y="4758"/>
                  </a:cubicBezTo>
                  <a:lnTo>
                    <a:pt x="3057" y="4758"/>
                  </a:lnTo>
                  <a:cubicBezTo>
                    <a:pt x="3277" y="4758"/>
                    <a:pt x="3435" y="4915"/>
                    <a:pt x="3435" y="5104"/>
                  </a:cubicBezTo>
                  <a:cubicBezTo>
                    <a:pt x="3435" y="5325"/>
                    <a:pt x="3277" y="5483"/>
                    <a:pt x="3057" y="5483"/>
                  </a:cubicBezTo>
                  <a:lnTo>
                    <a:pt x="1702" y="5483"/>
                  </a:lnTo>
                  <a:cubicBezTo>
                    <a:pt x="1481" y="5483"/>
                    <a:pt x="1324" y="5325"/>
                    <a:pt x="1324" y="5104"/>
                  </a:cubicBezTo>
                  <a:lnTo>
                    <a:pt x="1324" y="4852"/>
                  </a:lnTo>
                  <a:cubicBezTo>
                    <a:pt x="1324" y="4443"/>
                    <a:pt x="1576" y="4096"/>
                    <a:pt x="1891" y="3939"/>
                  </a:cubicBezTo>
                  <a:lnTo>
                    <a:pt x="2521" y="3624"/>
                  </a:lnTo>
                  <a:cubicBezTo>
                    <a:pt x="2647" y="3592"/>
                    <a:pt x="2710" y="3466"/>
                    <a:pt x="2710" y="3309"/>
                  </a:cubicBezTo>
                  <a:lnTo>
                    <a:pt x="2710" y="3025"/>
                  </a:lnTo>
                  <a:cubicBezTo>
                    <a:pt x="2710" y="2836"/>
                    <a:pt x="2553" y="2679"/>
                    <a:pt x="2364" y="2679"/>
                  </a:cubicBezTo>
                  <a:cubicBezTo>
                    <a:pt x="2175" y="2679"/>
                    <a:pt x="2017" y="2836"/>
                    <a:pt x="2017" y="3025"/>
                  </a:cubicBezTo>
                  <a:cubicBezTo>
                    <a:pt x="2017" y="3214"/>
                    <a:pt x="1859" y="3372"/>
                    <a:pt x="1639" y="3372"/>
                  </a:cubicBezTo>
                  <a:cubicBezTo>
                    <a:pt x="1450" y="3372"/>
                    <a:pt x="1292" y="3214"/>
                    <a:pt x="1292" y="3025"/>
                  </a:cubicBezTo>
                  <a:cubicBezTo>
                    <a:pt x="1292" y="2490"/>
                    <a:pt x="1765" y="2017"/>
                    <a:pt x="2332" y="2017"/>
                  </a:cubicBezTo>
                  <a:close/>
                  <a:moveTo>
                    <a:pt x="3214" y="1"/>
                  </a:moveTo>
                  <a:cubicBezTo>
                    <a:pt x="3214" y="127"/>
                    <a:pt x="3183" y="284"/>
                    <a:pt x="3120" y="379"/>
                  </a:cubicBezTo>
                  <a:cubicBezTo>
                    <a:pt x="2962" y="662"/>
                    <a:pt x="2679" y="914"/>
                    <a:pt x="2364" y="946"/>
                  </a:cubicBezTo>
                  <a:lnTo>
                    <a:pt x="1009" y="1135"/>
                  </a:lnTo>
                  <a:cubicBezTo>
                    <a:pt x="473" y="1733"/>
                    <a:pt x="64" y="2521"/>
                    <a:pt x="1" y="3372"/>
                  </a:cubicBezTo>
                  <a:lnTo>
                    <a:pt x="316" y="3372"/>
                  </a:lnTo>
                  <a:cubicBezTo>
                    <a:pt x="505" y="3372"/>
                    <a:pt x="662" y="3529"/>
                    <a:pt x="662" y="3750"/>
                  </a:cubicBezTo>
                  <a:cubicBezTo>
                    <a:pt x="662" y="3939"/>
                    <a:pt x="505" y="4096"/>
                    <a:pt x="316" y="4096"/>
                  </a:cubicBezTo>
                  <a:lnTo>
                    <a:pt x="1" y="4096"/>
                  </a:lnTo>
                  <a:cubicBezTo>
                    <a:pt x="158" y="5892"/>
                    <a:pt x="1607" y="7310"/>
                    <a:pt x="3372" y="7467"/>
                  </a:cubicBezTo>
                  <a:lnTo>
                    <a:pt x="3372" y="7121"/>
                  </a:lnTo>
                  <a:cubicBezTo>
                    <a:pt x="3372" y="6932"/>
                    <a:pt x="3529" y="6774"/>
                    <a:pt x="3750" y="6774"/>
                  </a:cubicBezTo>
                  <a:cubicBezTo>
                    <a:pt x="3939" y="6774"/>
                    <a:pt x="4096" y="6932"/>
                    <a:pt x="4096" y="7121"/>
                  </a:cubicBezTo>
                  <a:lnTo>
                    <a:pt x="4096" y="7436"/>
                  </a:lnTo>
                  <a:lnTo>
                    <a:pt x="4254" y="7436"/>
                  </a:lnTo>
                  <a:cubicBezTo>
                    <a:pt x="4254" y="7373"/>
                    <a:pt x="4285" y="7278"/>
                    <a:pt x="4317" y="7215"/>
                  </a:cubicBezTo>
                  <a:cubicBezTo>
                    <a:pt x="4443" y="6900"/>
                    <a:pt x="4758" y="6648"/>
                    <a:pt x="5073" y="6617"/>
                  </a:cubicBezTo>
                  <a:lnTo>
                    <a:pt x="6491" y="6333"/>
                  </a:lnTo>
                  <a:cubicBezTo>
                    <a:pt x="7089" y="5703"/>
                    <a:pt x="7404" y="5010"/>
                    <a:pt x="7467" y="4096"/>
                  </a:cubicBezTo>
                  <a:lnTo>
                    <a:pt x="7152" y="4096"/>
                  </a:lnTo>
                  <a:cubicBezTo>
                    <a:pt x="6963" y="4096"/>
                    <a:pt x="6806" y="3939"/>
                    <a:pt x="6806" y="3750"/>
                  </a:cubicBezTo>
                  <a:cubicBezTo>
                    <a:pt x="6806" y="3529"/>
                    <a:pt x="6963" y="3372"/>
                    <a:pt x="7152" y="3372"/>
                  </a:cubicBezTo>
                  <a:lnTo>
                    <a:pt x="7467" y="3372"/>
                  </a:lnTo>
                  <a:cubicBezTo>
                    <a:pt x="7310" y="1576"/>
                    <a:pt x="5861" y="158"/>
                    <a:pt x="4096" y="1"/>
                  </a:cubicBezTo>
                  <a:lnTo>
                    <a:pt x="4096" y="316"/>
                  </a:lnTo>
                  <a:cubicBezTo>
                    <a:pt x="4096" y="505"/>
                    <a:pt x="3939" y="662"/>
                    <a:pt x="3750" y="662"/>
                  </a:cubicBezTo>
                  <a:cubicBezTo>
                    <a:pt x="3529" y="662"/>
                    <a:pt x="3372" y="505"/>
                    <a:pt x="3372" y="316"/>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3"/>
            <p:cNvSpPr/>
            <p:nvPr/>
          </p:nvSpPr>
          <p:spPr>
            <a:xfrm>
              <a:off x="-33944775" y="3945575"/>
              <a:ext cx="232375" cy="247350"/>
            </a:xfrm>
            <a:custGeom>
              <a:avLst/>
              <a:gdLst/>
              <a:ahLst/>
              <a:cxnLst/>
              <a:rect l="l" t="t" r="r" b="b"/>
              <a:pathLst>
                <a:path w="9295" h="9894" extrusionOk="0">
                  <a:moveTo>
                    <a:pt x="3466" y="1"/>
                  </a:moveTo>
                  <a:cubicBezTo>
                    <a:pt x="2490" y="1"/>
                    <a:pt x="1450" y="316"/>
                    <a:pt x="1103" y="536"/>
                  </a:cubicBezTo>
                  <a:lnTo>
                    <a:pt x="1040" y="410"/>
                  </a:lnTo>
                  <a:cubicBezTo>
                    <a:pt x="970" y="340"/>
                    <a:pt x="881" y="304"/>
                    <a:pt x="788" y="304"/>
                  </a:cubicBezTo>
                  <a:cubicBezTo>
                    <a:pt x="757" y="304"/>
                    <a:pt x="725" y="308"/>
                    <a:pt x="694" y="316"/>
                  </a:cubicBezTo>
                  <a:cubicBezTo>
                    <a:pt x="599" y="379"/>
                    <a:pt x="505" y="473"/>
                    <a:pt x="473" y="568"/>
                  </a:cubicBezTo>
                  <a:cubicBezTo>
                    <a:pt x="347" y="1041"/>
                    <a:pt x="442" y="726"/>
                    <a:pt x="32" y="2143"/>
                  </a:cubicBezTo>
                  <a:cubicBezTo>
                    <a:pt x="1" y="2269"/>
                    <a:pt x="32" y="2395"/>
                    <a:pt x="127" y="2458"/>
                  </a:cubicBezTo>
                  <a:cubicBezTo>
                    <a:pt x="253" y="2584"/>
                    <a:pt x="316" y="2584"/>
                    <a:pt x="473" y="2584"/>
                  </a:cubicBezTo>
                  <a:lnTo>
                    <a:pt x="2049" y="2332"/>
                  </a:lnTo>
                  <a:cubicBezTo>
                    <a:pt x="2238" y="2301"/>
                    <a:pt x="2395" y="2080"/>
                    <a:pt x="2332" y="1860"/>
                  </a:cubicBezTo>
                  <a:lnTo>
                    <a:pt x="2206" y="1545"/>
                  </a:lnTo>
                  <a:cubicBezTo>
                    <a:pt x="2647" y="1450"/>
                    <a:pt x="3057" y="1356"/>
                    <a:pt x="3529" y="1356"/>
                  </a:cubicBezTo>
                  <a:cubicBezTo>
                    <a:pt x="5987" y="1356"/>
                    <a:pt x="8003" y="3372"/>
                    <a:pt x="8003" y="5798"/>
                  </a:cubicBezTo>
                  <a:cubicBezTo>
                    <a:pt x="8003" y="6806"/>
                    <a:pt x="7688" y="7657"/>
                    <a:pt x="7152" y="8413"/>
                  </a:cubicBezTo>
                  <a:cubicBezTo>
                    <a:pt x="7278" y="8444"/>
                    <a:pt x="7404" y="8539"/>
                    <a:pt x="7530" y="8633"/>
                  </a:cubicBezTo>
                  <a:cubicBezTo>
                    <a:pt x="7751" y="8885"/>
                    <a:pt x="7845" y="9232"/>
                    <a:pt x="7751" y="9578"/>
                  </a:cubicBezTo>
                  <a:lnTo>
                    <a:pt x="7593" y="9893"/>
                  </a:lnTo>
                  <a:cubicBezTo>
                    <a:pt x="8633" y="8854"/>
                    <a:pt x="9295" y="7436"/>
                    <a:pt x="9295" y="5861"/>
                  </a:cubicBezTo>
                  <a:cubicBezTo>
                    <a:pt x="9295" y="2616"/>
                    <a:pt x="6648"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73"/>
            <p:cNvSpPr/>
            <p:nvPr/>
          </p:nvSpPr>
          <p:spPr>
            <a:xfrm>
              <a:off x="-34005425" y="3987325"/>
              <a:ext cx="237100" cy="250500"/>
            </a:xfrm>
            <a:custGeom>
              <a:avLst/>
              <a:gdLst/>
              <a:ahLst/>
              <a:cxnLst/>
              <a:rect l="l" t="t" r="r" b="b"/>
              <a:pathLst>
                <a:path w="9484" h="10020" extrusionOk="0">
                  <a:moveTo>
                    <a:pt x="1797" y="1"/>
                  </a:moveTo>
                  <a:lnTo>
                    <a:pt x="1797" y="1"/>
                  </a:lnTo>
                  <a:cubicBezTo>
                    <a:pt x="694" y="1072"/>
                    <a:pt x="1" y="2521"/>
                    <a:pt x="1" y="4191"/>
                  </a:cubicBezTo>
                  <a:cubicBezTo>
                    <a:pt x="64" y="7373"/>
                    <a:pt x="2647" y="10019"/>
                    <a:pt x="5892" y="10019"/>
                  </a:cubicBezTo>
                  <a:cubicBezTo>
                    <a:pt x="6239" y="10019"/>
                    <a:pt x="7972" y="9736"/>
                    <a:pt x="8224" y="9547"/>
                  </a:cubicBezTo>
                  <a:cubicBezTo>
                    <a:pt x="8255" y="9547"/>
                    <a:pt x="8287" y="9484"/>
                    <a:pt x="8350" y="9484"/>
                  </a:cubicBezTo>
                  <a:lnTo>
                    <a:pt x="8507" y="9641"/>
                  </a:lnTo>
                  <a:cubicBezTo>
                    <a:pt x="8576" y="9710"/>
                    <a:pt x="8661" y="9741"/>
                    <a:pt x="8743" y="9741"/>
                  </a:cubicBezTo>
                  <a:cubicBezTo>
                    <a:pt x="8887" y="9741"/>
                    <a:pt x="9023" y="9644"/>
                    <a:pt x="9043" y="9484"/>
                  </a:cubicBezTo>
                  <a:lnTo>
                    <a:pt x="9169" y="9011"/>
                  </a:lnTo>
                  <a:lnTo>
                    <a:pt x="9452" y="7814"/>
                  </a:lnTo>
                  <a:cubicBezTo>
                    <a:pt x="9484" y="7688"/>
                    <a:pt x="9452" y="7562"/>
                    <a:pt x="9358" y="7467"/>
                  </a:cubicBezTo>
                  <a:cubicBezTo>
                    <a:pt x="9278" y="7407"/>
                    <a:pt x="9211" y="7385"/>
                    <a:pt x="9132" y="7385"/>
                  </a:cubicBezTo>
                  <a:cubicBezTo>
                    <a:pt x="9087" y="7385"/>
                    <a:pt x="9037" y="7393"/>
                    <a:pt x="8980" y="7404"/>
                  </a:cubicBezTo>
                  <a:lnTo>
                    <a:pt x="7310" y="7719"/>
                  </a:lnTo>
                  <a:cubicBezTo>
                    <a:pt x="7089" y="7751"/>
                    <a:pt x="6963" y="8034"/>
                    <a:pt x="7089" y="8223"/>
                  </a:cubicBezTo>
                  <a:lnTo>
                    <a:pt x="7184" y="8444"/>
                  </a:lnTo>
                  <a:cubicBezTo>
                    <a:pt x="6774" y="8538"/>
                    <a:pt x="6333" y="8633"/>
                    <a:pt x="5861" y="8633"/>
                  </a:cubicBezTo>
                  <a:cubicBezTo>
                    <a:pt x="3403" y="8633"/>
                    <a:pt x="1419" y="6648"/>
                    <a:pt x="1419" y="4191"/>
                  </a:cubicBezTo>
                  <a:cubicBezTo>
                    <a:pt x="1419" y="3183"/>
                    <a:pt x="1734" y="2269"/>
                    <a:pt x="2269" y="1544"/>
                  </a:cubicBezTo>
                  <a:cubicBezTo>
                    <a:pt x="2143" y="1481"/>
                    <a:pt x="2049" y="1418"/>
                    <a:pt x="1954" y="1292"/>
                  </a:cubicBezTo>
                  <a:cubicBezTo>
                    <a:pt x="1734" y="1009"/>
                    <a:pt x="1639" y="662"/>
                    <a:pt x="1734" y="316"/>
                  </a:cubicBezTo>
                  <a:lnTo>
                    <a:pt x="17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43" name="Google Shape;7243;p73"/>
          <p:cNvGrpSpPr/>
          <p:nvPr/>
        </p:nvGrpSpPr>
        <p:grpSpPr>
          <a:xfrm>
            <a:off x="1731124" y="2729615"/>
            <a:ext cx="358408" cy="355557"/>
            <a:chOff x="-32174975" y="3192625"/>
            <a:chExt cx="295375" cy="293025"/>
          </a:xfrm>
        </p:grpSpPr>
        <p:sp>
          <p:nvSpPr>
            <p:cNvPr id="7244" name="Google Shape;7244;p73"/>
            <p:cNvSpPr/>
            <p:nvPr/>
          </p:nvSpPr>
          <p:spPr>
            <a:xfrm>
              <a:off x="-32171050" y="3279250"/>
              <a:ext cx="291450" cy="153625"/>
            </a:xfrm>
            <a:custGeom>
              <a:avLst/>
              <a:gdLst/>
              <a:ahLst/>
              <a:cxnLst/>
              <a:rect l="l" t="t" r="r" b="b"/>
              <a:pathLst>
                <a:path w="11658" h="6145" extrusionOk="0">
                  <a:moveTo>
                    <a:pt x="5829" y="694"/>
                  </a:moveTo>
                  <a:cubicBezTo>
                    <a:pt x="7184" y="694"/>
                    <a:pt x="8255" y="1734"/>
                    <a:pt x="8255" y="3088"/>
                  </a:cubicBezTo>
                  <a:cubicBezTo>
                    <a:pt x="8255" y="4412"/>
                    <a:pt x="7153" y="5483"/>
                    <a:pt x="5829" y="5483"/>
                  </a:cubicBezTo>
                  <a:cubicBezTo>
                    <a:pt x="4506" y="5483"/>
                    <a:pt x="3435" y="4412"/>
                    <a:pt x="3435" y="3088"/>
                  </a:cubicBezTo>
                  <a:cubicBezTo>
                    <a:pt x="3435" y="1734"/>
                    <a:pt x="4506" y="694"/>
                    <a:pt x="5829" y="694"/>
                  </a:cubicBezTo>
                  <a:close/>
                  <a:moveTo>
                    <a:pt x="1" y="1"/>
                  </a:moveTo>
                  <a:lnTo>
                    <a:pt x="1" y="6144"/>
                  </a:lnTo>
                  <a:lnTo>
                    <a:pt x="11658" y="6144"/>
                  </a:ln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73"/>
            <p:cNvSpPr/>
            <p:nvPr/>
          </p:nvSpPr>
          <p:spPr>
            <a:xfrm>
              <a:off x="-32067075" y="3313925"/>
              <a:ext cx="84300" cy="85075"/>
            </a:xfrm>
            <a:custGeom>
              <a:avLst/>
              <a:gdLst/>
              <a:ahLst/>
              <a:cxnLst/>
              <a:rect l="l" t="t" r="r" b="b"/>
              <a:pathLst>
                <a:path w="3372" h="3403" extrusionOk="0">
                  <a:moveTo>
                    <a:pt x="1670" y="662"/>
                  </a:moveTo>
                  <a:cubicBezTo>
                    <a:pt x="1891" y="662"/>
                    <a:pt x="2048" y="819"/>
                    <a:pt x="2048" y="1040"/>
                  </a:cubicBezTo>
                  <a:lnTo>
                    <a:pt x="2048" y="1386"/>
                  </a:lnTo>
                  <a:lnTo>
                    <a:pt x="2395" y="1386"/>
                  </a:lnTo>
                  <a:cubicBezTo>
                    <a:pt x="2584" y="1386"/>
                    <a:pt x="2741" y="1544"/>
                    <a:pt x="2741" y="1733"/>
                  </a:cubicBezTo>
                  <a:cubicBezTo>
                    <a:pt x="2710" y="1890"/>
                    <a:pt x="2552" y="2048"/>
                    <a:pt x="2363" y="2048"/>
                  </a:cubicBezTo>
                  <a:lnTo>
                    <a:pt x="1670" y="2048"/>
                  </a:lnTo>
                  <a:cubicBezTo>
                    <a:pt x="1481" y="2048"/>
                    <a:pt x="1324" y="1890"/>
                    <a:pt x="1324" y="1701"/>
                  </a:cubicBezTo>
                  <a:lnTo>
                    <a:pt x="1324" y="1040"/>
                  </a:lnTo>
                  <a:cubicBezTo>
                    <a:pt x="1324" y="819"/>
                    <a:pt x="1481" y="662"/>
                    <a:pt x="1670" y="662"/>
                  </a:cubicBezTo>
                  <a:close/>
                  <a:moveTo>
                    <a:pt x="1670" y="0"/>
                  </a:moveTo>
                  <a:cubicBezTo>
                    <a:pt x="725" y="0"/>
                    <a:pt x="1" y="756"/>
                    <a:pt x="1" y="1701"/>
                  </a:cubicBezTo>
                  <a:cubicBezTo>
                    <a:pt x="1" y="2646"/>
                    <a:pt x="725" y="3403"/>
                    <a:pt x="1670" y="3403"/>
                  </a:cubicBezTo>
                  <a:cubicBezTo>
                    <a:pt x="2615" y="3403"/>
                    <a:pt x="3372" y="2646"/>
                    <a:pt x="3372" y="1701"/>
                  </a:cubicBezTo>
                  <a:cubicBezTo>
                    <a:pt x="3372" y="756"/>
                    <a:pt x="2615"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3"/>
            <p:cNvSpPr/>
            <p:nvPr/>
          </p:nvSpPr>
          <p:spPr>
            <a:xfrm>
              <a:off x="-32171050" y="3450950"/>
              <a:ext cx="291450" cy="34700"/>
            </a:xfrm>
            <a:custGeom>
              <a:avLst/>
              <a:gdLst/>
              <a:ahLst/>
              <a:cxnLst/>
              <a:rect l="l" t="t" r="r" b="b"/>
              <a:pathLst>
                <a:path w="11658" h="1388" extrusionOk="0">
                  <a:moveTo>
                    <a:pt x="1" y="1"/>
                  </a:moveTo>
                  <a:lnTo>
                    <a:pt x="1" y="347"/>
                  </a:lnTo>
                  <a:cubicBezTo>
                    <a:pt x="1" y="915"/>
                    <a:pt x="442" y="1387"/>
                    <a:pt x="1041" y="1387"/>
                  </a:cubicBezTo>
                  <a:lnTo>
                    <a:pt x="10650" y="1387"/>
                  </a:lnTo>
                  <a:cubicBezTo>
                    <a:pt x="11217" y="1387"/>
                    <a:pt x="11658" y="915"/>
                    <a:pt x="11658" y="347"/>
                  </a:cubicBez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73"/>
            <p:cNvSpPr/>
            <p:nvPr/>
          </p:nvSpPr>
          <p:spPr>
            <a:xfrm>
              <a:off x="-32174975" y="3192625"/>
              <a:ext cx="295375" cy="70125"/>
            </a:xfrm>
            <a:custGeom>
              <a:avLst/>
              <a:gdLst/>
              <a:ahLst/>
              <a:cxnLst/>
              <a:rect l="l" t="t" r="r" b="b"/>
              <a:pathLst>
                <a:path w="11815" h="2805" extrusionOk="0">
                  <a:moveTo>
                    <a:pt x="1733" y="0"/>
                  </a:moveTo>
                  <a:cubicBezTo>
                    <a:pt x="1544" y="0"/>
                    <a:pt x="1387" y="158"/>
                    <a:pt x="1387" y="378"/>
                  </a:cubicBezTo>
                  <a:lnTo>
                    <a:pt x="1387" y="725"/>
                  </a:lnTo>
                  <a:lnTo>
                    <a:pt x="1040" y="725"/>
                  </a:lnTo>
                  <a:cubicBezTo>
                    <a:pt x="473" y="725"/>
                    <a:pt x="0" y="1197"/>
                    <a:pt x="0" y="1733"/>
                  </a:cubicBezTo>
                  <a:lnTo>
                    <a:pt x="0" y="2804"/>
                  </a:lnTo>
                  <a:lnTo>
                    <a:pt x="11657" y="2804"/>
                  </a:lnTo>
                  <a:lnTo>
                    <a:pt x="11657" y="1733"/>
                  </a:lnTo>
                  <a:lnTo>
                    <a:pt x="11815" y="1733"/>
                  </a:lnTo>
                  <a:cubicBezTo>
                    <a:pt x="11815" y="1197"/>
                    <a:pt x="11374" y="725"/>
                    <a:pt x="10807" y="725"/>
                  </a:cubicBezTo>
                  <a:lnTo>
                    <a:pt x="10460" y="725"/>
                  </a:lnTo>
                  <a:lnTo>
                    <a:pt x="10460" y="378"/>
                  </a:lnTo>
                  <a:cubicBezTo>
                    <a:pt x="10460" y="158"/>
                    <a:pt x="10303" y="0"/>
                    <a:pt x="10082" y="0"/>
                  </a:cubicBezTo>
                  <a:cubicBezTo>
                    <a:pt x="9893" y="0"/>
                    <a:pt x="9735" y="158"/>
                    <a:pt x="9735" y="378"/>
                  </a:cubicBezTo>
                  <a:lnTo>
                    <a:pt x="9735" y="725"/>
                  </a:lnTo>
                  <a:lnTo>
                    <a:pt x="8349" y="725"/>
                  </a:lnTo>
                  <a:lnTo>
                    <a:pt x="8349" y="378"/>
                  </a:lnTo>
                  <a:cubicBezTo>
                    <a:pt x="8349" y="158"/>
                    <a:pt x="8192" y="0"/>
                    <a:pt x="8003" y="0"/>
                  </a:cubicBezTo>
                  <a:cubicBezTo>
                    <a:pt x="7814" y="0"/>
                    <a:pt x="7656" y="158"/>
                    <a:pt x="7656" y="378"/>
                  </a:cubicBezTo>
                  <a:lnTo>
                    <a:pt x="7656" y="725"/>
                  </a:lnTo>
                  <a:lnTo>
                    <a:pt x="6270" y="725"/>
                  </a:lnTo>
                  <a:lnTo>
                    <a:pt x="6270" y="378"/>
                  </a:lnTo>
                  <a:cubicBezTo>
                    <a:pt x="6270" y="158"/>
                    <a:pt x="6112" y="0"/>
                    <a:pt x="5923" y="0"/>
                  </a:cubicBezTo>
                  <a:cubicBezTo>
                    <a:pt x="5734" y="0"/>
                    <a:pt x="5577" y="158"/>
                    <a:pt x="5577" y="378"/>
                  </a:cubicBezTo>
                  <a:lnTo>
                    <a:pt x="5577" y="725"/>
                  </a:lnTo>
                  <a:lnTo>
                    <a:pt x="4191" y="725"/>
                  </a:lnTo>
                  <a:lnTo>
                    <a:pt x="4191" y="378"/>
                  </a:lnTo>
                  <a:cubicBezTo>
                    <a:pt x="4191" y="158"/>
                    <a:pt x="4033" y="0"/>
                    <a:pt x="3844" y="0"/>
                  </a:cubicBezTo>
                  <a:cubicBezTo>
                    <a:pt x="3623" y="0"/>
                    <a:pt x="3466" y="158"/>
                    <a:pt x="3466" y="378"/>
                  </a:cubicBezTo>
                  <a:lnTo>
                    <a:pt x="3466" y="725"/>
                  </a:lnTo>
                  <a:lnTo>
                    <a:pt x="2111" y="725"/>
                  </a:lnTo>
                  <a:lnTo>
                    <a:pt x="2111" y="378"/>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48" name="Google Shape;7248;p73"/>
          <p:cNvSpPr/>
          <p:nvPr/>
        </p:nvSpPr>
        <p:spPr>
          <a:xfrm>
            <a:off x="1728170" y="3200679"/>
            <a:ext cx="363201" cy="354859"/>
          </a:xfrm>
          <a:custGeom>
            <a:avLst/>
            <a:gdLst/>
            <a:ahLst/>
            <a:cxnLst/>
            <a:rect l="l" t="t" r="r" b="b"/>
            <a:pathLst>
              <a:path w="11973" h="11698" extrusionOk="0">
                <a:moveTo>
                  <a:pt x="8928" y="1750"/>
                </a:moveTo>
                <a:cubicBezTo>
                  <a:pt x="9192" y="1750"/>
                  <a:pt x="9452" y="1852"/>
                  <a:pt x="9641" y="2057"/>
                </a:cubicBezTo>
                <a:cubicBezTo>
                  <a:pt x="10050" y="2435"/>
                  <a:pt x="10050" y="3096"/>
                  <a:pt x="9641" y="3506"/>
                </a:cubicBezTo>
                <a:cubicBezTo>
                  <a:pt x="9452" y="3695"/>
                  <a:pt x="9192" y="3790"/>
                  <a:pt x="8928" y="3790"/>
                </a:cubicBezTo>
                <a:cubicBezTo>
                  <a:pt x="8664" y="3790"/>
                  <a:pt x="8396" y="3695"/>
                  <a:pt x="8192" y="3506"/>
                </a:cubicBezTo>
                <a:cubicBezTo>
                  <a:pt x="7814" y="3096"/>
                  <a:pt x="7814" y="2435"/>
                  <a:pt x="8192" y="2057"/>
                </a:cubicBezTo>
                <a:cubicBezTo>
                  <a:pt x="8396" y="1852"/>
                  <a:pt x="8664" y="1750"/>
                  <a:pt x="8928" y="1750"/>
                </a:cubicBezTo>
                <a:close/>
                <a:moveTo>
                  <a:pt x="7901" y="1"/>
                </a:moveTo>
                <a:cubicBezTo>
                  <a:pt x="6958" y="1"/>
                  <a:pt x="6010" y="363"/>
                  <a:pt x="5293" y="1080"/>
                </a:cubicBezTo>
                <a:cubicBezTo>
                  <a:pt x="4285" y="2088"/>
                  <a:pt x="3939" y="3569"/>
                  <a:pt x="4380" y="4924"/>
                </a:cubicBezTo>
                <a:lnTo>
                  <a:pt x="126" y="9177"/>
                </a:lnTo>
                <a:cubicBezTo>
                  <a:pt x="32" y="9240"/>
                  <a:pt x="0" y="9334"/>
                  <a:pt x="0" y="9397"/>
                </a:cubicBezTo>
                <a:lnTo>
                  <a:pt x="0" y="11319"/>
                </a:lnTo>
                <a:cubicBezTo>
                  <a:pt x="0" y="11540"/>
                  <a:pt x="158" y="11697"/>
                  <a:pt x="347" y="11697"/>
                </a:cubicBezTo>
                <a:lnTo>
                  <a:pt x="2300" y="11697"/>
                </a:lnTo>
                <a:cubicBezTo>
                  <a:pt x="2363" y="11697"/>
                  <a:pt x="2489" y="11634"/>
                  <a:pt x="2521" y="11571"/>
                </a:cubicBezTo>
                <a:lnTo>
                  <a:pt x="2993" y="11099"/>
                </a:lnTo>
                <a:cubicBezTo>
                  <a:pt x="3088" y="11004"/>
                  <a:pt x="3119" y="10910"/>
                  <a:pt x="3088" y="10815"/>
                </a:cubicBezTo>
                <a:lnTo>
                  <a:pt x="2993" y="10311"/>
                </a:lnTo>
                <a:lnTo>
                  <a:pt x="3718" y="10217"/>
                </a:lnTo>
                <a:cubicBezTo>
                  <a:pt x="3876" y="10217"/>
                  <a:pt x="3970" y="10091"/>
                  <a:pt x="4033" y="9902"/>
                </a:cubicBezTo>
                <a:lnTo>
                  <a:pt x="4096" y="9208"/>
                </a:lnTo>
                <a:lnTo>
                  <a:pt x="4600" y="9271"/>
                </a:lnTo>
                <a:cubicBezTo>
                  <a:pt x="4695" y="9271"/>
                  <a:pt x="4821" y="9271"/>
                  <a:pt x="4884" y="9208"/>
                </a:cubicBezTo>
                <a:cubicBezTo>
                  <a:pt x="4978" y="9114"/>
                  <a:pt x="5010" y="9051"/>
                  <a:pt x="5010" y="8956"/>
                </a:cubicBezTo>
                <a:lnTo>
                  <a:pt x="5010" y="8326"/>
                </a:lnTo>
                <a:lnTo>
                  <a:pt x="5640" y="8326"/>
                </a:lnTo>
                <a:cubicBezTo>
                  <a:pt x="5703" y="8326"/>
                  <a:pt x="5829" y="8295"/>
                  <a:pt x="5860" y="8232"/>
                </a:cubicBezTo>
                <a:lnTo>
                  <a:pt x="6742" y="7350"/>
                </a:lnTo>
                <a:cubicBezTo>
                  <a:pt x="7131" y="7479"/>
                  <a:pt x="7533" y="7543"/>
                  <a:pt x="7931" y="7543"/>
                </a:cubicBezTo>
                <a:cubicBezTo>
                  <a:pt x="8891" y="7543"/>
                  <a:pt x="9833" y="7171"/>
                  <a:pt x="10523" y="6436"/>
                </a:cubicBezTo>
                <a:cubicBezTo>
                  <a:pt x="11972" y="4987"/>
                  <a:pt x="11972" y="2592"/>
                  <a:pt x="10523" y="1143"/>
                </a:cubicBezTo>
                <a:cubicBezTo>
                  <a:pt x="9823" y="379"/>
                  <a:pt x="8865" y="1"/>
                  <a:pt x="79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3"/>
          <p:cNvSpPr/>
          <p:nvPr/>
        </p:nvSpPr>
        <p:spPr>
          <a:xfrm>
            <a:off x="1732948" y="3665764"/>
            <a:ext cx="353645" cy="354586"/>
          </a:xfrm>
          <a:custGeom>
            <a:avLst/>
            <a:gdLst/>
            <a:ahLst/>
            <a:cxnLst/>
            <a:rect l="l" t="t" r="r" b="b"/>
            <a:pathLst>
              <a:path w="11658" h="11689" extrusionOk="0">
                <a:moveTo>
                  <a:pt x="7877" y="1386"/>
                </a:moveTo>
                <a:cubicBezTo>
                  <a:pt x="9232" y="1386"/>
                  <a:pt x="10303" y="2458"/>
                  <a:pt x="10303" y="3781"/>
                </a:cubicBezTo>
                <a:lnTo>
                  <a:pt x="10303" y="4883"/>
                </a:lnTo>
                <a:cubicBezTo>
                  <a:pt x="10240" y="4883"/>
                  <a:pt x="10209" y="4946"/>
                  <a:pt x="10177" y="4946"/>
                </a:cubicBezTo>
                <a:cubicBezTo>
                  <a:pt x="10019" y="4190"/>
                  <a:pt x="9704" y="3529"/>
                  <a:pt x="9200" y="2962"/>
                </a:cubicBezTo>
                <a:lnTo>
                  <a:pt x="7720" y="4442"/>
                </a:lnTo>
                <a:cubicBezTo>
                  <a:pt x="8192" y="5072"/>
                  <a:pt x="8318" y="5860"/>
                  <a:pt x="8098" y="6648"/>
                </a:cubicBezTo>
                <a:cubicBezTo>
                  <a:pt x="8003" y="6868"/>
                  <a:pt x="7877" y="7057"/>
                  <a:pt x="7720" y="7278"/>
                </a:cubicBezTo>
                <a:lnTo>
                  <a:pt x="9200" y="8727"/>
                </a:lnTo>
                <a:cubicBezTo>
                  <a:pt x="9673" y="8160"/>
                  <a:pt x="10019" y="7498"/>
                  <a:pt x="10177" y="6742"/>
                </a:cubicBezTo>
                <a:cubicBezTo>
                  <a:pt x="10209" y="6742"/>
                  <a:pt x="10240" y="6805"/>
                  <a:pt x="10303" y="6805"/>
                </a:cubicBezTo>
                <a:lnTo>
                  <a:pt x="10303" y="7908"/>
                </a:lnTo>
                <a:cubicBezTo>
                  <a:pt x="10303" y="9231"/>
                  <a:pt x="9232" y="10302"/>
                  <a:pt x="7877" y="10302"/>
                </a:cubicBezTo>
                <a:lnTo>
                  <a:pt x="6774" y="10302"/>
                </a:lnTo>
                <a:cubicBezTo>
                  <a:pt x="6774" y="10271"/>
                  <a:pt x="6743" y="10208"/>
                  <a:pt x="6743" y="10176"/>
                </a:cubicBezTo>
                <a:cubicBezTo>
                  <a:pt x="7499" y="10019"/>
                  <a:pt x="8161" y="9704"/>
                  <a:pt x="8728" y="9200"/>
                </a:cubicBezTo>
                <a:lnTo>
                  <a:pt x="7279" y="7750"/>
                </a:lnTo>
                <a:cubicBezTo>
                  <a:pt x="7058" y="7908"/>
                  <a:pt x="6869" y="8002"/>
                  <a:pt x="6648" y="8097"/>
                </a:cubicBezTo>
                <a:cubicBezTo>
                  <a:pt x="6365" y="8160"/>
                  <a:pt x="6081" y="8223"/>
                  <a:pt x="5861" y="8223"/>
                </a:cubicBezTo>
                <a:cubicBezTo>
                  <a:pt x="5325" y="8223"/>
                  <a:pt x="4821" y="8065"/>
                  <a:pt x="4443" y="7750"/>
                </a:cubicBezTo>
                <a:lnTo>
                  <a:pt x="2962" y="9200"/>
                </a:lnTo>
                <a:cubicBezTo>
                  <a:pt x="3529" y="9672"/>
                  <a:pt x="4191" y="10019"/>
                  <a:pt x="4947" y="10176"/>
                </a:cubicBezTo>
                <a:cubicBezTo>
                  <a:pt x="4947" y="10208"/>
                  <a:pt x="4916" y="10271"/>
                  <a:pt x="4916" y="10302"/>
                </a:cubicBezTo>
                <a:lnTo>
                  <a:pt x="3813" y="10302"/>
                </a:lnTo>
                <a:cubicBezTo>
                  <a:pt x="2458" y="10302"/>
                  <a:pt x="1387" y="9231"/>
                  <a:pt x="1387" y="7908"/>
                </a:cubicBezTo>
                <a:lnTo>
                  <a:pt x="1387" y="6805"/>
                </a:lnTo>
                <a:cubicBezTo>
                  <a:pt x="1450" y="6805"/>
                  <a:pt x="1482" y="6742"/>
                  <a:pt x="1513" y="6742"/>
                </a:cubicBezTo>
                <a:cubicBezTo>
                  <a:pt x="1671" y="7498"/>
                  <a:pt x="1986" y="8160"/>
                  <a:pt x="2490" y="8727"/>
                </a:cubicBezTo>
                <a:lnTo>
                  <a:pt x="3971" y="7278"/>
                </a:lnTo>
                <a:cubicBezTo>
                  <a:pt x="3498" y="6648"/>
                  <a:pt x="3372" y="5860"/>
                  <a:pt x="3592" y="5072"/>
                </a:cubicBezTo>
                <a:cubicBezTo>
                  <a:pt x="3687" y="4820"/>
                  <a:pt x="3813" y="4631"/>
                  <a:pt x="3971" y="4442"/>
                </a:cubicBezTo>
                <a:lnTo>
                  <a:pt x="2490" y="2962"/>
                </a:lnTo>
                <a:cubicBezTo>
                  <a:pt x="2017" y="3529"/>
                  <a:pt x="1671" y="4190"/>
                  <a:pt x="1513" y="4946"/>
                </a:cubicBezTo>
                <a:cubicBezTo>
                  <a:pt x="1482" y="4946"/>
                  <a:pt x="1450" y="4883"/>
                  <a:pt x="1387" y="4883"/>
                </a:cubicBezTo>
                <a:lnTo>
                  <a:pt x="1387" y="3781"/>
                </a:lnTo>
                <a:cubicBezTo>
                  <a:pt x="1387" y="2458"/>
                  <a:pt x="2458" y="1386"/>
                  <a:pt x="3813" y="1386"/>
                </a:cubicBezTo>
                <a:lnTo>
                  <a:pt x="4916" y="1386"/>
                </a:lnTo>
                <a:cubicBezTo>
                  <a:pt x="4916" y="1418"/>
                  <a:pt x="4947" y="1481"/>
                  <a:pt x="4947" y="1512"/>
                </a:cubicBezTo>
                <a:cubicBezTo>
                  <a:pt x="4191" y="1670"/>
                  <a:pt x="3529" y="1985"/>
                  <a:pt x="2962" y="2489"/>
                </a:cubicBezTo>
                <a:lnTo>
                  <a:pt x="4443" y="3938"/>
                </a:lnTo>
                <a:cubicBezTo>
                  <a:pt x="4632" y="3781"/>
                  <a:pt x="4821" y="3686"/>
                  <a:pt x="5073" y="3592"/>
                </a:cubicBezTo>
                <a:cubicBezTo>
                  <a:pt x="5339" y="3496"/>
                  <a:pt x="5605" y="3451"/>
                  <a:pt x="5865" y="3451"/>
                </a:cubicBezTo>
                <a:cubicBezTo>
                  <a:pt x="6375" y="3451"/>
                  <a:pt x="6861" y="3625"/>
                  <a:pt x="7279" y="3938"/>
                </a:cubicBezTo>
                <a:lnTo>
                  <a:pt x="8728" y="2489"/>
                </a:lnTo>
                <a:cubicBezTo>
                  <a:pt x="8161" y="2016"/>
                  <a:pt x="7499" y="1670"/>
                  <a:pt x="6743" y="1512"/>
                </a:cubicBezTo>
                <a:cubicBezTo>
                  <a:pt x="6743" y="1481"/>
                  <a:pt x="6774" y="1418"/>
                  <a:pt x="6774" y="1386"/>
                </a:cubicBezTo>
                <a:close/>
                <a:moveTo>
                  <a:pt x="5829" y="0"/>
                </a:moveTo>
                <a:cubicBezTo>
                  <a:pt x="5420" y="0"/>
                  <a:pt x="5010" y="315"/>
                  <a:pt x="4884" y="725"/>
                </a:cubicBezTo>
                <a:lnTo>
                  <a:pt x="3782" y="725"/>
                </a:lnTo>
                <a:cubicBezTo>
                  <a:pt x="2112" y="725"/>
                  <a:pt x="726" y="2111"/>
                  <a:pt x="726" y="3781"/>
                </a:cubicBezTo>
                <a:lnTo>
                  <a:pt x="726" y="4883"/>
                </a:lnTo>
                <a:cubicBezTo>
                  <a:pt x="316" y="5041"/>
                  <a:pt x="1" y="5419"/>
                  <a:pt x="1" y="5829"/>
                </a:cubicBezTo>
                <a:cubicBezTo>
                  <a:pt x="1" y="6270"/>
                  <a:pt x="316" y="6679"/>
                  <a:pt x="726" y="6774"/>
                </a:cubicBezTo>
                <a:lnTo>
                  <a:pt x="726" y="7876"/>
                </a:lnTo>
                <a:cubicBezTo>
                  <a:pt x="726" y="9578"/>
                  <a:pt x="2112" y="10964"/>
                  <a:pt x="3782" y="10964"/>
                </a:cubicBezTo>
                <a:lnTo>
                  <a:pt x="4884" y="10964"/>
                </a:lnTo>
                <a:cubicBezTo>
                  <a:pt x="5042" y="11342"/>
                  <a:pt x="5420" y="11688"/>
                  <a:pt x="5829" y="11688"/>
                </a:cubicBezTo>
                <a:cubicBezTo>
                  <a:pt x="6270" y="11688"/>
                  <a:pt x="6680" y="11342"/>
                  <a:pt x="6774" y="10964"/>
                </a:cubicBezTo>
                <a:lnTo>
                  <a:pt x="7877" y="10964"/>
                </a:lnTo>
                <a:cubicBezTo>
                  <a:pt x="9578" y="10964"/>
                  <a:pt x="10965" y="9578"/>
                  <a:pt x="10965" y="7876"/>
                </a:cubicBezTo>
                <a:lnTo>
                  <a:pt x="10965" y="6774"/>
                </a:lnTo>
                <a:cubicBezTo>
                  <a:pt x="11343" y="6616"/>
                  <a:pt x="11658" y="6270"/>
                  <a:pt x="11658" y="5829"/>
                </a:cubicBezTo>
                <a:cubicBezTo>
                  <a:pt x="11658" y="5419"/>
                  <a:pt x="11343" y="5072"/>
                  <a:pt x="10965" y="4883"/>
                </a:cubicBezTo>
                <a:lnTo>
                  <a:pt x="10965" y="3781"/>
                </a:lnTo>
                <a:cubicBezTo>
                  <a:pt x="10965" y="2111"/>
                  <a:pt x="9578" y="725"/>
                  <a:pt x="7877" y="725"/>
                </a:cubicBezTo>
                <a:lnTo>
                  <a:pt x="6774" y="725"/>
                </a:lnTo>
                <a:cubicBezTo>
                  <a:pt x="6617" y="315"/>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50" name="Google Shape;7250;p73"/>
          <p:cNvGrpSpPr/>
          <p:nvPr/>
        </p:nvGrpSpPr>
        <p:grpSpPr>
          <a:xfrm>
            <a:off x="3970274" y="2730570"/>
            <a:ext cx="354586" cy="353645"/>
            <a:chOff x="-30345325" y="3184750"/>
            <a:chExt cx="292225" cy="291450"/>
          </a:xfrm>
        </p:grpSpPr>
        <p:sp>
          <p:nvSpPr>
            <p:cNvPr id="7251" name="Google Shape;7251;p73"/>
            <p:cNvSpPr/>
            <p:nvPr/>
          </p:nvSpPr>
          <p:spPr>
            <a:xfrm>
              <a:off x="-30328000" y="3184750"/>
              <a:ext cx="258375" cy="120950"/>
            </a:xfrm>
            <a:custGeom>
              <a:avLst/>
              <a:gdLst/>
              <a:ahLst/>
              <a:cxnLst/>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3"/>
            <p:cNvSpPr/>
            <p:nvPr/>
          </p:nvSpPr>
          <p:spPr>
            <a:xfrm>
              <a:off x="-30310675" y="3322575"/>
              <a:ext cx="68550" cy="69350"/>
            </a:xfrm>
            <a:custGeom>
              <a:avLst/>
              <a:gdLst/>
              <a:ahLst/>
              <a:cxnLst/>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73"/>
            <p:cNvSpPr/>
            <p:nvPr/>
          </p:nvSpPr>
          <p:spPr>
            <a:xfrm>
              <a:off x="-30345325" y="3408425"/>
              <a:ext cx="137075" cy="67775"/>
            </a:xfrm>
            <a:custGeom>
              <a:avLst/>
              <a:gdLst/>
              <a:ahLst/>
              <a:cxnLst/>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73"/>
            <p:cNvSpPr/>
            <p:nvPr/>
          </p:nvSpPr>
          <p:spPr>
            <a:xfrm>
              <a:off x="-30156300" y="3322575"/>
              <a:ext cx="68550" cy="69350"/>
            </a:xfrm>
            <a:custGeom>
              <a:avLst/>
              <a:gdLst/>
              <a:ahLst/>
              <a:cxnLst/>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3"/>
            <p:cNvSpPr/>
            <p:nvPr/>
          </p:nvSpPr>
          <p:spPr>
            <a:xfrm>
              <a:off x="-30190950" y="3408425"/>
              <a:ext cx="137850" cy="67775"/>
            </a:xfrm>
            <a:custGeom>
              <a:avLst/>
              <a:gdLst/>
              <a:ahLst/>
              <a:cxnLst/>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6" name="Google Shape;7256;p73"/>
          <p:cNvGrpSpPr/>
          <p:nvPr/>
        </p:nvGrpSpPr>
        <p:grpSpPr>
          <a:xfrm>
            <a:off x="1295026" y="1380546"/>
            <a:ext cx="353645" cy="353645"/>
            <a:chOff x="-35481425" y="3202075"/>
            <a:chExt cx="291450" cy="291450"/>
          </a:xfrm>
        </p:grpSpPr>
        <p:sp>
          <p:nvSpPr>
            <p:cNvPr id="7257" name="Google Shape;7257;p73"/>
            <p:cNvSpPr/>
            <p:nvPr/>
          </p:nvSpPr>
          <p:spPr>
            <a:xfrm>
              <a:off x="-35414475" y="3304600"/>
              <a:ext cx="154400" cy="85975"/>
            </a:xfrm>
            <a:custGeom>
              <a:avLst/>
              <a:gdLst/>
              <a:ahLst/>
              <a:cxnLst/>
              <a:rect l="l" t="t" r="r" b="b"/>
              <a:pathLst>
                <a:path w="6176" h="3439" extrusionOk="0">
                  <a:moveTo>
                    <a:pt x="4433" y="0"/>
                  </a:moveTo>
                  <a:cubicBezTo>
                    <a:pt x="4393" y="0"/>
                    <a:pt x="4354" y="8"/>
                    <a:pt x="4317" y="26"/>
                  </a:cubicBezTo>
                  <a:cubicBezTo>
                    <a:pt x="4191" y="58"/>
                    <a:pt x="4128" y="216"/>
                    <a:pt x="4128" y="342"/>
                  </a:cubicBezTo>
                  <a:lnTo>
                    <a:pt x="4128" y="1003"/>
                  </a:lnTo>
                  <a:lnTo>
                    <a:pt x="2048" y="1003"/>
                  </a:lnTo>
                  <a:lnTo>
                    <a:pt x="2048" y="342"/>
                  </a:lnTo>
                  <a:cubicBezTo>
                    <a:pt x="2048" y="184"/>
                    <a:pt x="1954" y="58"/>
                    <a:pt x="1828" y="26"/>
                  </a:cubicBezTo>
                  <a:cubicBezTo>
                    <a:pt x="1793" y="15"/>
                    <a:pt x="1750" y="8"/>
                    <a:pt x="1705" y="8"/>
                  </a:cubicBezTo>
                  <a:cubicBezTo>
                    <a:pt x="1626" y="8"/>
                    <a:pt x="1541" y="30"/>
                    <a:pt x="1481" y="89"/>
                  </a:cubicBezTo>
                  <a:lnTo>
                    <a:pt x="95" y="1476"/>
                  </a:lnTo>
                  <a:cubicBezTo>
                    <a:pt x="0" y="1602"/>
                    <a:pt x="0" y="1822"/>
                    <a:pt x="95" y="1948"/>
                  </a:cubicBezTo>
                  <a:lnTo>
                    <a:pt x="1481" y="3334"/>
                  </a:lnTo>
                  <a:cubicBezTo>
                    <a:pt x="1548" y="3379"/>
                    <a:pt x="1646" y="3424"/>
                    <a:pt x="1732" y="3424"/>
                  </a:cubicBezTo>
                  <a:cubicBezTo>
                    <a:pt x="1767" y="3424"/>
                    <a:pt x="1800" y="3416"/>
                    <a:pt x="1828" y="3398"/>
                  </a:cubicBezTo>
                  <a:cubicBezTo>
                    <a:pt x="1954" y="3366"/>
                    <a:pt x="2048" y="3208"/>
                    <a:pt x="2048" y="3082"/>
                  </a:cubicBezTo>
                  <a:lnTo>
                    <a:pt x="2048" y="2421"/>
                  </a:lnTo>
                  <a:lnTo>
                    <a:pt x="4128" y="2421"/>
                  </a:lnTo>
                  <a:lnTo>
                    <a:pt x="4128" y="3082"/>
                  </a:lnTo>
                  <a:cubicBezTo>
                    <a:pt x="4128" y="3240"/>
                    <a:pt x="4191" y="3366"/>
                    <a:pt x="4317" y="3398"/>
                  </a:cubicBezTo>
                  <a:cubicBezTo>
                    <a:pt x="4369" y="3424"/>
                    <a:pt x="4426" y="3439"/>
                    <a:pt x="4483" y="3439"/>
                  </a:cubicBezTo>
                  <a:cubicBezTo>
                    <a:pt x="4562" y="3439"/>
                    <a:pt x="4639" y="3408"/>
                    <a:pt x="4695" y="3334"/>
                  </a:cubicBezTo>
                  <a:lnTo>
                    <a:pt x="6049" y="1948"/>
                  </a:lnTo>
                  <a:cubicBezTo>
                    <a:pt x="6175" y="1822"/>
                    <a:pt x="6175" y="1602"/>
                    <a:pt x="6049" y="1476"/>
                  </a:cubicBezTo>
                  <a:lnTo>
                    <a:pt x="4695" y="89"/>
                  </a:lnTo>
                  <a:cubicBezTo>
                    <a:pt x="4628" y="45"/>
                    <a:pt x="4530" y="0"/>
                    <a:pt x="4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3"/>
            <p:cNvSpPr/>
            <p:nvPr/>
          </p:nvSpPr>
          <p:spPr>
            <a:xfrm>
              <a:off x="-35413700" y="3202075"/>
              <a:ext cx="34700" cy="103200"/>
            </a:xfrm>
            <a:custGeom>
              <a:avLst/>
              <a:gdLst/>
              <a:ahLst/>
              <a:cxnLst/>
              <a:rect l="l" t="t" r="r" b="b"/>
              <a:pathLst>
                <a:path w="1388" h="4128" extrusionOk="0">
                  <a:moveTo>
                    <a:pt x="1" y="0"/>
                  </a:moveTo>
                  <a:lnTo>
                    <a:pt x="1" y="4127"/>
                  </a:lnTo>
                  <a:lnTo>
                    <a:pt x="348" y="4127"/>
                  </a:lnTo>
                  <a:cubicBezTo>
                    <a:pt x="915" y="4127"/>
                    <a:pt x="1387" y="3655"/>
                    <a:pt x="1387" y="3088"/>
                  </a:cubicBezTo>
                  <a:lnTo>
                    <a:pt x="1387" y="1009"/>
                  </a:lnTo>
                  <a:cubicBezTo>
                    <a:pt x="1387" y="473"/>
                    <a:pt x="915"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73"/>
            <p:cNvSpPr/>
            <p:nvPr/>
          </p:nvSpPr>
          <p:spPr>
            <a:xfrm>
              <a:off x="-35413700" y="3389525"/>
              <a:ext cx="34700" cy="103250"/>
            </a:xfrm>
            <a:custGeom>
              <a:avLst/>
              <a:gdLst/>
              <a:ahLst/>
              <a:cxnLst/>
              <a:rect l="l" t="t" r="r" b="b"/>
              <a:pathLst>
                <a:path w="1388" h="4130" extrusionOk="0">
                  <a:moveTo>
                    <a:pt x="1" y="1"/>
                  </a:moveTo>
                  <a:lnTo>
                    <a:pt x="1" y="4128"/>
                  </a:lnTo>
                  <a:lnTo>
                    <a:pt x="348" y="4128"/>
                  </a:lnTo>
                  <a:cubicBezTo>
                    <a:pt x="367" y="4129"/>
                    <a:pt x="386" y="4129"/>
                    <a:pt x="405" y="4129"/>
                  </a:cubicBezTo>
                  <a:cubicBezTo>
                    <a:pt x="946" y="4129"/>
                    <a:pt x="1387" y="3698"/>
                    <a:pt x="1387" y="3119"/>
                  </a:cubicBezTo>
                  <a:lnTo>
                    <a:pt x="1387" y="1040"/>
                  </a:lnTo>
                  <a:cubicBezTo>
                    <a:pt x="1387" y="473"/>
                    <a:pt x="915"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73"/>
            <p:cNvSpPr/>
            <p:nvPr/>
          </p:nvSpPr>
          <p:spPr>
            <a:xfrm>
              <a:off x="-35292400" y="3202075"/>
              <a:ext cx="33900" cy="103200"/>
            </a:xfrm>
            <a:custGeom>
              <a:avLst/>
              <a:gdLst/>
              <a:ahLst/>
              <a:cxnLst/>
              <a:rect l="l" t="t" r="r" b="b"/>
              <a:pathLst>
                <a:path w="1356" h="4128" extrusionOk="0">
                  <a:moveTo>
                    <a:pt x="1009" y="0"/>
                  </a:moveTo>
                  <a:cubicBezTo>
                    <a:pt x="473" y="0"/>
                    <a:pt x="1" y="473"/>
                    <a:pt x="1" y="1009"/>
                  </a:cubicBezTo>
                  <a:lnTo>
                    <a:pt x="1" y="3088"/>
                  </a:lnTo>
                  <a:cubicBezTo>
                    <a:pt x="1" y="3655"/>
                    <a:pt x="410" y="4127"/>
                    <a:pt x="1009" y="4127"/>
                  </a:cubicBezTo>
                  <a:lnTo>
                    <a:pt x="1355" y="4127"/>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3"/>
            <p:cNvSpPr/>
            <p:nvPr/>
          </p:nvSpPr>
          <p:spPr>
            <a:xfrm>
              <a:off x="-35241200" y="3202850"/>
              <a:ext cx="51225" cy="290675"/>
            </a:xfrm>
            <a:custGeom>
              <a:avLst/>
              <a:gdLst/>
              <a:ahLst/>
              <a:cxnLst/>
              <a:rect l="l" t="t" r="r" b="b"/>
              <a:pathLst>
                <a:path w="2049" h="11627" extrusionOk="0">
                  <a:moveTo>
                    <a:pt x="1" y="1"/>
                  </a:moveTo>
                  <a:lnTo>
                    <a:pt x="1" y="11626"/>
                  </a:lnTo>
                  <a:cubicBezTo>
                    <a:pt x="1135" y="11469"/>
                    <a:pt x="2048" y="10460"/>
                    <a:pt x="2048" y="9263"/>
                  </a:cubicBezTo>
                  <a:lnTo>
                    <a:pt x="2048" y="2395"/>
                  </a:lnTo>
                  <a:cubicBezTo>
                    <a:pt x="2048" y="1167"/>
                    <a:pt x="1135"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73"/>
            <p:cNvSpPr/>
            <p:nvPr/>
          </p:nvSpPr>
          <p:spPr>
            <a:xfrm>
              <a:off x="-35292400" y="3389525"/>
              <a:ext cx="33900" cy="104000"/>
            </a:xfrm>
            <a:custGeom>
              <a:avLst/>
              <a:gdLst/>
              <a:ahLst/>
              <a:cxnLst/>
              <a:rect l="l" t="t" r="r" b="b"/>
              <a:pathLst>
                <a:path w="1356" h="4160" extrusionOk="0">
                  <a:moveTo>
                    <a:pt x="1009" y="1"/>
                  </a:moveTo>
                  <a:cubicBezTo>
                    <a:pt x="473" y="1"/>
                    <a:pt x="1" y="473"/>
                    <a:pt x="1" y="1040"/>
                  </a:cubicBezTo>
                  <a:lnTo>
                    <a:pt x="1" y="3119"/>
                  </a:lnTo>
                  <a:cubicBezTo>
                    <a:pt x="1" y="3718"/>
                    <a:pt x="410" y="4159"/>
                    <a:pt x="1009" y="4159"/>
                  </a:cubicBezTo>
                  <a:lnTo>
                    <a:pt x="1355" y="4159"/>
                  </a:lnTo>
                  <a:lnTo>
                    <a:pt x="13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73"/>
            <p:cNvSpPr/>
            <p:nvPr/>
          </p:nvSpPr>
          <p:spPr>
            <a:xfrm>
              <a:off x="-35481425" y="3202075"/>
              <a:ext cx="51225" cy="289875"/>
            </a:xfrm>
            <a:custGeom>
              <a:avLst/>
              <a:gdLst/>
              <a:ahLst/>
              <a:cxnLst/>
              <a:rect l="l" t="t" r="r" b="b"/>
              <a:pathLst>
                <a:path w="2049" h="11595" extrusionOk="0">
                  <a:moveTo>
                    <a:pt x="2048" y="0"/>
                  </a:moveTo>
                  <a:cubicBezTo>
                    <a:pt x="883" y="158"/>
                    <a:pt x="1" y="1166"/>
                    <a:pt x="1" y="2363"/>
                  </a:cubicBezTo>
                  <a:lnTo>
                    <a:pt x="1" y="9200"/>
                  </a:lnTo>
                  <a:cubicBezTo>
                    <a:pt x="1" y="10460"/>
                    <a:pt x="851" y="11437"/>
                    <a:pt x="2048" y="11594"/>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4" name="Google Shape;7264;p73"/>
          <p:cNvGrpSpPr/>
          <p:nvPr/>
        </p:nvGrpSpPr>
        <p:grpSpPr>
          <a:xfrm>
            <a:off x="1294556" y="1822072"/>
            <a:ext cx="354586" cy="352675"/>
            <a:chOff x="-35482200" y="3561225"/>
            <a:chExt cx="292225" cy="290650"/>
          </a:xfrm>
        </p:grpSpPr>
        <p:sp>
          <p:nvSpPr>
            <p:cNvPr id="7265" name="Google Shape;7265;p73"/>
            <p:cNvSpPr/>
            <p:nvPr/>
          </p:nvSpPr>
          <p:spPr>
            <a:xfrm>
              <a:off x="-35482200" y="3749475"/>
              <a:ext cx="292225" cy="102400"/>
            </a:xfrm>
            <a:custGeom>
              <a:avLst/>
              <a:gdLst/>
              <a:ahLst/>
              <a:cxnLst/>
              <a:rect l="l" t="t" r="r" b="b"/>
              <a:pathLst>
                <a:path w="11689" h="4096" extrusionOk="0">
                  <a:moveTo>
                    <a:pt x="1701" y="0"/>
                  </a:moveTo>
                  <a:cubicBezTo>
                    <a:pt x="1040" y="0"/>
                    <a:pt x="473" y="315"/>
                    <a:pt x="63" y="819"/>
                  </a:cubicBezTo>
                  <a:cubicBezTo>
                    <a:pt x="0" y="945"/>
                    <a:pt x="0" y="1040"/>
                    <a:pt x="32" y="1166"/>
                  </a:cubicBezTo>
                  <a:cubicBezTo>
                    <a:pt x="63" y="1292"/>
                    <a:pt x="189" y="1355"/>
                    <a:pt x="347" y="1355"/>
                  </a:cubicBezTo>
                  <a:lnTo>
                    <a:pt x="1008" y="1355"/>
                  </a:lnTo>
                  <a:cubicBezTo>
                    <a:pt x="1418" y="1355"/>
                    <a:pt x="1670" y="1670"/>
                    <a:pt x="1670" y="2048"/>
                  </a:cubicBezTo>
                  <a:cubicBezTo>
                    <a:pt x="1670" y="2426"/>
                    <a:pt x="1355" y="2710"/>
                    <a:pt x="1008" y="2710"/>
                  </a:cubicBezTo>
                  <a:lnTo>
                    <a:pt x="347" y="2710"/>
                  </a:lnTo>
                  <a:cubicBezTo>
                    <a:pt x="221" y="2710"/>
                    <a:pt x="95" y="2773"/>
                    <a:pt x="32" y="2899"/>
                  </a:cubicBezTo>
                  <a:cubicBezTo>
                    <a:pt x="0" y="3025"/>
                    <a:pt x="0" y="3151"/>
                    <a:pt x="63" y="3245"/>
                  </a:cubicBezTo>
                  <a:cubicBezTo>
                    <a:pt x="410" y="3781"/>
                    <a:pt x="1040" y="4096"/>
                    <a:pt x="1701" y="4096"/>
                  </a:cubicBezTo>
                  <a:cubicBezTo>
                    <a:pt x="2615" y="4096"/>
                    <a:pt x="3371" y="3497"/>
                    <a:pt x="3655" y="2710"/>
                  </a:cubicBezTo>
                  <a:lnTo>
                    <a:pt x="8065" y="2710"/>
                  </a:lnTo>
                  <a:cubicBezTo>
                    <a:pt x="8317" y="3497"/>
                    <a:pt x="9073" y="4096"/>
                    <a:pt x="9987" y="4096"/>
                  </a:cubicBezTo>
                  <a:cubicBezTo>
                    <a:pt x="10649" y="4096"/>
                    <a:pt x="11247" y="3781"/>
                    <a:pt x="11594" y="3245"/>
                  </a:cubicBezTo>
                  <a:cubicBezTo>
                    <a:pt x="11688" y="3119"/>
                    <a:pt x="11688" y="3025"/>
                    <a:pt x="11625" y="2899"/>
                  </a:cubicBezTo>
                  <a:cubicBezTo>
                    <a:pt x="11594" y="2773"/>
                    <a:pt x="11468" y="2710"/>
                    <a:pt x="11310" y="2710"/>
                  </a:cubicBezTo>
                  <a:lnTo>
                    <a:pt x="10649" y="2710"/>
                  </a:lnTo>
                  <a:cubicBezTo>
                    <a:pt x="10271" y="2710"/>
                    <a:pt x="9987" y="2395"/>
                    <a:pt x="9987" y="2048"/>
                  </a:cubicBezTo>
                  <a:cubicBezTo>
                    <a:pt x="9987" y="1670"/>
                    <a:pt x="10302" y="1355"/>
                    <a:pt x="10649" y="1355"/>
                  </a:cubicBezTo>
                  <a:lnTo>
                    <a:pt x="11310" y="1355"/>
                  </a:lnTo>
                  <a:cubicBezTo>
                    <a:pt x="11436" y="1355"/>
                    <a:pt x="11562" y="1292"/>
                    <a:pt x="11625" y="1166"/>
                  </a:cubicBezTo>
                  <a:cubicBezTo>
                    <a:pt x="11688" y="1040"/>
                    <a:pt x="11688" y="945"/>
                    <a:pt x="11594" y="819"/>
                  </a:cubicBezTo>
                  <a:cubicBezTo>
                    <a:pt x="11247" y="315"/>
                    <a:pt x="10649" y="0"/>
                    <a:pt x="9987" y="0"/>
                  </a:cubicBezTo>
                  <a:cubicBezTo>
                    <a:pt x="9073" y="0"/>
                    <a:pt x="8349" y="567"/>
                    <a:pt x="8065" y="1355"/>
                  </a:cubicBezTo>
                  <a:lnTo>
                    <a:pt x="3655" y="1355"/>
                  </a:lnTo>
                  <a:cubicBezTo>
                    <a:pt x="3371" y="567"/>
                    <a:pt x="2615"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73"/>
            <p:cNvSpPr/>
            <p:nvPr/>
          </p:nvSpPr>
          <p:spPr>
            <a:xfrm>
              <a:off x="-35371150" y="3561225"/>
              <a:ext cx="68550" cy="68550"/>
            </a:xfrm>
            <a:custGeom>
              <a:avLst/>
              <a:gdLst/>
              <a:ahLst/>
              <a:cxnLst/>
              <a:rect l="l" t="t" r="r" b="b"/>
              <a:pathLst>
                <a:path w="2742" h="2742" extrusionOk="0">
                  <a:moveTo>
                    <a:pt x="1355" y="1"/>
                  </a:moveTo>
                  <a:cubicBezTo>
                    <a:pt x="630" y="1"/>
                    <a:pt x="0" y="631"/>
                    <a:pt x="0" y="1387"/>
                  </a:cubicBezTo>
                  <a:cubicBezTo>
                    <a:pt x="0" y="2111"/>
                    <a:pt x="630" y="2741"/>
                    <a:pt x="1355" y="2741"/>
                  </a:cubicBezTo>
                  <a:cubicBezTo>
                    <a:pt x="2111" y="2741"/>
                    <a:pt x="2741" y="2111"/>
                    <a:pt x="2741" y="1387"/>
                  </a:cubicBezTo>
                  <a:cubicBezTo>
                    <a:pt x="2741"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3"/>
            <p:cNvSpPr/>
            <p:nvPr/>
          </p:nvSpPr>
          <p:spPr>
            <a:xfrm>
              <a:off x="-35405025" y="3647075"/>
              <a:ext cx="136275" cy="119750"/>
            </a:xfrm>
            <a:custGeom>
              <a:avLst/>
              <a:gdLst/>
              <a:ahLst/>
              <a:cxnLst/>
              <a:rect l="l" t="t" r="r" b="b"/>
              <a:pathLst>
                <a:path w="5451" h="4790" extrusionOk="0">
                  <a:moveTo>
                    <a:pt x="2710" y="1"/>
                  </a:moveTo>
                  <a:cubicBezTo>
                    <a:pt x="1387" y="1"/>
                    <a:pt x="253" y="1009"/>
                    <a:pt x="32" y="2300"/>
                  </a:cubicBezTo>
                  <a:cubicBezTo>
                    <a:pt x="1" y="2521"/>
                    <a:pt x="158" y="2710"/>
                    <a:pt x="410" y="2710"/>
                  </a:cubicBezTo>
                  <a:lnTo>
                    <a:pt x="2395" y="2710"/>
                  </a:lnTo>
                  <a:lnTo>
                    <a:pt x="2395" y="4789"/>
                  </a:lnTo>
                  <a:lnTo>
                    <a:pt x="3088" y="4789"/>
                  </a:lnTo>
                  <a:lnTo>
                    <a:pt x="3088" y="2710"/>
                  </a:lnTo>
                  <a:lnTo>
                    <a:pt x="5073" y="2710"/>
                  </a:lnTo>
                  <a:cubicBezTo>
                    <a:pt x="5293" y="2710"/>
                    <a:pt x="5451" y="2521"/>
                    <a:pt x="5451" y="2300"/>
                  </a:cubicBezTo>
                  <a:cubicBezTo>
                    <a:pt x="5230" y="977"/>
                    <a:pt x="4096" y="1"/>
                    <a:pt x="27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8" name="Google Shape;7268;p73"/>
          <p:cNvGrpSpPr/>
          <p:nvPr/>
        </p:nvGrpSpPr>
        <p:grpSpPr>
          <a:xfrm>
            <a:off x="1295026" y="2256940"/>
            <a:ext cx="353645" cy="353615"/>
            <a:chOff x="-35481425" y="3919600"/>
            <a:chExt cx="291450" cy="291425"/>
          </a:xfrm>
        </p:grpSpPr>
        <p:sp>
          <p:nvSpPr>
            <p:cNvPr id="7269" name="Google Shape;7269;p73"/>
            <p:cNvSpPr/>
            <p:nvPr/>
          </p:nvSpPr>
          <p:spPr>
            <a:xfrm>
              <a:off x="-35327050" y="4125150"/>
              <a:ext cx="84300" cy="85100"/>
            </a:xfrm>
            <a:custGeom>
              <a:avLst/>
              <a:gdLst/>
              <a:ahLst/>
              <a:cxnLst/>
              <a:rect l="l" t="t" r="r" b="b"/>
              <a:pathLst>
                <a:path w="3372" h="3404" extrusionOk="0">
                  <a:moveTo>
                    <a:pt x="3025" y="1"/>
                  </a:moveTo>
                  <a:cubicBezTo>
                    <a:pt x="2836" y="1"/>
                    <a:pt x="2678" y="159"/>
                    <a:pt x="2678" y="348"/>
                  </a:cubicBezTo>
                  <a:lnTo>
                    <a:pt x="2678" y="1041"/>
                  </a:lnTo>
                  <a:cubicBezTo>
                    <a:pt x="2678" y="1576"/>
                    <a:pt x="2206" y="2049"/>
                    <a:pt x="1639" y="2049"/>
                  </a:cubicBezTo>
                  <a:lnTo>
                    <a:pt x="1103" y="2049"/>
                  </a:lnTo>
                  <a:lnTo>
                    <a:pt x="1229" y="1923"/>
                  </a:lnTo>
                  <a:cubicBezTo>
                    <a:pt x="1387" y="1860"/>
                    <a:pt x="1387" y="1608"/>
                    <a:pt x="1261" y="1513"/>
                  </a:cubicBezTo>
                  <a:cubicBezTo>
                    <a:pt x="1198" y="1450"/>
                    <a:pt x="1111" y="1419"/>
                    <a:pt x="1024" y="1419"/>
                  </a:cubicBezTo>
                  <a:cubicBezTo>
                    <a:pt x="938" y="1419"/>
                    <a:pt x="851" y="1450"/>
                    <a:pt x="788" y="1513"/>
                  </a:cubicBezTo>
                  <a:lnTo>
                    <a:pt x="127" y="2175"/>
                  </a:lnTo>
                  <a:cubicBezTo>
                    <a:pt x="1" y="2301"/>
                    <a:pt x="1" y="2521"/>
                    <a:pt x="127" y="2647"/>
                  </a:cubicBezTo>
                  <a:lnTo>
                    <a:pt x="788" y="3309"/>
                  </a:lnTo>
                  <a:cubicBezTo>
                    <a:pt x="851" y="3372"/>
                    <a:pt x="938" y="3404"/>
                    <a:pt x="1024" y="3404"/>
                  </a:cubicBezTo>
                  <a:cubicBezTo>
                    <a:pt x="1111" y="3404"/>
                    <a:pt x="1198" y="3372"/>
                    <a:pt x="1261" y="3309"/>
                  </a:cubicBezTo>
                  <a:cubicBezTo>
                    <a:pt x="1387" y="3183"/>
                    <a:pt x="1387" y="2962"/>
                    <a:pt x="1261" y="2836"/>
                  </a:cubicBezTo>
                  <a:lnTo>
                    <a:pt x="1135" y="2710"/>
                  </a:lnTo>
                  <a:lnTo>
                    <a:pt x="1702" y="2710"/>
                  </a:lnTo>
                  <a:cubicBezTo>
                    <a:pt x="2647" y="2710"/>
                    <a:pt x="3372" y="1986"/>
                    <a:pt x="3372" y="1041"/>
                  </a:cubicBezTo>
                  <a:lnTo>
                    <a:pt x="3372" y="348"/>
                  </a:lnTo>
                  <a:cubicBezTo>
                    <a:pt x="3372" y="159"/>
                    <a:pt x="3214"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3"/>
            <p:cNvSpPr/>
            <p:nvPr/>
          </p:nvSpPr>
          <p:spPr>
            <a:xfrm>
              <a:off x="-35429450" y="3921175"/>
              <a:ext cx="84300" cy="85075"/>
            </a:xfrm>
            <a:custGeom>
              <a:avLst/>
              <a:gdLst/>
              <a:ahLst/>
              <a:cxnLst/>
              <a:rect l="l" t="t" r="r" b="b"/>
              <a:pathLst>
                <a:path w="3372" h="3403" extrusionOk="0">
                  <a:moveTo>
                    <a:pt x="2360" y="0"/>
                  </a:moveTo>
                  <a:cubicBezTo>
                    <a:pt x="2269" y="0"/>
                    <a:pt x="2175" y="32"/>
                    <a:pt x="2112" y="95"/>
                  </a:cubicBezTo>
                  <a:cubicBezTo>
                    <a:pt x="2017" y="221"/>
                    <a:pt x="2017" y="441"/>
                    <a:pt x="2112" y="567"/>
                  </a:cubicBezTo>
                  <a:lnTo>
                    <a:pt x="2238" y="693"/>
                  </a:lnTo>
                  <a:lnTo>
                    <a:pt x="1702" y="693"/>
                  </a:lnTo>
                  <a:cubicBezTo>
                    <a:pt x="757" y="693"/>
                    <a:pt x="1" y="1418"/>
                    <a:pt x="1" y="2363"/>
                  </a:cubicBezTo>
                  <a:lnTo>
                    <a:pt x="1" y="3056"/>
                  </a:lnTo>
                  <a:cubicBezTo>
                    <a:pt x="1" y="3245"/>
                    <a:pt x="158" y="3403"/>
                    <a:pt x="347" y="3403"/>
                  </a:cubicBezTo>
                  <a:cubicBezTo>
                    <a:pt x="536" y="3403"/>
                    <a:pt x="694" y="3245"/>
                    <a:pt x="694" y="3056"/>
                  </a:cubicBezTo>
                  <a:lnTo>
                    <a:pt x="694" y="2332"/>
                  </a:lnTo>
                  <a:cubicBezTo>
                    <a:pt x="694" y="1796"/>
                    <a:pt x="1167" y="1292"/>
                    <a:pt x="1734" y="1292"/>
                  </a:cubicBezTo>
                  <a:lnTo>
                    <a:pt x="2269" y="1292"/>
                  </a:lnTo>
                  <a:lnTo>
                    <a:pt x="2175" y="1418"/>
                  </a:lnTo>
                  <a:cubicBezTo>
                    <a:pt x="2017" y="1544"/>
                    <a:pt x="2017" y="1733"/>
                    <a:pt x="2112" y="1891"/>
                  </a:cubicBezTo>
                  <a:cubicBezTo>
                    <a:pt x="2175" y="1954"/>
                    <a:pt x="2269" y="1985"/>
                    <a:pt x="2360" y="1985"/>
                  </a:cubicBezTo>
                  <a:cubicBezTo>
                    <a:pt x="2450" y="1985"/>
                    <a:pt x="2537" y="1954"/>
                    <a:pt x="2584" y="1891"/>
                  </a:cubicBezTo>
                  <a:lnTo>
                    <a:pt x="3277" y="1229"/>
                  </a:lnTo>
                  <a:cubicBezTo>
                    <a:pt x="3372" y="1103"/>
                    <a:pt x="3372" y="882"/>
                    <a:pt x="3277" y="756"/>
                  </a:cubicBezTo>
                  <a:lnTo>
                    <a:pt x="2584" y="95"/>
                  </a:lnTo>
                  <a:cubicBezTo>
                    <a:pt x="2537" y="32"/>
                    <a:pt x="2450" y="0"/>
                    <a:pt x="23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73"/>
            <p:cNvSpPr/>
            <p:nvPr/>
          </p:nvSpPr>
          <p:spPr>
            <a:xfrm>
              <a:off x="-35481425" y="4021975"/>
              <a:ext cx="137075" cy="35475"/>
            </a:xfrm>
            <a:custGeom>
              <a:avLst/>
              <a:gdLst/>
              <a:ahLst/>
              <a:cxnLst/>
              <a:rect l="l" t="t" r="r" b="b"/>
              <a:pathLst>
                <a:path w="5483" h="1419" extrusionOk="0">
                  <a:moveTo>
                    <a:pt x="1009" y="1"/>
                  </a:moveTo>
                  <a:cubicBezTo>
                    <a:pt x="473" y="1"/>
                    <a:pt x="1" y="473"/>
                    <a:pt x="1" y="1072"/>
                  </a:cubicBezTo>
                  <a:lnTo>
                    <a:pt x="1" y="1419"/>
                  </a:lnTo>
                  <a:lnTo>
                    <a:pt x="5482" y="1419"/>
                  </a:lnTo>
                  <a:lnTo>
                    <a:pt x="5482" y="1072"/>
                  </a:lnTo>
                  <a:lnTo>
                    <a:pt x="5451" y="1072"/>
                  </a:lnTo>
                  <a:cubicBezTo>
                    <a:pt x="5451" y="505"/>
                    <a:pt x="5010"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73"/>
            <p:cNvSpPr/>
            <p:nvPr/>
          </p:nvSpPr>
          <p:spPr>
            <a:xfrm>
              <a:off x="-35481425" y="4073975"/>
              <a:ext cx="136275" cy="85875"/>
            </a:xfrm>
            <a:custGeom>
              <a:avLst/>
              <a:gdLst/>
              <a:ahLst/>
              <a:cxnLst/>
              <a:rect l="l" t="t" r="r" b="b"/>
              <a:pathLst>
                <a:path w="5451" h="3435" extrusionOk="0">
                  <a:moveTo>
                    <a:pt x="1" y="0"/>
                  </a:moveTo>
                  <a:lnTo>
                    <a:pt x="1" y="3434"/>
                  </a:lnTo>
                  <a:lnTo>
                    <a:pt x="5451" y="3434"/>
                  </a:lnTo>
                  <a:lnTo>
                    <a:pt x="54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3"/>
            <p:cNvSpPr/>
            <p:nvPr/>
          </p:nvSpPr>
          <p:spPr>
            <a:xfrm>
              <a:off x="-35481425" y="4176350"/>
              <a:ext cx="136275" cy="34675"/>
            </a:xfrm>
            <a:custGeom>
              <a:avLst/>
              <a:gdLst/>
              <a:ahLst/>
              <a:cxnLst/>
              <a:rect l="l" t="t" r="r" b="b"/>
              <a:pathLst>
                <a:path w="5451" h="1387" extrusionOk="0">
                  <a:moveTo>
                    <a:pt x="1" y="1"/>
                  </a:moveTo>
                  <a:lnTo>
                    <a:pt x="1" y="347"/>
                  </a:lnTo>
                  <a:cubicBezTo>
                    <a:pt x="1" y="946"/>
                    <a:pt x="410" y="1387"/>
                    <a:pt x="1009" y="1387"/>
                  </a:cubicBezTo>
                  <a:lnTo>
                    <a:pt x="4443" y="1387"/>
                  </a:lnTo>
                  <a:cubicBezTo>
                    <a:pt x="4978" y="1387"/>
                    <a:pt x="5451" y="914"/>
                    <a:pt x="5451" y="347"/>
                  </a:cubicBezTo>
                  <a:lnTo>
                    <a:pt x="54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73"/>
            <p:cNvSpPr/>
            <p:nvPr/>
          </p:nvSpPr>
          <p:spPr>
            <a:xfrm>
              <a:off x="-35327050" y="3919600"/>
              <a:ext cx="137075" cy="33875"/>
            </a:xfrm>
            <a:custGeom>
              <a:avLst/>
              <a:gdLst/>
              <a:ahLst/>
              <a:cxnLst/>
              <a:rect l="l" t="t" r="r" b="b"/>
              <a:pathLst>
                <a:path w="5483" h="1355" extrusionOk="0">
                  <a:moveTo>
                    <a:pt x="1009" y="0"/>
                  </a:moveTo>
                  <a:cubicBezTo>
                    <a:pt x="473" y="0"/>
                    <a:pt x="1" y="473"/>
                    <a:pt x="1" y="1008"/>
                  </a:cubicBezTo>
                  <a:lnTo>
                    <a:pt x="1" y="1355"/>
                  </a:lnTo>
                  <a:lnTo>
                    <a:pt x="5482" y="1355"/>
                  </a:lnTo>
                  <a:lnTo>
                    <a:pt x="5482" y="1008"/>
                  </a:lnTo>
                  <a:cubicBezTo>
                    <a:pt x="5482" y="473"/>
                    <a:pt x="5010"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73"/>
            <p:cNvSpPr/>
            <p:nvPr/>
          </p:nvSpPr>
          <p:spPr>
            <a:xfrm>
              <a:off x="-35327825" y="3970800"/>
              <a:ext cx="136275" cy="85875"/>
            </a:xfrm>
            <a:custGeom>
              <a:avLst/>
              <a:gdLst/>
              <a:ahLst/>
              <a:cxnLst/>
              <a:rect l="l" t="t" r="r" b="b"/>
              <a:pathLst>
                <a:path w="5451" h="3435" extrusionOk="0">
                  <a:moveTo>
                    <a:pt x="0" y="0"/>
                  </a:moveTo>
                  <a:lnTo>
                    <a:pt x="0" y="3434"/>
                  </a:lnTo>
                  <a:lnTo>
                    <a:pt x="5450" y="3434"/>
                  </a:ln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3"/>
            <p:cNvSpPr/>
            <p:nvPr/>
          </p:nvSpPr>
          <p:spPr>
            <a:xfrm>
              <a:off x="-35327825" y="4073975"/>
              <a:ext cx="136275" cy="35450"/>
            </a:xfrm>
            <a:custGeom>
              <a:avLst/>
              <a:gdLst/>
              <a:ahLst/>
              <a:cxnLst/>
              <a:rect l="l" t="t" r="r" b="b"/>
              <a:pathLst>
                <a:path w="5451" h="1418" extrusionOk="0">
                  <a:moveTo>
                    <a:pt x="0" y="0"/>
                  </a:moveTo>
                  <a:lnTo>
                    <a:pt x="0" y="347"/>
                  </a:lnTo>
                  <a:cubicBezTo>
                    <a:pt x="0" y="914"/>
                    <a:pt x="473" y="1418"/>
                    <a:pt x="1008" y="1418"/>
                  </a:cubicBezTo>
                  <a:lnTo>
                    <a:pt x="4442" y="1418"/>
                  </a:lnTo>
                  <a:cubicBezTo>
                    <a:pt x="4978" y="1418"/>
                    <a:pt x="5450" y="945"/>
                    <a:pt x="5450" y="347"/>
                  </a:cubicBez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7" name="Google Shape;7277;p73"/>
          <p:cNvGrpSpPr/>
          <p:nvPr/>
        </p:nvGrpSpPr>
        <p:grpSpPr>
          <a:xfrm>
            <a:off x="3530661" y="1381031"/>
            <a:ext cx="357468" cy="352675"/>
            <a:chOff x="-33645475" y="3228075"/>
            <a:chExt cx="294600" cy="290650"/>
          </a:xfrm>
        </p:grpSpPr>
        <p:sp>
          <p:nvSpPr>
            <p:cNvPr id="7278" name="Google Shape;7278;p73"/>
            <p:cNvSpPr/>
            <p:nvPr/>
          </p:nvSpPr>
          <p:spPr>
            <a:xfrm>
              <a:off x="-33456450" y="3261925"/>
              <a:ext cx="84300" cy="85100"/>
            </a:xfrm>
            <a:custGeom>
              <a:avLst/>
              <a:gdLst/>
              <a:ahLst/>
              <a:cxnLst/>
              <a:rect l="l" t="t" r="r" b="b"/>
              <a:pathLst>
                <a:path w="3372" h="3404" extrusionOk="0">
                  <a:moveTo>
                    <a:pt x="347" y="1"/>
                  </a:moveTo>
                  <a:cubicBezTo>
                    <a:pt x="158" y="1"/>
                    <a:pt x="1" y="158"/>
                    <a:pt x="1" y="347"/>
                  </a:cubicBezTo>
                  <a:cubicBezTo>
                    <a:pt x="1" y="536"/>
                    <a:pt x="158" y="694"/>
                    <a:pt x="347" y="694"/>
                  </a:cubicBezTo>
                  <a:lnTo>
                    <a:pt x="1009" y="694"/>
                  </a:lnTo>
                  <a:cubicBezTo>
                    <a:pt x="1576" y="694"/>
                    <a:pt x="2049" y="1166"/>
                    <a:pt x="2049" y="1733"/>
                  </a:cubicBezTo>
                  <a:lnTo>
                    <a:pt x="2049" y="2269"/>
                  </a:lnTo>
                  <a:lnTo>
                    <a:pt x="1923" y="2175"/>
                  </a:lnTo>
                  <a:cubicBezTo>
                    <a:pt x="1860" y="2112"/>
                    <a:pt x="1773" y="2080"/>
                    <a:pt x="1686" y="2080"/>
                  </a:cubicBezTo>
                  <a:cubicBezTo>
                    <a:pt x="1600" y="2080"/>
                    <a:pt x="1513" y="2112"/>
                    <a:pt x="1450" y="2175"/>
                  </a:cubicBezTo>
                  <a:cubicBezTo>
                    <a:pt x="1324" y="2269"/>
                    <a:pt x="1324" y="2521"/>
                    <a:pt x="1450" y="2647"/>
                  </a:cubicBezTo>
                  <a:lnTo>
                    <a:pt x="2112" y="3309"/>
                  </a:lnTo>
                  <a:cubicBezTo>
                    <a:pt x="2175" y="3372"/>
                    <a:pt x="2269" y="3403"/>
                    <a:pt x="2360" y="3403"/>
                  </a:cubicBezTo>
                  <a:cubicBezTo>
                    <a:pt x="2450" y="3403"/>
                    <a:pt x="2537" y="3372"/>
                    <a:pt x="2584" y="3309"/>
                  </a:cubicBezTo>
                  <a:lnTo>
                    <a:pt x="3277" y="2647"/>
                  </a:lnTo>
                  <a:cubicBezTo>
                    <a:pt x="3372" y="2521"/>
                    <a:pt x="3372" y="2269"/>
                    <a:pt x="3277" y="2175"/>
                  </a:cubicBezTo>
                  <a:cubicBezTo>
                    <a:pt x="3214" y="2112"/>
                    <a:pt x="3120" y="2080"/>
                    <a:pt x="3029" y="2080"/>
                  </a:cubicBezTo>
                  <a:cubicBezTo>
                    <a:pt x="2939" y="2080"/>
                    <a:pt x="2852" y="2112"/>
                    <a:pt x="2805" y="2175"/>
                  </a:cubicBezTo>
                  <a:lnTo>
                    <a:pt x="2679" y="2269"/>
                  </a:lnTo>
                  <a:lnTo>
                    <a:pt x="2679" y="1733"/>
                  </a:lnTo>
                  <a:cubicBezTo>
                    <a:pt x="2742" y="788"/>
                    <a:pt x="1954"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3"/>
            <p:cNvSpPr/>
            <p:nvPr/>
          </p:nvSpPr>
          <p:spPr>
            <a:xfrm>
              <a:off x="-33575375" y="3433625"/>
              <a:ext cx="85075" cy="85100"/>
            </a:xfrm>
            <a:custGeom>
              <a:avLst/>
              <a:gdLst/>
              <a:ahLst/>
              <a:cxnLst/>
              <a:rect l="l" t="t" r="r" b="b"/>
              <a:pathLst>
                <a:path w="3403" h="3404" extrusionOk="0">
                  <a:moveTo>
                    <a:pt x="1013" y="1"/>
                  </a:moveTo>
                  <a:cubicBezTo>
                    <a:pt x="922" y="1"/>
                    <a:pt x="835" y="32"/>
                    <a:pt x="788" y="95"/>
                  </a:cubicBezTo>
                  <a:lnTo>
                    <a:pt x="127" y="757"/>
                  </a:lnTo>
                  <a:cubicBezTo>
                    <a:pt x="1" y="883"/>
                    <a:pt x="1" y="1135"/>
                    <a:pt x="127" y="1229"/>
                  </a:cubicBezTo>
                  <a:cubicBezTo>
                    <a:pt x="174" y="1292"/>
                    <a:pt x="260" y="1324"/>
                    <a:pt x="351" y="1324"/>
                  </a:cubicBezTo>
                  <a:cubicBezTo>
                    <a:pt x="442" y="1324"/>
                    <a:pt x="536" y="1292"/>
                    <a:pt x="599" y="1229"/>
                  </a:cubicBezTo>
                  <a:lnTo>
                    <a:pt x="694" y="1135"/>
                  </a:lnTo>
                  <a:lnTo>
                    <a:pt x="694" y="1671"/>
                  </a:lnTo>
                  <a:cubicBezTo>
                    <a:pt x="694" y="2616"/>
                    <a:pt x="1450" y="3372"/>
                    <a:pt x="2395" y="3372"/>
                  </a:cubicBezTo>
                  <a:lnTo>
                    <a:pt x="3057" y="3372"/>
                  </a:lnTo>
                  <a:lnTo>
                    <a:pt x="3057" y="3403"/>
                  </a:lnTo>
                  <a:cubicBezTo>
                    <a:pt x="3246" y="3403"/>
                    <a:pt x="3403" y="3246"/>
                    <a:pt x="3403" y="3057"/>
                  </a:cubicBezTo>
                  <a:cubicBezTo>
                    <a:pt x="3403" y="2868"/>
                    <a:pt x="3246" y="2710"/>
                    <a:pt x="3057" y="2710"/>
                  </a:cubicBezTo>
                  <a:lnTo>
                    <a:pt x="2363" y="2710"/>
                  </a:lnTo>
                  <a:cubicBezTo>
                    <a:pt x="1796" y="2710"/>
                    <a:pt x="1324" y="2238"/>
                    <a:pt x="1324" y="1671"/>
                  </a:cubicBezTo>
                  <a:lnTo>
                    <a:pt x="1324" y="1135"/>
                  </a:lnTo>
                  <a:lnTo>
                    <a:pt x="1450" y="1229"/>
                  </a:lnTo>
                  <a:cubicBezTo>
                    <a:pt x="1513" y="1292"/>
                    <a:pt x="1599" y="1324"/>
                    <a:pt x="1686" y="1324"/>
                  </a:cubicBezTo>
                  <a:cubicBezTo>
                    <a:pt x="1773" y="1324"/>
                    <a:pt x="1859" y="1292"/>
                    <a:pt x="1922" y="1229"/>
                  </a:cubicBezTo>
                  <a:cubicBezTo>
                    <a:pt x="2048" y="1135"/>
                    <a:pt x="2048" y="883"/>
                    <a:pt x="1922" y="757"/>
                  </a:cubicBezTo>
                  <a:lnTo>
                    <a:pt x="1261" y="95"/>
                  </a:lnTo>
                  <a:cubicBezTo>
                    <a:pt x="1198" y="32"/>
                    <a:pt x="1103" y="1"/>
                    <a:pt x="10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73"/>
            <p:cNvSpPr/>
            <p:nvPr/>
          </p:nvSpPr>
          <p:spPr>
            <a:xfrm>
              <a:off x="-33645475" y="3228075"/>
              <a:ext cx="206375" cy="153600"/>
            </a:xfrm>
            <a:custGeom>
              <a:avLst/>
              <a:gdLst/>
              <a:ahLst/>
              <a:cxnLst/>
              <a:rect l="l" t="t" r="r" b="b"/>
              <a:pathLst>
                <a:path w="8255" h="6144" extrusionOk="0">
                  <a:moveTo>
                    <a:pt x="4191" y="0"/>
                  </a:moveTo>
                  <a:cubicBezTo>
                    <a:pt x="2300" y="0"/>
                    <a:pt x="757" y="1544"/>
                    <a:pt x="757" y="3434"/>
                  </a:cubicBezTo>
                  <a:lnTo>
                    <a:pt x="757" y="3529"/>
                  </a:lnTo>
                  <a:cubicBezTo>
                    <a:pt x="347" y="3686"/>
                    <a:pt x="95" y="4033"/>
                    <a:pt x="95" y="4474"/>
                  </a:cubicBezTo>
                  <a:lnTo>
                    <a:pt x="95" y="5135"/>
                  </a:lnTo>
                  <a:cubicBezTo>
                    <a:pt x="1" y="5671"/>
                    <a:pt x="473" y="6143"/>
                    <a:pt x="1009" y="6143"/>
                  </a:cubicBezTo>
                  <a:cubicBezTo>
                    <a:pt x="1135" y="6143"/>
                    <a:pt x="1261" y="6112"/>
                    <a:pt x="1387" y="6080"/>
                  </a:cubicBezTo>
                  <a:lnTo>
                    <a:pt x="1387" y="3403"/>
                  </a:lnTo>
                  <a:cubicBezTo>
                    <a:pt x="1387" y="1890"/>
                    <a:pt x="2647" y="630"/>
                    <a:pt x="4128" y="630"/>
                  </a:cubicBezTo>
                  <a:cubicBezTo>
                    <a:pt x="5640" y="630"/>
                    <a:pt x="6900" y="1890"/>
                    <a:pt x="6900" y="3403"/>
                  </a:cubicBezTo>
                  <a:lnTo>
                    <a:pt x="6900" y="6080"/>
                  </a:lnTo>
                  <a:cubicBezTo>
                    <a:pt x="6995" y="6112"/>
                    <a:pt x="7121" y="6143"/>
                    <a:pt x="7247" y="6143"/>
                  </a:cubicBezTo>
                  <a:cubicBezTo>
                    <a:pt x="7782" y="6143"/>
                    <a:pt x="8255" y="5671"/>
                    <a:pt x="8255" y="5135"/>
                  </a:cubicBezTo>
                  <a:lnTo>
                    <a:pt x="8255" y="4474"/>
                  </a:lnTo>
                  <a:cubicBezTo>
                    <a:pt x="8255" y="4033"/>
                    <a:pt x="8003" y="3623"/>
                    <a:pt x="7593" y="3529"/>
                  </a:cubicBezTo>
                  <a:lnTo>
                    <a:pt x="7593" y="3434"/>
                  </a:lnTo>
                  <a:cubicBezTo>
                    <a:pt x="7593" y="1544"/>
                    <a:pt x="6050" y="0"/>
                    <a:pt x="41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3"/>
            <p:cNvSpPr/>
            <p:nvPr/>
          </p:nvSpPr>
          <p:spPr>
            <a:xfrm>
              <a:off x="-33593500" y="3279250"/>
              <a:ext cx="104775" cy="52275"/>
            </a:xfrm>
            <a:custGeom>
              <a:avLst/>
              <a:gdLst/>
              <a:ahLst/>
              <a:cxnLst/>
              <a:rect l="l" t="t" r="r" b="b"/>
              <a:pathLst>
                <a:path w="4191" h="2091" extrusionOk="0">
                  <a:moveTo>
                    <a:pt x="1734" y="1"/>
                  </a:moveTo>
                  <a:cubicBezTo>
                    <a:pt x="789" y="1"/>
                    <a:pt x="1" y="757"/>
                    <a:pt x="1" y="1702"/>
                  </a:cubicBezTo>
                  <a:lnTo>
                    <a:pt x="1" y="2049"/>
                  </a:lnTo>
                  <a:lnTo>
                    <a:pt x="1230" y="2049"/>
                  </a:lnTo>
                  <a:cubicBezTo>
                    <a:pt x="1545" y="2049"/>
                    <a:pt x="1891" y="2049"/>
                    <a:pt x="2017" y="1986"/>
                  </a:cubicBezTo>
                  <a:cubicBezTo>
                    <a:pt x="2049" y="1954"/>
                    <a:pt x="2080" y="1828"/>
                    <a:pt x="2080" y="1734"/>
                  </a:cubicBezTo>
                  <a:cubicBezTo>
                    <a:pt x="2080" y="1545"/>
                    <a:pt x="2238" y="1387"/>
                    <a:pt x="2458" y="1387"/>
                  </a:cubicBezTo>
                  <a:cubicBezTo>
                    <a:pt x="2647" y="1387"/>
                    <a:pt x="2805" y="1545"/>
                    <a:pt x="2805" y="1734"/>
                  </a:cubicBezTo>
                  <a:cubicBezTo>
                    <a:pt x="2805" y="1828"/>
                    <a:pt x="2805" y="1954"/>
                    <a:pt x="2868" y="1986"/>
                  </a:cubicBezTo>
                  <a:cubicBezTo>
                    <a:pt x="2942" y="2059"/>
                    <a:pt x="3091" y="2090"/>
                    <a:pt x="3266" y="2090"/>
                  </a:cubicBezTo>
                  <a:cubicBezTo>
                    <a:pt x="3389" y="2090"/>
                    <a:pt x="3525" y="2075"/>
                    <a:pt x="3656" y="2049"/>
                  </a:cubicBezTo>
                  <a:lnTo>
                    <a:pt x="4191" y="2049"/>
                  </a:lnTo>
                  <a:lnTo>
                    <a:pt x="4191" y="1702"/>
                  </a:lnTo>
                  <a:lnTo>
                    <a:pt x="4128" y="1702"/>
                  </a:lnTo>
                  <a:cubicBezTo>
                    <a:pt x="4128" y="757"/>
                    <a:pt x="3340"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73"/>
            <p:cNvSpPr/>
            <p:nvPr/>
          </p:nvSpPr>
          <p:spPr>
            <a:xfrm>
              <a:off x="-33593500" y="3341475"/>
              <a:ext cx="104775" cy="74075"/>
            </a:xfrm>
            <a:custGeom>
              <a:avLst/>
              <a:gdLst/>
              <a:ahLst/>
              <a:cxnLst/>
              <a:rect l="l" t="t" r="r" b="b"/>
              <a:pathLst>
                <a:path w="4191" h="2963" extrusionOk="0">
                  <a:moveTo>
                    <a:pt x="2395" y="1"/>
                  </a:moveTo>
                  <a:cubicBezTo>
                    <a:pt x="2080" y="253"/>
                    <a:pt x="1671" y="253"/>
                    <a:pt x="1230" y="253"/>
                  </a:cubicBezTo>
                  <a:lnTo>
                    <a:pt x="1" y="253"/>
                  </a:lnTo>
                  <a:lnTo>
                    <a:pt x="1" y="914"/>
                  </a:lnTo>
                  <a:cubicBezTo>
                    <a:pt x="1" y="2049"/>
                    <a:pt x="946" y="2962"/>
                    <a:pt x="2112" y="2962"/>
                  </a:cubicBezTo>
                  <a:cubicBezTo>
                    <a:pt x="3246" y="2962"/>
                    <a:pt x="4191" y="2049"/>
                    <a:pt x="4191" y="914"/>
                  </a:cubicBezTo>
                  <a:lnTo>
                    <a:pt x="4191" y="253"/>
                  </a:lnTo>
                  <a:lnTo>
                    <a:pt x="3466" y="253"/>
                  </a:lnTo>
                  <a:cubicBezTo>
                    <a:pt x="3088" y="253"/>
                    <a:pt x="2679"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73"/>
            <p:cNvSpPr/>
            <p:nvPr/>
          </p:nvSpPr>
          <p:spPr>
            <a:xfrm>
              <a:off x="-33455650" y="3381650"/>
              <a:ext cx="104775" cy="52250"/>
            </a:xfrm>
            <a:custGeom>
              <a:avLst/>
              <a:gdLst/>
              <a:ahLst/>
              <a:cxnLst/>
              <a:rect l="l" t="t" r="r" b="b"/>
              <a:pathLst>
                <a:path w="4191" h="2090" extrusionOk="0">
                  <a:moveTo>
                    <a:pt x="1702" y="0"/>
                  </a:moveTo>
                  <a:cubicBezTo>
                    <a:pt x="756" y="0"/>
                    <a:pt x="0" y="757"/>
                    <a:pt x="0" y="1702"/>
                  </a:cubicBezTo>
                  <a:lnTo>
                    <a:pt x="0" y="2048"/>
                  </a:lnTo>
                  <a:lnTo>
                    <a:pt x="1229" y="2048"/>
                  </a:lnTo>
                  <a:cubicBezTo>
                    <a:pt x="1544" y="2048"/>
                    <a:pt x="1891" y="2048"/>
                    <a:pt x="2017" y="1985"/>
                  </a:cubicBezTo>
                  <a:cubicBezTo>
                    <a:pt x="2048" y="1954"/>
                    <a:pt x="2080" y="1828"/>
                    <a:pt x="2080" y="1733"/>
                  </a:cubicBezTo>
                  <a:cubicBezTo>
                    <a:pt x="2080" y="1544"/>
                    <a:pt x="2237" y="1387"/>
                    <a:pt x="2458" y="1387"/>
                  </a:cubicBezTo>
                  <a:cubicBezTo>
                    <a:pt x="2647" y="1387"/>
                    <a:pt x="2804" y="1544"/>
                    <a:pt x="2804" y="1733"/>
                  </a:cubicBezTo>
                  <a:cubicBezTo>
                    <a:pt x="2804" y="1828"/>
                    <a:pt x="2804" y="1954"/>
                    <a:pt x="2867" y="1985"/>
                  </a:cubicBezTo>
                  <a:cubicBezTo>
                    <a:pt x="2941" y="2059"/>
                    <a:pt x="3091" y="2090"/>
                    <a:pt x="3265" y="2090"/>
                  </a:cubicBezTo>
                  <a:cubicBezTo>
                    <a:pt x="3388" y="2090"/>
                    <a:pt x="3524" y="2074"/>
                    <a:pt x="3655" y="2048"/>
                  </a:cubicBezTo>
                  <a:lnTo>
                    <a:pt x="4190" y="2048"/>
                  </a:lnTo>
                  <a:lnTo>
                    <a:pt x="4190" y="1702"/>
                  </a:lnTo>
                  <a:cubicBezTo>
                    <a:pt x="4096" y="757"/>
                    <a:pt x="3308"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3"/>
            <p:cNvSpPr/>
            <p:nvPr/>
          </p:nvSpPr>
          <p:spPr>
            <a:xfrm>
              <a:off x="-33456450" y="3443875"/>
              <a:ext cx="102425" cy="74850"/>
            </a:xfrm>
            <a:custGeom>
              <a:avLst/>
              <a:gdLst/>
              <a:ahLst/>
              <a:cxnLst/>
              <a:rect l="l" t="t" r="r" b="b"/>
              <a:pathLst>
                <a:path w="4097" h="2994" extrusionOk="0">
                  <a:moveTo>
                    <a:pt x="2395" y="0"/>
                  </a:moveTo>
                  <a:cubicBezTo>
                    <a:pt x="2080" y="252"/>
                    <a:pt x="1639" y="252"/>
                    <a:pt x="1230" y="252"/>
                  </a:cubicBezTo>
                  <a:lnTo>
                    <a:pt x="1" y="252"/>
                  </a:lnTo>
                  <a:lnTo>
                    <a:pt x="1" y="914"/>
                  </a:lnTo>
                  <a:cubicBezTo>
                    <a:pt x="1" y="2048"/>
                    <a:pt x="914" y="2993"/>
                    <a:pt x="2049" y="2993"/>
                  </a:cubicBezTo>
                  <a:cubicBezTo>
                    <a:pt x="3183" y="2993"/>
                    <a:pt x="4096" y="2048"/>
                    <a:pt x="4096" y="914"/>
                  </a:cubicBezTo>
                  <a:lnTo>
                    <a:pt x="4096" y="252"/>
                  </a:lnTo>
                  <a:lnTo>
                    <a:pt x="3435" y="252"/>
                  </a:lnTo>
                  <a:cubicBezTo>
                    <a:pt x="3025" y="252"/>
                    <a:pt x="2679" y="189"/>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5" name="Google Shape;7285;p73"/>
          <p:cNvGrpSpPr/>
          <p:nvPr/>
        </p:nvGrpSpPr>
        <p:grpSpPr>
          <a:xfrm>
            <a:off x="3531631" y="1821116"/>
            <a:ext cx="355526" cy="354586"/>
            <a:chOff x="-33646250" y="3586425"/>
            <a:chExt cx="293000" cy="292225"/>
          </a:xfrm>
        </p:grpSpPr>
        <p:sp>
          <p:nvSpPr>
            <p:cNvPr id="7286" name="Google Shape;7286;p73"/>
            <p:cNvSpPr/>
            <p:nvPr/>
          </p:nvSpPr>
          <p:spPr>
            <a:xfrm>
              <a:off x="-33646250" y="3739225"/>
              <a:ext cx="141775" cy="139425"/>
            </a:xfrm>
            <a:custGeom>
              <a:avLst/>
              <a:gdLst/>
              <a:ahLst/>
              <a:cxnLst/>
              <a:rect l="l" t="t" r="r" b="b"/>
              <a:pathLst>
                <a:path w="5671" h="5577" extrusionOk="0">
                  <a:moveTo>
                    <a:pt x="4190" y="1"/>
                  </a:moveTo>
                  <a:cubicBezTo>
                    <a:pt x="4001" y="316"/>
                    <a:pt x="3970" y="725"/>
                    <a:pt x="4127" y="1040"/>
                  </a:cubicBezTo>
                  <a:lnTo>
                    <a:pt x="3497" y="1670"/>
                  </a:lnTo>
                  <a:cubicBezTo>
                    <a:pt x="3345" y="1589"/>
                    <a:pt x="3194" y="1550"/>
                    <a:pt x="3047" y="1550"/>
                  </a:cubicBezTo>
                  <a:cubicBezTo>
                    <a:pt x="2797" y="1550"/>
                    <a:pt x="2561" y="1661"/>
                    <a:pt x="2363" y="1859"/>
                  </a:cubicBezTo>
                  <a:lnTo>
                    <a:pt x="378" y="3813"/>
                  </a:lnTo>
                  <a:cubicBezTo>
                    <a:pt x="0" y="4222"/>
                    <a:pt x="0" y="4884"/>
                    <a:pt x="378" y="5293"/>
                  </a:cubicBezTo>
                  <a:cubicBezTo>
                    <a:pt x="583" y="5482"/>
                    <a:pt x="851" y="5577"/>
                    <a:pt x="1115" y="5577"/>
                  </a:cubicBezTo>
                  <a:cubicBezTo>
                    <a:pt x="1378" y="5577"/>
                    <a:pt x="1638" y="5482"/>
                    <a:pt x="1827" y="5293"/>
                  </a:cubicBezTo>
                  <a:lnTo>
                    <a:pt x="3812" y="3309"/>
                  </a:lnTo>
                  <a:cubicBezTo>
                    <a:pt x="4096" y="3025"/>
                    <a:pt x="4190" y="2553"/>
                    <a:pt x="4001" y="2143"/>
                  </a:cubicBezTo>
                  <a:lnTo>
                    <a:pt x="4631" y="1513"/>
                  </a:lnTo>
                  <a:cubicBezTo>
                    <a:pt x="4789" y="1576"/>
                    <a:pt x="4915" y="1607"/>
                    <a:pt x="5072" y="1607"/>
                  </a:cubicBezTo>
                  <a:cubicBezTo>
                    <a:pt x="5261" y="1607"/>
                    <a:pt x="5450" y="1544"/>
                    <a:pt x="5671" y="1418"/>
                  </a:cubicBezTo>
                  <a:cubicBezTo>
                    <a:pt x="5041" y="1040"/>
                    <a:pt x="4568" y="568"/>
                    <a:pt x="41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3"/>
            <p:cNvSpPr/>
            <p:nvPr/>
          </p:nvSpPr>
          <p:spPr>
            <a:xfrm>
              <a:off x="-33541500" y="3586425"/>
              <a:ext cx="188250" cy="187475"/>
            </a:xfrm>
            <a:custGeom>
              <a:avLst/>
              <a:gdLst/>
              <a:ahLst/>
              <a:cxnLst/>
              <a:rect l="l" t="t" r="r" b="b"/>
              <a:pathLst>
                <a:path w="7530" h="7499" extrusionOk="0">
                  <a:moveTo>
                    <a:pt x="3718" y="1387"/>
                  </a:moveTo>
                  <a:cubicBezTo>
                    <a:pt x="4253" y="1387"/>
                    <a:pt x="4726" y="1859"/>
                    <a:pt x="4726" y="2427"/>
                  </a:cubicBezTo>
                  <a:cubicBezTo>
                    <a:pt x="4789" y="2805"/>
                    <a:pt x="4505" y="3214"/>
                    <a:pt x="4096" y="3372"/>
                  </a:cubicBezTo>
                  <a:lnTo>
                    <a:pt x="4096" y="3750"/>
                  </a:lnTo>
                  <a:cubicBezTo>
                    <a:pt x="4096" y="3939"/>
                    <a:pt x="3938" y="4096"/>
                    <a:pt x="3749" y="4096"/>
                  </a:cubicBezTo>
                  <a:cubicBezTo>
                    <a:pt x="3560" y="4096"/>
                    <a:pt x="3403" y="3939"/>
                    <a:pt x="3403" y="3750"/>
                  </a:cubicBezTo>
                  <a:lnTo>
                    <a:pt x="3403" y="3372"/>
                  </a:lnTo>
                  <a:cubicBezTo>
                    <a:pt x="3403" y="3088"/>
                    <a:pt x="3592" y="2805"/>
                    <a:pt x="3875" y="2742"/>
                  </a:cubicBezTo>
                  <a:cubicBezTo>
                    <a:pt x="4001" y="2679"/>
                    <a:pt x="4096" y="2521"/>
                    <a:pt x="4096" y="2427"/>
                  </a:cubicBezTo>
                  <a:cubicBezTo>
                    <a:pt x="4096" y="2206"/>
                    <a:pt x="3938" y="2049"/>
                    <a:pt x="3749" y="2049"/>
                  </a:cubicBezTo>
                  <a:cubicBezTo>
                    <a:pt x="3560" y="2049"/>
                    <a:pt x="3403" y="2206"/>
                    <a:pt x="3403" y="2427"/>
                  </a:cubicBezTo>
                  <a:cubicBezTo>
                    <a:pt x="3403" y="2616"/>
                    <a:pt x="3245" y="2773"/>
                    <a:pt x="3056" y="2773"/>
                  </a:cubicBezTo>
                  <a:cubicBezTo>
                    <a:pt x="2836" y="2773"/>
                    <a:pt x="2678" y="2616"/>
                    <a:pt x="2678" y="2427"/>
                  </a:cubicBezTo>
                  <a:cubicBezTo>
                    <a:pt x="2678" y="1859"/>
                    <a:pt x="3151" y="1387"/>
                    <a:pt x="3718" y="1387"/>
                  </a:cubicBezTo>
                  <a:close/>
                  <a:moveTo>
                    <a:pt x="3749" y="4726"/>
                  </a:moveTo>
                  <a:cubicBezTo>
                    <a:pt x="3938" y="4726"/>
                    <a:pt x="4096" y="4884"/>
                    <a:pt x="4096" y="5104"/>
                  </a:cubicBezTo>
                  <a:cubicBezTo>
                    <a:pt x="4096" y="5294"/>
                    <a:pt x="3938" y="5451"/>
                    <a:pt x="3749" y="5451"/>
                  </a:cubicBezTo>
                  <a:cubicBezTo>
                    <a:pt x="3560" y="5451"/>
                    <a:pt x="3403" y="5294"/>
                    <a:pt x="3403" y="5104"/>
                  </a:cubicBezTo>
                  <a:cubicBezTo>
                    <a:pt x="3403" y="4884"/>
                    <a:pt x="3560" y="4726"/>
                    <a:pt x="3749" y="4726"/>
                  </a:cubicBezTo>
                  <a:close/>
                  <a:moveTo>
                    <a:pt x="3749" y="1"/>
                  </a:moveTo>
                  <a:cubicBezTo>
                    <a:pt x="1670" y="1"/>
                    <a:pt x="0" y="1702"/>
                    <a:pt x="0" y="3750"/>
                  </a:cubicBezTo>
                  <a:cubicBezTo>
                    <a:pt x="0" y="5829"/>
                    <a:pt x="1702" y="7499"/>
                    <a:pt x="3749" y="7499"/>
                  </a:cubicBezTo>
                  <a:cubicBezTo>
                    <a:pt x="5829" y="7499"/>
                    <a:pt x="7498" y="5798"/>
                    <a:pt x="7498" y="3750"/>
                  </a:cubicBezTo>
                  <a:cubicBezTo>
                    <a:pt x="7530" y="1670"/>
                    <a:pt x="5829" y="1"/>
                    <a:pt x="37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8" name="Google Shape;7288;p73"/>
          <p:cNvGrpSpPr/>
          <p:nvPr/>
        </p:nvGrpSpPr>
        <p:grpSpPr>
          <a:xfrm>
            <a:off x="3532101" y="2255969"/>
            <a:ext cx="354586" cy="355557"/>
            <a:chOff x="-33645475" y="3944800"/>
            <a:chExt cx="292225" cy="293025"/>
          </a:xfrm>
        </p:grpSpPr>
        <p:sp>
          <p:nvSpPr>
            <p:cNvPr id="7289" name="Google Shape;7289;p73"/>
            <p:cNvSpPr/>
            <p:nvPr/>
          </p:nvSpPr>
          <p:spPr>
            <a:xfrm>
              <a:off x="-33549375" y="3944800"/>
              <a:ext cx="98475" cy="70900"/>
            </a:xfrm>
            <a:custGeom>
              <a:avLst/>
              <a:gdLst/>
              <a:ahLst/>
              <a:cxnLst/>
              <a:rect l="l" t="t" r="r" b="b"/>
              <a:pathLst>
                <a:path w="3939" h="2836" extrusionOk="0">
                  <a:moveTo>
                    <a:pt x="1985" y="0"/>
                  </a:moveTo>
                  <a:cubicBezTo>
                    <a:pt x="1260" y="0"/>
                    <a:pt x="473" y="946"/>
                    <a:pt x="0" y="2521"/>
                  </a:cubicBezTo>
                  <a:cubicBezTo>
                    <a:pt x="158" y="2615"/>
                    <a:pt x="284" y="2710"/>
                    <a:pt x="410" y="2836"/>
                  </a:cubicBezTo>
                  <a:cubicBezTo>
                    <a:pt x="914" y="2773"/>
                    <a:pt x="1481" y="2773"/>
                    <a:pt x="1985" y="2773"/>
                  </a:cubicBezTo>
                  <a:cubicBezTo>
                    <a:pt x="2489" y="2773"/>
                    <a:pt x="3056" y="2804"/>
                    <a:pt x="3560" y="2836"/>
                  </a:cubicBezTo>
                  <a:cubicBezTo>
                    <a:pt x="3623" y="2678"/>
                    <a:pt x="3781" y="2584"/>
                    <a:pt x="3938" y="2521"/>
                  </a:cubicBezTo>
                  <a:cubicBezTo>
                    <a:pt x="3529" y="946"/>
                    <a:pt x="2741"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3"/>
            <p:cNvSpPr/>
            <p:nvPr/>
          </p:nvSpPr>
          <p:spPr>
            <a:xfrm>
              <a:off x="-33645475" y="4041675"/>
              <a:ext cx="70900" cy="98475"/>
            </a:xfrm>
            <a:custGeom>
              <a:avLst/>
              <a:gdLst/>
              <a:ahLst/>
              <a:cxnLst/>
              <a:rect l="l" t="t" r="r" b="b"/>
              <a:pathLst>
                <a:path w="2836" h="3939" extrusionOk="0">
                  <a:moveTo>
                    <a:pt x="2521" y="0"/>
                  </a:moveTo>
                  <a:cubicBezTo>
                    <a:pt x="946" y="473"/>
                    <a:pt x="32" y="1229"/>
                    <a:pt x="32" y="1954"/>
                  </a:cubicBezTo>
                  <a:cubicBezTo>
                    <a:pt x="1" y="2710"/>
                    <a:pt x="946" y="3466"/>
                    <a:pt x="2521" y="3939"/>
                  </a:cubicBezTo>
                  <a:cubicBezTo>
                    <a:pt x="2584" y="3781"/>
                    <a:pt x="2710" y="3655"/>
                    <a:pt x="2836" y="3529"/>
                  </a:cubicBezTo>
                  <a:cubicBezTo>
                    <a:pt x="2773" y="3025"/>
                    <a:pt x="2773" y="2521"/>
                    <a:pt x="2773" y="1954"/>
                  </a:cubicBezTo>
                  <a:cubicBezTo>
                    <a:pt x="2773" y="1418"/>
                    <a:pt x="2805" y="914"/>
                    <a:pt x="2836" y="379"/>
                  </a:cubicBezTo>
                  <a:cubicBezTo>
                    <a:pt x="2679" y="316"/>
                    <a:pt x="2553" y="158"/>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73"/>
            <p:cNvSpPr/>
            <p:nvPr/>
          </p:nvSpPr>
          <p:spPr>
            <a:xfrm>
              <a:off x="-33424150" y="4042450"/>
              <a:ext cx="70900" cy="52025"/>
            </a:xfrm>
            <a:custGeom>
              <a:avLst/>
              <a:gdLst/>
              <a:ahLst/>
              <a:cxnLst/>
              <a:rect l="l" t="t" r="r" b="b"/>
              <a:pathLst>
                <a:path w="2836" h="2081" extrusionOk="0">
                  <a:moveTo>
                    <a:pt x="316" y="1"/>
                  </a:moveTo>
                  <a:cubicBezTo>
                    <a:pt x="253" y="159"/>
                    <a:pt x="127" y="285"/>
                    <a:pt x="1" y="379"/>
                  </a:cubicBezTo>
                  <a:cubicBezTo>
                    <a:pt x="32" y="600"/>
                    <a:pt x="32" y="789"/>
                    <a:pt x="32" y="978"/>
                  </a:cubicBezTo>
                  <a:cubicBezTo>
                    <a:pt x="158" y="978"/>
                    <a:pt x="284" y="946"/>
                    <a:pt x="442" y="946"/>
                  </a:cubicBezTo>
                  <a:cubicBezTo>
                    <a:pt x="1387" y="946"/>
                    <a:pt x="2237" y="1387"/>
                    <a:pt x="2804" y="2080"/>
                  </a:cubicBezTo>
                  <a:lnTo>
                    <a:pt x="2804" y="1954"/>
                  </a:lnTo>
                  <a:cubicBezTo>
                    <a:pt x="2836" y="1230"/>
                    <a:pt x="1891" y="474"/>
                    <a:pt x="3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73"/>
            <p:cNvSpPr/>
            <p:nvPr/>
          </p:nvSpPr>
          <p:spPr>
            <a:xfrm>
              <a:off x="-33549375" y="4165325"/>
              <a:ext cx="86650" cy="70925"/>
            </a:xfrm>
            <a:custGeom>
              <a:avLst/>
              <a:gdLst/>
              <a:ahLst/>
              <a:cxnLst/>
              <a:rect l="l" t="t" r="r" b="b"/>
              <a:pathLst>
                <a:path w="3466" h="2837" extrusionOk="0">
                  <a:moveTo>
                    <a:pt x="410" y="1"/>
                  </a:moveTo>
                  <a:cubicBezTo>
                    <a:pt x="315" y="158"/>
                    <a:pt x="158" y="284"/>
                    <a:pt x="0" y="316"/>
                  </a:cubicBezTo>
                  <a:cubicBezTo>
                    <a:pt x="473" y="1891"/>
                    <a:pt x="1260" y="2836"/>
                    <a:pt x="1985" y="2836"/>
                  </a:cubicBezTo>
                  <a:cubicBezTo>
                    <a:pt x="2489" y="2836"/>
                    <a:pt x="3056" y="2364"/>
                    <a:pt x="3466" y="1544"/>
                  </a:cubicBezTo>
                  <a:lnTo>
                    <a:pt x="3119" y="1072"/>
                  </a:lnTo>
                  <a:cubicBezTo>
                    <a:pt x="2836" y="851"/>
                    <a:pt x="2678" y="473"/>
                    <a:pt x="2521" y="95"/>
                  </a:cubicBezTo>
                  <a:lnTo>
                    <a:pt x="1985" y="95"/>
                  </a:lnTo>
                  <a:cubicBezTo>
                    <a:pt x="1418" y="95"/>
                    <a:pt x="882" y="64"/>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3"/>
            <p:cNvSpPr/>
            <p:nvPr/>
          </p:nvSpPr>
          <p:spPr>
            <a:xfrm>
              <a:off x="-33558825" y="4030650"/>
              <a:ext cx="118950" cy="120525"/>
            </a:xfrm>
            <a:custGeom>
              <a:avLst/>
              <a:gdLst/>
              <a:ahLst/>
              <a:cxnLst/>
              <a:rect l="l" t="t" r="r" b="b"/>
              <a:pathLst>
                <a:path w="4758" h="4821" extrusionOk="0">
                  <a:moveTo>
                    <a:pt x="2395" y="0"/>
                  </a:moveTo>
                  <a:cubicBezTo>
                    <a:pt x="1922" y="0"/>
                    <a:pt x="1418" y="32"/>
                    <a:pt x="1008" y="95"/>
                  </a:cubicBezTo>
                  <a:cubicBezTo>
                    <a:pt x="977" y="599"/>
                    <a:pt x="599" y="977"/>
                    <a:pt x="63" y="1040"/>
                  </a:cubicBezTo>
                  <a:cubicBezTo>
                    <a:pt x="32" y="1450"/>
                    <a:pt x="0" y="1922"/>
                    <a:pt x="0" y="2395"/>
                  </a:cubicBezTo>
                  <a:cubicBezTo>
                    <a:pt x="0" y="2867"/>
                    <a:pt x="32" y="3340"/>
                    <a:pt x="63" y="3781"/>
                  </a:cubicBezTo>
                  <a:cubicBezTo>
                    <a:pt x="599" y="3812"/>
                    <a:pt x="977" y="4222"/>
                    <a:pt x="1008" y="4726"/>
                  </a:cubicBezTo>
                  <a:cubicBezTo>
                    <a:pt x="1449" y="4758"/>
                    <a:pt x="1922" y="4821"/>
                    <a:pt x="2395" y="4821"/>
                  </a:cubicBezTo>
                  <a:lnTo>
                    <a:pt x="2804" y="4821"/>
                  </a:lnTo>
                  <a:cubicBezTo>
                    <a:pt x="2804" y="4695"/>
                    <a:pt x="2741" y="4569"/>
                    <a:pt x="2741" y="4506"/>
                  </a:cubicBezTo>
                  <a:cubicBezTo>
                    <a:pt x="2741" y="3151"/>
                    <a:pt x="3592" y="2017"/>
                    <a:pt x="4757" y="1576"/>
                  </a:cubicBezTo>
                  <a:cubicBezTo>
                    <a:pt x="4757" y="1387"/>
                    <a:pt x="4726" y="1229"/>
                    <a:pt x="4726" y="1040"/>
                  </a:cubicBezTo>
                  <a:cubicBezTo>
                    <a:pt x="4222" y="977"/>
                    <a:pt x="3812" y="599"/>
                    <a:pt x="3781" y="95"/>
                  </a:cubicBezTo>
                  <a:cubicBezTo>
                    <a:pt x="3340" y="32"/>
                    <a:pt x="2867"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73"/>
            <p:cNvSpPr/>
            <p:nvPr/>
          </p:nvSpPr>
          <p:spPr>
            <a:xfrm>
              <a:off x="-33639950" y="4129900"/>
              <a:ext cx="100825" cy="100825"/>
            </a:xfrm>
            <a:custGeom>
              <a:avLst/>
              <a:gdLst/>
              <a:ahLst/>
              <a:cxnLst/>
              <a:rect l="l" t="t" r="r" b="b"/>
              <a:pathLst>
                <a:path w="4033" h="4033" extrusionOk="0">
                  <a:moveTo>
                    <a:pt x="0" y="0"/>
                  </a:moveTo>
                  <a:lnTo>
                    <a:pt x="0" y="0"/>
                  </a:lnTo>
                  <a:cubicBezTo>
                    <a:pt x="567" y="1953"/>
                    <a:pt x="2111" y="3466"/>
                    <a:pt x="4033" y="4033"/>
                  </a:cubicBezTo>
                  <a:cubicBezTo>
                    <a:pt x="3592" y="3466"/>
                    <a:pt x="3245" y="2741"/>
                    <a:pt x="2962" y="1827"/>
                  </a:cubicBezTo>
                  <a:cubicBezTo>
                    <a:pt x="2584" y="1733"/>
                    <a:pt x="2300" y="1481"/>
                    <a:pt x="2206" y="1071"/>
                  </a:cubicBezTo>
                  <a:cubicBezTo>
                    <a:pt x="1323" y="851"/>
                    <a:pt x="567" y="44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73"/>
            <p:cNvSpPr/>
            <p:nvPr/>
          </p:nvSpPr>
          <p:spPr>
            <a:xfrm>
              <a:off x="-33459600" y="3951875"/>
              <a:ext cx="100850" cy="100075"/>
            </a:xfrm>
            <a:custGeom>
              <a:avLst/>
              <a:gdLst/>
              <a:ahLst/>
              <a:cxnLst/>
              <a:rect l="l" t="t" r="r" b="b"/>
              <a:pathLst>
                <a:path w="4034" h="4003" extrusionOk="0">
                  <a:moveTo>
                    <a:pt x="1" y="1"/>
                  </a:moveTo>
                  <a:lnTo>
                    <a:pt x="1" y="1"/>
                  </a:lnTo>
                  <a:cubicBezTo>
                    <a:pt x="442" y="537"/>
                    <a:pt x="788" y="1293"/>
                    <a:pt x="1072" y="2206"/>
                  </a:cubicBezTo>
                  <a:cubicBezTo>
                    <a:pt x="1419" y="2238"/>
                    <a:pt x="1734" y="2553"/>
                    <a:pt x="1828" y="2962"/>
                  </a:cubicBezTo>
                  <a:cubicBezTo>
                    <a:pt x="2710" y="3183"/>
                    <a:pt x="3466" y="3592"/>
                    <a:pt x="4033" y="4002"/>
                  </a:cubicBezTo>
                  <a:cubicBezTo>
                    <a:pt x="3466" y="2080"/>
                    <a:pt x="1923" y="5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3"/>
            <p:cNvSpPr/>
            <p:nvPr/>
          </p:nvSpPr>
          <p:spPr>
            <a:xfrm>
              <a:off x="-33639950" y="3951100"/>
              <a:ext cx="100825" cy="100050"/>
            </a:xfrm>
            <a:custGeom>
              <a:avLst/>
              <a:gdLst/>
              <a:ahLst/>
              <a:cxnLst/>
              <a:rect l="l" t="t" r="r" b="b"/>
              <a:pathLst>
                <a:path w="4033" h="4002" extrusionOk="0">
                  <a:moveTo>
                    <a:pt x="4033" y="0"/>
                  </a:moveTo>
                  <a:lnTo>
                    <a:pt x="4033" y="0"/>
                  </a:lnTo>
                  <a:cubicBezTo>
                    <a:pt x="2111" y="536"/>
                    <a:pt x="567" y="2080"/>
                    <a:pt x="0" y="4002"/>
                  </a:cubicBezTo>
                  <a:cubicBezTo>
                    <a:pt x="567" y="3592"/>
                    <a:pt x="1323" y="3214"/>
                    <a:pt x="2206" y="2962"/>
                  </a:cubicBezTo>
                  <a:cubicBezTo>
                    <a:pt x="2300" y="2552"/>
                    <a:pt x="2615" y="2269"/>
                    <a:pt x="2962" y="2206"/>
                  </a:cubicBezTo>
                  <a:cubicBezTo>
                    <a:pt x="3214" y="1292"/>
                    <a:pt x="3592" y="505"/>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73"/>
            <p:cNvSpPr/>
            <p:nvPr/>
          </p:nvSpPr>
          <p:spPr>
            <a:xfrm>
              <a:off x="-33472975" y="4082625"/>
              <a:ext cx="119725" cy="155200"/>
            </a:xfrm>
            <a:custGeom>
              <a:avLst/>
              <a:gdLst/>
              <a:ahLst/>
              <a:cxnLst/>
              <a:rect l="l" t="t" r="r" b="b"/>
              <a:pathLst>
                <a:path w="4789" h="6208" extrusionOk="0">
                  <a:moveTo>
                    <a:pt x="2395" y="1355"/>
                  </a:moveTo>
                  <a:cubicBezTo>
                    <a:pt x="2930" y="1355"/>
                    <a:pt x="3403" y="1828"/>
                    <a:pt x="3403" y="2364"/>
                  </a:cubicBezTo>
                  <a:cubicBezTo>
                    <a:pt x="3403" y="2962"/>
                    <a:pt x="2930" y="3403"/>
                    <a:pt x="2395" y="3403"/>
                  </a:cubicBezTo>
                  <a:cubicBezTo>
                    <a:pt x="1827" y="3403"/>
                    <a:pt x="1355" y="2931"/>
                    <a:pt x="1355" y="2364"/>
                  </a:cubicBezTo>
                  <a:cubicBezTo>
                    <a:pt x="1355" y="1828"/>
                    <a:pt x="1827" y="1355"/>
                    <a:pt x="2395" y="1355"/>
                  </a:cubicBezTo>
                  <a:close/>
                  <a:moveTo>
                    <a:pt x="2395" y="1"/>
                  </a:moveTo>
                  <a:cubicBezTo>
                    <a:pt x="1040" y="1"/>
                    <a:pt x="0" y="1072"/>
                    <a:pt x="0" y="2427"/>
                  </a:cubicBezTo>
                  <a:cubicBezTo>
                    <a:pt x="0" y="2994"/>
                    <a:pt x="221" y="3592"/>
                    <a:pt x="630" y="4002"/>
                  </a:cubicBezTo>
                  <a:lnTo>
                    <a:pt x="2111" y="6050"/>
                  </a:lnTo>
                  <a:cubicBezTo>
                    <a:pt x="2206" y="6113"/>
                    <a:pt x="2269" y="6207"/>
                    <a:pt x="2395" y="6207"/>
                  </a:cubicBezTo>
                  <a:cubicBezTo>
                    <a:pt x="2521" y="6207"/>
                    <a:pt x="2584" y="6144"/>
                    <a:pt x="2678" y="6050"/>
                  </a:cubicBezTo>
                  <a:lnTo>
                    <a:pt x="4442" y="3592"/>
                  </a:lnTo>
                  <a:cubicBezTo>
                    <a:pt x="4663" y="3246"/>
                    <a:pt x="4757" y="2805"/>
                    <a:pt x="4757" y="2364"/>
                  </a:cubicBezTo>
                  <a:cubicBezTo>
                    <a:pt x="4789" y="1072"/>
                    <a:pt x="3686"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73"/>
            <p:cNvSpPr/>
            <p:nvPr/>
          </p:nvSpPr>
          <p:spPr>
            <a:xfrm>
              <a:off x="-33421775" y="41338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9" name="Google Shape;7299;p73"/>
          <p:cNvGrpSpPr/>
          <p:nvPr/>
        </p:nvGrpSpPr>
        <p:grpSpPr>
          <a:xfrm>
            <a:off x="2185320" y="2729706"/>
            <a:ext cx="352675" cy="355375"/>
            <a:chOff x="-31809525" y="3192625"/>
            <a:chExt cx="290650" cy="292875"/>
          </a:xfrm>
        </p:grpSpPr>
        <p:sp>
          <p:nvSpPr>
            <p:cNvPr id="7300" name="Google Shape;7300;p73"/>
            <p:cNvSpPr/>
            <p:nvPr/>
          </p:nvSpPr>
          <p:spPr>
            <a:xfrm>
              <a:off x="-31767775" y="3192625"/>
              <a:ext cx="204800" cy="153600"/>
            </a:xfrm>
            <a:custGeom>
              <a:avLst/>
              <a:gdLst/>
              <a:ahLst/>
              <a:cxnLst/>
              <a:rect l="l" t="t" r="r" b="b"/>
              <a:pathLst>
                <a:path w="8192" h="6144" extrusionOk="0">
                  <a:moveTo>
                    <a:pt x="4096" y="0"/>
                  </a:moveTo>
                  <a:cubicBezTo>
                    <a:pt x="2206" y="0"/>
                    <a:pt x="662" y="1544"/>
                    <a:pt x="662" y="3434"/>
                  </a:cubicBezTo>
                  <a:lnTo>
                    <a:pt x="662" y="3497"/>
                  </a:lnTo>
                  <a:cubicBezTo>
                    <a:pt x="252" y="3655"/>
                    <a:pt x="0" y="4033"/>
                    <a:pt x="0" y="4442"/>
                  </a:cubicBezTo>
                  <a:lnTo>
                    <a:pt x="0" y="5136"/>
                  </a:lnTo>
                  <a:cubicBezTo>
                    <a:pt x="0" y="5671"/>
                    <a:pt x="473" y="6144"/>
                    <a:pt x="1009" y="6144"/>
                  </a:cubicBezTo>
                  <a:cubicBezTo>
                    <a:pt x="1135" y="6144"/>
                    <a:pt x="1261" y="6112"/>
                    <a:pt x="1387" y="6081"/>
                  </a:cubicBezTo>
                  <a:lnTo>
                    <a:pt x="1387" y="3403"/>
                  </a:lnTo>
                  <a:cubicBezTo>
                    <a:pt x="1387" y="1891"/>
                    <a:pt x="2584" y="630"/>
                    <a:pt x="4096" y="630"/>
                  </a:cubicBezTo>
                  <a:cubicBezTo>
                    <a:pt x="5577" y="630"/>
                    <a:pt x="6806" y="1891"/>
                    <a:pt x="6806" y="3403"/>
                  </a:cubicBezTo>
                  <a:lnTo>
                    <a:pt x="6806" y="6081"/>
                  </a:lnTo>
                  <a:cubicBezTo>
                    <a:pt x="6932" y="6112"/>
                    <a:pt x="7058" y="6144"/>
                    <a:pt x="7152" y="6144"/>
                  </a:cubicBezTo>
                  <a:cubicBezTo>
                    <a:pt x="7719" y="6144"/>
                    <a:pt x="8192" y="5671"/>
                    <a:pt x="8192" y="5136"/>
                  </a:cubicBezTo>
                  <a:lnTo>
                    <a:pt x="8192" y="4442"/>
                  </a:lnTo>
                  <a:cubicBezTo>
                    <a:pt x="8192" y="4033"/>
                    <a:pt x="7908" y="3623"/>
                    <a:pt x="7530" y="3497"/>
                  </a:cubicBezTo>
                  <a:lnTo>
                    <a:pt x="7530" y="3434"/>
                  </a:lnTo>
                  <a:cubicBezTo>
                    <a:pt x="7467" y="1576"/>
                    <a:pt x="5986"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73"/>
            <p:cNvSpPr/>
            <p:nvPr/>
          </p:nvSpPr>
          <p:spPr>
            <a:xfrm>
              <a:off x="-31715000" y="3244600"/>
              <a:ext cx="101625" cy="52450"/>
            </a:xfrm>
            <a:custGeom>
              <a:avLst/>
              <a:gdLst/>
              <a:ahLst/>
              <a:cxnLst/>
              <a:rect l="l" t="t" r="r" b="b"/>
              <a:pathLst>
                <a:path w="4065" h="2098" extrusionOk="0">
                  <a:moveTo>
                    <a:pt x="1702" y="1"/>
                  </a:moveTo>
                  <a:cubicBezTo>
                    <a:pt x="756" y="1"/>
                    <a:pt x="0" y="757"/>
                    <a:pt x="0" y="1702"/>
                  </a:cubicBezTo>
                  <a:lnTo>
                    <a:pt x="0" y="2080"/>
                  </a:lnTo>
                  <a:lnTo>
                    <a:pt x="1229" y="2080"/>
                  </a:lnTo>
                  <a:cubicBezTo>
                    <a:pt x="1418" y="2080"/>
                    <a:pt x="1765" y="2080"/>
                    <a:pt x="1891" y="1985"/>
                  </a:cubicBezTo>
                  <a:cubicBezTo>
                    <a:pt x="1922" y="1954"/>
                    <a:pt x="1985" y="1828"/>
                    <a:pt x="1985" y="1765"/>
                  </a:cubicBezTo>
                  <a:cubicBezTo>
                    <a:pt x="1985" y="1544"/>
                    <a:pt x="2143" y="1387"/>
                    <a:pt x="2332" y="1387"/>
                  </a:cubicBezTo>
                  <a:cubicBezTo>
                    <a:pt x="2521" y="1387"/>
                    <a:pt x="2678" y="1544"/>
                    <a:pt x="2678" y="1765"/>
                  </a:cubicBezTo>
                  <a:cubicBezTo>
                    <a:pt x="2678" y="1828"/>
                    <a:pt x="2678" y="1954"/>
                    <a:pt x="2773" y="1985"/>
                  </a:cubicBezTo>
                  <a:cubicBezTo>
                    <a:pt x="2836" y="2069"/>
                    <a:pt x="3025" y="2097"/>
                    <a:pt x="3237" y="2097"/>
                  </a:cubicBezTo>
                  <a:cubicBezTo>
                    <a:pt x="3343" y="2097"/>
                    <a:pt x="3455" y="2090"/>
                    <a:pt x="3560" y="2080"/>
                  </a:cubicBezTo>
                  <a:lnTo>
                    <a:pt x="4064" y="2080"/>
                  </a:lnTo>
                  <a:lnTo>
                    <a:pt x="4064" y="1702"/>
                  </a:lnTo>
                  <a:cubicBezTo>
                    <a:pt x="4064" y="757"/>
                    <a:pt x="3308"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3"/>
            <p:cNvSpPr/>
            <p:nvPr/>
          </p:nvSpPr>
          <p:spPr>
            <a:xfrm>
              <a:off x="-31716575" y="3308400"/>
              <a:ext cx="102400" cy="73275"/>
            </a:xfrm>
            <a:custGeom>
              <a:avLst/>
              <a:gdLst/>
              <a:ahLst/>
              <a:cxnLst/>
              <a:rect l="l" t="t" r="r" b="b"/>
              <a:pathLst>
                <a:path w="4096" h="2931" extrusionOk="0">
                  <a:moveTo>
                    <a:pt x="2395" y="1"/>
                  </a:moveTo>
                  <a:cubicBezTo>
                    <a:pt x="2080" y="221"/>
                    <a:pt x="1639" y="221"/>
                    <a:pt x="1197" y="221"/>
                  </a:cubicBezTo>
                  <a:lnTo>
                    <a:pt x="0" y="221"/>
                  </a:lnTo>
                  <a:lnTo>
                    <a:pt x="0" y="883"/>
                  </a:lnTo>
                  <a:cubicBezTo>
                    <a:pt x="0" y="2048"/>
                    <a:pt x="914" y="2930"/>
                    <a:pt x="2048" y="2930"/>
                  </a:cubicBezTo>
                  <a:cubicBezTo>
                    <a:pt x="3182" y="2930"/>
                    <a:pt x="4096" y="2048"/>
                    <a:pt x="4096" y="883"/>
                  </a:cubicBezTo>
                  <a:lnTo>
                    <a:pt x="4096" y="221"/>
                  </a:lnTo>
                  <a:lnTo>
                    <a:pt x="3403" y="221"/>
                  </a:lnTo>
                  <a:cubicBezTo>
                    <a:pt x="3025" y="221"/>
                    <a:pt x="2678"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73"/>
            <p:cNvSpPr/>
            <p:nvPr/>
          </p:nvSpPr>
          <p:spPr>
            <a:xfrm>
              <a:off x="-31809525" y="3386375"/>
              <a:ext cx="290650" cy="99125"/>
            </a:xfrm>
            <a:custGeom>
              <a:avLst/>
              <a:gdLst/>
              <a:ahLst/>
              <a:cxnLst/>
              <a:rect l="l" t="t" r="r" b="b"/>
              <a:pathLst>
                <a:path w="11626" h="3965" extrusionOk="0">
                  <a:moveTo>
                    <a:pt x="2092" y="0"/>
                  </a:moveTo>
                  <a:cubicBezTo>
                    <a:pt x="1962" y="0"/>
                    <a:pt x="1828" y="63"/>
                    <a:pt x="1765" y="190"/>
                  </a:cubicBezTo>
                  <a:lnTo>
                    <a:pt x="1355" y="1072"/>
                  </a:lnTo>
                  <a:lnTo>
                    <a:pt x="316" y="1229"/>
                  </a:lnTo>
                  <a:cubicBezTo>
                    <a:pt x="190" y="1229"/>
                    <a:pt x="95" y="1355"/>
                    <a:pt x="64" y="1481"/>
                  </a:cubicBezTo>
                  <a:cubicBezTo>
                    <a:pt x="1" y="1607"/>
                    <a:pt x="64" y="1765"/>
                    <a:pt x="127" y="1828"/>
                  </a:cubicBezTo>
                  <a:lnTo>
                    <a:pt x="883" y="2552"/>
                  </a:lnTo>
                  <a:lnTo>
                    <a:pt x="725" y="3561"/>
                  </a:lnTo>
                  <a:cubicBezTo>
                    <a:pt x="694" y="3687"/>
                    <a:pt x="757" y="3844"/>
                    <a:pt x="851" y="3876"/>
                  </a:cubicBezTo>
                  <a:cubicBezTo>
                    <a:pt x="903" y="3928"/>
                    <a:pt x="965" y="3951"/>
                    <a:pt x="1031" y="3951"/>
                  </a:cubicBezTo>
                  <a:cubicBezTo>
                    <a:pt x="1085" y="3951"/>
                    <a:pt x="1141" y="3935"/>
                    <a:pt x="1198" y="3907"/>
                  </a:cubicBezTo>
                  <a:lnTo>
                    <a:pt x="2112" y="3435"/>
                  </a:lnTo>
                  <a:lnTo>
                    <a:pt x="2994" y="3907"/>
                  </a:lnTo>
                  <a:cubicBezTo>
                    <a:pt x="3046" y="3947"/>
                    <a:pt x="3099" y="3964"/>
                    <a:pt x="3152" y="3964"/>
                  </a:cubicBezTo>
                  <a:cubicBezTo>
                    <a:pt x="3225" y="3964"/>
                    <a:pt x="3298" y="3930"/>
                    <a:pt x="3372" y="3876"/>
                  </a:cubicBezTo>
                  <a:cubicBezTo>
                    <a:pt x="3466" y="3813"/>
                    <a:pt x="3529" y="3687"/>
                    <a:pt x="3466" y="3561"/>
                  </a:cubicBezTo>
                  <a:lnTo>
                    <a:pt x="3309" y="2552"/>
                  </a:lnTo>
                  <a:lnTo>
                    <a:pt x="4002" y="1891"/>
                  </a:lnTo>
                  <a:lnTo>
                    <a:pt x="4663" y="2552"/>
                  </a:lnTo>
                  <a:lnTo>
                    <a:pt x="4506" y="3561"/>
                  </a:lnTo>
                  <a:cubicBezTo>
                    <a:pt x="4474" y="3687"/>
                    <a:pt x="4537" y="3844"/>
                    <a:pt x="4632" y="3876"/>
                  </a:cubicBezTo>
                  <a:cubicBezTo>
                    <a:pt x="4684" y="3928"/>
                    <a:pt x="4746" y="3951"/>
                    <a:pt x="4811" y="3951"/>
                  </a:cubicBezTo>
                  <a:cubicBezTo>
                    <a:pt x="4865" y="3951"/>
                    <a:pt x="4922" y="3935"/>
                    <a:pt x="4978" y="3907"/>
                  </a:cubicBezTo>
                  <a:lnTo>
                    <a:pt x="5892" y="3435"/>
                  </a:lnTo>
                  <a:lnTo>
                    <a:pt x="6774" y="3907"/>
                  </a:lnTo>
                  <a:cubicBezTo>
                    <a:pt x="6827" y="3947"/>
                    <a:pt x="6880" y="3964"/>
                    <a:pt x="6933" y="3964"/>
                  </a:cubicBezTo>
                  <a:cubicBezTo>
                    <a:pt x="7006" y="3964"/>
                    <a:pt x="7079" y="3930"/>
                    <a:pt x="7152" y="3876"/>
                  </a:cubicBezTo>
                  <a:cubicBezTo>
                    <a:pt x="7247" y="3813"/>
                    <a:pt x="7310" y="3687"/>
                    <a:pt x="7247" y="3561"/>
                  </a:cubicBezTo>
                  <a:lnTo>
                    <a:pt x="7089" y="2552"/>
                  </a:lnTo>
                  <a:lnTo>
                    <a:pt x="7782" y="1891"/>
                  </a:lnTo>
                  <a:lnTo>
                    <a:pt x="8444" y="2552"/>
                  </a:lnTo>
                  <a:lnTo>
                    <a:pt x="8286" y="3561"/>
                  </a:lnTo>
                  <a:cubicBezTo>
                    <a:pt x="8255" y="3687"/>
                    <a:pt x="8318" y="3844"/>
                    <a:pt x="8413" y="3876"/>
                  </a:cubicBezTo>
                  <a:cubicBezTo>
                    <a:pt x="8465" y="3928"/>
                    <a:pt x="8526" y="3951"/>
                    <a:pt x="8592" y="3951"/>
                  </a:cubicBezTo>
                  <a:cubicBezTo>
                    <a:pt x="8646" y="3951"/>
                    <a:pt x="8702" y="3935"/>
                    <a:pt x="8759" y="3907"/>
                  </a:cubicBezTo>
                  <a:lnTo>
                    <a:pt x="9673" y="3435"/>
                  </a:lnTo>
                  <a:lnTo>
                    <a:pt x="10555" y="3907"/>
                  </a:lnTo>
                  <a:cubicBezTo>
                    <a:pt x="10608" y="3947"/>
                    <a:pt x="10660" y="3964"/>
                    <a:pt x="10713" y="3964"/>
                  </a:cubicBezTo>
                  <a:cubicBezTo>
                    <a:pt x="10786" y="3964"/>
                    <a:pt x="10860" y="3930"/>
                    <a:pt x="10933" y="3876"/>
                  </a:cubicBezTo>
                  <a:cubicBezTo>
                    <a:pt x="11027" y="3813"/>
                    <a:pt x="11090" y="3687"/>
                    <a:pt x="11027" y="3561"/>
                  </a:cubicBezTo>
                  <a:lnTo>
                    <a:pt x="10870" y="2552"/>
                  </a:lnTo>
                  <a:lnTo>
                    <a:pt x="11626" y="1828"/>
                  </a:lnTo>
                  <a:cubicBezTo>
                    <a:pt x="11532" y="1702"/>
                    <a:pt x="11595" y="1607"/>
                    <a:pt x="11532" y="1481"/>
                  </a:cubicBezTo>
                  <a:cubicBezTo>
                    <a:pt x="11500" y="1355"/>
                    <a:pt x="11374" y="1292"/>
                    <a:pt x="11279" y="1229"/>
                  </a:cubicBezTo>
                  <a:lnTo>
                    <a:pt x="10240" y="1072"/>
                  </a:lnTo>
                  <a:lnTo>
                    <a:pt x="9799" y="190"/>
                  </a:lnTo>
                  <a:cubicBezTo>
                    <a:pt x="9751" y="63"/>
                    <a:pt x="9625" y="0"/>
                    <a:pt x="9495" y="0"/>
                  </a:cubicBezTo>
                  <a:cubicBezTo>
                    <a:pt x="9366" y="0"/>
                    <a:pt x="9232" y="63"/>
                    <a:pt x="9169" y="190"/>
                  </a:cubicBezTo>
                  <a:lnTo>
                    <a:pt x="8759" y="1072"/>
                  </a:lnTo>
                  <a:lnTo>
                    <a:pt x="7782" y="1229"/>
                  </a:lnTo>
                  <a:cubicBezTo>
                    <a:pt x="7719" y="1229"/>
                    <a:pt x="7688" y="1292"/>
                    <a:pt x="7656" y="1292"/>
                  </a:cubicBezTo>
                  <a:cubicBezTo>
                    <a:pt x="7593" y="1229"/>
                    <a:pt x="7562" y="1229"/>
                    <a:pt x="7530" y="1229"/>
                  </a:cubicBezTo>
                  <a:lnTo>
                    <a:pt x="6554" y="1072"/>
                  </a:lnTo>
                  <a:lnTo>
                    <a:pt x="6113" y="190"/>
                  </a:lnTo>
                  <a:cubicBezTo>
                    <a:pt x="6050" y="63"/>
                    <a:pt x="5924" y="0"/>
                    <a:pt x="5798" y="0"/>
                  </a:cubicBezTo>
                  <a:cubicBezTo>
                    <a:pt x="5672" y="0"/>
                    <a:pt x="5546" y="63"/>
                    <a:pt x="5483" y="190"/>
                  </a:cubicBezTo>
                  <a:lnTo>
                    <a:pt x="5041" y="1072"/>
                  </a:lnTo>
                  <a:lnTo>
                    <a:pt x="4065" y="1229"/>
                  </a:lnTo>
                  <a:cubicBezTo>
                    <a:pt x="4033" y="1229"/>
                    <a:pt x="4002" y="1292"/>
                    <a:pt x="3939" y="1292"/>
                  </a:cubicBezTo>
                  <a:cubicBezTo>
                    <a:pt x="3907" y="1229"/>
                    <a:pt x="3876" y="1229"/>
                    <a:pt x="3813" y="1229"/>
                  </a:cubicBezTo>
                  <a:lnTo>
                    <a:pt x="2836" y="1072"/>
                  </a:lnTo>
                  <a:lnTo>
                    <a:pt x="2395" y="190"/>
                  </a:lnTo>
                  <a:cubicBezTo>
                    <a:pt x="2348" y="63"/>
                    <a:pt x="2222"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4" name="Google Shape;7304;p73"/>
          <p:cNvGrpSpPr/>
          <p:nvPr/>
        </p:nvGrpSpPr>
        <p:grpSpPr>
          <a:xfrm>
            <a:off x="2184835" y="3200258"/>
            <a:ext cx="353645" cy="355557"/>
            <a:chOff x="-31811100" y="3550975"/>
            <a:chExt cx="291450" cy="293025"/>
          </a:xfrm>
        </p:grpSpPr>
        <p:sp>
          <p:nvSpPr>
            <p:cNvPr id="7305" name="Google Shape;7305;p73"/>
            <p:cNvSpPr/>
            <p:nvPr/>
          </p:nvSpPr>
          <p:spPr>
            <a:xfrm>
              <a:off x="-31554325" y="3595875"/>
              <a:ext cx="34675" cy="33900"/>
            </a:xfrm>
            <a:custGeom>
              <a:avLst/>
              <a:gdLst/>
              <a:ahLst/>
              <a:cxnLst/>
              <a:rect l="l" t="t" r="r" b="b"/>
              <a:pathLst>
                <a:path w="1387" h="1356" extrusionOk="0">
                  <a:moveTo>
                    <a:pt x="0" y="1"/>
                  </a:moveTo>
                  <a:lnTo>
                    <a:pt x="0" y="1355"/>
                  </a:lnTo>
                  <a:lnTo>
                    <a:pt x="662" y="1355"/>
                  </a:lnTo>
                  <a:cubicBezTo>
                    <a:pt x="1071" y="1355"/>
                    <a:pt x="1324" y="1040"/>
                    <a:pt x="1324" y="694"/>
                  </a:cubicBezTo>
                  <a:cubicBezTo>
                    <a:pt x="1387" y="316"/>
                    <a:pt x="107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73"/>
            <p:cNvSpPr/>
            <p:nvPr/>
          </p:nvSpPr>
          <p:spPr>
            <a:xfrm>
              <a:off x="-31659075" y="3628650"/>
              <a:ext cx="139425" cy="71650"/>
            </a:xfrm>
            <a:custGeom>
              <a:avLst/>
              <a:gdLst/>
              <a:ahLst/>
              <a:cxnLst/>
              <a:rect l="l" t="t" r="r" b="b"/>
              <a:pathLst>
                <a:path w="5577" h="2866" extrusionOk="0">
                  <a:moveTo>
                    <a:pt x="1438" y="1"/>
                  </a:moveTo>
                  <a:cubicBezTo>
                    <a:pt x="1338" y="1"/>
                    <a:pt x="1235" y="30"/>
                    <a:pt x="1166" y="76"/>
                  </a:cubicBezTo>
                  <a:lnTo>
                    <a:pt x="126" y="1179"/>
                  </a:lnTo>
                  <a:cubicBezTo>
                    <a:pt x="0" y="1305"/>
                    <a:pt x="0" y="1525"/>
                    <a:pt x="126" y="1651"/>
                  </a:cubicBezTo>
                  <a:lnTo>
                    <a:pt x="1166" y="2754"/>
                  </a:lnTo>
                  <a:cubicBezTo>
                    <a:pt x="1208" y="2838"/>
                    <a:pt x="1292" y="2866"/>
                    <a:pt x="1390" y="2866"/>
                  </a:cubicBezTo>
                  <a:cubicBezTo>
                    <a:pt x="1439" y="2866"/>
                    <a:pt x="1491" y="2859"/>
                    <a:pt x="1544" y="2848"/>
                  </a:cubicBezTo>
                  <a:cubicBezTo>
                    <a:pt x="1670" y="2817"/>
                    <a:pt x="1796" y="2659"/>
                    <a:pt x="1796" y="2533"/>
                  </a:cubicBezTo>
                  <a:lnTo>
                    <a:pt x="1796" y="2124"/>
                  </a:lnTo>
                  <a:lnTo>
                    <a:pt x="4190" y="2124"/>
                  </a:lnTo>
                  <a:cubicBezTo>
                    <a:pt x="4946" y="2124"/>
                    <a:pt x="5577" y="1494"/>
                    <a:pt x="5577" y="769"/>
                  </a:cubicBezTo>
                  <a:lnTo>
                    <a:pt x="5577" y="549"/>
                  </a:lnTo>
                  <a:cubicBezTo>
                    <a:pt x="5356" y="675"/>
                    <a:pt x="5135" y="769"/>
                    <a:pt x="4883" y="769"/>
                  </a:cubicBezTo>
                  <a:cubicBezTo>
                    <a:pt x="3686" y="738"/>
                    <a:pt x="2930" y="738"/>
                    <a:pt x="1796" y="738"/>
                  </a:cubicBezTo>
                  <a:lnTo>
                    <a:pt x="1796" y="328"/>
                  </a:lnTo>
                  <a:cubicBezTo>
                    <a:pt x="1796" y="170"/>
                    <a:pt x="1701" y="44"/>
                    <a:pt x="1544" y="13"/>
                  </a:cubicBezTo>
                  <a:cubicBezTo>
                    <a:pt x="1510" y="5"/>
                    <a:pt x="1474" y="1"/>
                    <a:pt x="14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73"/>
            <p:cNvSpPr/>
            <p:nvPr/>
          </p:nvSpPr>
          <p:spPr>
            <a:xfrm>
              <a:off x="-31811100" y="3647075"/>
              <a:ext cx="33100" cy="33100"/>
            </a:xfrm>
            <a:custGeom>
              <a:avLst/>
              <a:gdLst/>
              <a:ahLst/>
              <a:cxnLst/>
              <a:rect l="l" t="t" r="r" b="b"/>
              <a:pathLst>
                <a:path w="1324" h="1324" extrusionOk="0">
                  <a:moveTo>
                    <a:pt x="662" y="1"/>
                  </a:moveTo>
                  <a:cubicBezTo>
                    <a:pt x="253" y="1"/>
                    <a:pt x="1" y="316"/>
                    <a:pt x="1" y="662"/>
                  </a:cubicBezTo>
                  <a:cubicBezTo>
                    <a:pt x="1" y="1040"/>
                    <a:pt x="316" y="1324"/>
                    <a:pt x="662" y="1324"/>
                  </a:cubicBezTo>
                  <a:lnTo>
                    <a:pt x="1324" y="1324"/>
                  </a:lnTo>
                  <a:lnTo>
                    <a:pt x="13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3"/>
            <p:cNvSpPr/>
            <p:nvPr/>
          </p:nvSpPr>
          <p:spPr>
            <a:xfrm>
              <a:off x="-31811100" y="3678325"/>
              <a:ext cx="138650" cy="72250"/>
            </a:xfrm>
            <a:custGeom>
              <a:avLst/>
              <a:gdLst/>
              <a:ahLst/>
              <a:cxnLst/>
              <a:rect l="l" t="t" r="r" b="b"/>
              <a:pathLst>
                <a:path w="5546" h="2890" extrusionOk="0">
                  <a:moveTo>
                    <a:pt x="4193" y="1"/>
                  </a:moveTo>
                  <a:cubicBezTo>
                    <a:pt x="4132" y="1"/>
                    <a:pt x="4067" y="16"/>
                    <a:pt x="4002" y="42"/>
                  </a:cubicBezTo>
                  <a:cubicBezTo>
                    <a:pt x="3876" y="74"/>
                    <a:pt x="3781" y="231"/>
                    <a:pt x="3781" y="357"/>
                  </a:cubicBezTo>
                  <a:lnTo>
                    <a:pt x="3781" y="735"/>
                  </a:lnTo>
                  <a:lnTo>
                    <a:pt x="662" y="735"/>
                  </a:lnTo>
                  <a:cubicBezTo>
                    <a:pt x="410" y="735"/>
                    <a:pt x="190" y="672"/>
                    <a:pt x="1" y="546"/>
                  </a:cubicBezTo>
                  <a:lnTo>
                    <a:pt x="1" y="767"/>
                  </a:lnTo>
                  <a:cubicBezTo>
                    <a:pt x="1" y="1523"/>
                    <a:pt x="631" y="2153"/>
                    <a:pt x="1355" y="2153"/>
                  </a:cubicBezTo>
                  <a:lnTo>
                    <a:pt x="3781" y="2153"/>
                  </a:lnTo>
                  <a:lnTo>
                    <a:pt x="3781" y="2563"/>
                  </a:lnTo>
                  <a:cubicBezTo>
                    <a:pt x="3781" y="2720"/>
                    <a:pt x="3844" y="2815"/>
                    <a:pt x="4002" y="2878"/>
                  </a:cubicBezTo>
                  <a:cubicBezTo>
                    <a:pt x="4033" y="2886"/>
                    <a:pt x="4067" y="2890"/>
                    <a:pt x="4101" y="2890"/>
                  </a:cubicBezTo>
                  <a:cubicBezTo>
                    <a:pt x="4205" y="2890"/>
                    <a:pt x="4317" y="2854"/>
                    <a:pt x="4411" y="2783"/>
                  </a:cubicBezTo>
                  <a:lnTo>
                    <a:pt x="5420" y="1681"/>
                  </a:lnTo>
                  <a:cubicBezTo>
                    <a:pt x="5546" y="1555"/>
                    <a:pt x="5546" y="1365"/>
                    <a:pt x="5420" y="1208"/>
                  </a:cubicBezTo>
                  <a:lnTo>
                    <a:pt x="4411" y="105"/>
                  </a:lnTo>
                  <a:cubicBezTo>
                    <a:pt x="4356" y="31"/>
                    <a:pt x="4279" y="1"/>
                    <a:pt x="41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73"/>
            <p:cNvSpPr/>
            <p:nvPr/>
          </p:nvSpPr>
          <p:spPr>
            <a:xfrm>
              <a:off x="-31759900" y="3791200"/>
              <a:ext cx="187475" cy="52800"/>
            </a:xfrm>
            <a:custGeom>
              <a:avLst/>
              <a:gdLst/>
              <a:ahLst/>
              <a:cxnLst/>
              <a:rect l="l" t="t" r="r" b="b"/>
              <a:pathLst>
                <a:path w="7499" h="2112" extrusionOk="0">
                  <a:moveTo>
                    <a:pt x="1" y="1"/>
                  </a:moveTo>
                  <a:lnTo>
                    <a:pt x="1" y="1072"/>
                  </a:lnTo>
                  <a:cubicBezTo>
                    <a:pt x="1" y="1639"/>
                    <a:pt x="473" y="2112"/>
                    <a:pt x="1009" y="2112"/>
                  </a:cubicBezTo>
                  <a:lnTo>
                    <a:pt x="6491" y="2112"/>
                  </a:lnTo>
                  <a:cubicBezTo>
                    <a:pt x="7026" y="2112"/>
                    <a:pt x="7499" y="1639"/>
                    <a:pt x="7499" y="1072"/>
                  </a:cubicBezTo>
                  <a:lnTo>
                    <a:pt x="74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73"/>
            <p:cNvSpPr/>
            <p:nvPr/>
          </p:nvSpPr>
          <p:spPr>
            <a:xfrm>
              <a:off x="-31759900" y="3550975"/>
              <a:ext cx="187475" cy="35475"/>
            </a:xfrm>
            <a:custGeom>
              <a:avLst/>
              <a:gdLst/>
              <a:ahLst/>
              <a:cxnLst/>
              <a:rect l="l" t="t" r="r" b="b"/>
              <a:pathLst>
                <a:path w="7499" h="1419" extrusionOk="0">
                  <a:moveTo>
                    <a:pt x="1009" y="1"/>
                  </a:moveTo>
                  <a:cubicBezTo>
                    <a:pt x="473" y="1"/>
                    <a:pt x="1" y="474"/>
                    <a:pt x="1" y="1072"/>
                  </a:cubicBezTo>
                  <a:lnTo>
                    <a:pt x="1" y="1419"/>
                  </a:lnTo>
                  <a:lnTo>
                    <a:pt x="7499" y="1419"/>
                  </a:lnTo>
                  <a:lnTo>
                    <a:pt x="7499" y="1072"/>
                  </a:lnTo>
                  <a:cubicBezTo>
                    <a:pt x="7499" y="537"/>
                    <a:pt x="7026"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3"/>
            <p:cNvSpPr/>
            <p:nvPr/>
          </p:nvSpPr>
          <p:spPr>
            <a:xfrm>
              <a:off x="-31759100" y="3602975"/>
              <a:ext cx="188250" cy="172500"/>
            </a:xfrm>
            <a:custGeom>
              <a:avLst/>
              <a:gdLst/>
              <a:ahLst/>
              <a:cxnLst/>
              <a:rect l="l" t="t" r="r" b="b"/>
              <a:pathLst>
                <a:path w="7530" h="6900" extrusionOk="0">
                  <a:moveTo>
                    <a:pt x="0" y="0"/>
                  </a:moveTo>
                  <a:lnTo>
                    <a:pt x="0" y="3088"/>
                  </a:lnTo>
                  <a:lnTo>
                    <a:pt x="1071" y="3088"/>
                  </a:lnTo>
                  <a:cubicBezTo>
                    <a:pt x="1134" y="2773"/>
                    <a:pt x="1386" y="2552"/>
                    <a:pt x="1701" y="2426"/>
                  </a:cubicBezTo>
                  <a:cubicBezTo>
                    <a:pt x="1822" y="2376"/>
                    <a:pt x="1952" y="2351"/>
                    <a:pt x="2083" y="2351"/>
                  </a:cubicBezTo>
                  <a:cubicBezTo>
                    <a:pt x="2361" y="2351"/>
                    <a:pt x="2642" y="2464"/>
                    <a:pt x="2835" y="2678"/>
                  </a:cubicBezTo>
                  <a:lnTo>
                    <a:pt x="3844" y="3781"/>
                  </a:lnTo>
                  <a:cubicBezTo>
                    <a:pt x="4222" y="4190"/>
                    <a:pt x="4222" y="4789"/>
                    <a:pt x="3844" y="5167"/>
                  </a:cubicBezTo>
                  <a:lnTo>
                    <a:pt x="2835" y="6270"/>
                  </a:lnTo>
                  <a:cubicBezTo>
                    <a:pt x="2635" y="6493"/>
                    <a:pt x="2339" y="6621"/>
                    <a:pt x="2050" y="6621"/>
                  </a:cubicBezTo>
                  <a:cubicBezTo>
                    <a:pt x="1930" y="6621"/>
                    <a:pt x="1812" y="6599"/>
                    <a:pt x="1701" y="6553"/>
                  </a:cubicBezTo>
                  <a:cubicBezTo>
                    <a:pt x="1386" y="6427"/>
                    <a:pt x="1134" y="6144"/>
                    <a:pt x="1071" y="5892"/>
                  </a:cubicBezTo>
                  <a:lnTo>
                    <a:pt x="0" y="5892"/>
                  </a:lnTo>
                  <a:lnTo>
                    <a:pt x="0" y="6900"/>
                  </a:lnTo>
                  <a:lnTo>
                    <a:pt x="7530" y="6900"/>
                  </a:lnTo>
                  <a:lnTo>
                    <a:pt x="7530" y="3844"/>
                  </a:lnTo>
                  <a:lnTo>
                    <a:pt x="6459" y="3844"/>
                  </a:lnTo>
                  <a:cubicBezTo>
                    <a:pt x="6364" y="4159"/>
                    <a:pt x="6143" y="4379"/>
                    <a:pt x="5828" y="4505"/>
                  </a:cubicBezTo>
                  <a:cubicBezTo>
                    <a:pt x="5709" y="4551"/>
                    <a:pt x="5589" y="4573"/>
                    <a:pt x="5472" y="4573"/>
                  </a:cubicBezTo>
                  <a:cubicBezTo>
                    <a:pt x="5188" y="4573"/>
                    <a:pt x="4917" y="4445"/>
                    <a:pt x="4694" y="4222"/>
                  </a:cubicBezTo>
                  <a:lnTo>
                    <a:pt x="3655" y="3119"/>
                  </a:lnTo>
                  <a:cubicBezTo>
                    <a:pt x="3308" y="2741"/>
                    <a:pt x="3308" y="2143"/>
                    <a:pt x="3655" y="1765"/>
                  </a:cubicBezTo>
                  <a:lnTo>
                    <a:pt x="4694" y="630"/>
                  </a:lnTo>
                  <a:cubicBezTo>
                    <a:pt x="4866" y="416"/>
                    <a:pt x="5140" y="304"/>
                    <a:pt x="5427" y="304"/>
                  </a:cubicBezTo>
                  <a:cubicBezTo>
                    <a:pt x="5561" y="304"/>
                    <a:pt x="5698" y="328"/>
                    <a:pt x="5828" y="378"/>
                  </a:cubicBezTo>
                  <a:cubicBezTo>
                    <a:pt x="6143" y="504"/>
                    <a:pt x="6364" y="756"/>
                    <a:pt x="6459" y="1040"/>
                  </a:cubicBezTo>
                  <a:lnTo>
                    <a:pt x="7530" y="1040"/>
                  </a:ln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2" name="Google Shape;7312;p73"/>
          <p:cNvGrpSpPr/>
          <p:nvPr/>
        </p:nvGrpSpPr>
        <p:grpSpPr>
          <a:xfrm>
            <a:off x="2178631" y="3664562"/>
            <a:ext cx="366052" cy="356831"/>
            <a:chOff x="-31817400" y="3910025"/>
            <a:chExt cx="301675" cy="294075"/>
          </a:xfrm>
        </p:grpSpPr>
        <p:sp>
          <p:nvSpPr>
            <p:cNvPr id="7313" name="Google Shape;7313;p73"/>
            <p:cNvSpPr/>
            <p:nvPr/>
          </p:nvSpPr>
          <p:spPr>
            <a:xfrm>
              <a:off x="-31817400" y="3911550"/>
              <a:ext cx="301675" cy="292550"/>
            </a:xfrm>
            <a:custGeom>
              <a:avLst/>
              <a:gdLst/>
              <a:ahLst/>
              <a:cxnLst/>
              <a:rect l="l" t="t" r="r" b="b"/>
              <a:pathLst>
                <a:path w="12067" h="11702" extrusionOk="0">
                  <a:moveTo>
                    <a:pt x="2558" y="0"/>
                  </a:moveTo>
                  <a:cubicBezTo>
                    <a:pt x="2357" y="0"/>
                    <a:pt x="2155" y="24"/>
                    <a:pt x="1954" y="70"/>
                  </a:cubicBezTo>
                  <a:cubicBezTo>
                    <a:pt x="1828" y="102"/>
                    <a:pt x="1733" y="196"/>
                    <a:pt x="1702" y="322"/>
                  </a:cubicBezTo>
                  <a:cubicBezTo>
                    <a:pt x="1670" y="448"/>
                    <a:pt x="1702" y="543"/>
                    <a:pt x="1796" y="637"/>
                  </a:cubicBezTo>
                  <a:lnTo>
                    <a:pt x="2679" y="1551"/>
                  </a:lnTo>
                  <a:cubicBezTo>
                    <a:pt x="2962" y="1803"/>
                    <a:pt x="2962" y="2244"/>
                    <a:pt x="2679" y="2528"/>
                  </a:cubicBezTo>
                  <a:cubicBezTo>
                    <a:pt x="2553" y="2669"/>
                    <a:pt x="2379" y="2740"/>
                    <a:pt x="2202" y="2740"/>
                  </a:cubicBezTo>
                  <a:cubicBezTo>
                    <a:pt x="2025" y="2740"/>
                    <a:pt x="1844" y="2669"/>
                    <a:pt x="1702" y="2528"/>
                  </a:cubicBezTo>
                  <a:lnTo>
                    <a:pt x="788" y="1614"/>
                  </a:lnTo>
                  <a:cubicBezTo>
                    <a:pt x="744" y="1569"/>
                    <a:pt x="668" y="1525"/>
                    <a:pt x="582" y="1525"/>
                  </a:cubicBezTo>
                  <a:cubicBezTo>
                    <a:pt x="547" y="1525"/>
                    <a:pt x="510" y="1532"/>
                    <a:pt x="473" y="1551"/>
                  </a:cubicBezTo>
                  <a:cubicBezTo>
                    <a:pt x="347" y="1582"/>
                    <a:pt x="284" y="1645"/>
                    <a:pt x="253" y="1771"/>
                  </a:cubicBezTo>
                  <a:cubicBezTo>
                    <a:pt x="1" y="2591"/>
                    <a:pt x="253" y="3473"/>
                    <a:pt x="883" y="4103"/>
                  </a:cubicBezTo>
                  <a:cubicBezTo>
                    <a:pt x="1366" y="4494"/>
                    <a:pt x="1932" y="4750"/>
                    <a:pt x="2619" y="4750"/>
                  </a:cubicBezTo>
                  <a:cubicBezTo>
                    <a:pt x="2874" y="4750"/>
                    <a:pt x="3145" y="4715"/>
                    <a:pt x="3435" y="4638"/>
                  </a:cubicBezTo>
                  <a:lnTo>
                    <a:pt x="7247" y="8482"/>
                  </a:lnTo>
                  <a:cubicBezTo>
                    <a:pt x="6963" y="9522"/>
                    <a:pt x="7215" y="10372"/>
                    <a:pt x="7814" y="10971"/>
                  </a:cubicBezTo>
                  <a:cubicBezTo>
                    <a:pt x="8291" y="11472"/>
                    <a:pt x="8895" y="11702"/>
                    <a:pt x="9516" y="11702"/>
                  </a:cubicBezTo>
                  <a:cubicBezTo>
                    <a:pt x="9714" y="11702"/>
                    <a:pt x="9915" y="11678"/>
                    <a:pt x="10114" y="11632"/>
                  </a:cubicBezTo>
                  <a:cubicBezTo>
                    <a:pt x="10240" y="11569"/>
                    <a:pt x="10334" y="11506"/>
                    <a:pt x="10366" y="11380"/>
                  </a:cubicBezTo>
                  <a:cubicBezTo>
                    <a:pt x="10397" y="11254"/>
                    <a:pt x="10366" y="11128"/>
                    <a:pt x="10271" y="11065"/>
                  </a:cubicBezTo>
                  <a:lnTo>
                    <a:pt x="9389" y="10152"/>
                  </a:lnTo>
                  <a:cubicBezTo>
                    <a:pt x="9106" y="9868"/>
                    <a:pt x="9106" y="9459"/>
                    <a:pt x="9389" y="9175"/>
                  </a:cubicBezTo>
                  <a:cubicBezTo>
                    <a:pt x="9515" y="9033"/>
                    <a:pt x="9688" y="8962"/>
                    <a:pt x="9866" y="8962"/>
                  </a:cubicBezTo>
                  <a:cubicBezTo>
                    <a:pt x="10043" y="8962"/>
                    <a:pt x="10224" y="9033"/>
                    <a:pt x="10366" y="9175"/>
                  </a:cubicBezTo>
                  <a:lnTo>
                    <a:pt x="11279" y="10089"/>
                  </a:lnTo>
                  <a:cubicBezTo>
                    <a:pt x="11326" y="10135"/>
                    <a:pt x="11405" y="10164"/>
                    <a:pt x="11494" y="10164"/>
                  </a:cubicBezTo>
                  <a:cubicBezTo>
                    <a:pt x="11527" y="10164"/>
                    <a:pt x="11561" y="10160"/>
                    <a:pt x="11594" y="10152"/>
                  </a:cubicBezTo>
                  <a:cubicBezTo>
                    <a:pt x="11720" y="10120"/>
                    <a:pt x="11783" y="10026"/>
                    <a:pt x="11815" y="9931"/>
                  </a:cubicBezTo>
                  <a:cubicBezTo>
                    <a:pt x="12067" y="9081"/>
                    <a:pt x="11815" y="8230"/>
                    <a:pt x="11185" y="7600"/>
                  </a:cubicBezTo>
                  <a:cubicBezTo>
                    <a:pt x="10778" y="7170"/>
                    <a:pt x="10224" y="6903"/>
                    <a:pt x="9537" y="6903"/>
                  </a:cubicBezTo>
                  <a:cubicBezTo>
                    <a:pt x="9266" y="6903"/>
                    <a:pt x="8975" y="6944"/>
                    <a:pt x="8665" y="7033"/>
                  </a:cubicBezTo>
                  <a:lnTo>
                    <a:pt x="4852" y="3221"/>
                  </a:lnTo>
                  <a:lnTo>
                    <a:pt x="4884" y="3032"/>
                  </a:lnTo>
                  <a:cubicBezTo>
                    <a:pt x="5136" y="2213"/>
                    <a:pt x="4884" y="1330"/>
                    <a:pt x="4254" y="700"/>
                  </a:cubicBezTo>
                  <a:cubicBezTo>
                    <a:pt x="3778" y="225"/>
                    <a:pt x="3177" y="0"/>
                    <a:pt x="25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3"/>
            <p:cNvSpPr/>
            <p:nvPr/>
          </p:nvSpPr>
          <p:spPr>
            <a:xfrm>
              <a:off x="-31816600" y="4062950"/>
              <a:ext cx="144150" cy="140600"/>
            </a:xfrm>
            <a:custGeom>
              <a:avLst/>
              <a:gdLst/>
              <a:ahLst/>
              <a:cxnLst/>
              <a:rect l="l" t="t" r="r" b="b"/>
              <a:pathLst>
                <a:path w="5766" h="5624" extrusionOk="0">
                  <a:moveTo>
                    <a:pt x="4080" y="1504"/>
                  </a:moveTo>
                  <a:cubicBezTo>
                    <a:pt x="4167" y="1504"/>
                    <a:pt x="4253" y="1528"/>
                    <a:pt x="4316" y="1575"/>
                  </a:cubicBezTo>
                  <a:cubicBezTo>
                    <a:pt x="4442" y="1701"/>
                    <a:pt x="4442" y="1953"/>
                    <a:pt x="4316" y="2048"/>
                  </a:cubicBezTo>
                  <a:lnTo>
                    <a:pt x="2205" y="4159"/>
                  </a:lnTo>
                  <a:cubicBezTo>
                    <a:pt x="2158" y="4206"/>
                    <a:pt x="2072" y="4230"/>
                    <a:pt x="1985" y="4230"/>
                  </a:cubicBezTo>
                  <a:cubicBezTo>
                    <a:pt x="1898" y="4230"/>
                    <a:pt x="1812" y="4206"/>
                    <a:pt x="1764" y="4159"/>
                  </a:cubicBezTo>
                  <a:cubicBezTo>
                    <a:pt x="1638" y="4033"/>
                    <a:pt x="1638" y="3781"/>
                    <a:pt x="1764" y="3686"/>
                  </a:cubicBezTo>
                  <a:lnTo>
                    <a:pt x="3844" y="1575"/>
                  </a:lnTo>
                  <a:cubicBezTo>
                    <a:pt x="3907" y="1528"/>
                    <a:pt x="3993" y="1504"/>
                    <a:pt x="4080" y="1504"/>
                  </a:cubicBezTo>
                  <a:close/>
                  <a:moveTo>
                    <a:pt x="3844" y="0"/>
                  </a:moveTo>
                  <a:lnTo>
                    <a:pt x="567" y="3277"/>
                  </a:lnTo>
                  <a:cubicBezTo>
                    <a:pt x="0" y="3844"/>
                    <a:pt x="0" y="4694"/>
                    <a:pt x="567" y="5198"/>
                  </a:cubicBezTo>
                  <a:cubicBezTo>
                    <a:pt x="835" y="5482"/>
                    <a:pt x="1189" y="5624"/>
                    <a:pt x="1540" y="5624"/>
                  </a:cubicBezTo>
                  <a:cubicBezTo>
                    <a:pt x="1890" y="5624"/>
                    <a:pt x="2237" y="5482"/>
                    <a:pt x="2489" y="5198"/>
                  </a:cubicBezTo>
                  <a:lnTo>
                    <a:pt x="5766" y="1953"/>
                  </a:lnTo>
                  <a:lnTo>
                    <a:pt x="38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73"/>
            <p:cNvSpPr/>
            <p:nvPr/>
          </p:nvSpPr>
          <p:spPr>
            <a:xfrm>
              <a:off x="-31648050" y="3910025"/>
              <a:ext cx="129175" cy="127725"/>
            </a:xfrm>
            <a:custGeom>
              <a:avLst/>
              <a:gdLst/>
              <a:ahLst/>
              <a:cxnLst/>
              <a:rect l="l" t="t" r="r" b="b"/>
              <a:pathLst>
                <a:path w="5167" h="5109" extrusionOk="0">
                  <a:moveTo>
                    <a:pt x="4249" y="1"/>
                  </a:moveTo>
                  <a:cubicBezTo>
                    <a:pt x="4179" y="1"/>
                    <a:pt x="4106" y="24"/>
                    <a:pt x="4033" y="68"/>
                  </a:cubicBezTo>
                  <a:lnTo>
                    <a:pt x="2206" y="1171"/>
                  </a:lnTo>
                  <a:cubicBezTo>
                    <a:pt x="2017" y="1265"/>
                    <a:pt x="1985" y="1549"/>
                    <a:pt x="2143" y="1706"/>
                  </a:cubicBezTo>
                  <a:lnTo>
                    <a:pt x="2300" y="1864"/>
                  </a:lnTo>
                  <a:lnTo>
                    <a:pt x="0" y="4164"/>
                  </a:lnTo>
                  <a:lnTo>
                    <a:pt x="945" y="5109"/>
                  </a:lnTo>
                  <a:lnTo>
                    <a:pt x="3245" y="2809"/>
                  </a:lnTo>
                  <a:lnTo>
                    <a:pt x="3434" y="2998"/>
                  </a:lnTo>
                  <a:cubicBezTo>
                    <a:pt x="3502" y="3066"/>
                    <a:pt x="3594" y="3099"/>
                    <a:pt x="3684" y="3099"/>
                  </a:cubicBezTo>
                  <a:cubicBezTo>
                    <a:pt x="3802" y="3099"/>
                    <a:pt x="3916" y="3042"/>
                    <a:pt x="3970" y="2935"/>
                  </a:cubicBezTo>
                  <a:lnTo>
                    <a:pt x="5073" y="1108"/>
                  </a:lnTo>
                  <a:cubicBezTo>
                    <a:pt x="5167" y="1013"/>
                    <a:pt x="5167" y="793"/>
                    <a:pt x="5041" y="698"/>
                  </a:cubicBezTo>
                  <a:lnTo>
                    <a:pt x="4474" y="100"/>
                  </a:lnTo>
                  <a:cubicBezTo>
                    <a:pt x="4406" y="32"/>
                    <a:pt x="4330" y="1"/>
                    <a:pt x="4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6" name="Google Shape;7316;p73"/>
          <p:cNvGrpSpPr/>
          <p:nvPr/>
        </p:nvGrpSpPr>
        <p:grpSpPr>
          <a:xfrm>
            <a:off x="3970259" y="3200743"/>
            <a:ext cx="354616" cy="354586"/>
            <a:chOff x="-30354000" y="3569100"/>
            <a:chExt cx="292250" cy="292225"/>
          </a:xfrm>
        </p:grpSpPr>
        <p:sp>
          <p:nvSpPr>
            <p:cNvPr id="7317" name="Google Shape;7317;p73"/>
            <p:cNvSpPr/>
            <p:nvPr/>
          </p:nvSpPr>
          <p:spPr>
            <a:xfrm>
              <a:off x="-30354000" y="3604550"/>
              <a:ext cx="137875" cy="256000"/>
            </a:xfrm>
            <a:custGeom>
              <a:avLst/>
              <a:gdLst/>
              <a:ahLst/>
              <a:cxnLst/>
              <a:rect l="l" t="t" r="r" b="b"/>
              <a:pathLst>
                <a:path w="5515" h="10240" extrusionOk="0">
                  <a:moveTo>
                    <a:pt x="662" y="0"/>
                  </a:moveTo>
                  <a:cubicBezTo>
                    <a:pt x="284" y="0"/>
                    <a:pt x="1" y="315"/>
                    <a:pt x="1" y="662"/>
                  </a:cubicBezTo>
                  <a:lnTo>
                    <a:pt x="1" y="4411"/>
                  </a:lnTo>
                  <a:cubicBezTo>
                    <a:pt x="1" y="4632"/>
                    <a:pt x="64" y="4884"/>
                    <a:pt x="190" y="5073"/>
                  </a:cubicBezTo>
                  <a:lnTo>
                    <a:pt x="1639" y="7467"/>
                  </a:lnTo>
                  <a:cubicBezTo>
                    <a:pt x="1891" y="7877"/>
                    <a:pt x="2049" y="8097"/>
                    <a:pt x="2049" y="8538"/>
                  </a:cubicBezTo>
                  <a:lnTo>
                    <a:pt x="2049" y="9861"/>
                  </a:lnTo>
                  <a:cubicBezTo>
                    <a:pt x="2049" y="10082"/>
                    <a:pt x="2206" y="10239"/>
                    <a:pt x="2395" y="10239"/>
                  </a:cubicBezTo>
                  <a:lnTo>
                    <a:pt x="5514" y="10239"/>
                  </a:lnTo>
                  <a:lnTo>
                    <a:pt x="5514" y="6364"/>
                  </a:lnTo>
                  <a:cubicBezTo>
                    <a:pt x="5514" y="5986"/>
                    <a:pt x="5357" y="5671"/>
                    <a:pt x="5168" y="5419"/>
                  </a:cubicBezTo>
                  <a:cubicBezTo>
                    <a:pt x="5167" y="5420"/>
                    <a:pt x="5165" y="5421"/>
                    <a:pt x="5163" y="5421"/>
                  </a:cubicBezTo>
                  <a:cubicBezTo>
                    <a:pt x="5042" y="5421"/>
                    <a:pt x="3214" y="3623"/>
                    <a:pt x="3183" y="3592"/>
                  </a:cubicBezTo>
                  <a:cubicBezTo>
                    <a:pt x="3041" y="3432"/>
                    <a:pt x="2828" y="3332"/>
                    <a:pt x="2613" y="3332"/>
                  </a:cubicBezTo>
                  <a:cubicBezTo>
                    <a:pt x="2448" y="3332"/>
                    <a:pt x="2280" y="3392"/>
                    <a:pt x="2143" y="3529"/>
                  </a:cubicBezTo>
                  <a:cubicBezTo>
                    <a:pt x="1891" y="3812"/>
                    <a:pt x="1923" y="4285"/>
                    <a:pt x="2112" y="4442"/>
                  </a:cubicBezTo>
                  <a:lnTo>
                    <a:pt x="3970" y="6301"/>
                  </a:lnTo>
                  <a:cubicBezTo>
                    <a:pt x="4097" y="6427"/>
                    <a:pt x="4097" y="6648"/>
                    <a:pt x="3970" y="6774"/>
                  </a:cubicBezTo>
                  <a:cubicBezTo>
                    <a:pt x="3907" y="6821"/>
                    <a:pt x="3821" y="6845"/>
                    <a:pt x="3734" y="6845"/>
                  </a:cubicBezTo>
                  <a:cubicBezTo>
                    <a:pt x="3648" y="6845"/>
                    <a:pt x="3561" y="6821"/>
                    <a:pt x="3498" y="6774"/>
                  </a:cubicBezTo>
                  <a:lnTo>
                    <a:pt x="1639" y="4915"/>
                  </a:lnTo>
                  <a:cubicBezTo>
                    <a:pt x="1450" y="4726"/>
                    <a:pt x="1324" y="4442"/>
                    <a:pt x="1324" y="4190"/>
                  </a:cubicBezTo>
                  <a:lnTo>
                    <a:pt x="1324" y="662"/>
                  </a:lnTo>
                  <a:cubicBezTo>
                    <a:pt x="1324" y="252"/>
                    <a:pt x="1009"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73"/>
            <p:cNvSpPr/>
            <p:nvPr/>
          </p:nvSpPr>
          <p:spPr>
            <a:xfrm>
              <a:off x="-30198825" y="3604550"/>
              <a:ext cx="137075" cy="256775"/>
            </a:xfrm>
            <a:custGeom>
              <a:avLst/>
              <a:gdLst/>
              <a:ahLst/>
              <a:cxnLst/>
              <a:rect l="l" t="t" r="r" b="b"/>
              <a:pathLst>
                <a:path w="5483" h="10271" extrusionOk="0">
                  <a:moveTo>
                    <a:pt x="4758" y="0"/>
                  </a:moveTo>
                  <a:cubicBezTo>
                    <a:pt x="4380" y="0"/>
                    <a:pt x="4096" y="315"/>
                    <a:pt x="4096" y="662"/>
                  </a:cubicBezTo>
                  <a:lnTo>
                    <a:pt x="4096" y="4190"/>
                  </a:lnTo>
                  <a:cubicBezTo>
                    <a:pt x="4096" y="4474"/>
                    <a:pt x="3970" y="4758"/>
                    <a:pt x="3781" y="4915"/>
                  </a:cubicBezTo>
                  <a:lnTo>
                    <a:pt x="1922" y="6774"/>
                  </a:lnTo>
                  <a:cubicBezTo>
                    <a:pt x="1875" y="6821"/>
                    <a:pt x="1788" y="6845"/>
                    <a:pt x="1698" y="6845"/>
                  </a:cubicBezTo>
                  <a:cubicBezTo>
                    <a:pt x="1607" y="6845"/>
                    <a:pt x="1513" y="6821"/>
                    <a:pt x="1450" y="6774"/>
                  </a:cubicBezTo>
                  <a:cubicBezTo>
                    <a:pt x="1355" y="6648"/>
                    <a:pt x="1355" y="6427"/>
                    <a:pt x="1450" y="6301"/>
                  </a:cubicBezTo>
                  <a:lnTo>
                    <a:pt x="3308" y="4442"/>
                  </a:lnTo>
                  <a:cubicBezTo>
                    <a:pt x="3497" y="4285"/>
                    <a:pt x="3560" y="3812"/>
                    <a:pt x="3277" y="3529"/>
                  </a:cubicBezTo>
                  <a:cubicBezTo>
                    <a:pt x="3140" y="3392"/>
                    <a:pt x="2972" y="3332"/>
                    <a:pt x="2807" y="3332"/>
                  </a:cubicBezTo>
                  <a:cubicBezTo>
                    <a:pt x="2592" y="3332"/>
                    <a:pt x="2379" y="3432"/>
                    <a:pt x="2237" y="3592"/>
                  </a:cubicBezTo>
                  <a:cubicBezTo>
                    <a:pt x="2237" y="3592"/>
                    <a:pt x="347" y="5419"/>
                    <a:pt x="347" y="5482"/>
                  </a:cubicBezTo>
                  <a:cubicBezTo>
                    <a:pt x="158" y="5671"/>
                    <a:pt x="0" y="6018"/>
                    <a:pt x="0" y="6427"/>
                  </a:cubicBezTo>
                  <a:lnTo>
                    <a:pt x="0" y="8129"/>
                  </a:lnTo>
                  <a:lnTo>
                    <a:pt x="0" y="8412"/>
                  </a:lnTo>
                  <a:lnTo>
                    <a:pt x="0" y="10271"/>
                  </a:lnTo>
                  <a:lnTo>
                    <a:pt x="3088" y="10271"/>
                  </a:lnTo>
                  <a:cubicBezTo>
                    <a:pt x="3277" y="10271"/>
                    <a:pt x="3434" y="10113"/>
                    <a:pt x="3434" y="9924"/>
                  </a:cubicBezTo>
                  <a:lnTo>
                    <a:pt x="3434" y="8570"/>
                  </a:lnTo>
                  <a:cubicBezTo>
                    <a:pt x="3434" y="8129"/>
                    <a:pt x="3623" y="7908"/>
                    <a:pt x="3812" y="7530"/>
                  </a:cubicBezTo>
                  <a:lnTo>
                    <a:pt x="5293" y="5104"/>
                  </a:lnTo>
                  <a:cubicBezTo>
                    <a:pt x="5388" y="4915"/>
                    <a:pt x="5482" y="4663"/>
                    <a:pt x="5482" y="4411"/>
                  </a:cubicBezTo>
                  <a:lnTo>
                    <a:pt x="5482" y="662"/>
                  </a:lnTo>
                  <a:cubicBezTo>
                    <a:pt x="5451" y="284"/>
                    <a:pt x="5136" y="0"/>
                    <a:pt x="4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73"/>
            <p:cNvSpPr/>
            <p:nvPr/>
          </p:nvSpPr>
          <p:spPr>
            <a:xfrm>
              <a:off x="-30139750" y="3636850"/>
              <a:ext cx="26000" cy="37825"/>
            </a:xfrm>
            <a:custGeom>
              <a:avLst/>
              <a:gdLst/>
              <a:ahLst/>
              <a:cxnLst/>
              <a:rect l="l" t="t" r="r" b="b"/>
              <a:pathLst>
                <a:path w="1040" h="1513" extrusionOk="0">
                  <a:moveTo>
                    <a:pt x="504" y="0"/>
                  </a:moveTo>
                  <a:cubicBezTo>
                    <a:pt x="252" y="32"/>
                    <a:pt x="0" y="284"/>
                    <a:pt x="0" y="567"/>
                  </a:cubicBezTo>
                  <a:lnTo>
                    <a:pt x="0" y="1418"/>
                  </a:lnTo>
                  <a:cubicBezTo>
                    <a:pt x="126" y="1386"/>
                    <a:pt x="252" y="1355"/>
                    <a:pt x="410" y="1355"/>
                  </a:cubicBezTo>
                  <a:cubicBezTo>
                    <a:pt x="630" y="1355"/>
                    <a:pt x="819" y="1386"/>
                    <a:pt x="1040" y="1512"/>
                  </a:cubicBezTo>
                  <a:lnTo>
                    <a:pt x="1040" y="504"/>
                  </a:lnTo>
                  <a:cubicBezTo>
                    <a:pt x="1040" y="252"/>
                    <a:pt x="788" y="0"/>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3"/>
            <p:cNvSpPr/>
            <p:nvPr/>
          </p:nvSpPr>
          <p:spPr>
            <a:xfrm>
              <a:off x="-30302800" y="3638950"/>
              <a:ext cx="25225" cy="36500"/>
            </a:xfrm>
            <a:custGeom>
              <a:avLst/>
              <a:gdLst/>
              <a:ahLst/>
              <a:cxnLst/>
              <a:rect l="l" t="t" r="r" b="b"/>
              <a:pathLst>
                <a:path w="1009" h="1460" extrusionOk="0">
                  <a:moveTo>
                    <a:pt x="418" y="1"/>
                  </a:moveTo>
                  <a:cubicBezTo>
                    <a:pt x="177" y="1"/>
                    <a:pt x="1" y="229"/>
                    <a:pt x="1" y="483"/>
                  </a:cubicBezTo>
                  <a:lnTo>
                    <a:pt x="1" y="1460"/>
                  </a:lnTo>
                  <a:cubicBezTo>
                    <a:pt x="190" y="1334"/>
                    <a:pt x="379" y="1302"/>
                    <a:pt x="631" y="1302"/>
                  </a:cubicBezTo>
                  <a:cubicBezTo>
                    <a:pt x="725" y="1302"/>
                    <a:pt x="883" y="1334"/>
                    <a:pt x="1009" y="1365"/>
                  </a:cubicBezTo>
                  <a:lnTo>
                    <a:pt x="1009" y="515"/>
                  </a:lnTo>
                  <a:cubicBezTo>
                    <a:pt x="1009" y="231"/>
                    <a:pt x="788" y="11"/>
                    <a:pt x="505" y="11"/>
                  </a:cubicBezTo>
                  <a:cubicBezTo>
                    <a:pt x="475" y="4"/>
                    <a:pt x="44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73"/>
            <p:cNvSpPr/>
            <p:nvPr/>
          </p:nvSpPr>
          <p:spPr>
            <a:xfrm>
              <a:off x="-30242925" y="3569100"/>
              <a:ext cx="68525" cy="68550"/>
            </a:xfrm>
            <a:custGeom>
              <a:avLst/>
              <a:gdLst/>
              <a:ahLst/>
              <a:cxnLst/>
              <a:rect l="l" t="t" r="r" b="b"/>
              <a:pathLst>
                <a:path w="2741" h="2742" extrusionOk="0">
                  <a:moveTo>
                    <a:pt x="1386" y="1"/>
                  </a:moveTo>
                  <a:cubicBezTo>
                    <a:pt x="630" y="1"/>
                    <a:pt x="0" y="631"/>
                    <a:pt x="0" y="1387"/>
                  </a:cubicBezTo>
                  <a:cubicBezTo>
                    <a:pt x="0" y="2174"/>
                    <a:pt x="630" y="2742"/>
                    <a:pt x="1386" y="2742"/>
                  </a:cubicBezTo>
                  <a:cubicBezTo>
                    <a:pt x="2111" y="2742"/>
                    <a:pt x="2741" y="2111"/>
                    <a:pt x="2741" y="1387"/>
                  </a:cubicBezTo>
                  <a:cubicBezTo>
                    <a:pt x="2741" y="631"/>
                    <a:pt x="2111"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73"/>
            <p:cNvSpPr/>
            <p:nvPr/>
          </p:nvSpPr>
          <p:spPr>
            <a:xfrm>
              <a:off x="-30262625" y="3654950"/>
              <a:ext cx="107925" cy="68550"/>
            </a:xfrm>
            <a:custGeom>
              <a:avLst/>
              <a:gdLst/>
              <a:ahLst/>
              <a:cxnLst/>
              <a:rect l="l" t="t" r="r" b="b"/>
              <a:pathLst>
                <a:path w="4317" h="2742" extrusionOk="0">
                  <a:moveTo>
                    <a:pt x="2174" y="1"/>
                  </a:moveTo>
                  <a:cubicBezTo>
                    <a:pt x="1292" y="1"/>
                    <a:pt x="505" y="379"/>
                    <a:pt x="0" y="1040"/>
                  </a:cubicBezTo>
                  <a:lnTo>
                    <a:pt x="32" y="1103"/>
                  </a:lnTo>
                  <a:cubicBezTo>
                    <a:pt x="946" y="1985"/>
                    <a:pt x="1450" y="2458"/>
                    <a:pt x="1702" y="2742"/>
                  </a:cubicBezTo>
                  <a:lnTo>
                    <a:pt x="2647" y="2742"/>
                  </a:lnTo>
                  <a:lnTo>
                    <a:pt x="4254" y="1135"/>
                  </a:lnTo>
                  <a:lnTo>
                    <a:pt x="4317" y="1040"/>
                  </a:lnTo>
                  <a:cubicBezTo>
                    <a:pt x="3813" y="410"/>
                    <a:pt x="3025" y="1"/>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3" name="Google Shape;7323;p73"/>
          <p:cNvGrpSpPr/>
          <p:nvPr/>
        </p:nvGrpSpPr>
        <p:grpSpPr>
          <a:xfrm>
            <a:off x="1748837" y="1380546"/>
            <a:ext cx="342148" cy="353645"/>
            <a:chOff x="-35118325" y="3202075"/>
            <a:chExt cx="281975" cy="291450"/>
          </a:xfrm>
        </p:grpSpPr>
        <p:sp>
          <p:nvSpPr>
            <p:cNvPr id="7324" name="Google Shape;7324;p73"/>
            <p:cNvSpPr/>
            <p:nvPr/>
          </p:nvSpPr>
          <p:spPr>
            <a:xfrm>
              <a:off x="-35008050" y="3202075"/>
              <a:ext cx="171700" cy="171250"/>
            </a:xfrm>
            <a:custGeom>
              <a:avLst/>
              <a:gdLst/>
              <a:ahLst/>
              <a:cxnLst/>
              <a:rect l="l" t="t" r="r" b="b"/>
              <a:pathLst>
                <a:path w="6868" h="6850" extrusionOk="0">
                  <a:moveTo>
                    <a:pt x="3466" y="1355"/>
                  </a:moveTo>
                  <a:cubicBezTo>
                    <a:pt x="4222" y="1355"/>
                    <a:pt x="4852" y="1985"/>
                    <a:pt x="4852" y="2741"/>
                  </a:cubicBezTo>
                  <a:lnTo>
                    <a:pt x="4852" y="4127"/>
                  </a:lnTo>
                  <a:cubicBezTo>
                    <a:pt x="4852" y="4348"/>
                    <a:pt x="4757" y="4600"/>
                    <a:pt x="4631" y="4821"/>
                  </a:cubicBezTo>
                  <a:lnTo>
                    <a:pt x="4726" y="4915"/>
                  </a:lnTo>
                  <a:cubicBezTo>
                    <a:pt x="4852" y="5041"/>
                    <a:pt x="4852" y="5262"/>
                    <a:pt x="4726" y="5388"/>
                  </a:cubicBezTo>
                  <a:cubicBezTo>
                    <a:pt x="4663" y="5451"/>
                    <a:pt x="4576" y="5482"/>
                    <a:pt x="4489" y="5482"/>
                  </a:cubicBezTo>
                  <a:cubicBezTo>
                    <a:pt x="4403" y="5482"/>
                    <a:pt x="4316" y="5451"/>
                    <a:pt x="4253" y="5388"/>
                  </a:cubicBezTo>
                  <a:lnTo>
                    <a:pt x="4190" y="5293"/>
                  </a:lnTo>
                  <a:cubicBezTo>
                    <a:pt x="3970" y="5419"/>
                    <a:pt x="3749" y="5514"/>
                    <a:pt x="3466" y="5514"/>
                  </a:cubicBezTo>
                  <a:cubicBezTo>
                    <a:pt x="2709" y="5514"/>
                    <a:pt x="2079" y="4884"/>
                    <a:pt x="2079" y="4127"/>
                  </a:cubicBezTo>
                  <a:lnTo>
                    <a:pt x="2079" y="2741"/>
                  </a:lnTo>
                  <a:cubicBezTo>
                    <a:pt x="2079" y="1985"/>
                    <a:pt x="2709" y="1355"/>
                    <a:pt x="3466" y="1355"/>
                  </a:cubicBezTo>
                  <a:close/>
                  <a:moveTo>
                    <a:pt x="3466" y="0"/>
                  </a:moveTo>
                  <a:cubicBezTo>
                    <a:pt x="1575" y="0"/>
                    <a:pt x="32" y="1576"/>
                    <a:pt x="32" y="3403"/>
                  </a:cubicBezTo>
                  <a:cubicBezTo>
                    <a:pt x="32" y="4001"/>
                    <a:pt x="189" y="4569"/>
                    <a:pt x="473" y="5104"/>
                  </a:cubicBezTo>
                  <a:lnTo>
                    <a:pt x="32" y="6396"/>
                  </a:lnTo>
                  <a:cubicBezTo>
                    <a:pt x="0" y="6522"/>
                    <a:pt x="32" y="6679"/>
                    <a:pt x="126" y="6774"/>
                  </a:cubicBezTo>
                  <a:cubicBezTo>
                    <a:pt x="172" y="6820"/>
                    <a:pt x="269" y="6849"/>
                    <a:pt x="367" y="6849"/>
                  </a:cubicBezTo>
                  <a:cubicBezTo>
                    <a:pt x="403" y="6849"/>
                    <a:pt x="439" y="6845"/>
                    <a:pt x="473" y="6837"/>
                  </a:cubicBezTo>
                  <a:lnTo>
                    <a:pt x="1764" y="6396"/>
                  </a:lnTo>
                  <a:cubicBezTo>
                    <a:pt x="2300" y="6679"/>
                    <a:pt x="2867" y="6837"/>
                    <a:pt x="3466" y="6837"/>
                  </a:cubicBezTo>
                  <a:cubicBezTo>
                    <a:pt x="5356" y="6837"/>
                    <a:pt x="6868" y="5293"/>
                    <a:pt x="6868" y="3403"/>
                  </a:cubicBezTo>
                  <a:cubicBezTo>
                    <a:pt x="6868" y="1513"/>
                    <a:pt x="5356"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73"/>
            <p:cNvSpPr/>
            <p:nvPr/>
          </p:nvSpPr>
          <p:spPr>
            <a:xfrm>
              <a:off x="-34937975" y="3254050"/>
              <a:ext cx="33125" cy="67775"/>
            </a:xfrm>
            <a:custGeom>
              <a:avLst/>
              <a:gdLst/>
              <a:ahLst/>
              <a:cxnLst/>
              <a:rect l="l" t="t" r="r" b="b"/>
              <a:pathLst>
                <a:path w="1325" h="2711" extrusionOk="0">
                  <a:moveTo>
                    <a:pt x="663" y="1"/>
                  </a:moveTo>
                  <a:cubicBezTo>
                    <a:pt x="253" y="1"/>
                    <a:pt x="1" y="316"/>
                    <a:pt x="1" y="662"/>
                  </a:cubicBezTo>
                  <a:lnTo>
                    <a:pt x="1" y="2048"/>
                  </a:lnTo>
                  <a:cubicBezTo>
                    <a:pt x="1" y="2427"/>
                    <a:pt x="316" y="2710"/>
                    <a:pt x="663" y="2710"/>
                  </a:cubicBezTo>
                  <a:cubicBezTo>
                    <a:pt x="694" y="2710"/>
                    <a:pt x="789" y="2710"/>
                    <a:pt x="820" y="2679"/>
                  </a:cubicBezTo>
                  <a:lnTo>
                    <a:pt x="757" y="2584"/>
                  </a:lnTo>
                  <a:cubicBezTo>
                    <a:pt x="631" y="2490"/>
                    <a:pt x="631" y="2238"/>
                    <a:pt x="757" y="2111"/>
                  </a:cubicBezTo>
                  <a:cubicBezTo>
                    <a:pt x="804" y="2064"/>
                    <a:pt x="891" y="2041"/>
                    <a:pt x="978" y="2041"/>
                  </a:cubicBezTo>
                  <a:cubicBezTo>
                    <a:pt x="1064" y="2041"/>
                    <a:pt x="1151" y="2064"/>
                    <a:pt x="1198" y="2111"/>
                  </a:cubicBezTo>
                  <a:lnTo>
                    <a:pt x="1293" y="2206"/>
                  </a:lnTo>
                  <a:cubicBezTo>
                    <a:pt x="1293" y="2175"/>
                    <a:pt x="1324" y="2080"/>
                    <a:pt x="1324" y="2048"/>
                  </a:cubicBezTo>
                  <a:lnTo>
                    <a:pt x="1324" y="662"/>
                  </a:lnTo>
                  <a:cubicBezTo>
                    <a:pt x="1324" y="284"/>
                    <a:pt x="1041" y="1"/>
                    <a:pt x="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3"/>
            <p:cNvSpPr/>
            <p:nvPr/>
          </p:nvSpPr>
          <p:spPr>
            <a:xfrm>
              <a:off x="-35085250" y="3338325"/>
              <a:ext cx="69325" cy="69350"/>
            </a:xfrm>
            <a:custGeom>
              <a:avLst/>
              <a:gdLst/>
              <a:ahLst/>
              <a:cxnLst/>
              <a:rect l="l" t="t" r="r" b="b"/>
              <a:pathLst>
                <a:path w="2773" h="2774" extrusionOk="0">
                  <a:moveTo>
                    <a:pt x="1387" y="1"/>
                  </a:moveTo>
                  <a:cubicBezTo>
                    <a:pt x="631" y="1"/>
                    <a:pt x="1" y="631"/>
                    <a:pt x="1" y="1387"/>
                  </a:cubicBezTo>
                  <a:cubicBezTo>
                    <a:pt x="64" y="2143"/>
                    <a:pt x="631" y="2773"/>
                    <a:pt x="1387" y="2773"/>
                  </a:cubicBezTo>
                  <a:cubicBezTo>
                    <a:pt x="2143" y="2773"/>
                    <a:pt x="2773" y="2143"/>
                    <a:pt x="2773" y="1387"/>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73"/>
            <p:cNvSpPr/>
            <p:nvPr/>
          </p:nvSpPr>
          <p:spPr>
            <a:xfrm>
              <a:off x="-35118325" y="3424175"/>
              <a:ext cx="137075" cy="69350"/>
            </a:xfrm>
            <a:custGeom>
              <a:avLst/>
              <a:gdLst/>
              <a:ahLst/>
              <a:cxnLst/>
              <a:rect l="l" t="t" r="r" b="b"/>
              <a:pathLst>
                <a:path w="5483" h="2774" extrusionOk="0">
                  <a:moveTo>
                    <a:pt x="2741" y="1"/>
                  </a:moveTo>
                  <a:cubicBezTo>
                    <a:pt x="1387" y="1"/>
                    <a:pt x="221" y="1040"/>
                    <a:pt x="32" y="2364"/>
                  </a:cubicBezTo>
                  <a:cubicBezTo>
                    <a:pt x="0" y="2553"/>
                    <a:pt x="158" y="2773"/>
                    <a:pt x="347" y="2773"/>
                  </a:cubicBezTo>
                  <a:lnTo>
                    <a:pt x="5104" y="2773"/>
                  </a:lnTo>
                  <a:cubicBezTo>
                    <a:pt x="5325" y="2773"/>
                    <a:pt x="5482" y="2553"/>
                    <a:pt x="5482" y="2364"/>
                  </a:cubicBezTo>
                  <a:cubicBezTo>
                    <a:pt x="5262" y="1040"/>
                    <a:pt x="4127"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8" name="Google Shape;7328;p73"/>
          <p:cNvGrpSpPr/>
          <p:nvPr/>
        </p:nvGrpSpPr>
        <p:grpSpPr>
          <a:xfrm>
            <a:off x="1742618" y="1821799"/>
            <a:ext cx="354586" cy="353221"/>
            <a:chOff x="-35123050" y="3561225"/>
            <a:chExt cx="292225" cy="291100"/>
          </a:xfrm>
        </p:grpSpPr>
        <p:sp>
          <p:nvSpPr>
            <p:cNvPr id="7329" name="Google Shape;7329;p73"/>
            <p:cNvSpPr/>
            <p:nvPr/>
          </p:nvSpPr>
          <p:spPr>
            <a:xfrm>
              <a:off x="-35123050" y="3629750"/>
              <a:ext cx="205575" cy="222575"/>
            </a:xfrm>
            <a:custGeom>
              <a:avLst/>
              <a:gdLst/>
              <a:ahLst/>
              <a:cxnLst/>
              <a:rect l="l" t="t" r="r" b="b"/>
              <a:pathLst>
                <a:path w="8223" h="8903" extrusionOk="0">
                  <a:moveTo>
                    <a:pt x="2080" y="2710"/>
                  </a:moveTo>
                  <a:cubicBezTo>
                    <a:pt x="2458" y="2710"/>
                    <a:pt x="2741" y="3056"/>
                    <a:pt x="2741" y="3403"/>
                  </a:cubicBezTo>
                  <a:cubicBezTo>
                    <a:pt x="2741" y="3781"/>
                    <a:pt x="2426" y="4065"/>
                    <a:pt x="2080" y="4065"/>
                  </a:cubicBezTo>
                  <a:cubicBezTo>
                    <a:pt x="1733" y="4065"/>
                    <a:pt x="1418" y="3750"/>
                    <a:pt x="1418" y="3403"/>
                  </a:cubicBezTo>
                  <a:cubicBezTo>
                    <a:pt x="1418" y="3056"/>
                    <a:pt x="1670" y="2710"/>
                    <a:pt x="2080" y="2710"/>
                  </a:cubicBezTo>
                  <a:close/>
                  <a:moveTo>
                    <a:pt x="4127" y="2710"/>
                  </a:moveTo>
                  <a:cubicBezTo>
                    <a:pt x="4506" y="2710"/>
                    <a:pt x="4789" y="3056"/>
                    <a:pt x="4789" y="3403"/>
                  </a:cubicBezTo>
                  <a:cubicBezTo>
                    <a:pt x="4789" y="3781"/>
                    <a:pt x="4474" y="4065"/>
                    <a:pt x="4127" y="4065"/>
                  </a:cubicBezTo>
                  <a:cubicBezTo>
                    <a:pt x="3718" y="4065"/>
                    <a:pt x="3466" y="3750"/>
                    <a:pt x="3466" y="3403"/>
                  </a:cubicBezTo>
                  <a:cubicBezTo>
                    <a:pt x="3466" y="3056"/>
                    <a:pt x="3718" y="2710"/>
                    <a:pt x="4127" y="2710"/>
                  </a:cubicBezTo>
                  <a:close/>
                  <a:moveTo>
                    <a:pt x="6207" y="2710"/>
                  </a:moveTo>
                  <a:cubicBezTo>
                    <a:pt x="6616" y="2710"/>
                    <a:pt x="6868" y="3056"/>
                    <a:pt x="6868" y="3403"/>
                  </a:cubicBezTo>
                  <a:cubicBezTo>
                    <a:pt x="6868" y="3781"/>
                    <a:pt x="6553" y="4065"/>
                    <a:pt x="6207" y="4065"/>
                  </a:cubicBezTo>
                  <a:cubicBezTo>
                    <a:pt x="5829" y="4065"/>
                    <a:pt x="5545" y="3750"/>
                    <a:pt x="5545" y="3403"/>
                  </a:cubicBezTo>
                  <a:cubicBezTo>
                    <a:pt x="5514" y="3056"/>
                    <a:pt x="5829" y="2710"/>
                    <a:pt x="6207" y="2710"/>
                  </a:cubicBezTo>
                  <a:close/>
                  <a:moveTo>
                    <a:pt x="1733" y="0"/>
                  </a:moveTo>
                  <a:cubicBezTo>
                    <a:pt x="788" y="0"/>
                    <a:pt x="0" y="757"/>
                    <a:pt x="0" y="1702"/>
                  </a:cubicBezTo>
                  <a:lnTo>
                    <a:pt x="0" y="5136"/>
                  </a:lnTo>
                  <a:cubicBezTo>
                    <a:pt x="0" y="5955"/>
                    <a:pt x="630" y="6616"/>
                    <a:pt x="1418" y="6774"/>
                  </a:cubicBezTo>
                  <a:lnTo>
                    <a:pt x="1418" y="8570"/>
                  </a:lnTo>
                  <a:cubicBezTo>
                    <a:pt x="1418" y="8696"/>
                    <a:pt x="1481" y="8822"/>
                    <a:pt x="1607" y="8885"/>
                  </a:cubicBezTo>
                  <a:cubicBezTo>
                    <a:pt x="1649" y="8895"/>
                    <a:pt x="1695" y="8902"/>
                    <a:pt x="1739" y="8902"/>
                  </a:cubicBezTo>
                  <a:cubicBezTo>
                    <a:pt x="1828" y="8902"/>
                    <a:pt x="1912" y="8874"/>
                    <a:pt x="1954" y="8790"/>
                  </a:cubicBezTo>
                  <a:lnTo>
                    <a:pt x="3938" y="6837"/>
                  </a:lnTo>
                  <a:lnTo>
                    <a:pt x="6522" y="6837"/>
                  </a:lnTo>
                  <a:cubicBezTo>
                    <a:pt x="7467" y="6837"/>
                    <a:pt x="8223" y="6081"/>
                    <a:pt x="8223" y="5136"/>
                  </a:cubicBezTo>
                  <a:lnTo>
                    <a:pt x="8223" y="1702"/>
                  </a:lnTo>
                  <a:cubicBezTo>
                    <a:pt x="8223" y="757"/>
                    <a:pt x="7467" y="0"/>
                    <a:pt x="65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73"/>
            <p:cNvSpPr/>
            <p:nvPr/>
          </p:nvSpPr>
          <p:spPr>
            <a:xfrm>
              <a:off x="-35053750" y="3561225"/>
              <a:ext cx="222925" cy="221825"/>
            </a:xfrm>
            <a:custGeom>
              <a:avLst/>
              <a:gdLst/>
              <a:ahLst/>
              <a:cxnLst/>
              <a:rect l="l" t="t" r="r" b="b"/>
              <a:pathLst>
                <a:path w="8917" h="8873" extrusionOk="0">
                  <a:moveTo>
                    <a:pt x="1702" y="1"/>
                  </a:moveTo>
                  <a:cubicBezTo>
                    <a:pt x="757" y="1"/>
                    <a:pt x="1" y="725"/>
                    <a:pt x="1" y="1702"/>
                  </a:cubicBezTo>
                  <a:lnTo>
                    <a:pt x="1" y="2048"/>
                  </a:lnTo>
                  <a:lnTo>
                    <a:pt x="3781" y="2048"/>
                  </a:lnTo>
                  <a:cubicBezTo>
                    <a:pt x="5136" y="2048"/>
                    <a:pt x="6207" y="3088"/>
                    <a:pt x="6207" y="4443"/>
                  </a:cubicBezTo>
                  <a:lnTo>
                    <a:pt x="6207" y="7877"/>
                  </a:lnTo>
                  <a:lnTo>
                    <a:pt x="6207" y="8003"/>
                  </a:lnTo>
                  <a:lnTo>
                    <a:pt x="6995" y="8790"/>
                  </a:lnTo>
                  <a:cubicBezTo>
                    <a:pt x="7055" y="8850"/>
                    <a:pt x="7127" y="8872"/>
                    <a:pt x="7205" y="8872"/>
                  </a:cubicBezTo>
                  <a:cubicBezTo>
                    <a:pt x="7249" y="8872"/>
                    <a:pt x="7295" y="8865"/>
                    <a:pt x="7341" y="8853"/>
                  </a:cubicBezTo>
                  <a:cubicBezTo>
                    <a:pt x="7467" y="8822"/>
                    <a:pt x="7530" y="8664"/>
                    <a:pt x="7530" y="8538"/>
                  </a:cubicBezTo>
                  <a:lnTo>
                    <a:pt x="7530" y="6806"/>
                  </a:lnTo>
                  <a:cubicBezTo>
                    <a:pt x="8318" y="6648"/>
                    <a:pt x="8917" y="5955"/>
                    <a:pt x="8917" y="5104"/>
                  </a:cubicBezTo>
                  <a:lnTo>
                    <a:pt x="8917" y="1702"/>
                  </a:lnTo>
                  <a:cubicBezTo>
                    <a:pt x="8917" y="725"/>
                    <a:pt x="8129" y="1"/>
                    <a:pt x="71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1" name="Google Shape;7331;p73"/>
          <p:cNvGrpSpPr/>
          <p:nvPr/>
        </p:nvGrpSpPr>
        <p:grpSpPr>
          <a:xfrm>
            <a:off x="1784677" y="2256940"/>
            <a:ext cx="270467" cy="353615"/>
            <a:chOff x="-35089175" y="3919600"/>
            <a:chExt cx="222900" cy="291425"/>
          </a:xfrm>
        </p:grpSpPr>
        <p:sp>
          <p:nvSpPr>
            <p:cNvPr id="7332" name="Google Shape;7332;p73"/>
            <p:cNvSpPr/>
            <p:nvPr/>
          </p:nvSpPr>
          <p:spPr>
            <a:xfrm>
              <a:off x="-35089175" y="3919600"/>
              <a:ext cx="222900" cy="291425"/>
            </a:xfrm>
            <a:custGeom>
              <a:avLst/>
              <a:gdLst/>
              <a:ahLst/>
              <a:cxnLst/>
              <a:rect l="l" t="t" r="r" b="b"/>
              <a:pathLst>
                <a:path w="8916" h="11657" extrusionOk="0">
                  <a:moveTo>
                    <a:pt x="4474" y="1418"/>
                  </a:moveTo>
                  <a:cubicBezTo>
                    <a:pt x="6143" y="1418"/>
                    <a:pt x="7530" y="2804"/>
                    <a:pt x="7530" y="4474"/>
                  </a:cubicBezTo>
                  <a:cubicBezTo>
                    <a:pt x="7561" y="6175"/>
                    <a:pt x="6143" y="7561"/>
                    <a:pt x="4474" y="7561"/>
                  </a:cubicBezTo>
                  <a:cubicBezTo>
                    <a:pt x="2772" y="7561"/>
                    <a:pt x="1386" y="6175"/>
                    <a:pt x="1386" y="4474"/>
                  </a:cubicBezTo>
                  <a:cubicBezTo>
                    <a:pt x="1386" y="2804"/>
                    <a:pt x="2772" y="1418"/>
                    <a:pt x="4474" y="1418"/>
                  </a:cubicBezTo>
                  <a:close/>
                  <a:moveTo>
                    <a:pt x="4474" y="0"/>
                  </a:moveTo>
                  <a:cubicBezTo>
                    <a:pt x="2016" y="0"/>
                    <a:pt x="0" y="2017"/>
                    <a:pt x="0" y="4442"/>
                  </a:cubicBezTo>
                  <a:cubicBezTo>
                    <a:pt x="0" y="5419"/>
                    <a:pt x="315" y="6333"/>
                    <a:pt x="914" y="7120"/>
                  </a:cubicBezTo>
                  <a:lnTo>
                    <a:pt x="4190" y="11531"/>
                  </a:lnTo>
                  <a:cubicBezTo>
                    <a:pt x="4253" y="11626"/>
                    <a:pt x="4348" y="11657"/>
                    <a:pt x="4474" y="11657"/>
                  </a:cubicBezTo>
                  <a:cubicBezTo>
                    <a:pt x="4568" y="11657"/>
                    <a:pt x="4663" y="11626"/>
                    <a:pt x="4726" y="11531"/>
                  </a:cubicBezTo>
                  <a:lnTo>
                    <a:pt x="8002" y="7120"/>
                  </a:lnTo>
                  <a:cubicBezTo>
                    <a:pt x="8601" y="6333"/>
                    <a:pt x="8916" y="5419"/>
                    <a:pt x="8916" y="4442"/>
                  </a:cubicBezTo>
                  <a:cubicBezTo>
                    <a:pt x="8916" y="2017"/>
                    <a:pt x="693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73"/>
            <p:cNvSpPr/>
            <p:nvPr/>
          </p:nvSpPr>
          <p:spPr>
            <a:xfrm>
              <a:off x="-35038000" y="3971575"/>
              <a:ext cx="120525" cy="120525"/>
            </a:xfrm>
            <a:custGeom>
              <a:avLst/>
              <a:gdLst/>
              <a:ahLst/>
              <a:cxnLst/>
              <a:rect l="l" t="t" r="r" b="b"/>
              <a:pathLst>
                <a:path w="4821" h="4821" extrusionOk="0">
                  <a:moveTo>
                    <a:pt x="2427" y="662"/>
                  </a:moveTo>
                  <a:cubicBezTo>
                    <a:pt x="2616" y="662"/>
                    <a:pt x="2773" y="820"/>
                    <a:pt x="2773" y="1040"/>
                  </a:cubicBezTo>
                  <a:cubicBezTo>
                    <a:pt x="2773" y="1229"/>
                    <a:pt x="2616" y="1387"/>
                    <a:pt x="2427" y="1387"/>
                  </a:cubicBezTo>
                  <a:cubicBezTo>
                    <a:pt x="2206" y="1387"/>
                    <a:pt x="2049" y="1229"/>
                    <a:pt x="2049" y="1040"/>
                  </a:cubicBezTo>
                  <a:cubicBezTo>
                    <a:pt x="2049" y="820"/>
                    <a:pt x="2206" y="662"/>
                    <a:pt x="2427" y="662"/>
                  </a:cubicBezTo>
                  <a:close/>
                  <a:moveTo>
                    <a:pt x="2427" y="2017"/>
                  </a:moveTo>
                  <a:cubicBezTo>
                    <a:pt x="2616" y="2017"/>
                    <a:pt x="2773" y="2174"/>
                    <a:pt x="2773" y="2363"/>
                  </a:cubicBezTo>
                  <a:lnTo>
                    <a:pt x="2773" y="3750"/>
                  </a:lnTo>
                  <a:cubicBezTo>
                    <a:pt x="2773" y="3939"/>
                    <a:pt x="2616" y="4096"/>
                    <a:pt x="2427" y="4096"/>
                  </a:cubicBezTo>
                  <a:cubicBezTo>
                    <a:pt x="2206" y="4096"/>
                    <a:pt x="2049" y="3939"/>
                    <a:pt x="2049" y="3750"/>
                  </a:cubicBezTo>
                  <a:lnTo>
                    <a:pt x="2049" y="2363"/>
                  </a:lnTo>
                  <a:cubicBezTo>
                    <a:pt x="2049" y="2174"/>
                    <a:pt x="2206" y="2017"/>
                    <a:pt x="2427" y="2017"/>
                  </a:cubicBezTo>
                  <a:close/>
                  <a:moveTo>
                    <a:pt x="2427" y="1"/>
                  </a:moveTo>
                  <a:cubicBezTo>
                    <a:pt x="1072" y="1"/>
                    <a:pt x="1" y="1072"/>
                    <a:pt x="1" y="2395"/>
                  </a:cubicBezTo>
                  <a:cubicBezTo>
                    <a:pt x="1" y="3750"/>
                    <a:pt x="1072" y="4821"/>
                    <a:pt x="2427" y="4821"/>
                  </a:cubicBezTo>
                  <a:cubicBezTo>
                    <a:pt x="3750" y="4821"/>
                    <a:pt x="4821" y="3750"/>
                    <a:pt x="4821" y="2395"/>
                  </a:cubicBezTo>
                  <a:cubicBezTo>
                    <a:pt x="4821" y="1072"/>
                    <a:pt x="3750"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4" name="Google Shape;7334;p73"/>
          <p:cNvGrpSpPr/>
          <p:nvPr/>
        </p:nvGrpSpPr>
        <p:grpSpPr>
          <a:xfrm>
            <a:off x="3981673" y="1380303"/>
            <a:ext cx="336445" cy="354131"/>
            <a:chOff x="-33277650" y="3226875"/>
            <a:chExt cx="277275" cy="291850"/>
          </a:xfrm>
        </p:grpSpPr>
        <p:sp>
          <p:nvSpPr>
            <p:cNvPr id="7335" name="Google Shape;7335;p73"/>
            <p:cNvSpPr/>
            <p:nvPr/>
          </p:nvSpPr>
          <p:spPr>
            <a:xfrm>
              <a:off x="-33071300" y="3440725"/>
              <a:ext cx="33100" cy="33900"/>
            </a:xfrm>
            <a:custGeom>
              <a:avLst/>
              <a:gdLst/>
              <a:ahLst/>
              <a:cxnLst/>
              <a:rect l="l" t="t" r="r" b="b"/>
              <a:pathLst>
                <a:path w="1324" h="1356" extrusionOk="0">
                  <a:moveTo>
                    <a:pt x="662" y="0"/>
                  </a:moveTo>
                  <a:cubicBezTo>
                    <a:pt x="284" y="0"/>
                    <a:pt x="1" y="315"/>
                    <a:pt x="1" y="693"/>
                  </a:cubicBezTo>
                  <a:cubicBezTo>
                    <a:pt x="1" y="1040"/>
                    <a:pt x="284" y="1355"/>
                    <a:pt x="662" y="1355"/>
                  </a:cubicBezTo>
                  <a:cubicBezTo>
                    <a:pt x="1040" y="1355"/>
                    <a:pt x="1324" y="1040"/>
                    <a:pt x="1324" y="693"/>
                  </a:cubicBezTo>
                  <a:cubicBezTo>
                    <a:pt x="1324"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73"/>
            <p:cNvSpPr/>
            <p:nvPr/>
          </p:nvSpPr>
          <p:spPr>
            <a:xfrm>
              <a:off x="-33157925" y="3227275"/>
              <a:ext cx="17350" cy="103200"/>
            </a:xfrm>
            <a:custGeom>
              <a:avLst/>
              <a:gdLst/>
              <a:ahLst/>
              <a:cxnLst/>
              <a:rect l="l" t="t" r="r" b="b"/>
              <a:pathLst>
                <a:path w="694" h="4128" extrusionOk="0">
                  <a:moveTo>
                    <a:pt x="347" y="1"/>
                  </a:moveTo>
                  <a:cubicBezTo>
                    <a:pt x="158" y="1"/>
                    <a:pt x="0" y="158"/>
                    <a:pt x="0" y="347"/>
                  </a:cubicBezTo>
                  <a:lnTo>
                    <a:pt x="0" y="4128"/>
                  </a:lnTo>
                  <a:cubicBezTo>
                    <a:pt x="95" y="4096"/>
                    <a:pt x="221" y="4096"/>
                    <a:pt x="347" y="4096"/>
                  </a:cubicBezTo>
                  <a:cubicBezTo>
                    <a:pt x="473" y="4096"/>
                    <a:pt x="567" y="4096"/>
                    <a:pt x="693" y="412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73"/>
            <p:cNvSpPr/>
            <p:nvPr/>
          </p:nvSpPr>
          <p:spPr>
            <a:xfrm>
              <a:off x="-33175250" y="3347650"/>
              <a:ext cx="51200" cy="51350"/>
            </a:xfrm>
            <a:custGeom>
              <a:avLst/>
              <a:gdLst/>
              <a:ahLst/>
              <a:cxnLst/>
              <a:rect l="l" t="t" r="r" b="b"/>
              <a:pathLst>
                <a:path w="2048" h="2054" extrusionOk="0">
                  <a:moveTo>
                    <a:pt x="938" y="0"/>
                  </a:moveTo>
                  <a:cubicBezTo>
                    <a:pt x="417" y="0"/>
                    <a:pt x="0" y="451"/>
                    <a:pt x="0" y="1014"/>
                  </a:cubicBezTo>
                  <a:cubicBezTo>
                    <a:pt x="0" y="1549"/>
                    <a:pt x="473" y="2054"/>
                    <a:pt x="1040" y="2054"/>
                  </a:cubicBezTo>
                  <a:cubicBezTo>
                    <a:pt x="1575" y="2054"/>
                    <a:pt x="2048" y="1581"/>
                    <a:pt x="2048" y="1014"/>
                  </a:cubicBezTo>
                  <a:cubicBezTo>
                    <a:pt x="2048" y="447"/>
                    <a:pt x="1575" y="6"/>
                    <a:pt x="1040" y="6"/>
                  </a:cubicBezTo>
                  <a:cubicBezTo>
                    <a:pt x="1006" y="2"/>
                    <a:pt x="972" y="0"/>
                    <a:pt x="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3"/>
            <p:cNvSpPr/>
            <p:nvPr/>
          </p:nvSpPr>
          <p:spPr>
            <a:xfrm>
              <a:off x="-33224875" y="3404500"/>
              <a:ext cx="159900" cy="114225"/>
            </a:xfrm>
            <a:custGeom>
              <a:avLst/>
              <a:gdLst/>
              <a:ahLst/>
              <a:cxnLst/>
              <a:rect l="l" t="t" r="r" b="b"/>
              <a:pathLst>
                <a:path w="6396" h="4569" extrusionOk="0">
                  <a:moveTo>
                    <a:pt x="1954" y="0"/>
                  </a:moveTo>
                  <a:lnTo>
                    <a:pt x="0" y="2520"/>
                  </a:lnTo>
                  <a:lnTo>
                    <a:pt x="0" y="4222"/>
                  </a:lnTo>
                  <a:cubicBezTo>
                    <a:pt x="0" y="4411"/>
                    <a:pt x="158" y="4568"/>
                    <a:pt x="347" y="4568"/>
                  </a:cubicBezTo>
                  <a:lnTo>
                    <a:pt x="3781" y="4568"/>
                  </a:lnTo>
                  <a:cubicBezTo>
                    <a:pt x="3970" y="4568"/>
                    <a:pt x="4127" y="4411"/>
                    <a:pt x="4127" y="4222"/>
                  </a:cubicBezTo>
                  <a:lnTo>
                    <a:pt x="4127" y="3875"/>
                  </a:lnTo>
                  <a:lnTo>
                    <a:pt x="5136" y="3875"/>
                  </a:lnTo>
                  <a:cubicBezTo>
                    <a:pt x="5577" y="3844"/>
                    <a:pt x="6018" y="3718"/>
                    <a:pt x="6396" y="3434"/>
                  </a:cubicBezTo>
                  <a:cubicBezTo>
                    <a:pt x="5986" y="3277"/>
                    <a:pt x="5608" y="2930"/>
                    <a:pt x="5514" y="2489"/>
                  </a:cubicBezTo>
                  <a:lnTo>
                    <a:pt x="4442" y="2489"/>
                  </a:lnTo>
                  <a:cubicBezTo>
                    <a:pt x="3497" y="2489"/>
                    <a:pt x="2741" y="1733"/>
                    <a:pt x="2741" y="788"/>
                  </a:cubicBezTo>
                  <a:lnTo>
                    <a:pt x="2741" y="410"/>
                  </a:lnTo>
                  <a:cubicBezTo>
                    <a:pt x="2426" y="315"/>
                    <a:pt x="2206" y="189"/>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73"/>
            <p:cNvSpPr/>
            <p:nvPr/>
          </p:nvSpPr>
          <p:spPr>
            <a:xfrm>
              <a:off x="-33141400" y="3312350"/>
              <a:ext cx="127625" cy="138625"/>
            </a:xfrm>
            <a:custGeom>
              <a:avLst/>
              <a:gdLst/>
              <a:ahLst/>
              <a:cxnLst/>
              <a:rect l="l" t="t" r="r" b="b"/>
              <a:pathLst>
                <a:path w="5105" h="5545" extrusionOk="0">
                  <a:moveTo>
                    <a:pt x="4128" y="0"/>
                  </a:moveTo>
                  <a:lnTo>
                    <a:pt x="694" y="662"/>
                  </a:lnTo>
                  <a:lnTo>
                    <a:pt x="694" y="1040"/>
                  </a:lnTo>
                  <a:cubicBezTo>
                    <a:pt x="1103" y="1355"/>
                    <a:pt x="1387" y="1827"/>
                    <a:pt x="1387" y="2426"/>
                  </a:cubicBezTo>
                  <a:cubicBezTo>
                    <a:pt x="1387" y="3245"/>
                    <a:pt x="788" y="3938"/>
                    <a:pt x="1" y="4127"/>
                  </a:cubicBezTo>
                  <a:lnTo>
                    <a:pt x="1" y="4505"/>
                  </a:lnTo>
                  <a:cubicBezTo>
                    <a:pt x="1" y="5072"/>
                    <a:pt x="473" y="5545"/>
                    <a:pt x="1009" y="5545"/>
                  </a:cubicBezTo>
                  <a:lnTo>
                    <a:pt x="2080" y="5545"/>
                  </a:lnTo>
                  <a:cubicBezTo>
                    <a:pt x="2238" y="4946"/>
                    <a:pt x="2742" y="4505"/>
                    <a:pt x="3372" y="4505"/>
                  </a:cubicBezTo>
                  <a:cubicBezTo>
                    <a:pt x="3624" y="4505"/>
                    <a:pt x="3844" y="4600"/>
                    <a:pt x="4065" y="4726"/>
                  </a:cubicBezTo>
                  <a:lnTo>
                    <a:pt x="4065" y="4127"/>
                  </a:lnTo>
                  <a:lnTo>
                    <a:pt x="4128" y="4127"/>
                  </a:lnTo>
                  <a:cubicBezTo>
                    <a:pt x="4443" y="4064"/>
                    <a:pt x="4758" y="3938"/>
                    <a:pt x="4916" y="3655"/>
                  </a:cubicBezTo>
                  <a:cubicBezTo>
                    <a:pt x="5105" y="3340"/>
                    <a:pt x="5105" y="2993"/>
                    <a:pt x="4947" y="2678"/>
                  </a:cubicBezTo>
                  <a:lnTo>
                    <a:pt x="4128" y="1008"/>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73"/>
            <p:cNvSpPr/>
            <p:nvPr/>
          </p:nvSpPr>
          <p:spPr>
            <a:xfrm>
              <a:off x="-33122500" y="3226875"/>
              <a:ext cx="122125" cy="83925"/>
            </a:xfrm>
            <a:custGeom>
              <a:avLst/>
              <a:gdLst/>
              <a:ahLst/>
              <a:cxnLst/>
              <a:rect l="l" t="t" r="r" b="b"/>
              <a:pathLst>
                <a:path w="4885" h="3357" extrusionOk="0">
                  <a:moveTo>
                    <a:pt x="3376" y="1"/>
                  </a:moveTo>
                  <a:cubicBezTo>
                    <a:pt x="3025" y="1"/>
                    <a:pt x="2679" y="143"/>
                    <a:pt x="2427" y="426"/>
                  </a:cubicBezTo>
                  <a:lnTo>
                    <a:pt x="2143" y="678"/>
                  </a:lnTo>
                  <a:lnTo>
                    <a:pt x="1" y="678"/>
                  </a:lnTo>
                  <a:lnTo>
                    <a:pt x="1" y="3356"/>
                  </a:lnTo>
                  <a:lnTo>
                    <a:pt x="4191" y="2537"/>
                  </a:lnTo>
                  <a:lnTo>
                    <a:pt x="4349" y="2379"/>
                  </a:lnTo>
                  <a:cubicBezTo>
                    <a:pt x="4884" y="1844"/>
                    <a:pt x="4884" y="962"/>
                    <a:pt x="4349" y="426"/>
                  </a:cubicBezTo>
                  <a:cubicBezTo>
                    <a:pt x="4081" y="143"/>
                    <a:pt x="3726" y="1"/>
                    <a:pt x="33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3"/>
            <p:cNvSpPr/>
            <p:nvPr/>
          </p:nvSpPr>
          <p:spPr>
            <a:xfrm>
              <a:off x="-33277650" y="3245400"/>
              <a:ext cx="102400" cy="198500"/>
            </a:xfrm>
            <a:custGeom>
              <a:avLst/>
              <a:gdLst/>
              <a:ahLst/>
              <a:cxnLst/>
              <a:rect l="l" t="t" r="r" b="b"/>
              <a:pathLst>
                <a:path w="4096" h="7940" extrusionOk="0">
                  <a:moveTo>
                    <a:pt x="4096" y="0"/>
                  </a:moveTo>
                  <a:cubicBezTo>
                    <a:pt x="1828" y="95"/>
                    <a:pt x="0" y="1985"/>
                    <a:pt x="0" y="4316"/>
                  </a:cubicBezTo>
                  <a:cubicBezTo>
                    <a:pt x="0" y="5766"/>
                    <a:pt x="757" y="7120"/>
                    <a:pt x="1954" y="7939"/>
                  </a:cubicBezTo>
                  <a:lnTo>
                    <a:pt x="3592" y="5829"/>
                  </a:lnTo>
                  <a:cubicBezTo>
                    <a:pt x="3466" y="5576"/>
                    <a:pt x="3434" y="5356"/>
                    <a:pt x="3434" y="5104"/>
                  </a:cubicBezTo>
                  <a:cubicBezTo>
                    <a:pt x="3434" y="4568"/>
                    <a:pt x="3718" y="4033"/>
                    <a:pt x="4096" y="3718"/>
                  </a:cubicBez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2" name="Google Shape;7342;p73"/>
          <p:cNvGrpSpPr/>
          <p:nvPr/>
        </p:nvGrpSpPr>
        <p:grpSpPr>
          <a:xfrm>
            <a:off x="3973073" y="1821587"/>
            <a:ext cx="353645" cy="353645"/>
            <a:chOff x="-33286325" y="3586425"/>
            <a:chExt cx="291450" cy="291450"/>
          </a:xfrm>
        </p:grpSpPr>
        <p:sp>
          <p:nvSpPr>
            <p:cNvPr id="7343" name="Google Shape;7343;p73"/>
            <p:cNvSpPr/>
            <p:nvPr/>
          </p:nvSpPr>
          <p:spPr>
            <a:xfrm>
              <a:off x="-33114625" y="3586425"/>
              <a:ext cx="119750" cy="120525"/>
            </a:xfrm>
            <a:custGeom>
              <a:avLst/>
              <a:gdLst/>
              <a:ahLst/>
              <a:cxnLst/>
              <a:rect l="l" t="t" r="r" b="b"/>
              <a:pathLst>
                <a:path w="4790" h="4821" extrusionOk="0">
                  <a:moveTo>
                    <a:pt x="2395" y="631"/>
                  </a:moveTo>
                  <a:cubicBezTo>
                    <a:pt x="2584" y="631"/>
                    <a:pt x="2742" y="788"/>
                    <a:pt x="2742" y="1009"/>
                  </a:cubicBezTo>
                  <a:lnTo>
                    <a:pt x="2742" y="2017"/>
                  </a:lnTo>
                  <a:lnTo>
                    <a:pt x="3782" y="2017"/>
                  </a:lnTo>
                  <a:cubicBezTo>
                    <a:pt x="3971" y="2017"/>
                    <a:pt x="4128" y="2175"/>
                    <a:pt x="4128" y="2364"/>
                  </a:cubicBezTo>
                  <a:cubicBezTo>
                    <a:pt x="4128" y="2584"/>
                    <a:pt x="3971" y="2742"/>
                    <a:pt x="3782" y="2742"/>
                  </a:cubicBezTo>
                  <a:lnTo>
                    <a:pt x="2395" y="2742"/>
                  </a:lnTo>
                  <a:cubicBezTo>
                    <a:pt x="2206" y="2742"/>
                    <a:pt x="2049" y="2584"/>
                    <a:pt x="2049" y="2364"/>
                  </a:cubicBezTo>
                  <a:lnTo>
                    <a:pt x="2049" y="1009"/>
                  </a:lnTo>
                  <a:cubicBezTo>
                    <a:pt x="2049" y="788"/>
                    <a:pt x="2206" y="631"/>
                    <a:pt x="2395" y="631"/>
                  </a:cubicBezTo>
                  <a:close/>
                  <a:moveTo>
                    <a:pt x="2395" y="1"/>
                  </a:moveTo>
                  <a:cubicBezTo>
                    <a:pt x="1041" y="1"/>
                    <a:pt x="1" y="1072"/>
                    <a:pt x="1" y="2427"/>
                  </a:cubicBezTo>
                  <a:cubicBezTo>
                    <a:pt x="1" y="3750"/>
                    <a:pt x="1041" y="4821"/>
                    <a:pt x="2395" y="4821"/>
                  </a:cubicBezTo>
                  <a:cubicBezTo>
                    <a:pt x="3719" y="4821"/>
                    <a:pt x="4790" y="3750"/>
                    <a:pt x="4790" y="2427"/>
                  </a:cubicBezTo>
                  <a:cubicBezTo>
                    <a:pt x="4790" y="1072"/>
                    <a:pt x="3719"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3"/>
            <p:cNvSpPr/>
            <p:nvPr/>
          </p:nvSpPr>
          <p:spPr>
            <a:xfrm>
              <a:off x="-33286325" y="3825875"/>
              <a:ext cx="241050" cy="52000"/>
            </a:xfrm>
            <a:custGeom>
              <a:avLst/>
              <a:gdLst/>
              <a:ahLst/>
              <a:cxnLst/>
              <a:rect l="l" t="t" r="r" b="b"/>
              <a:pathLst>
                <a:path w="9642" h="2080" extrusionOk="0">
                  <a:moveTo>
                    <a:pt x="32" y="0"/>
                  </a:moveTo>
                  <a:lnTo>
                    <a:pt x="32" y="1764"/>
                  </a:lnTo>
                  <a:cubicBezTo>
                    <a:pt x="1" y="1922"/>
                    <a:pt x="158" y="2079"/>
                    <a:pt x="347" y="2079"/>
                  </a:cubicBezTo>
                  <a:lnTo>
                    <a:pt x="9295" y="2079"/>
                  </a:lnTo>
                  <a:cubicBezTo>
                    <a:pt x="9484" y="2079"/>
                    <a:pt x="9641" y="1922"/>
                    <a:pt x="9641" y="1733"/>
                  </a:cubicBezTo>
                  <a:lnTo>
                    <a:pt x="9641" y="1040"/>
                  </a:lnTo>
                  <a:cubicBezTo>
                    <a:pt x="9641" y="473"/>
                    <a:pt x="9169" y="0"/>
                    <a:pt x="86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73"/>
            <p:cNvSpPr/>
            <p:nvPr/>
          </p:nvSpPr>
          <p:spPr>
            <a:xfrm>
              <a:off x="-33183925" y="3756550"/>
              <a:ext cx="103200" cy="52025"/>
            </a:xfrm>
            <a:custGeom>
              <a:avLst/>
              <a:gdLst/>
              <a:ahLst/>
              <a:cxnLst/>
              <a:rect l="l" t="t" r="r" b="b"/>
              <a:pathLst>
                <a:path w="4128" h="2081" extrusionOk="0">
                  <a:moveTo>
                    <a:pt x="1040" y="1"/>
                  </a:moveTo>
                  <a:cubicBezTo>
                    <a:pt x="473" y="1"/>
                    <a:pt x="1" y="505"/>
                    <a:pt x="1" y="1040"/>
                  </a:cubicBezTo>
                  <a:lnTo>
                    <a:pt x="1" y="2080"/>
                  </a:lnTo>
                  <a:lnTo>
                    <a:pt x="4128" y="2080"/>
                  </a:lnTo>
                  <a:lnTo>
                    <a:pt x="4128" y="1040"/>
                  </a:lnTo>
                  <a:cubicBezTo>
                    <a:pt x="4128" y="505"/>
                    <a:pt x="3687"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73"/>
            <p:cNvSpPr/>
            <p:nvPr/>
          </p:nvSpPr>
          <p:spPr>
            <a:xfrm>
              <a:off x="-33252450" y="3636850"/>
              <a:ext cx="68550" cy="69325"/>
            </a:xfrm>
            <a:custGeom>
              <a:avLst/>
              <a:gdLst/>
              <a:ahLst/>
              <a:cxnLst/>
              <a:rect l="l" t="t" r="r" b="b"/>
              <a:pathLst>
                <a:path w="2742" h="2773" extrusionOk="0">
                  <a:moveTo>
                    <a:pt x="1387" y="0"/>
                  </a:moveTo>
                  <a:cubicBezTo>
                    <a:pt x="599" y="0"/>
                    <a:pt x="1" y="630"/>
                    <a:pt x="1" y="1386"/>
                  </a:cubicBezTo>
                  <a:cubicBezTo>
                    <a:pt x="1" y="2142"/>
                    <a:pt x="599" y="2772"/>
                    <a:pt x="1387" y="2772"/>
                  </a:cubicBezTo>
                  <a:cubicBezTo>
                    <a:pt x="2143" y="2772"/>
                    <a:pt x="2742" y="2142"/>
                    <a:pt x="2742" y="1386"/>
                  </a:cubicBezTo>
                  <a:cubicBezTo>
                    <a:pt x="2742"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3"/>
            <p:cNvSpPr/>
            <p:nvPr/>
          </p:nvSpPr>
          <p:spPr>
            <a:xfrm>
              <a:off x="-33286325" y="3723050"/>
              <a:ext cx="116600" cy="85525"/>
            </a:xfrm>
            <a:custGeom>
              <a:avLst/>
              <a:gdLst/>
              <a:ahLst/>
              <a:cxnLst/>
              <a:rect l="l" t="t" r="r" b="b"/>
              <a:pathLst>
                <a:path w="4664" h="3421" extrusionOk="0">
                  <a:moveTo>
                    <a:pt x="2788" y="1"/>
                  </a:moveTo>
                  <a:cubicBezTo>
                    <a:pt x="2690" y="1"/>
                    <a:pt x="2591" y="6"/>
                    <a:pt x="2490" y="18"/>
                  </a:cubicBezTo>
                  <a:cubicBezTo>
                    <a:pt x="1072" y="144"/>
                    <a:pt x="1" y="1435"/>
                    <a:pt x="1" y="2853"/>
                  </a:cubicBezTo>
                  <a:lnTo>
                    <a:pt x="1" y="3105"/>
                  </a:lnTo>
                  <a:cubicBezTo>
                    <a:pt x="1" y="3263"/>
                    <a:pt x="158" y="3420"/>
                    <a:pt x="347" y="3420"/>
                  </a:cubicBezTo>
                  <a:lnTo>
                    <a:pt x="3435" y="3420"/>
                  </a:lnTo>
                  <a:lnTo>
                    <a:pt x="3435" y="2380"/>
                  </a:lnTo>
                  <a:cubicBezTo>
                    <a:pt x="3435" y="1624"/>
                    <a:pt x="3939" y="963"/>
                    <a:pt x="4664" y="774"/>
                  </a:cubicBezTo>
                  <a:cubicBezTo>
                    <a:pt x="4164" y="302"/>
                    <a:pt x="3517" y="1"/>
                    <a:pt x="2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8" name="Google Shape;7348;p73"/>
          <p:cNvGrpSpPr/>
          <p:nvPr/>
        </p:nvGrpSpPr>
        <p:grpSpPr>
          <a:xfrm>
            <a:off x="3973073" y="2255969"/>
            <a:ext cx="353645" cy="355557"/>
            <a:chOff x="-33286325" y="3944800"/>
            <a:chExt cx="291450" cy="293025"/>
          </a:xfrm>
        </p:grpSpPr>
        <p:sp>
          <p:nvSpPr>
            <p:cNvPr id="7349" name="Google Shape;7349;p73"/>
            <p:cNvSpPr/>
            <p:nvPr/>
          </p:nvSpPr>
          <p:spPr>
            <a:xfrm>
              <a:off x="-33194950" y="3996000"/>
              <a:ext cx="200075" cy="241825"/>
            </a:xfrm>
            <a:custGeom>
              <a:avLst/>
              <a:gdLst/>
              <a:ahLst/>
              <a:cxnLst/>
              <a:rect l="l" t="t" r="r" b="b"/>
              <a:pathLst>
                <a:path w="8003" h="9673" extrusionOk="0">
                  <a:moveTo>
                    <a:pt x="2300" y="0"/>
                  </a:moveTo>
                  <a:cubicBezTo>
                    <a:pt x="2017" y="0"/>
                    <a:pt x="1796" y="252"/>
                    <a:pt x="1796" y="536"/>
                  </a:cubicBezTo>
                  <a:lnTo>
                    <a:pt x="1796" y="2962"/>
                  </a:lnTo>
                  <a:lnTo>
                    <a:pt x="694" y="4064"/>
                  </a:lnTo>
                  <a:cubicBezTo>
                    <a:pt x="95" y="4663"/>
                    <a:pt x="0" y="5640"/>
                    <a:pt x="536" y="6301"/>
                  </a:cubicBezTo>
                  <a:lnTo>
                    <a:pt x="1576" y="7719"/>
                  </a:lnTo>
                  <a:cubicBezTo>
                    <a:pt x="1702" y="7876"/>
                    <a:pt x="1796" y="8128"/>
                    <a:pt x="1796" y="8349"/>
                  </a:cubicBezTo>
                  <a:lnTo>
                    <a:pt x="1796" y="9294"/>
                  </a:lnTo>
                  <a:cubicBezTo>
                    <a:pt x="1796" y="9515"/>
                    <a:pt x="1954" y="9672"/>
                    <a:pt x="2143" y="9672"/>
                  </a:cubicBezTo>
                  <a:lnTo>
                    <a:pt x="6932" y="9672"/>
                  </a:lnTo>
                  <a:cubicBezTo>
                    <a:pt x="7152" y="9672"/>
                    <a:pt x="7310" y="9515"/>
                    <a:pt x="7310" y="9294"/>
                  </a:cubicBezTo>
                  <a:lnTo>
                    <a:pt x="7310" y="8349"/>
                  </a:lnTo>
                  <a:cubicBezTo>
                    <a:pt x="7310" y="8128"/>
                    <a:pt x="7373" y="7939"/>
                    <a:pt x="7530" y="7782"/>
                  </a:cubicBezTo>
                  <a:cubicBezTo>
                    <a:pt x="7814" y="7498"/>
                    <a:pt x="7971" y="7089"/>
                    <a:pt x="7971" y="6711"/>
                  </a:cubicBezTo>
                  <a:lnTo>
                    <a:pt x="7971" y="3938"/>
                  </a:lnTo>
                  <a:cubicBezTo>
                    <a:pt x="8003" y="3686"/>
                    <a:pt x="7782" y="3434"/>
                    <a:pt x="7499" y="3434"/>
                  </a:cubicBezTo>
                  <a:cubicBezTo>
                    <a:pt x="7215" y="3434"/>
                    <a:pt x="6995" y="3686"/>
                    <a:pt x="6995" y="3938"/>
                  </a:cubicBezTo>
                  <a:lnTo>
                    <a:pt x="6995" y="4474"/>
                  </a:lnTo>
                  <a:cubicBezTo>
                    <a:pt x="6995" y="4663"/>
                    <a:pt x="6837" y="4820"/>
                    <a:pt x="6617" y="4820"/>
                  </a:cubicBezTo>
                  <a:cubicBezTo>
                    <a:pt x="6427" y="4820"/>
                    <a:pt x="6270" y="4663"/>
                    <a:pt x="6270" y="4474"/>
                  </a:cubicBezTo>
                  <a:lnTo>
                    <a:pt x="6270" y="3277"/>
                  </a:lnTo>
                  <a:cubicBezTo>
                    <a:pt x="6270" y="2993"/>
                    <a:pt x="6049" y="2773"/>
                    <a:pt x="5766" y="2773"/>
                  </a:cubicBezTo>
                  <a:cubicBezTo>
                    <a:pt x="5482" y="2773"/>
                    <a:pt x="5262" y="2993"/>
                    <a:pt x="5262" y="3277"/>
                  </a:cubicBezTo>
                  <a:lnTo>
                    <a:pt x="5262" y="4474"/>
                  </a:lnTo>
                  <a:cubicBezTo>
                    <a:pt x="5262" y="4663"/>
                    <a:pt x="5104" y="4820"/>
                    <a:pt x="4884" y="4820"/>
                  </a:cubicBezTo>
                  <a:cubicBezTo>
                    <a:pt x="4695" y="4820"/>
                    <a:pt x="4537" y="4663"/>
                    <a:pt x="4537" y="4474"/>
                  </a:cubicBezTo>
                  <a:lnTo>
                    <a:pt x="4537" y="1890"/>
                  </a:lnTo>
                  <a:cubicBezTo>
                    <a:pt x="4537" y="1638"/>
                    <a:pt x="4317" y="1386"/>
                    <a:pt x="4033" y="1386"/>
                  </a:cubicBezTo>
                  <a:cubicBezTo>
                    <a:pt x="3750" y="1386"/>
                    <a:pt x="3529" y="1638"/>
                    <a:pt x="3529" y="1890"/>
                  </a:cubicBezTo>
                  <a:lnTo>
                    <a:pt x="3529" y="4474"/>
                  </a:lnTo>
                  <a:cubicBezTo>
                    <a:pt x="3529" y="4663"/>
                    <a:pt x="3371" y="4820"/>
                    <a:pt x="3151" y="4820"/>
                  </a:cubicBezTo>
                  <a:cubicBezTo>
                    <a:pt x="2962" y="4820"/>
                    <a:pt x="2804" y="4663"/>
                    <a:pt x="2804" y="4474"/>
                  </a:cubicBezTo>
                  <a:lnTo>
                    <a:pt x="2804" y="4159"/>
                  </a:lnTo>
                  <a:lnTo>
                    <a:pt x="2804" y="536"/>
                  </a:lnTo>
                  <a:cubicBezTo>
                    <a:pt x="2804" y="252"/>
                    <a:pt x="2584"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3"/>
            <p:cNvSpPr/>
            <p:nvPr/>
          </p:nvSpPr>
          <p:spPr>
            <a:xfrm>
              <a:off x="-33027975" y="3962900"/>
              <a:ext cx="33100" cy="105575"/>
            </a:xfrm>
            <a:custGeom>
              <a:avLst/>
              <a:gdLst/>
              <a:ahLst/>
              <a:cxnLst/>
              <a:rect l="l" t="t" r="r" b="b"/>
              <a:pathLst>
                <a:path w="1324" h="4223" extrusionOk="0">
                  <a:moveTo>
                    <a:pt x="1" y="1"/>
                  </a:moveTo>
                  <a:lnTo>
                    <a:pt x="1" y="3782"/>
                  </a:lnTo>
                  <a:cubicBezTo>
                    <a:pt x="95" y="3908"/>
                    <a:pt x="221" y="4065"/>
                    <a:pt x="253" y="4223"/>
                  </a:cubicBezTo>
                  <a:cubicBezTo>
                    <a:pt x="410" y="4128"/>
                    <a:pt x="631" y="4065"/>
                    <a:pt x="820" y="4065"/>
                  </a:cubicBezTo>
                  <a:cubicBezTo>
                    <a:pt x="1009" y="4065"/>
                    <a:pt x="1166" y="4097"/>
                    <a:pt x="1324" y="4160"/>
                  </a:cubicBezTo>
                  <a:lnTo>
                    <a:pt x="1324" y="285"/>
                  </a:lnTo>
                  <a:cubicBezTo>
                    <a:pt x="1324" y="127"/>
                    <a:pt x="116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73"/>
            <p:cNvSpPr/>
            <p:nvPr/>
          </p:nvSpPr>
          <p:spPr>
            <a:xfrm>
              <a:off x="-33286325" y="3962125"/>
              <a:ext cx="96125" cy="205600"/>
            </a:xfrm>
            <a:custGeom>
              <a:avLst/>
              <a:gdLst/>
              <a:ahLst/>
              <a:cxnLst/>
              <a:rect l="l" t="t" r="r" b="b"/>
              <a:pathLst>
                <a:path w="3845" h="8224" extrusionOk="0">
                  <a:moveTo>
                    <a:pt x="379" y="0"/>
                  </a:moveTo>
                  <a:cubicBezTo>
                    <a:pt x="158" y="0"/>
                    <a:pt x="1" y="127"/>
                    <a:pt x="1" y="347"/>
                  </a:cubicBezTo>
                  <a:lnTo>
                    <a:pt x="1" y="7877"/>
                  </a:lnTo>
                  <a:cubicBezTo>
                    <a:pt x="1" y="8066"/>
                    <a:pt x="158" y="8223"/>
                    <a:pt x="347" y="8223"/>
                  </a:cubicBezTo>
                  <a:lnTo>
                    <a:pt x="3844" y="8223"/>
                  </a:lnTo>
                  <a:lnTo>
                    <a:pt x="3718" y="8066"/>
                  </a:lnTo>
                  <a:cubicBezTo>
                    <a:pt x="3435" y="7719"/>
                    <a:pt x="3277" y="7278"/>
                    <a:pt x="3246" y="6837"/>
                  </a:cubicBezTo>
                  <a:lnTo>
                    <a:pt x="2458" y="6837"/>
                  </a:lnTo>
                  <a:cubicBezTo>
                    <a:pt x="1891" y="6837"/>
                    <a:pt x="1419" y="6364"/>
                    <a:pt x="1419" y="5829"/>
                  </a:cubicBezTo>
                  <a:lnTo>
                    <a:pt x="1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73"/>
            <p:cNvSpPr/>
            <p:nvPr/>
          </p:nvSpPr>
          <p:spPr>
            <a:xfrm>
              <a:off x="-33235125" y="3944800"/>
              <a:ext cx="189050" cy="171725"/>
            </a:xfrm>
            <a:custGeom>
              <a:avLst/>
              <a:gdLst/>
              <a:ahLst/>
              <a:cxnLst/>
              <a:rect l="l" t="t" r="r" b="b"/>
              <a:pathLst>
                <a:path w="7562" h="6869" extrusionOk="0">
                  <a:moveTo>
                    <a:pt x="379" y="0"/>
                  </a:moveTo>
                  <a:cubicBezTo>
                    <a:pt x="158" y="0"/>
                    <a:pt x="1" y="158"/>
                    <a:pt x="1" y="347"/>
                  </a:cubicBezTo>
                  <a:lnTo>
                    <a:pt x="1" y="6522"/>
                  </a:lnTo>
                  <a:cubicBezTo>
                    <a:pt x="1" y="6711"/>
                    <a:pt x="158" y="6868"/>
                    <a:pt x="379" y="6868"/>
                  </a:cubicBezTo>
                  <a:lnTo>
                    <a:pt x="1198" y="6868"/>
                  </a:lnTo>
                  <a:cubicBezTo>
                    <a:pt x="1261" y="6427"/>
                    <a:pt x="1513" y="5986"/>
                    <a:pt x="1828" y="5640"/>
                  </a:cubicBezTo>
                  <a:lnTo>
                    <a:pt x="2742" y="4726"/>
                  </a:lnTo>
                  <a:lnTo>
                    <a:pt x="2742" y="2584"/>
                  </a:lnTo>
                  <a:cubicBezTo>
                    <a:pt x="2742" y="1891"/>
                    <a:pt x="3277" y="1387"/>
                    <a:pt x="3907" y="1387"/>
                  </a:cubicBezTo>
                  <a:cubicBezTo>
                    <a:pt x="4537" y="1387"/>
                    <a:pt x="5105" y="1922"/>
                    <a:pt x="5105" y="2584"/>
                  </a:cubicBezTo>
                  <a:lnTo>
                    <a:pt x="5105" y="2836"/>
                  </a:lnTo>
                  <a:cubicBezTo>
                    <a:pt x="5262" y="2773"/>
                    <a:pt x="5420" y="2710"/>
                    <a:pt x="5609" y="2710"/>
                  </a:cubicBezTo>
                  <a:cubicBezTo>
                    <a:pt x="6270" y="2710"/>
                    <a:pt x="6774" y="3277"/>
                    <a:pt x="6774" y="3907"/>
                  </a:cubicBezTo>
                  <a:lnTo>
                    <a:pt x="6774" y="4191"/>
                  </a:lnTo>
                  <a:cubicBezTo>
                    <a:pt x="7058" y="4159"/>
                    <a:pt x="7215" y="4096"/>
                    <a:pt x="7404" y="4096"/>
                  </a:cubicBezTo>
                  <a:cubicBezTo>
                    <a:pt x="7499" y="4096"/>
                    <a:pt x="7530" y="4096"/>
                    <a:pt x="7562" y="4159"/>
                  </a:cubicBezTo>
                  <a:lnTo>
                    <a:pt x="7562" y="347"/>
                  </a:lnTo>
                  <a:cubicBezTo>
                    <a:pt x="7562" y="158"/>
                    <a:pt x="7404" y="0"/>
                    <a:pt x="7215" y="0"/>
                  </a:cubicBezTo>
                  <a:lnTo>
                    <a:pt x="5168" y="0"/>
                  </a:lnTo>
                  <a:cubicBezTo>
                    <a:pt x="4600" y="0"/>
                    <a:pt x="4096" y="284"/>
                    <a:pt x="3781" y="725"/>
                  </a:cubicBezTo>
                  <a:cubicBezTo>
                    <a:pt x="3466" y="284"/>
                    <a:pt x="2994"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3" name="Google Shape;7353;p73"/>
          <p:cNvGrpSpPr/>
          <p:nvPr/>
        </p:nvGrpSpPr>
        <p:grpSpPr>
          <a:xfrm>
            <a:off x="2631470" y="2729129"/>
            <a:ext cx="353645" cy="356527"/>
            <a:chOff x="-31452725" y="3191825"/>
            <a:chExt cx="291450" cy="293825"/>
          </a:xfrm>
        </p:grpSpPr>
        <p:sp>
          <p:nvSpPr>
            <p:cNvPr id="7354" name="Google Shape;7354;p73"/>
            <p:cNvSpPr/>
            <p:nvPr/>
          </p:nvSpPr>
          <p:spPr>
            <a:xfrm>
              <a:off x="-31314900" y="3278475"/>
              <a:ext cx="103200" cy="18125"/>
            </a:xfrm>
            <a:custGeom>
              <a:avLst/>
              <a:gdLst/>
              <a:ahLst/>
              <a:cxnLst/>
              <a:rect l="l" t="t" r="r" b="b"/>
              <a:pathLst>
                <a:path w="4128" h="725" extrusionOk="0">
                  <a:moveTo>
                    <a:pt x="1" y="0"/>
                  </a:moveTo>
                  <a:lnTo>
                    <a:pt x="1" y="725"/>
                  </a:lnTo>
                  <a:lnTo>
                    <a:pt x="4128" y="725"/>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3"/>
            <p:cNvSpPr/>
            <p:nvPr/>
          </p:nvSpPr>
          <p:spPr>
            <a:xfrm>
              <a:off x="-31367675" y="3227275"/>
              <a:ext cx="206400" cy="221350"/>
            </a:xfrm>
            <a:custGeom>
              <a:avLst/>
              <a:gdLst/>
              <a:ahLst/>
              <a:cxnLst/>
              <a:rect l="l" t="t" r="r" b="b"/>
              <a:pathLst>
                <a:path w="8256" h="8854" extrusionOk="0">
                  <a:moveTo>
                    <a:pt x="6554" y="1387"/>
                  </a:moveTo>
                  <a:cubicBezTo>
                    <a:pt x="6743" y="1387"/>
                    <a:pt x="6901" y="1544"/>
                    <a:pt x="6901" y="1733"/>
                  </a:cubicBezTo>
                  <a:lnTo>
                    <a:pt x="6901" y="3119"/>
                  </a:lnTo>
                  <a:cubicBezTo>
                    <a:pt x="6901" y="3309"/>
                    <a:pt x="6743" y="3466"/>
                    <a:pt x="6554" y="3466"/>
                  </a:cubicBezTo>
                  <a:lnTo>
                    <a:pt x="1734" y="3466"/>
                  </a:lnTo>
                  <a:cubicBezTo>
                    <a:pt x="1545" y="3466"/>
                    <a:pt x="1387" y="3309"/>
                    <a:pt x="1387" y="3119"/>
                  </a:cubicBezTo>
                  <a:lnTo>
                    <a:pt x="1387" y="1733"/>
                  </a:lnTo>
                  <a:cubicBezTo>
                    <a:pt x="1387" y="1544"/>
                    <a:pt x="1545" y="1387"/>
                    <a:pt x="1734" y="1387"/>
                  </a:cubicBezTo>
                  <a:close/>
                  <a:moveTo>
                    <a:pt x="2427" y="4096"/>
                  </a:moveTo>
                  <a:cubicBezTo>
                    <a:pt x="2616" y="4096"/>
                    <a:pt x="2773" y="4254"/>
                    <a:pt x="2773" y="4443"/>
                  </a:cubicBezTo>
                  <a:cubicBezTo>
                    <a:pt x="2773" y="4663"/>
                    <a:pt x="2616" y="4821"/>
                    <a:pt x="2427" y="4821"/>
                  </a:cubicBezTo>
                  <a:lnTo>
                    <a:pt x="1734" y="4821"/>
                  </a:lnTo>
                  <a:cubicBezTo>
                    <a:pt x="1545" y="4821"/>
                    <a:pt x="1387" y="4663"/>
                    <a:pt x="1387" y="4443"/>
                  </a:cubicBezTo>
                  <a:cubicBezTo>
                    <a:pt x="1387" y="4254"/>
                    <a:pt x="1545" y="4096"/>
                    <a:pt x="1734" y="4096"/>
                  </a:cubicBezTo>
                  <a:close/>
                  <a:moveTo>
                    <a:pt x="4475" y="4096"/>
                  </a:moveTo>
                  <a:cubicBezTo>
                    <a:pt x="4664" y="4096"/>
                    <a:pt x="4821" y="4254"/>
                    <a:pt x="4821" y="4443"/>
                  </a:cubicBezTo>
                  <a:cubicBezTo>
                    <a:pt x="4821" y="4663"/>
                    <a:pt x="4664" y="4821"/>
                    <a:pt x="4475" y="4821"/>
                  </a:cubicBezTo>
                  <a:lnTo>
                    <a:pt x="3782" y="4821"/>
                  </a:lnTo>
                  <a:cubicBezTo>
                    <a:pt x="3593" y="4821"/>
                    <a:pt x="3435" y="4663"/>
                    <a:pt x="3435" y="4443"/>
                  </a:cubicBezTo>
                  <a:cubicBezTo>
                    <a:pt x="3435" y="4254"/>
                    <a:pt x="3593" y="4096"/>
                    <a:pt x="3782" y="4096"/>
                  </a:cubicBezTo>
                  <a:close/>
                  <a:moveTo>
                    <a:pt x="6554" y="4096"/>
                  </a:moveTo>
                  <a:cubicBezTo>
                    <a:pt x="6743" y="4096"/>
                    <a:pt x="6901" y="4254"/>
                    <a:pt x="6901" y="4443"/>
                  </a:cubicBezTo>
                  <a:cubicBezTo>
                    <a:pt x="6901" y="4663"/>
                    <a:pt x="6743" y="4821"/>
                    <a:pt x="6554" y="4821"/>
                  </a:cubicBezTo>
                  <a:lnTo>
                    <a:pt x="5892" y="4821"/>
                  </a:lnTo>
                  <a:cubicBezTo>
                    <a:pt x="5672" y="4821"/>
                    <a:pt x="5514" y="4663"/>
                    <a:pt x="5514" y="4443"/>
                  </a:cubicBezTo>
                  <a:cubicBezTo>
                    <a:pt x="5514" y="4254"/>
                    <a:pt x="5672" y="4096"/>
                    <a:pt x="5892" y="4096"/>
                  </a:cubicBezTo>
                  <a:close/>
                  <a:moveTo>
                    <a:pt x="2427" y="5482"/>
                  </a:moveTo>
                  <a:cubicBezTo>
                    <a:pt x="2616" y="5482"/>
                    <a:pt x="2773" y="5640"/>
                    <a:pt x="2773" y="5829"/>
                  </a:cubicBezTo>
                  <a:cubicBezTo>
                    <a:pt x="2773" y="6018"/>
                    <a:pt x="2616" y="6175"/>
                    <a:pt x="2427" y="6175"/>
                  </a:cubicBezTo>
                  <a:lnTo>
                    <a:pt x="1734" y="6175"/>
                  </a:lnTo>
                  <a:cubicBezTo>
                    <a:pt x="1545" y="6175"/>
                    <a:pt x="1387" y="6018"/>
                    <a:pt x="1387" y="5829"/>
                  </a:cubicBezTo>
                  <a:cubicBezTo>
                    <a:pt x="1387" y="5640"/>
                    <a:pt x="1545" y="5482"/>
                    <a:pt x="1734" y="5482"/>
                  </a:cubicBezTo>
                  <a:close/>
                  <a:moveTo>
                    <a:pt x="4475" y="5482"/>
                  </a:moveTo>
                  <a:cubicBezTo>
                    <a:pt x="4664" y="5482"/>
                    <a:pt x="4821" y="5640"/>
                    <a:pt x="4821" y="5829"/>
                  </a:cubicBezTo>
                  <a:cubicBezTo>
                    <a:pt x="4821" y="6018"/>
                    <a:pt x="4664" y="6175"/>
                    <a:pt x="4475" y="6175"/>
                  </a:cubicBezTo>
                  <a:lnTo>
                    <a:pt x="3782" y="6175"/>
                  </a:lnTo>
                  <a:cubicBezTo>
                    <a:pt x="3593" y="6175"/>
                    <a:pt x="3435" y="6018"/>
                    <a:pt x="3435" y="5829"/>
                  </a:cubicBezTo>
                  <a:cubicBezTo>
                    <a:pt x="3435" y="5640"/>
                    <a:pt x="3593" y="5482"/>
                    <a:pt x="3782" y="5482"/>
                  </a:cubicBezTo>
                  <a:close/>
                  <a:moveTo>
                    <a:pt x="6554" y="5482"/>
                  </a:moveTo>
                  <a:cubicBezTo>
                    <a:pt x="6743" y="5482"/>
                    <a:pt x="6901" y="5640"/>
                    <a:pt x="6901" y="5829"/>
                  </a:cubicBezTo>
                  <a:cubicBezTo>
                    <a:pt x="6901" y="6018"/>
                    <a:pt x="6743" y="6175"/>
                    <a:pt x="6554" y="6175"/>
                  </a:cubicBezTo>
                  <a:lnTo>
                    <a:pt x="5892" y="6175"/>
                  </a:lnTo>
                  <a:cubicBezTo>
                    <a:pt x="5672" y="6175"/>
                    <a:pt x="5514" y="6018"/>
                    <a:pt x="5514" y="5829"/>
                  </a:cubicBezTo>
                  <a:cubicBezTo>
                    <a:pt x="5514" y="5640"/>
                    <a:pt x="5672" y="5482"/>
                    <a:pt x="5892" y="5482"/>
                  </a:cubicBezTo>
                  <a:close/>
                  <a:moveTo>
                    <a:pt x="2427" y="6869"/>
                  </a:moveTo>
                  <a:cubicBezTo>
                    <a:pt x="2616" y="6869"/>
                    <a:pt x="2773" y="7026"/>
                    <a:pt x="2773" y="7215"/>
                  </a:cubicBezTo>
                  <a:cubicBezTo>
                    <a:pt x="2773" y="7404"/>
                    <a:pt x="2616" y="7562"/>
                    <a:pt x="2427" y="7562"/>
                  </a:cubicBezTo>
                  <a:lnTo>
                    <a:pt x="1734" y="7562"/>
                  </a:lnTo>
                  <a:cubicBezTo>
                    <a:pt x="1545" y="7562"/>
                    <a:pt x="1387" y="7404"/>
                    <a:pt x="1387" y="7215"/>
                  </a:cubicBezTo>
                  <a:cubicBezTo>
                    <a:pt x="1387" y="7026"/>
                    <a:pt x="1545" y="6869"/>
                    <a:pt x="1734" y="6869"/>
                  </a:cubicBezTo>
                  <a:close/>
                  <a:moveTo>
                    <a:pt x="4475" y="6869"/>
                  </a:moveTo>
                  <a:cubicBezTo>
                    <a:pt x="4664" y="6869"/>
                    <a:pt x="4821" y="7026"/>
                    <a:pt x="4821" y="7215"/>
                  </a:cubicBezTo>
                  <a:cubicBezTo>
                    <a:pt x="4821" y="7404"/>
                    <a:pt x="4664" y="7562"/>
                    <a:pt x="4475" y="7562"/>
                  </a:cubicBezTo>
                  <a:lnTo>
                    <a:pt x="3782" y="7562"/>
                  </a:lnTo>
                  <a:cubicBezTo>
                    <a:pt x="3593" y="7562"/>
                    <a:pt x="3435" y="7404"/>
                    <a:pt x="3435" y="7215"/>
                  </a:cubicBezTo>
                  <a:cubicBezTo>
                    <a:pt x="3435" y="7026"/>
                    <a:pt x="3593" y="6869"/>
                    <a:pt x="3782" y="6869"/>
                  </a:cubicBezTo>
                  <a:close/>
                  <a:moveTo>
                    <a:pt x="6554" y="6869"/>
                  </a:moveTo>
                  <a:cubicBezTo>
                    <a:pt x="6743" y="6869"/>
                    <a:pt x="6901" y="7026"/>
                    <a:pt x="6901" y="7215"/>
                  </a:cubicBezTo>
                  <a:cubicBezTo>
                    <a:pt x="6901" y="7404"/>
                    <a:pt x="6743" y="7562"/>
                    <a:pt x="6554" y="7562"/>
                  </a:cubicBezTo>
                  <a:lnTo>
                    <a:pt x="5892" y="7562"/>
                  </a:lnTo>
                  <a:cubicBezTo>
                    <a:pt x="5672" y="7562"/>
                    <a:pt x="5514" y="7404"/>
                    <a:pt x="5514" y="7215"/>
                  </a:cubicBezTo>
                  <a:cubicBezTo>
                    <a:pt x="5514" y="7026"/>
                    <a:pt x="5672" y="6869"/>
                    <a:pt x="5892" y="6869"/>
                  </a:cubicBezTo>
                  <a:close/>
                  <a:moveTo>
                    <a:pt x="694" y="1"/>
                  </a:moveTo>
                  <a:lnTo>
                    <a:pt x="694" y="95"/>
                  </a:lnTo>
                  <a:cubicBezTo>
                    <a:pt x="694" y="631"/>
                    <a:pt x="442" y="1198"/>
                    <a:pt x="64" y="1576"/>
                  </a:cubicBezTo>
                  <a:lnTo>
                    <a:pt x="1" y="1607"/>
                  </a:lnTo>
                  <a:lnTo>
                    <a:pt x="1" y="5860"/>
                  </a:lnTo>
                  <a:lnTo>
                    <a:pt x="64" y="5923"/>
                  </a:lnTo>
                  <a:cubicBezTo>
                    <a:pt x="442" y="6301"/>
                    <a:pt x="694" y="6869"/>
                    <a:pt x="694" y="7404"/>
                  </a:cubicBezTo>
                  <a:cubicBezTo>
                    <a:pt x="694" y="7971"/>
                    <a:pt x="442" y="8475"/>
                    <a:pt x="95" y="8853"/>
                  </a:cubicBezTo>
                  <a:lnTo>
                    <a:pt x="7184" y="8853"/>
                  </a:lnTo>
                  <a:cubicBezTo>
                    <a:pt x="7720" y="8853"/>
                    <a:pt x="8192" y="8381"/>
                    <a:pt x="8192" y="7845"/>
                  </a:cubicBezTo>
                  <a:lnTo>
                    <a:pt x="8192" y="946"/>
                  </a:lnTo>
                  <a:cubicBezTo>
                    <a:pt x="8255" y="473"/>
                    <a:pt x="7814" y="1"/>
                    <a:pt x="7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73"/>
            <p:cNvSpPr/>
            <p:nvPr/>
          </p:nvSpPr>
          <p:spPr>
            <a:xfrm>
              <a:off x="-31452725" y="3191825"/>
              <a:ext cx="86650" cy="259150"/>
            </a:xfrm>
            <a:custGeom>
              <a:avLst/>
              <a:gdLst/>
              <a:ahLst/>
              <a:cxnLst/>
              <a:rect l="l" t="t" r="r" b="b"/>
              <a:pathLst>
                <a:path w="3466" h="10366" extrusionOk="0">
                  <a:moveTo>
                    <a:pt x="1450" y="1"/>
                  </a:moveTo>
                  <a:cubicBezTo>
                    <a:pt x="662" y="1"/>
                    <a:pt x="0" y="662"/>
                    <a:pt x="0" y="1450"/>
                  </a:cubicBezTo>
                  <a:cubicBezTo>
                    <a:pt x="0" y="1860"/>
                    <a:pt x="158" y="2206"/>
                    <a:pt x="410" y="2490"/>
                  </a:cubicBezTo>
                  <a:lnTo>
                    <a:pt x="694" y="2773"/>
                  </a:lnTo>
                  <a:lnTo>
                    <a:pt x="694" y="7593"/>
                  </a:lnTo>
                  <a:lnTo>
                    <a:pt x="410" y="7877"/>
                  </a:lnTo>
                  <a:cubicBezTo>
                    <a:pt x="158" y="8161"/>
                    <a:pt x="0" y="8507"/>
                    <a:pt x="0" y="8917"/>
                  </a:cubicBezTo>
                  <a:cubicBezTo>
                    <a:pt x="0" y="9704"/>
                    <a:pt x="662" y="10366"/>
                    <a:pt x="1450" y="10366"/>
                  </a:cubicBezTo>
                  <a:lnTo>
                    <a:pt x="1985" y="10366"/>
                  </a:lnTo>
                  <a:cubicBezTo>
                    <a:pt x="2773" y="10366"/>
                    <a:pt x="3466" y="9704"/>
                    <a:pt x="3466" y="8917"/>
                  </a:cubicBezTo>
                  <a:cubicBezTo>
                    <a:pt x="3466" y="8507"/>
                    <a:pt x="3308" y="8161"/>
                    <a:pt x="3025" y="7877"/>
                  </a:cubicBezTo>
                  <a:lnTo>
                    <a:pt x="2741" y="7593"/>
                  </a:lnTo>
                  <a:lnTo>
                    <a:pt x="2741" y="2773"/>
                  </a:lnTo>
                  <a:lnTo>
                    <a:pt x="3025" y="2490"/>
                  </a:lnTo>
                  <a:cubicBezTo>
                    <a:pt x="3308" y="2206"/>
                    <a:pt x="3466" y="1860"/>
                    <a:pt x="3466" y="1450"/>
                  </a:cubicBezTo>
                  <a:cubicBezTo>
                    <a:pt x="3466" y="662"/>
                    <a:pt x="2773" y="1"/>
                    <a:pt x="1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73"/>
            <p:cNvSpPr/>
            <p:nvPr/>
          </p:nvSpPr>
          <p:spPr>
            <a:xfrm>
              <a:off x="-31409400" y="3468275"/>
              <a:ext cx="92950" cy="17375"/>
            </a:xfrm>
            <a:custGeom>
              <a:avLst/>
              <a:gdLst/>
              <a:ahLst/>
              <a:cxnLst/>
              <a:rect l="l" t="t" r="r" b="b"/>
              <a:pathLst>
                <a:path w="3718" h="695" extrusionOk="0">
                  <a:moveTo>
                    <a:pt x="0" y="1"/>
                  </a:moveTo>
                  <a:cubicBezTo>
                    <a:pt x="0" y="379"/>
                    <a:pt x="315" y="694"/>
                    <a:pt x="662" y="694"/>
                  </a:cubicBezTo>
                  <a:lnTo>
                    <a:pt x="3056" y="694"/>
                  </a:lnTo>
                  <a:cubicBezTo>
                    <a:pt x="3466" y="694"/>
                    <a:pt x="3718" y="379"/>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8" name="Google Shape;7358;p73"/>
          <p:cNvGrpSpPr/>
          <p:nvPr/>
        </p:nvGrpSpPr>
        <p:grpSpPr>
          <a:xfrm>
            <a:off x="2631000" y="3200744"/>
            <a:ext cx="354586" cy="354586"/>
            <a:chOff x="-31452725" y="3551775"/>
            <a:chExt cx="292225" cy="292225"/>
          </a:xfrm>
        </p:grpSpPr>
        <p:sp>
          <p:nvSpPr>
            <p:cNvPr id="7359" name="Google Shape;7359;p73"/>
            <p:cNvSpPr/>
            <p:nvPr/>
          </p:nvSpPr>
          <p:spPr>
            <a:xfrm>
              <a:off x="-31452725" y="3756550"/>
              <a:ext cx="155175" cy="34675"/>
            </a:xfrm>
            <a:custGeom>
              <a:avLst/>
              <a:gdLst/>
              <a:ahLst/>
              <a:cxnLst/>
              <a:rect l="l" t="t" r="r" b="b"/>
              <a:pathLst>
                <a:path w="6207" h="1387" extrusionOk="0">
                  <a:moveTo>
                    <a:pt x="32" y="1"/>
                  </a:moveTo>
                  <a:lnTo>
                    <a:pt x="32" y="1040"/>
                  </a:lnTo>
                  <a:cubicBezTo>
                    <a:pt x="0" y="1292"/>
                    <a:pt x="158" y="1387"/>
                    <a:pt x="347" y="1387"/>
                  </a:cubicBezTo>
                  <a:lnTo>
                    <a:pt x="6207" y="1387"/>
                  </a:lnTo>
                  <a:lnTo>
                    <a:pt x="62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73"/>
            <p:cNvSpPr/>
            <p:nvPr/>
          </p:nvSpPr>
          <p:spPr>
            <a:xfrm>
              <a:off x="-31452725" y="3551775"/>
              <a:ext cx="183525" cy="188275"/>
            </a:xfrm>
            <a:custGeom>
              <a:avLst/>
              <a:gdLst/>
              <a:ahLst/>
              <a:cxnLst/>
              <a:rect l="l" t="t" r="r" b="b"/>
              <a:pathLst>
                <a:path w="7341" h="7531" extrusionOk="0">
                  <a:moveTo>
                    <a:pt x="4474" y="0"/>
                  </a:moveTo>
                  <a:cubicBezTo>
                    <a:pt x="3939" y="0"/>
                    <a:pt x="3466" y="473"/>
                    <a:pt x="3466" y="1040"/>
                  </a:cubicBezTo>
                  <a:cubicBezTo>
                    <a:pt x="3466" y="1576"/>
                    <a:pt x="3939" y="2080"/>
                    <a:pt x="4474" y="2080"/>
                  </a:cubicBezTo>
                  <a:cubicBezTo>
                    <a:pt x="4600" y="2080"/>
                    <a:pt x="4726" y="2017"/>
                    <a:pt x="4852" y="1985"/>
                  </a:cubicBezTo>
                  <a:lnTo>
                    <a:pt x="4852" y="2773"/>
                  </a:lnTo>
                  <a:lnTo>
                    <a:pt x="2741" y="2773"/>
                  </a:lnTo>
                  <a:cubicBezTo>
                    <a:pt x="1261" y="2773"/>
                    <a:pt x="0" y="4002"/>
                    <a:pt x="0" y="5482"/>
                  </a:cubicBezTo>
                  <a:lnTo>
                    <a:pt x="0" y="7530"/>
                  </a:lnTo>
                  <a:lnTo>
                    <a:pt x="6175" y="7530"/>
                  </a:lnTo>
                  <a:lnTo>
                    <a:pt x="6175" y="5167"/>
                  </a:lnTo>
                  <a:cubicBezTo>
                    <a:pt x="6175" y="4191"/>
                    <a:pt x="6648" y="3372"/>
                    <a:pt x="7341" y="2773"/>
                  </a:cubicBezTo>
                  <a:lnTo>
                    <a:pt x="5514" y="2773"/>
                  </a:lnTo>
                  <a:lnTo>
                    <a:pt x="5514" y="1040"/>
                  </a:lnTo>
                  <a:cubicBezTo>
                    <a:pt x="5514" y="505"/>
                    <a:pt x="504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3"/>
            <p:cNvSpPr/>
            <p:nvPr/>
          </p:nvSpPr>
          <p:spPr>
            <a:xfrm>
              <a:off x="-31366100" y="3808550"/>
              <a:ext cx="52025" cy="35450"/>
            </a:xfrm>
            <a:custGeom>
              <a:avLst/>
              <a:gdLst/>
              <a:ahLst/>
              <a:cxnLst/>
              <a:rect l="l" t="t" r="r" b="b"/>
              <a:pathLst>
                <a:path w="2081" h="1418" extrusionOk="0">
                  <a:moveTo>
                    <a:pt x="32" y="0"/>
                  </a:moveTo>
                  <a:lnTo>
                    <a:pt x="32" y="1040"/>
                  </a:lnTo>
                  <a:lnTo>
                    <a:pt x="1" y="1040"/>
                  </a:lnTo>
                  <a:cubicBezTo>
                    <a:pt x="1" y="1260"/>
                    <a:pt x="159" y="1418"/>
                    <a:pt x="348" y="1418"/>
                  </a:cubicBezTo>
                  <a:lnTo>
                    <a:pt x="1734" y="1418"/>
                  </a:lnTo>
                  <a:cubicBezTo>
                    <a:pt x="1923" y="1418"/>
                    <a:pt x="2080" y="1260"/>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73"/>
            <p:cNvSpPr/>
            <p:nvPr/>
          </p:nvSpPr>
          <p:spPr>
            <a:xfrm>
              <a:off x="-31281025" y="3621075"/>
              <a:ext cx="120525" cy="171725"/>
            </a:xfrm>
            <a:custGeom>
              <a:avLst/>
              <a:gdLst/>
              <a:ahLst/>
              <a:cxnLst/>
              <a:rect l="l" t="t" r="r" b="b"/>
              <a:pathLst>
                <a:path w="4821" h="6869" extrusionOk="0">
                  <a:moveTo>
                    <a:pt x="3435" y="2017"/>
                  </a:moveTo>
                  <a:cubicBezTo>
                    <a:pt x="3624" y="2017"/>
                    <a:pt x="3781" y="2175"/>
                    <a:pt x="3781" y="2364"/>
                  </a:cubicBezTo>
                  <a:cubicBezTo>
                    <a:pt x="3750" y="2553"/>
                    <a:pt x="3592" y="2710"/>
                    <a:pt x="3435" y="2710"/>
                  </a:cubicBezTo>
                  <a:lnTo>
                    <a:pt x="1387" y="2710"/>
                  </a:lnTo>
                  <a:cubicBezTo>
                    <a:pt x="1198" y="2710"/>
                    <a:pt x="1040" y="2553"/>
                    <a:pt x="1040" y="2364"/>
                  </a:cubicBezTo>
                  <a:cubicBezTo>
                    <a:pt x="1040" y="2175"/>
                    <a:pt x="1198" y="2017"/>
                    <a:pt x="1387" y="2017"/>
                  </a:cubicBezTo>
                  <a:close/>
                  <a:moveTo>
                    <a:pt x="3088" y="4128"/>
                  </a:moveTo>
                  <a:cubicBezTo>
                    <a:pt x="3466" y="4128"/>
                    <a:pt x="3750" y="4443"/>
                    <a:pt x="3750" y="4821"/>
                  </a:cubicBezTo>
                  <a:cubicBezTo>
                    <a:pt x="3750" y="5168"/>
                    <a:pt x="3466" y="5483"/>
                    <a:pt x="3088" y="5483"/>
                  </a:cubicBezTo>
                  <a:lnTo>
                    <a:pt x="1702" y="5483"/>
                  </a:lnTo>
                  <a:cubicBezTo>
                    <a:pt x="1324" y="5483"/>
                    <a:pt x="1040" y="5168"/>
                    <a:pt x="1040" y="4821"/>
                  </a:cubicBezTo>
                  <a:cubicBezTo>
                    <a:pt x="1040" y="4412"/>
                    <a:pt x="1355" y="4128"/>
                    <a:pt x="1702" y="4128"/>
                  </a:cubicBezTo>
                  <a:close/>
                  <a:moveTo>
                    <a:pt x="2426" y="1"/>
                  </a:moveTo>
                  <a:cubicBezTo>
                    <a:pt x="1072" y="1"/>
                    <a:pt x="1" y="1072"/>
                    <a:pt x="1" y="2395"/>
                  </a:cubicBezTo>
                  <a:lnTo>
                    <a:pt x="1" y="6869"/>
                  </a:lnTo>
                  <a:lnTo>
                    <a:pt x="4474" y="6869"/>
                  </a:lnTo>
                  <a:cubicBezTo>
                    <a:pt x="4663" y="6869"/>
                    <a:pt x="4821" y="6711"/>
                    <a:pt x="4821" y="6491"/>
                  </a:cubicBezTo>
                  <a:lnTo>
                    <a:pt x="4821" y="2395"/>
                  </a:lnTo>
                  <a:cubicBezTo>
                    <a:pt x="4789" y="1072"/>
                    <a:pt x="3718"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3" name="Google Shape;7363;p73"/>
          <p:cNvGrpSpPr/>
          <p:nvPr/>
        </p:nvGrpSpPr>
        <p:grpSpPr>
          <a:xfrm>
            <a:off x="2629559" y="3664729"/>
            <a:ext cx="357468" cy="356497"/>
            <a:chOff x="-31455100" y="3909350"/>
            <a:chExt cx="294600" cy="293800"/>
          </a:xfrm>
        </p:grpSpPr>
        <p:sp>
          <p:nvSpPr>
            <p:cNvPr id="7364" name="Google Shape;7364;p73"/>
            <p:cNvSpPr/>
            <p:nvPr/>
          </p:nvSpPr>
          <p:spPr>
            <a:xfrm>
              <a:off x="-31455100" y="3909350"/>
              <a:ext cx="294600" cy="293800"/>
            </a:xfrm>
            <a:custGeom>
              <a:avLst/>
              <a:gdLst/>
              <a:ahLst/>
              <a:cxnLst/>
              <a:rect l="l" t="t" r="r" b="b"/>
              <a:pathLst>
                <a:path w="11784" h="11752" extrusionOk="0">
                  <a:moveTo>
                    <a:pt x="5199" y="1"/>
                  </a:moveTo>
                  <a:cubicBezTo>
                    <a:pt x="5042" y="1"/>
                    <a:pt x="4916" y="127"/>
                    <a:pt x="4884" y="284"/>
                  </a:cubicBezTo>
                  <a:lnTo>
                    <a:pt x="4727" y="883"/>
                  </a:lnTo>
                  <a:cubicBezTo>
                    <a:pt x="4191" y="977"/>
                    <a:pt x="3655" y="1229"/>
                    <a:pt x="3151" y="1513"/>
                  </a:cubicBezTo>
                  <a:lnTo>
                    <a:pt x="2647" y="1229"/>
                  </a:lnTo>
                  <a:cubicBezTo>
                    <a:pt x="2599" y="1205"/>
                    <a:pt x="2542" y="1195"/>
                    <a:pt x="2482" y="1195"/>
                  </a:cubicBezTo>
                  <a:cubicBezTo>
                    <a:pt x="2386" y="1195"/>
                    <a:pt x="2284" y="1222"/>
                    <a:pt x="2206" y="1261"/>
                  </a:cubicBezTo>
                  <a:lnTo>
                    <a:pt x="1261" y="2206"/>
                  </a:lnTo>
                  <a:cubicBezTo>
                    <a:pt x="1135" y="2332"/>
                    <a:pt x="1135" y="2490"/>
                    <a:pt x="1230" y="2647"/>
                  </a:cubicBezTo>
                  <a:lnTo>
                    <a:pt x="1513" y="3151"/>
                  </a:lnTo>
                  <a:cubicBezTo>
                    <a:pt x="1198" y="3624"/>
                    <a:pt x="978" y="4191"/>
                    <a:pt x="883" y="4726"/>
                  </a:cubicBezTo>
                  <a:lnTo>
                    <a:pt x="284" y="4884"/>
                  </a:lnTo>
                  <a:cubicBezTo>
                    <a:pt x="127" y="4947"/>
                    <a:pt x="1" y="5041"/>
                    <a:pt x="1" y="5199"/>
                  </a:cubicBezTo>
                  <a:lnTo>
                    <a:pt x="1" y="6585"/>
                  </a:lnTo>
                  <a:cubicBezTo>
                    <a:pt x="1" y="6743"/>
                    <a:pt x="127" y="6869"/>
                    <a:pt x="284" y="6900"/>
                  </a:cubicBezTo>
                  <a:lnTo>
                    <a:pt x="883" y="7058"/>
                  </a:lnTo>
                  <a:cubicBezTo>
                    <a:pt x="946" y="7404"/>
                    <a:pt x="1072" y="7782"/>
                    <a:pt x="1230" y="8129"/>
                  </a:cubicBezTo>
                  <a:cubicBezTo>
                    <a:pt x="1504" y="7854"/>
                    <a:pt x="2843" y="6486"/>
                    <a:pt x="2841" y="6486"/>
                  </a:cubicBezTo>
                  <a:lnTo>
                    <a:pt x="2841" y="6486"/>
                  </a:lnTo>
                  <a:cubicBezTo>
                    <a:pt x="2841" y="6486"/>
                    <a:pt x="2839" y="6488"/>
                    <a:pt x="2836" y="6491"/>
                  </a:cubicBezTo>
                  <a:cubicBezTo>
                    <a:pt x="2836" y="6459"/>
                    <a:pt x="2805" y="6050"/>
                    <a:pt x="2805" y="5955"/>
                  </a:cubicBezTo>
                  <a:cubicBezTo>
                    <a:pt x="2773" y="4222"/>
                    <a:pt x="4191" y="2836"/>
                    <a:pt x="5861" y="2836"/>
                  </a:cubicBezTo>
                  <a:cubicBezTo>
                    <a:pt x="7562" y="2836"/>
                    <a:pt x="8948" y="4222"/>
                    <a:pt x="8948" y="5924"/>
                  </a:cubicBezTo>
                  <a:cubicBezTo>
                    <a:pt x="8948" y="7499"/>
                    <a:pt x="7751" y="8822"/>
                    <a:pt x="6113" y="8948"/>
                  </a:cubicBezTo>
                  <a:cubicBezTo>
                    <a:pt x="6066" y="8948"/>
                    <a:pt x="5963" y="8956"/>
                    <a:pt x="5821" y="8956"/>
                  </a:cubicBezTo>
                  <a:cubicBezTo>
                    <a:pt x="5680" y="8956"/>
                    <a:pt x="5499" y="8948"/>
                    <a:pt x="5294" y="8917"/>
                  </a:cubicBezTo>
                  <a:lnTo>
                    <a:pt x="3655" y="10523"/>
                  </a:lnTo>
                  <a:cubicBezTo>
                    <a:pt x="4034" y="10681"/>
                    <a:pt x="4349" y="10807"/>
                    <a:pt x="4727" y="10870"/>
                  </a:cubicBezTo>
                  <a:lnTo>
                    <a:pt x="4884" y="11468"/>
                  </a:lnTo>
                  <a:cubicBezTo>
                    <a:pt x="4916" y="11626"/>
                    <a:pt x="5042" y="11752"/>
                    <a:pt x="5199" y="11752"/>
                  </a:cubicBezTo>
                  <a:lnTo>
                    <a:pt x="6585" y="11752"/>
                  </a:lnTo>
                  <a:cubicBezTo>
                    <a:pt x="6743" y="11752"/>
                    <a:pt x="6869" y="11626"/>
                    <a:pt x="6901" y="11468"/>
                  </a:cubicBezTo>
                  <a:lnTo>
                    <a:pt x="7058" y="10870"/>
                  </a:lnTo>
                  <a:cubicBezTo>
                    <a:pt x="7594" y="10775"/>
                    <a:pt x="8129" y="10523"/>
                    <a:pt x="8633" y="10240"/>
                  </a:cubicBezTo>
                  <a:lnTo>
                    <a:pt x="9137" y="10523"/>
                  </a:lnTo>
                  <a:cubicBezTo>
                    <a:pt x="9185" y="10547"/>
                    <a:pt x="9243" y="10558"/>
                    <a:pt x="9302" y="10558"/>
                  </a:cubicBezTo>
                  <a:cubicBezTo>
                    <a:pt x="9399" y="10558"/>
                    <a:pt x="9501" y="10531"/>
                    <a:pt x="9578" y="10492"/>
                  </a:cubicBezTo>
                  <a:lnTo>
                    <a:pt x="10524" y="9547"/>
                  </a:lnTo>
                  <a:cubicBezTo>
                    <a:pt x="10650" y="9421"/>
                    <a:pt x="10650" y="9263"/>
                    <a:pt x="10555" y="9106"/>
                  </a:cubicBezTo>
                  <a:lnTo>
                    <a:pt x="10303" y="8601"/>
                  </a:lnTo>
                  <a:cubicBezTo>
                    <a:pt x="10618" y="8129"/>
                    <a:pt x="10807" y="7562"/>
                    <a:pt x="10933" y="7026"/>
                  </a:cubicBezTo>
                  <a:lnTo>
                    <a:pt x="11500" y="6869"/>
                  </a:lnTo>
                  <a:cubicBezTo>
                    <a:pt x="11658" y="6806"/>
                    <a:pt x="11784" y="6711"/>
                    <a:pt x="11784" y="6554"/>
                  </a:cubicBezTo>
                  <a:lnTo>
                    <a:pt x="11784" y="5167"/>
                  </a:lnTo>
                  <a:cubicBezTo>
                    <a:pt x="11752" y="5041"/>
                    <a:pt x="11658" y="4915"/>
                    <a:pt x="11500" y="4884"/>
                  </a:cubicBezTo>
                  <a:lnTo>
                    <a:pt x="10902" y="4726"/>
                  </a:lnTo>
                  <a:cubicBezTo>
                    <a:pt x="10807" y="4191"/>
                    <a:pt x="10555" y="3687"/>
                    <a:pt x="10272" y="3151"/>
                  </a:cubicBezTo>
                  <a:lnTo>
                    <a:pt x="10555" y="2647"/>
                  </a:lnTo>
                  <a:cubicBezTo>
                    <a:pt x="10650" y="2521"/>
                    <a:pt x="10587" y="2332"/>
                    <a:pt x="10524" y="2206"/>
                  </a:cubicBezTo>
                  <a:lnTo>
                    <a:pt x="9578" y="1261"/>
                  </a:lnTo>
                  <a:cubicBezTo>
                    <a:pt x="9509" y="1209"/>
                    <a:pt x="9430" y="1185"/>
                    <a:pt x="9347" y="1185"/>
                  </a:cubicBezTo>
                  <a:cubicBezTo>
                    <a:pt x="9279" y="1185"/>
                    <a:pt x="9208" y="1201"/>
                    <a:pt x="9137" y="1229"/>
                  </a:cubicBezTo>
                  <a:lnTo>
                    <a:pt x="8633" y="1513"/>
                  </a:lnTo>
                  <a:cubicBezTo>
                    <a:pt x="8161" y="1198"/>
                    <a:pt x="7594" y="977"/>
                    <a:pt x="7058" y="883"/>
                  </a:cubicBezTo>
                  <a:lnTo>
                    <a:pt x="6901" y="284"/>
                  </a:lnTo>
                  <a:cubicBezTo>
                    <a:pt x="6869" y="127"/>
                    <a:pt x="6743"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73"/>
            <p:cNvSpPr/>
            <p:nvPr/>
          </p:nvSpPr>
          <p:spPr>
            <a:xfrm>
              <a:off x="-31455100" y="3997350"/>
              <a:ext cx="215050" cy="205025"/>
            </a:xfrm>
            <a:custGeom>
              <a:avLst/>
              <a:gdLst/>
              <a:ahLst/>
              <a:cxnLst/>
              <a:rect l="l" t="t" r="r" b="b"/>
              <a:pathLst>
                <a:path w="8602" h="8201" extrusionOk="0">
                  <a:moveTo>
                    <a:pt x="5939" y="0"/>
                  </a:moveTo>
                  <a:cubicBezTo>
                    <a:pt x="4729" y="0"/>
                    <a:pt x="3750" y="854"/>
                    <a:pt x="3561" y="1963"/>
                  </a:cubicBezTo>
                  <a:cubicBezTo>
                    <a:pt x="3466" y="2404"/>
                    <a:pt x="3498" y="2813"/>
                    <a:pt x="3624" y="3223"/>
                  </a:cubicBezTo>
                  <a:lnTo>
                    <a:pt x="410" y="6468"/>
                  </a:lnTo>
                  <a:cubicBezTo>
                    <a:pt x="1" y="6846"/>
                    <a:pt x="1" y="7507"/>
                    <a:pt x="410" y="7917"/>
                  </a:cubicBezTo>
                  <a:cubicBezTo>
                    <a:pt x="600" y="8106"/>
                    <a:pt x="852" y="8200"/>
                    <a:pt x="1111" y="8200"/>
                  </a:cubicBezTo>
                  <a:cubicBezTo>
                    <a:pt x="1371" y="8200"/>
                    <a:pt x="1639" y="8106"/>
                    <a:pt x="1860" y="7917"/>
                  </a:cubicBezTo>
                  <a:lnTo>
                    <a:pt x="5136" y="4640"/>
                  </a:lnTo>
                  <a:cubicBezTo>
                    <a:pt x="5388" y="4735"/>
                    <a:pt x="5664" y="4782"/>
                    <a:pt x="5947" y="4782"/>
                  </a:cubicBezTo>
                  <a:cubicBezTo>
                    <a:pt x="6231" y="4782"/>
                    <a:pt x="6522" y="4735"/>
                    <a:pt x="6806" y="4640"/>
                  </a:cubicBezTo>
                  <a:cubicBezTo>
                    <a:pt x="7846" y="4294"/>
                    <a:pt x="8602" y="3065"/>
                    <a:pt x="8224" y="1773"/>
                  </a:cubicBezTo>
                  <a:cubicBezTo>
                    <a:pt x="8192" y="1647"/>
                    <a:pt x="8129" y="1553"/>
                    <a:pt x="8003" y="1521"/>
                  </a:cubicBezTo>
                  <a:cubicBezTo>
                    <a:pt x="7972" y="1514"/>
                    <a:pt x="7942" y="1510"/>
                    <a:pt x="7914" y="1510"/>
                  </a:cubicBezTo>
                  <a:cubicBezTo>
                    <a:pt x="7830" y="1510"/>
                    <a:pt x="7759" y="1545"/>
                    <a:pt x="7688" y="1616"/>
                  </a:cubicBezTo>
                  <a:lnTo>
                    <a:pt x="6901" y="2404"/>
                  </a:lnTo>
                  <a:cubicBezTo>
                    <a:pt x="6759" y="2530"/>
                    <a:pt x="6578" y="2593"/>
                    <a:pt x="6400" y="2593"/>
                  </a:cubicBezTo>
                  <a:cubicBezTo>
                    <a:pt x="6223" y="2593"/>
                    <a:pt x="6050" y="2530"/>
                    <a:pt x="5924" y="2404"/>
                  </a:cubicBezTo>
                  <a:cubicBezTo>
                    <a:pt x="5640" y="2120"/>
                    <a:pt x="5640" y="1679"/>
                    <a:pt x="5924" y="1395"/>
                  </a:cubicBezTo>
                  <a:lnTo>
                    <a:pt x="6711" y="608"/>
                  </a:lnTo>
                  <a:cubicBezTo>
                    <a:pt x="6774" y="545"/>
                    <a:pt x="6806" y="419"/>
                    <a:pt x="6774" y="293"/>
                  </a:cubicBezTo>
                  <a:cubicBezTo>
                    <a:pt x="6743" y="198"/>
                    <a:pt x="6648" y="104"/>
                    <a:pt x="6554" y="72"/>
                  </a:cubicBezTo>
                  <a:cubicBezTo>
                    <a:pt x="6344" y="23"/>
                    <a:pt x="6139" y="0"/>
                    <a:pt x="5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6" name="Google Shape;7366;p73"/>
          <p:cNvGrpSpPr/>
          <p:nvPr/>
        </p:nvGrpSpPr>
        <p:grpSpPr>
          <a:xfrm>
            <a:off x="3970744" y="3665684"/>
            <a:ext cx="353645" cy="354586"/>
            <a:chOff x="-30345325" y="3918800"/>
            <a:chExt cx="291450" cy="292225"/>
          </a:xfrm>
        </p:grpSpPr>
        <p:sp>
          <p:nvSpPr>
            <p:cNvPr id="7367" name="Google Shape;7367;p73"/>
            <p:cNvSpPr/>
            <p:nvPr/>
          </p:nvSpPr>
          <p:spPr>
            <a:xfrm>
              <a:off x="-30174425" y="3988125"/>
              <a:ext cx="120550" cy="120175"/>
            </a:xfrm>
            <a:custGeom>
              <a:avLst/>
              <a:gdLst/>
              <a:ahLst/>
              <a:cxnLst/>
              <a:rect l="l" t="t" r="r" b="b"/>
              <a:pathLst>
                <a:path w="4822" h="4807" extrusionOk="0">
                  <a:moveTo>
                    <a:pt x="1041" y="0"/>
                  </a:moveTo>
                  <a:cubicBezTo>
                    <a:pt x="474" y="0"/>
                    <a:pt x="1" y="473"/>
                    <a:pt x="1" y="1040"/>
                  </a:cubicBezTo>
                  <a:lnTo>
                    <a:pt x="1" y="2426"/>
                  </a:lnTo>
                  <a:cubicBezTo>
                    <a:pt x="1" y="2962"/>
                    <a:pt x="474" y="3434"/>
                    <a:pt x="1041" y="3434"/>
                  </a:cubicBezTo>
                  <a:lnTo>
                    <a:pt x="1387" y="3434"/>
                  </a:lnTo>
                  <a:lnTo>
                    <a:pt x="1387" y="4474"/>
                  </a:lnTo>
                  <a:cubicBezTo>
                    <a:pt x="1387" y="4631"/>
                    <a:pt x="1482" y="4726"/>
                    <a:pt x="1576" y="4789"/>
                  </a:cubicBezTo>
                  <a:cubicBezTo>
                    <a:pt x="1618" y="4799"/>
                    <a:pt x="1664" y="4806"/>
                    <a:pt x="1709" y="4806"/>
                  </a:cubicBezTo>
                  <a:cubicBezTo>
                    <a:pt x="1800" y="4806"/>
                    <a:pt x="1891" y="4778"/>
                    <a:pt x="1954" y="4694"/>
                  </a:cubicBezTo>
                  <a:lnTo>
                    <a:pt x="3214" y="3434"/>
                  </a:lnTo>
                  <a:lnTo>
                    <a:pt x="3750" y="3434"/>
                  </a:lnTo>
                  <a:cubicBezTo>
                    <a:pt x="4317" y="3434"/>
                    <a:pt x="4790" y="2962"/>
                    <a:pt x="4790" y="2426"/>
                  </a:cubicBezTo>
                  <a:lnTo>
                    <a:pt x="4790" y="1040"/>
                  </a:lnTo>
                  <a:cubicBezTo>
                    <a:pt x="4821" y="473"/>
                    <a:pt x="4380" y="0"/>
                    <a:pt x="37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3"/>
            <p:cNvSpPr/>
            <p:nvPr/>
          </p:nvSpPr>
          <p:spPr>
            <a:xfrm>
              <a:off x="-30345325" y="3988125"/>
              <a:ext cx="119750" cy="120175"/>
            </a:xfrm>
            <a:custGeom>
              <a:avLst/>
              <a:gdLst/>
              <a:ahLst/>
              <a:cxnLst/>
              <a:rect l="l" t="t" r="r" b="b"/>
              <a:pathLst>
                <a:path w="4790" h="4807" extrusionOk="0">
                  <a:moveTo>
                    <a:pt x="1009" y="0"/>
                  </a:moveTo>
                  <a:cubicBezTo>
                    <a:pt x="473" y="0"/>
                    <a:pt x="0" y="473"/>
                    <a:pt x="0" y="1040"/>
                  </a:cubicBezTo>
                  <a:lnTo>
                    <a:pt x="0" y="2395"/>
                  </a:lnTo>
                  <a:cubicBezTo>
                    <a:pt x="0" y="2962"/>
                    <a:pt x="473" y="3434"/>
                    <a:pt x="1009" y="3434"/>
                  </a:cubicBezTo>
                  <a:lnTo>
                    <a:pt x="1576" y="3434"/>
                  </a:lnTo>
                  <a:lnTo>
                    <a:pt x="2836" y="4694"/>
                  </a:lnTo>
                  <a:cubicBezTo>
                    <a:pt x="2920" y="4778"/>
                    <a:pt x="3018" y="4806"/>
                    <a:pt x="3102" y="4806"/>
                  </a:cubicBezTo>
                  <a:cubicBezTo>
                    <a:pt x="3144" y="4806"/>
                    <a:pt x="3182" y="4799"/>
                    <a:pt x="3214" y="4789"/>
                  </a:cubicBezTo>
                  <a:cubicBezTo>
                    <a:pt x="3340" y="4726"/>
                    <a:pt x="3434" y="4568"/>
                    <a:pt x="3434" y="4474"/>
                  </a:cubicBezTo>
                  <a:lnTo>
                    <a:pt x="3434" y="3434"/>
                  </a:lnTo>
                  <a:lnTo>
                    <a:pt x="3781" y="3434"/>
                  </a:lnTo>
                  <a:cubicBezTo>
                    <a:pt x="4348" y="3434"/>
                    <a:pt x="4789" y="2962"/>
                    <a:pt x="4789" y="2395"/>
                  </a:cubicBezTo>
                  <a:lnTo>
                    <a:pt x="4789" y="1040"/>
                  </a:lnTo>
                  <a:cubicBezTo>
                    <a:pt x="4789" y="473"/>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3"/>
            <p:cNvSpPr/>
            <p:nvPr/>
          </p:nvSpPr>
          <p:spPr>
            <a:xfrm>
              <a:off x="-30293350" y="4159025"/>
              <a:ext cx="188275" cy="52000"/>
            </a:xfrm>
            <a:custGeom>
              <a:avLst/>
              <a:gdLst/>
              <a:ahLst/>
              <a:cxnLst/>
              <a:rect l="l" t="t" r="r" b="b"/>
              <a:pathLst>
                <a:path w="7531" h="2080" extrusionOk="0">
                  <a:moveTo>
                    <a:pt x="1" y="1"/>
                  </a:moveTo>
                  <a:lnTo>
                    <a:pt x="1" y="1040"/>
                  </a:lnTo>
                  <a:cubicBezTo>
                    <a:pt x="1" y="1607"/>
                    <a:pt x="473" y="2080"/>
                    <a:pt x="1040" y="2080"/>
                  </a:cubicBezTo>
                  <a:lnTo>
                    <a:pt x="6491" y="2080"/>
                  </a:lnTo>
                  <a:cubicBezTo>
                    <a:pt x="7058" y="2080"/>
                    <a:pt x="7530" y="1607"/>
                    <a:pt x="7530" y="1040"/>
                  </a:cubicBezTo>
                  <a:lnTo>
                    <a:pt x="75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3"/>
            <p:cNvSpPr/>
            <p:nvPr/>
          </p:nvSpPr>
          <p:spPr>
            <a:xfrm>
              <a:off x="-30293350" y="3918800"/>
              <a:ext cx="188275" cy="34675"/>
            </a:xfrm>
            <a:custGeom>
              <a:avLst/>
              <a:gdLst/>
              <a:ahLst/>
              <a:cxnLst/>
              <a:rect l="l" t="t" r="r" b="b"/>
              <a:pathLst>
                <a:path w="7531" h="1387" extrusionOk="0">
                  <a:moveTo>
                    <a:pt x="1040" y="1"/>
                  </a:moveTo>
                  <a:cubicBezTo>
                    <a:pt x="473" y="1"/>
                    <a:pt x="1" y="473"/>
                    <a:pt x="1" y="1040"/>
                  </a:cubicBezTo>
                  <a:lnTo>
                    <a:pt x="1" y="1387"/>
                  </a:lnTo>
                  <a:lnTo>
                    <a:pt x="7530" y="1387"/>
                  </a:lnTo>
                  <a:lnTo>
                    <a:pt x="7530" y="1040"/>
                  </a:lnTo>
                  <a:cubicBezTo>
                    <a:pt x="7530" y="505"/>
                    <a:pt x="7058"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3"/>
            <p:cNvSpPr/>
            <p:nvPr/>
          </p:nvSpPr>
          <p:spPr>
            <a:xfrm>
              <a:off x="-30294125" y="3970800"/>
              <a:ext cx="188250" cy="170925"/>
            </a:xfrm>
            <a:custGeom>
              <a:avLst/>
              <a:gdLst/>
              <a:ahLst/>
              <a:cxnLst/>
              <a:rect l="l" t="t" r="r" b="b"/>
              <a:pathLst>
                <a:path w="7530" h="6837" extrusionOk="0">
                  <a:moveTo>
                    <a:pt x="1733" y="0"/>
                  </a:moveTo>
                  <a:cubicBezTo>
                    <a:pt x="2678" y="0"/>
                    <a:pt x="3434" y="756"/>
                    <a:pt x="3434" y="1701"/>
                  </a:cubicBezTo>
                  <a:lnTo>
                    <a:pt x="3434" y="3056"/>
                  </a:lnTo>
                  <a:cubicBezTo>
                    <a:pt x="3434" y="3907"/>
                    <a:pt x="2836" y="4568"/>
                    <a:pt x="2048" y="4757"/>
                  </a:cubicBezTo>
                  <a:lnTo>
                    <a:pt x="2048" y="5167"/>
                  </a:lnTo>
                  <a:cubicBezTo>
                    <a:pt x="2048" y="5576"/>
                    <a:pt x="1828" y="5954"/>
                    <a:pt x="1418" y="6112"/>
                  </a:cubicBezTo>
                  <a:cubicBezTo>
                    <a:pt x="1307" y="6162"/>
                    <a:pt x="1184" y="6187"/>
                    <a:pt x="1058" y="6187"/>
                  </a:cubicBezTo>
                  <a:cubicBezTo>
                    <a:pt x="789" y="6187"/>
                    <a:pt x="508" y="6075"/>
                    <a:pt x="315" y="5860"/>
                  </a:cubicBezTo>
                  <a:lnTo>
                    <a:pt x="0" y="5545"/>
                  </a:lnTo>
                  <a:lnTo>
                    <a:pt x="0" y="6837"/>
                  </a:lnTo>
                  <a:lnTo>
                    <a:pt x="7530" y="6837"/>
                  </a:lnTo>
                  <a:lnTo>
                    <a:pt x="7530" y="5545"/>
                  </a:lnTo>
                  <a:lnTo>
                    <a:pt x="7215" y="5860"/>
                  </a:lnTo>
                  <a:cubicBezTo>
                    <a:pt x="7022" y="6075"/>
                    <a:pt x="6756" y="6187"/>
                    <a:pt x="6496" y="6187"/>
                  </a:cubicBezTo>
                  <a:cubicBezTo>
                    <a:pt x="6374" y="6187"/>
                    <a:pt x="6254" y="6162"/>
                    <a:pt x="6144" y="6112"/>
                  </a:cubicBezTo>
                  <a:cubicBezTo>
                    <a:pt x="5734" y="5954"/>
                    <a:pt x="5514" y="5576"/>
                    <a:pt x="5514" y="5167"/>
                  </a:cubicBezTo>
                  <a:lnTo>
                    <a:pt x="5514" y="4757"/>
                  </a:lnTo>
                  <a:cubicBezTo>
                    <a:pt x="4726" y="4600"/>
                    <a:pt x="4127" y="3907"/>
                    <a:pt x="4127" y="3056"/>
                  </a:cubicBezTo>
                  <a:lnTo>
                    <a:pt x="4127" y="1701"/>
                  </a:lnTo>
                  <a:cubicBezTo>
                    <a:pt x="4127" y="756"/>
                    <a:pt x="488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72" name="Google Shape;7372;p73"/>
          <p:cNvGrpSpPr/>
          <p:nvPr/>
        </p:nvGrpSpPr>
        <p:grpSpPr>
          <a:xfrm>
            <a:off x="2190209" y="1821587"/>
            <a:ext cx="353645" cy="353645"/>
            <a:chOff x="-34763900" y="3561225"/>
            <a:chExt cx="291450" cy="291450"/>
          </a:xfrm>
        </p:grpSpPr>
        <p:sp>
          <p:nvSpPr>
            <p:cNvPr id="7373" name="Google Shape;7373;p73"/>
            <p:cNvSpPr/>
            <p:nvPr/>
          </p:nvSpPr>
          <p:spPr>
            <a:xfrm>
              <a:off x="-34693800" y="3629750"/>
              <a:ext cx="152025" cy="152825"/>
            </a:xfrm>
            <a:custGeom>
              <a:avLst/>
              <a:gdLst/>
              <a:ahLst/>
              <a:cxnLst/>
              <a:rect l="l" t="t" r="r" b="b"/>
              <a:pathLst>
                <a:path w="6081" h="6113" extrusionOk="0">
                  <a:moveTo>
                    <a:pt x="3025" y="1387"/>
                  </a:moveTo>
                  <a:cubicBezTo>
                    <a:pt x="3970" y="1387"/>
                    <a:pt x="4726" y="2143"/>
                    <a:pt x="4726" y="3088"/>
                  </a:cubicBezTo>
                  <a:cubicBezTo>
                    <a:pt x="4726" y="4033"/>
                    <a:pt x="3970" y="4789"/>
                    <a:pt x="3025" y="4789"/>
                  </a:cubicBezTo>
                  <a:cubicBezTo>
                    <a:pt x="2080" y="4789"/>
                    <a:pt x="1324" y="4033"/>
                    <a:pt x="1324" y="3088"/>
                  </a:cubicBezTo>
                  <a:cubicBezTo>
                    <a:pt x="1324" y="2143"/>
                    <a:pt x="2080" y="1387"/>
                    <a:pt x="3025" y="1387"/>
                  </a:cubicBezTo>
                  <a:close/>
                  <a:moveTo>
                    <a:pt x="2710" y="0"/>
                  </a:moveTo>
                  <a:lnTo>
                    <a:pt x="2710" y="442"/>
                  </a:lnTo>
                  <a:cubicBezTo>
                    <a:pt x="2710" y="599"/>
                    <a:pt x="2584" y="725"/>
                    <a:pt x="2426" y="757"/>
                  </a:cubicBezTo>
                  <a:cubicBezTo>
                    <a:pt x="2237" y="788"/>
                    <a:pt x="2017" y="914"/>
                    <a:pt x="1859" y="1009"/>
                  </a:cubicBezTo>
                  <a:cubicBezTo>
                    <a:pt x="1815" y="1031"/>
                    <a:pt x="1762" y="1041"/>
                    <a:pt x="1707" y="1041"/>
                  </a:cubicBezTo>
                  <a:cubicBezTo>
                    <a:pt x="1607" y="1041"/>
                    <a:pt x="1500" y="1007"/>
                    <a:pt x="1418" y="946"/>
                  </a:cubicBezTo>
                  <a:lnTo>
                    <a:pt x="1103" y="631"/>
                  </a:lnTo>
                  <a:lnTo>
                    <a:pt x="631" y="1103"/>
                  </a:lnTo>
                  <a:lnTo>
                    <a:pt x="946" y="1418"/>
                  </a:lnTo>
                  <a:cubicBezTo>
                    <a:pt x="1072" y="1544"/>
                    <a:pt x="1072" y="1702"/>
                    <a:pt x="977" y="1859"/>
                  </a:cubicBezTo>
                  <a:cubicBezTo>
                    <a:pt x="851" y="2048"/>
                    <a:pt x="788" y="2269"/>
                    <a:pt x="757" y="2458"/>
                  </a:cubicBezTo>
                  <a:cubicBezTo>
                    <a:pt x="694" y="2615"/>
                    <a:pt x="599" y="2710"/>
                    <a:pt x="442" y="2710"/>
                  </a:cubicBezTo>
                  <a:lnTo>
                    <a:pt x="1" y="2710"/>
                  </a:lnTo>
                  <a:lnTo>
                    <a:pt x="1" y="3403"/>
                  </a:lnTo>
                  <a:lnTo>
                    <a:pt x="442" y="3403"/>
                  </a:lnTo>
                  <a:cubicBezTo>
                    <a:pt x="599" y="3403"/>
                    <a:pt x="694" y="3498"/>
                    <a:pt x="757" y="3655"/>
                  </a:cubicBezTo>
                  <a:cubicBezTo>
                    <a:pt x="788" y="3876"/>
                    <a:pt x="914" y="4096"/>
                    <a:pt x="977" y="4254"/>
                  </a:cubicBezTo>
                  <a:cubicBezTo>
                    <a:pt x="1072" y="4380"/>
                    <a:pt x="1009" y="4569"/>
                    <a:pt x="946" y="4695"/>
                  </a:cubicBezTo>
                  <a:lnTo>
                    <a:pt x="631" y="5010"/>
                  </a:lnTo>
                  <a:lnTo>
                    <a:pt x="1103" y="5482"/>
                  </a:lnTo>
                  <a:lnTo>
                    <a:pt x="1418" y="5167"/>
                  </a:lnTo>
                  <a:cubicBezTo>
                    <a:pt x="1486" y="5100"/>
                    <a:pt x="1562" y="5068"/>
                    <a:pt x="1643" y="5068"/>
                  </a:cubicBezTo>
                  <a:cubicBezTo>
                    <a:pt x="1713" y="5068"/>
                    <a:pt x="1786" y="5092"/>
                    <a:pt x="1859" y="5136"/>
                  </a:cubicBezTo>
                  <a:cubicBezTo>
                    <a:pt x="2048" y="5230"/>
                    <a:pt x="2237" y="5325"/>
                    <a:pt x="2426" y="5356"/>
                  </a:cubicBezTo>
                  <a:cubicBezTo>
                    <a:pt x="2584" y="5419"/>
                    <a:pt x="2710" y="5514"/>
                    <a:pt x="2710" y="5671"/>
                  </a:cubicBezTo>
                  <a:lnTo>
                    <a:pt x="2710" y="6112"/>
                  </a:lnTo>
                  <a:lnTo>
                    <a:pt x="3372" y="6112"/>
                  </a:lnTo>
                  <a:lnTo>
                    <a:pt x="3372" y="5734"/>
                  </a:lnTo>
                  <a:cubicBezTo>
                    <a:pt x="3372" y="5577"/>
                    <a:pt x="3498" y="5451"/>
                    <a:pt x="3655" y="5419"/>
                  </a:cubicBezTo>
                  <a:cubicBezTo>
                    <a:pt x="3844" y="5356"/>
                    <a:pt x="4096" y="5262"/>
                    <a:pt x="4254" y="5167"/>
                  </a:cubicBezTo>
                  <a:cubicBezTo>
                    <a:pt x="4300" y="5133"/>
                    <a:pt x="4355" y="5119"/>
                    <a:pt x="4410" y="5119"/>
                  </a:cubicBezTo>
                  <a:cubicBezTo>
                    <a:pt x="4506" y="5119"/>
                    <a:pt x="4603" y="5159"/>
                    <a:pt x="4663" y="5199"/>
                  </a:cubicBezTo>
                  <a:lnTo>
                    <a:pt x="5010" y="5514"/>
                  </a:lnTo>
                  <a:lnTo>
                    <a:pt x="5451" y="5041"/>
                  </a:lnTo>
                  <a:lnTo>
                    <a:pt x="5136" y="4726"/>
                  </a:lnTo>
                  <a:cubicBezTo>
                    <a:pt x="5041" y="4632"/>
                    <a:pt x="5041" y="4474"/>
                    <a:pt x="5104" y="4285"/>
                  </a:cubicBezTo>
                  <a:cubicBezTo>
                    <a:pt x="5230" y="4096"/>
                    <a:pt x="5293" y="3907"/>
                    <a:pt x="5356" y="3718"/>
                  </a:cubicBezTo>
                  <a:cubicBezTo>
                    <a:pt x="5388" y="3561"/>
                    <a:pt x="5514" y="3434"/>
                    <a:pt x="5671" y="3434"/>
                  </a:cubicBezTo>
                  <a:lnTo>
                    <a:pt x="6081" y="3434"/>
                  </a:lnTo>
                  <a:lnTo>
                    <a:pt x="6081" y="2773"/>
                  </a:lnTo>
                  <a:lnTo>
                    <a:pt x="5671" y="2773"/>
                  </a:lnTo>
                  <a:cubicBezTo>
                    <a:pt x="5514" y="2710"/>
                    <a:pt x="5388" y="2615"/>
                    <a:pt x="5356" y="2458"/>
                  </a:cubicBezTo>
                  <a:cubicBezTo>
                    <a:pt x="5293" y="2269"/>
                    <a:pt x="5199" y="2017"/>
                    <a:pt x="5104" y="1859"/>
                  </a:cubicBezTo>
                  <a:cubicBezTo>
                    <a:pt x="5041" y="1733"/>
                    <a:pt x="5073" y="1544"/>
                    <a:pt x="5136" y="1418"/>
                  </a:cubicBezTo>
                  <a:lnTo>
                    <a:pt x="5451" y="1103"/>
                  </a:lnTo>
                  <a:lnTo>
                    <a:pt x="5010" y="631"/>
                  </a:lnTo>
                  <a:lnTo>
                    <a:pt x="4663" y="946"/>
                  </a:lnTo>
                  <a:cubicBezTo>
                    <a:pt x="4608" y="1019"/>
                    <a:pt x="4531" y="1050"/>
                    <a:pt x="4445" y="1050"/>
                  </a:cubicBezTo>
                  <a:cubicBezTo>
                    <a:pt x="4384" y="1050"/>
                    <a:pt x="4319" y="1035"/>
                    <a:pt x="4254" y="1009"/>
                  </a:cubicBezTo>
                  <a:cubicBezTo>
                    <a:pt x="4033" y="883"/>
                    <a:pt x="3844" y="788"/>
                    <a:pt x="3655" y="757"/>
                  </a:cubicBezTo>
                  <a:cubicBezTo>
                    <a:pt x="3498" y="725"/>
                    <a:pt x="3372" y="599"/>
                    <a:pt x="3372" y="442"/>
                  </a:cubicBez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3"/>
            <p:cNvSpPr/>
            <p:nvPr/>
          </p:nvSpPr>
          <p:spPr>
            <a:xfrm>
              <a:off x="-34763900" y="3561225"/>
              <a:ext cx="291450" cy="291450"/>
            </a:xfrm>
            <a:custGeom>
              <a:avLst/>
              <a:gdLst/>
              <a:ahLst/>
              <a:cxnLst/>
              <a:rect l="l" t="t" r="r" b="b"/>
              <a:pathLst>
                <a:path w="11658" h="11658" extrusionOk="0">
                  <a:moveTo>
                    <a:pt x="6522" y="2048"/>
                  </a:moveTo>
                  <a:cubicBezTo>
                    <a:pt x="6743" y="2048"/>
                    <a:pt x="6900" y="2206"/>
                    <a:pt x="6900" y="2395"/>
                  </a:cubicBezTo>
                  <a:lnTo>
                    <a:pt x="6900" y="2899"/>
                  </a:lnTo>
                  <a:cubicBezTo>
                    <a:pt x="6995" y="2962"/>
                    <a:pt x="7089" y="2994"/>
                    <a:pt x="7152" y="3025"/>
                  </a:cubicBezTo>
                  <a:lnTo>
                    <a:pt x="7530" y="2678"/>
                  </a:lnTo>
                  <a:cubicBezTo>
                    <a:pt x="7578" y="2615"/>
                    <a:pt x="7664" y="2584"/>
                    <a:pt x="7755" y="2584"/>
                  </a:cubicBezTo>
                  <a:cubicBezTo>
                    <a:pt x="7845" y="2584"/>
                    <a:pt x="7940" y="2615"/>
                    <a:pt x="8003" y="2678"/>
                  </a:cubicBezTo>
                  <a:lnTo>
                    <a:pt x="8979" y="3655"/>
                  </a:lnTo>
                  <a:cubicBezTo>
                    <a:pt x="9106" y="3781"/>
                    <a:pt x="9106" y="4002"/>
                    <a:pt x="8979" y="4128"/>
                  </a:cubicBezTo>
                  <a:lnTo>
                    <a:pt x="8633" y="4474"/>
                  </a:lnTo>
                  <a:cubicBezTo>
                    <a:pt x="8664" y="4569"/>
                    <a:pt x="8696" y="4695"/>
                    <a:pt x="8727" y="4758"/>
                  </a:cubicBezTo>
                  <a:lnTo>
                    <a:pt x="9263" y="4758"/>
                  </a:lnTo>
                  <a:cubicBezTo>
                    <a:pt x="9452" y="4758"/>
                    <a:pt x="9610" y="4915"/>
                    <a:pt x="9610" y="5104"/>
                  </a:cubicBezTo>
                  <a:lnTo>
                    <a:pt x="9610" y="6491"/>
                  </a:lnTo>
                  <a:cubicBezTo>
                    <a:pt x="9610" y="6680"/>
                    <a:pt x="9452" y="6837"/>
                    <a:pt x="9263" y="6837"/>
                  </a:cubicBezTo>
                  <a:lnTo>
                    <a:pt x="8727" y="6837"/>
                  </a:lnTo>
                  <a:cubicBezTo>
                    <a:pt x="8696" y="6963"/>
                    <a:pt x="8664" y="7026"/>
                    <a:pt x="8633" y="7121"/>
                  </a:cubicBezTo>
                  <a:lnTo>
                    <a:pt x="8979" y="7467"/>
                  </a:lnTo>
                  <a:cubicBezTo>
                    <a:pt x="9106" y="7593"/>
                    <a:pt x="9106" y="7814"/>
                    <a:pt x="8979" y="7940"/>
                  </a:cubicBezTo>
                  <a:lnTo>
                    <a:pt x="8003" y="8916"/>
                  </a:lnTo>
                  <a:cubicBezTo>
                    <a:pt x="7940" y="8979"/>
                    <a:pt x="7845" y="9011"/>
                    <a:pt x="7755" y="9011"/>
                  </a:cubicBezTo>
                  <a:cubicBezTo>
                    <a:pt x="7664" y="9011"/>
                    <a:pt x="7578" y="8979"/>
                    <a:pt x="7530" y="8916"/>
                  </a:cubicBezTo>
                  <a:lnTo>
                    <a:pt x="7152" y="8570"/>
                  </a:lnTo>
                  <a:cubicBezTo>
                    <a:pt x="7089" y="8601"/>
                    <a:pt x="6963" y="8664"/>
                    <a:pt x="6900" y="8696"/>
                  </a:cubicBezTo>
                  <a:lnTo>
                    <a:pt x="6900" y="9200"/>
                  </a:lnTo>
                  <a:cubicBezTo>
                    <a:pt x="6900" y="9389"/>
                    <a:pt x="6743" y="9547"/>
                    <a:pt x="6522" y="9547"/>
                  </a:cubicBezTo>
                  <a:lnTo>
                    <a:pt x="5167" y="9547"/>
                  </a:lnTo>
                  <a:cubicBezTo>
                    <a:pt x="4947" y="9547"/>
                    <a:pt x="4789" y="9389"/>
                    <a:pt x="4789" y="9200"/>
                  </a:cubicBezTo>
                  <a:lnTo>
                    <a:pt x="4789" y="8696"/>
                  </a:lnTo>
                  <a:cubicBezTo>
                    <a:pt x="4695" y="8664"/>
                    <a:pt x="4600" y="8601"/>
                    <a:pt x="4537" y="8570"/>
                  </a:cubicBezTo>
                  <a:lnTo>
                    <a:pt x="4159" y="8916"/>
                  </a:lnTo>
                  <a:cubicBezTo>
                    <a:pt x="4112" y="8979"/>
                    <a:pt x="4025" y="9011"/>
                    <a:pt x="3935" y="9011"/>
                  </a:cubicBezTo>
                  <a:cubicBezTo>
                    <a:pt x="3844" y="9011"/>
                    <a:pt x="3750" y="8979"/>
                    <a:pt x="3687" y="8916"/>
                  </a:cubicBezTo>
                  <a:lnTo>
                    <a:pt x="2710" y="7940"/>
                  </a:lnTo>
                  <a:cubicBezTo>
                    <a:pt x="2584" y="7814"/>
                    <a:pt x="2584" y="7593"/>
                    <a:pt x="2710" y="7467"/>
                  </a:cubicBezTo>
                  <a:lnTo>
                    <a:pt x="3057" y="7121"/>
                  </a:lnTo>
                  <a:cubicBezTo>
                    <a:pt x="3025" y="7026"/>
                    <a:pt x="2994" y="6932"/>
                    <a:pt x="2962" y="6837"/>
                  </a:cubicBezTo>
                  <a:lnTo>
                    <a:pt x="2426" y="6837"/>
                  </a:lnTo>
                  <a:cubicBezTo>
                    <a:pt x="2237" y="6837"/>
                    <a:pt x="2080" y="6680"/>
                    <a:pt x="2080" y="6491"/>
                  </a:cubicBezTo>
                  <a:lnTo>
                    <a:pt x="2080" y="5104"/>
                  </a:lnTo>
                  <a:cubicBezTo>
                    <a:pt x="2080" y="4915"/>
                    <a:pt x="2237" y="4758"/>
                    <a:pt x="2426" y="4758"/>
                  </a:cubicBezTo>
                  <a:lnTo>
                    <a:pt x="2962" y="4758"/>
                  </a:lnTo>
                  <a:cubicBezTo>
                    <a:pt x="2994" y="4632"/>
                    <a:pt x="3025" y="4569"/>
                    <a:pt x="3057" y="4474"/>
                  </a:cubicBezTo>
                  <a:lnTo>
                    <a:pt x="2710" y="4128"/>
                  </a:lnTo>
                  <a:cubicBezTo>
                    <a:pt x="2584" y="4002"/>
                    <a:pt x="2584" y="3781"/>
                    <a:pt x="2710" y="3655"/>
                  </a:cubicBezTo>
                  <a:lnTo>
                    <a:pt x="3687" y="2678"/>
                  </a:lnTo>
                  <a:cubicBezTo>
                    <a:pt x="3750" y="2615"/>
                    <a:pt x="3844" y="2584"/>
                    <a:pt x="3935" y="2584"/>
                  </a:cubicBezTo>
                  <a:cubicBezTo>
                    <a:pt x="4025" y="2584"/>
                    <a:pt x="4112" y="2615"/>
                    <a:pt x="4159" y="2678"/>
                  </a:cubicBezTo>
                  <a:lnTo>
                    <a:pt x="4537" y="3025"/>
                  </a:lnTo>
                  <a:cubicBezTo>
                    <a:pt x="4600" y="2994"/>
                    <a:pt x="4726" y="2962"/>
                    <a:pt x="4789" y="2899"/>
                  </a:cubicBezTo>
                  <a:lnTo>
                    <a:pt x="4789" y="2395"/>
                  </a:lnTo>
                  <a:cubicBezTo>
                    <a:pt x="4789" y="2206"/>
                    <a:pt x="4947" y="2048"/>
                    <a:pt x="5167" y="2048"/>
                  </a:cubicBezTo>
                  <a:close/>
                  <a:moveTo>
                    <a:pt x="5829" y="1"/>
                  </a:moveTo>
                  <a:cubicBezTo>
                    <a:pt x="2647" y="1"/>
                    <a:pt x="1" y="2647"/>
                    <a:pt x="1" y="5829"/>
                  </a:cubicBezTo>
                  <a:cubicBezTo>
                    <a:pt x="1" y="6837"/>
                    <a:pt x="284" y="7877"/>
                    <a:pt x="820" y="8790"/>
                  </a:cubicBezTo>
                  <a:lnTo>
                    <a:pt x="32" y="11185"/>
                  </a:lnTo>
                  <a:cubicBezTo>
                    <a:pt x="1" y="11311"/>
                    <a:pt x="32" y="11468"/>
                    <a:pt x="127" y="11531"/>
                  </a:cubicBezTo>
                  <a:cubicBezTo>
                    <a:pt x="174" y="11602"/>
                    <a:pt x="274" y="11638"/>
                    <a:pt x="375" y="11638"/>
                  </a:cubicBezTo>
                  <a:cubicBezTo>
                    <a:pt x="408" y="11638"/>
                    <a:pt x="442" y="11634"/>
                    <a:pt x="473" y="11626"/>
                  </a:cubicBezTo>
                  <a:lnTo>
                    <a:pt x="2868" y="10838"/>
                  </a:lnTo>
                  <a:cubicBezTo>
                    <a:pt x="3781" y="11374"/>
                    <a:pt x="4789" y="11657"/>
                    <a:pt x="5829" y="11657"/>
                  </a:cubicBezTo>
                  <a:cubicBezTo>
                    <a:pt x="9011" y="11657"/>
                    <a:pt x="11657" y="9011"/>
                    <a:pt x="11657" y="5829"/>
                  </a:cubicBezTo>
                  <a:cubicBezTo>
                    <a:pt x="11657" y="2584"/>
                    <a:pt x="9011"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3"/>
            <p:cNvSpPr/>
            <p:nvPr/>
          </p:nvSpPr>
          <p:spPr>
            <a:xfrm>
              <a:off x="-34644175" y="3680950"/>
              <a:ext cx="51225" cy="51225"/>
            </a:xfrm>
            <a:custGeom>
              <a:avLst/>
              <a:gdLst/>
              <a:ahLst/>
              <a:cxnLst/>
              <a:rect l="l" t="t" r="r" b="b"/>
              <a:pathLst>
                <a:path w="2049" h="2049" extrusionOk="0">
                  <a:moveTo>
                    <a:pt x="1040" y="0"/>
                  </a:moveTo>
                  <a:cubicBezTo>
                    <a:pt x="473" y="0"/>
                    <a:pt x="0" y="473"/>
                    <a:pt x="0" y="1040"/>
                  </a:cubicBezTo>
                  <a:cubicBezTo>
                    <a:pt x="0" y="1576"/>
                    <a:pt x="473" y="2048"/>
                    <a:pt x="1040" y="2048"/>
                  </a:cubicBezTo>
                  <a:cubicBezTo>
                    <a:pt x="1576" y="2048"/>
                    <a:pt x="2048" y="1576"/>
                    <a:pt x="2048" y="1040"/>
                  </a:cubicBezTo>
                  <a:cubicBezTo>
                    <a:pt x="2048" y="441"/>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76" name="Google Shape;7376;p73"/>
          <p:cNvSpPr/>
          <p:nvPr/>
        </p:nvSpPr>
        <p:spPr>
          <a:xfrm>
            <a:off x="2189608" y="2257019"/>
            <a:ext cx="353645" cy="353615"/>
          </a:xfrm>
          <a:custGeom>
            <a:avLst/>
            <a:gdLst/>
            <a:ahLst/>
            <a:cxnLst/>
            <a:rect l="l" t="t" r="r" b="b"/>
            <a:pathLst>
              <a:path w="11658" h="11657" extrusionOk="0">
                <a:moveTo>
                  <a:pt x="5955" y="1733"/>
                </a:moveTo>
                <a:cubicBezTo>
                  <a:pt x="7089" y="1733"/>
                  <a:pt x="8003" y="2647"/>
                  <a:pt x="8003" y="3781"/>
                </a:cubicBezTo>
                <a:cubicBezTo>
                  <a:pt x="7877" y="4442"/>
                  <a:pt x="7562" y="5041"/>
                  <a:pt x="7058" y="5419"/>
                </a:cubicBezTo>
                <a:cubicBezTo>
                  <a:pt x="6837" y="5577"/>
                  <a:pt x="6522" y="5892"/>
                  <a:pt x="6522" y="6333"/>
                </a:cubicBezTo>
                <a:lnTo>
                  <a:pt x="6522" y="6522"/>
                </a:lnTo>
                <a:cubicBezTo>
                  <a:pt x="6522" y="6931"/>
                  <a:pt x="6207" y="7215"/>
                  <a:pt x="5861" y="7215"/>
                </a:cubicBezTo>
                <a:cubicBezTo>
                  <a:pt x="5482" y="7215"/>
                  <a:pt x="5199" y="6900"/>
                  <a:pt x="5199" y="6522"/>
                </a:cubicBezTo>
                <a:lnTo>
                  <a:pt x="5199" y="6333"/>
                </a:lnTo>
                <a:cubicBezTo>
                  <a:pt x="5199" y="5577"/>
                  <a:pt x="5577" y="4852"/>
                  <a:pt x="6302" y="4316"/>
                </a:cubicBezTo>
                <a:cubicBezTo>
                  <a:pt x="6491" y="4190"/>
                  <a:pt x="6585" y="4001"/>
                  <a:pt x="6585" y="3781"/>
                </a:cubicBezTo>
                <a:cubicBezTo>
                  <a:pt x="6585" y="3371"/>
                  <a:pt x="6270" y="3119"/>
                  <a:pt x="5892" y="3119"/>
                </a:cubicBezTo>
                <a:cubicBezTo>
                  <a:pt x="5514" y="3119"/>
                  <a:pt x="5230" y="3434"/>
                  <a:pt x="5230" y="3781"/>
                </a:cubicBezTo>
                <a:cubicBezTo>
                  <a:pt x="5230" y="4159"/>
                  <a:pt x="4915" y="4442"/>
                  <a:pt x="4569" y="4442"/>
                </a:cubicBezTo>
                <a:cubicBezTo>
                  <a:pt x="4191" y="4442"/>
                  <a:pt x="3907" y="4127"/>
                  <a:pt x="3907" y="3781"/>
                </a:cubicBezTo>
                <a:cubicBezTo>
                  <a:pt x="3907" y="2647"/>
                  <a:pt x="4821" y="1733"/>
                  <a:pt x="5955" y="1733"/>
                </a:cubicBezTo>
                <a:close/>
                <a:moveTo>
                  <a:pt x="5829" y="8570"/>
                </a:moveTo>
                <a:cubicBezTo>
                  <a:pt x="6176" y="8570"/>
                  <a:pt x="6491" y="8885"/>
                  <a:pt x="6491" y="9263"/>
                </a:cubicBezTo>
                <a:cubicBezTo>
                  <a:pt x="6491" y="9641"/>
                  <a:pt x="6207" y="9924"/>
                  <a:pt x="5829" y="9924"/>
                </a:cubicBezTo>
                <a:cubicBezTo>
                  <a:pt x="5419" y="9924"/>
                  <a:pt x="5167" y="9609"/>
                  <a:pt x="5167" y="9263"/>
                </a:cubicBezTo>
                <a:cubicBezTo>
                  <a:pt x="5167" y="8853"/>
                  <a:pt x="5482" y="8570"/>
                  <a:pt x="5829" y="8570"/>
                </a:cubicBezTo>
                <a:close/>
                <a:moveTo>
                  <a:pt x="5829" y="0"/>
                </a:moveTo>
                <a:cubicBezTo>
                  <a:pt x="2647" y="0"/>
                  <a:pt x="1" y="2615"/>
                  <a:pt x="1" y="5829"/>
                </a:cubicBezTo>
                <a:cubicBezTo>
                  <a:pt x="1" y="9011"/>
                  <a:pt x="2647" y="11657"/>
                  <a:pt x="5829" y="11657"/>
                </a:cubicBezTo>
                <a:cubicBezTo>
                  <a:pt x="9011" y="11657"/>
                  <a:pt x="11657" y="9011"/>
                  <a:pt x="11657" y="5829"/>
                </a:cubicBezTo>
                <a:cubicBezTo>
                  <a:pt x="11657" y="2647"/>
                  <a:pt x="9011"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77" name="Google Shape;7377;p73"/>
          <p:cNvGrpSpPr/>
          <p:nvPr/>
        </p:nvGrpSpPr>
        <p:grpSpPr>
          <a:xfrm>
            <a:off x="845106" y="2730099"/>
            <a:ext cx="354586" cy="354586"/>
            <a:chOff x="-32927950" y="3227275"/>
            <a:chExt cx="292225" cy="292225"/>
          </a:xfrm>
        </p:grpSpPr>
        <p:sp>
          <p:nvSpPr>
            <p:cNvPr id="7378" name="Google Shape;7378;p73"/>
            <p:cNvSpPr/>
            <p:nvPr/>
          </p:nvSpPr>
          <p:spPr>
            <a:xfrm>
              <a:off x="-32927950" y="3228075"/>
              <a:ext cx="69325" cy="291425"/>
            </a:xfrm>
            <a:custGeom>
              <a:avLst/>
              <a:gdLst/>
              <a:ahLst/>
              <a:cxnLst/>
              <a:rect l="l" t="t" r="r" b="b"/>
              <a:pathLst>
                <a:path w="2773" h="11657" extrusionOk="0">
                  <a:moveTo>
                    <a:pt x="1733" y="0"/>
                  </a:moveTo>
                  <a:cubicBezTo>
                    <a:pt x="1198" y="0"/>
                    <a:pt x="725" y="473"/>
                    <a:pt x="725" y="1040"/>
                  </a:cubicBezTo>
                  <a:lnTo>
                    <a:pt x="725" y="1386"/>
                  </a:lnTo>
                  <a:lnTo>
                    <a:pt x="347" y="1386"/>
                  </a:lnTo>
                  <a:cubicBezTo>
                    <a:pt x="158" y="1386"/>
                    <a:pt x="1" y="1544"/>
                    <a:pt x="1" y="1733"/>
                  </a:cubicBezTo>
                  <a:cubicBezTo>
                    <a:pt x="1" y="1922"/>
                    <a:pt x="158" y="2079"/>
                    <a:pt x="347" y="2079"/>
                  </a:cubicBezTo>
                  <a:lnTo>
                    <a:pt x="725" y="2079"/>
                  </a:lnTo>
                  <a:lnTo>
                    <a:pt x="725" y="3466"/>
                  </a:lnTo>
                  <a:lnTo>
                    <a:pt x="347" y="3466"/>
                  </a:lnTo>
                  <a:cubicBezTo>
                    <a:pt x="158" y="3466"/>
                    <a:pt x="1" y="3623"/>
                    <a:pt x="1" y="3812"/>
                  </a:cubicBezTo>
                  <a:cubicBezTo>
                    <a:pt x="1" y="4033"/>
                    <a:pt x="158" y="4190"/>
                    <a:pt x="347" y="4190"/>
                  </a:cubicBezTo>
                  <a:lnTo>
                    <a:pt x="725" y="4190"/>
                  </a:lnTo>
                  <a:lnTo>
                    <a:pt x="725" y="5608"/>
                  </a:lnTo>
                  <a:lnTo>
                    <a:pt x="347" y="5608"/>
                  </a:lnTo>
                  <a:cubicBezTo>
                    <a:pt x="158" y="5608"/>
                    <a:pt x="1" y="5765"/>
                    <a:pt x="1" y="5954"/>
                  </a:cubicBezTo>
                  <a:cubicBezTo>
                    <a:pt x="1" y="6143"/>
                    <a:pt x="158" y="6301"/>
                    <a:pt x="347" y="6301"/>
                  </a:cubicBezTo>
                  <a:lnTo>
                    <a:pt x="725" y="6301"/>
                  </a:lnTo>
                  <a:lnTo>
                    <a:pt x="725" y="7687"/>
                  </a:lnTo>
                  <a:lnTo>
                    <a:pt x="347" y="7687"/>
                  </a:lnTo>
                  <a:cubicBezTo>
                    <a:pt x="158" y="7687"/>
                    <a:pt x="1" y="7845"/>
                    <a:pt x="1" y="8034"/>
                  </a:cubicBezTo>
                  <a:cubicBezTo>
                    <a:pt x="1" y="8223"/>
                    <a:pt x="158" y="8380"/>
                    <a:pt x="347" y="8380"/>
                  </a:cubicBezTo>
                  <a:lnTo>
                    <a:pt x="725" y="8380"/>
                  </a:lnTo>
                  <a:lnTo>
                    <a:pt x="725" y="9767"/>
                  </a:lnTo>
                  <a:lnTo>
                    <a:pt x="347" y="9767"/>
                  </a:lnTo>
                  <a:lnTo>
                    <a:pt x="347" y="9577"/>
                  </a:lnTo>
                  <a:cubicBezTo>
                    <a:pt x="158" y="9577"/>
                    <a:pt x="1" y="9735"/>
                    <a:pt x="1" y="9924"/>
                  </a:cubicBezTo>
                  <a:cubicBezTo>
                    <a:pt x="1" y="10113"/>
                    <a:pt x="158" y="10271"/>
                    <a:pt x="347" y="10271"/>
                  </a:cubicBezTo>
                  <a:lnTo>
                    <a:pt x="725" y="10271"/>
                  </a:lnTo>
                  <a:lnTo>
                    <a:pt x="725" y="10649"/>
                  </a:lnTo>
                  <a:cubicBezTo>
                    <a:pt x="725" y="11184"/>
                    <a:pt x="1198" y="11657"/>
                    <a:pt x="1733" y="11657"/>
                  </a:cubicBezTo>
                  <a:lnTo>
                    <a:pt x="2773" y="11657"/>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3"/>
            <p:cNvSpPr/>
            <p:nvPr/>
          </p:nvSpPr>
          <p:spPr>
            <a:xfrm>
              <a:off x="-32841300" y="3227275"/>
              <a:ext cx="154400" cy="291450"/>
            </a:xfrm>
            <a:custGeom>
              <a:avLst/>
              <a:gdLst/>
              <a:ahLst/>
              <a:cxnLst/>
              <a:rect l="l" t="t" r="r" b="b"/>
              <a:pathLst>
                <a:path w="6176" h="11658" extrusionOk="0">
                  <a:moveTo>
                    <a:pt x="4096" y="2048"/>
                  </a:moveTo>
                  <a:cubicBezTo>
                    <a:pt x="4285" y="2048"/>
                    <a:pt x="4442" y="2206"/>
                    <a:pt x="4442" y="2395"/>
                  </a:cubicBezTo>
                  <a:lnTo>
                    <a:pt x="4442" y="3750"/>
                  </a:lnTo>
                  <a:cubicBezTo>
                    <a:pt x="4442" y="3939"/>
                    <a:pt x="4285" y="4096"/>
                    <a:pt x="4096" y="4096"/>
                  </a:cubicBezTo>
                  <a:lnTo>
                    <a:pt x="3088" y="4096"/>
                  </a:lnTo>
                  <a:lnTo>
                    <a:pt x="3088" y="7562"/>
                  </a:lnTo>
                  <a:lnTo>
                    <a:pt x="4096" y="7562"/>
                  </a:lnTo>
                  <a:cubicBezTo>
                    <a:pt x="4285" y="7562"/>
                    <a:pt x="4442" y="7719"/>
                    <a:pt x="4442" y="7908"/>
                  </a:cubicBezTo>
                  <a:lnTo>
                    <a:pt x="4442" y="9294"/>
                  </a:lnTo>
                  <a:cubicBezTo>
                    <a:pt x="4442" y="9483"/>
                    <a:pt x="4285" y="9641"/>
                    <a:pt x="4096" y="9641"/>
                  </a:cubicBezTo>
                  <a:lnTo>
                    <a:pt x="3088" y="9641"/>
                  </a:lnTo>
                  <a:cubicBezTo>
                    <a:pt x="2332" y="9641"/>
                    <a:pt x="1701" y="9011"/>
                    <a:pt x="1701" y="8255"/>
                  </a:cubicBezTo>
                  <a:lnTo>
                    <a:pt x="1701" y="3435"/>
                  </a:lnTo>
                  <a:cubicBezTo>
                    <a:pt x="1701" y="2678"/>
                    <a:pt x="2332" y="2048"/>
                    <a:pt x="3088" y="2048"/>
                  </a:cubicBezTo>
                  <a:close/>
                  <a:moveTo>
                    <a:pt x="0" y="1"/>
                  </a:moveTo>
                  <a:lnTo>
                    <a:pt x="0" y="11657"/>
                  </a:lnTo>
                  <a:lnTo>
                    <a:pt x="5167" y="11657"/>
                  </a:lnTo>
                  <a:cubicBezTo>
                    <a:pt x="5703" y="11657"/>
                    <a:pt x="6175" y="11185"/>
                    <a:pt x="6175" y="10618"/>
                  </a:cubicBezTo>
                  <a:lnTo>
                    <a:pt x="6175" y="1009"/>
                  </a:lnTo>
                  <a:cubicBezTo>
                    <a:pt x="6175" y="473"/>
                    <a:pt x="5703"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3"/>
            <p:cNvSpPr/>
            <p:nvPr/>
          </p:nvSpPr>
          <p:spPr>
            <a:xfrm>
              <a:off x="-32669600" y="3261925"/>
              <a:ext cx="33875" cy="51225"/>
            </a:xfrm>
            <a:custGeom>
              <a:avLst/>
              <a:gdLst/>
              <a:ahLst/>
              <a:cxnLst/>
              <a:rect l="l" t="t" r="r" b="b"/>
              <a:pathLst>
                <a:path w="1355" h="2049" extrusionOk="0">
                  <a:moveTo>
                    <a:pt x="0" y="1"/>
                  </a:moveTo>
                  <a:lnTo>
                    <a:pt x="0" y="2049"/>
                  </a:lnTo>
                  <a:lnTo>
                    <a:pt x="1355" y="2049"/>
                  </a:lnTo>
                  <a:lnTo>
                    <a:pt x="1355" y="347"/>
                  </a:lnTo>
                  <a:cubicBezTo>
                    <a:pt x="1355" y="158"/>
                    <a:pt x="119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3"/>
            <p:cNvSpPr/>
            <p:nvPr/>
          </p:nvSpPr>
          <p:spPr>
            <a:xfrm>
              <a:off x="-32669600" y="3329675"/>
              <a:ext cx="33875" cy="35450"/>
            </a:xfrm>
            <a:custGeom>
              <a:avLst/>
              <a:gdLst/>
              <a:ahLst/>
              <a:cxnLst/>
              <a:rect l="l" t="t" r="r" b="b"/>
              <a:pathLst>
                <a:path w="1355" h="1418" extrusionOk="0">
                  <a:moveTo>
                    <a:pt x="0" y="0"/>
                  </a:moveTo>
                  <a:lnTo>
                    <a:pt x="0" y="1418"/>
                  </a:lnTo>
                  <a:lnTo>
                    <a:pt x="1355" y="1418"/>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3"/>
            <p:cNvSpPr/>
            <p:nvPr/>
          </p:nvSpPr>
          <p:spPr>
            <a:xfrm>
              <a:off x="-32669600" y="3381650"/>
              <a:ext cx="33875" cy="51225"/>
            </a:xfrm>
            <a:custGeom>
              <a:avLst/>
              <a:gdLst/>
              <a:ahLst/>
              <a:cxnLst/>
              <a:rect l="l" t="t" r="r" b="b"/>
              <a:pathLst>
                <a:path w="1355" h="2049" extrusionOk="0">
                  <a:moveTo>
                    <a:pt x="0" y="0"/>
                  </a:moveTo>
                  <a:lnTo>
                    <a:pt x="0" y="2048"/>
                  </a:lnTo>
                  <a:lnTo>
                    <a:pt x="1008" y="2048"/>
                  </a:lnTo>
                  <a:cubicBezTo>
                    <a:pt x="1197" y="2048"/>
                    <a:pt x="1355" y="1891"/>
                    <a:pt x="1355" y="170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3" name="Google Shape;7383;p73"/>
          <p:cNvGrpSpPr/>
          <p:nvPr/>
        </p:nvGrpSpPr>
        <p:grpSpPr>
          <a:xfrm>
            <a:off x="844621" y="3201213"/>
            <a:ext cx="355557" cy="353645"/>
            <a:chOff x="-32927950" y="3586425"/>
            <a:chExt cx="293025" cy="291450"/>
          </a:xfrm>
        </p:grpSpPr>
        <p:sp>
          <p:nvSpPr>
            <p:cNvPr id="7384" name="Google Shape;7384;p73"/>
            <p:cNvSpPr/>
            <p:nvPr/>
          </p:nvSpPr>
          <p:spPr>
            <a:xfrm>
              <a:off x="-32927950" y="3843975"/>
              <a:ext cx="293025" cy="33900"/>
            </a:xfrm>
            <a:custGeom>
              <a:avLst/>
              <a:gdLst/>
              <a:ahLst/>
              <a:cxnLst/>
              <a:rect l="l" t="t" r="r" b="b"/>
              <a:pathLst>
                <a:path w="11721" h="1356" extrusionOk="0">
                  <a:moveTo>
                    <a:pt x="662" y="1"/>
                  </a:moveTo>
                  <a:cubicBezTo>
                    <a:pt x="284" y="1"/>
                    <a:pt x="1" y="316"/>
                    <a:pt x="1" y="662"/>
                  </a:cubicBezTo>
                  <a:lnTo>
                    <a:pt x="1" y="1009"/>
                  </a:lnTo>
                  <a:cubicBezTo>
                    <a:pt x="1" y="1198"/>
                    <a:pt x="158" y="1355"/>
                    <a:pt x="347" y="1355"/>
                  </a:cubicBezTo>
                  <a:lnTo>
                    <a:pt x="11342" y="1355"/>
                  </a:lnTo>
                  <a:cubicBezTo>
                    <a:pt x="11563" y="1355"/>
                    <a:pt x="11720" y="1198"/>
                    <a:pt x="11720" y="1009"/>
                  </a:cubicBezTo>
                  <a:lnTo>
                    <a:pt x="11720" y="694"/>
                  </a:lnTo>
                  <a:cubicBezTo>
                    <a:pt x="11689" y="316"/>
                    <a:pt x="11374" y="1"/>
                    <a:pt x="109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3"/>
            <p:cNvSpPr/>
            <p:nvPr/>
          </p:nvSpPr>
          <p:spPr>
            <a:xfrm>
              <a:off x="-32872025" y="3723475"/>
              <a:ext cx="180400" cy="52000"/>
            </a:xfrm>
            <a:custGeom>
              <a:avLst/>
              <a:gdLst/>
              <a:ahLst/>
              <a:cxnLst/>
              <a:rect l="l" t="t" r="r" b="b"/>
              <a:pathLst>
                <a:path w="7216" h="2080" extrusionOk="0">
                  <a:moveTo>
                    <a:pt x="757" y="1"/>
                  </a:moveTo>
                  <a:lnTo>
                    <a:pt x="0" y="2080"/>
                  </a:lnTo>
                  <a:lnTo>
                    <a:pt x="7215" y="2080"/>
                  </a:lnTo>
                  <a:lnTo>
                    <a:pt x="65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3"/>
            <p:cNvSpPr/>
            <p:nvPr/>
          </p:nvSpPr>
          <p:spPr>
            <a:xfrm>
              <a:off x="-32890150" y="3792775"/>
              <a:ext cx="217425" cy="33900"/>
            </a:xfrm>
            <a:custGeom>
              <a:avLst/>
              <a:gdLst/>
              <a:ahLst/>
              <a:cxnLst/>
              <a:rect l="l" t="t" r="r" b="b"/>
              <a:pathLst>
                <a:path w="8697" h="1356" extrusionOk="0">
                  <a:moveTo>
                    <a:pt x="505" y="1"/>
                  </a:moveTo>
                  <a:lnTo>
                    <a:pt x="1" y="1356"/>
                  </a:lnTo>
                  <a:lnTo>
                    <a:pt x="8696" y="1356"/>
                  </a:lnTo>
                  <a:lnTo>
                    <a:pt x="82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3"/>
            <p:cNvSpPr/>
            <p:nvPr/>
          </p:nvSpPr>
          <p:spPr>
            <a:xfrm>
              <a:off x="-32822400" y="3586425"/>
              <a:ext cx="82725" cy="52800"/>
            </a:xfrm>
            <a:custGeom>
              <a:avLst/>
              <a:gdLst/>
              <a:ahLst/>
              <a:cxnLst/>
              <a:rect l="l" t="t" r="r" b="b"/>
              <a:pathLst>
                <a:path w="3309" h="2112" extrusionOk="0">
                  <a:moveTo>
                    <a:pt x="1639" y="1"/>
                  </a:moveTo>
                  <a:cubicBezTo>
                    <a:pt x="1103" y="1"/>
                    <a:pt x="599" y="379"/>
                    <a:pt x="441" y="883"/>
                  </a:cubicBezTo>
                  <a:lnTo>
                    <a:pt x="0" y="2112"/>
                  </a:lnTo>
                  <a:lnTo>
                    <a:pt x="3308" y="2112"/>
                  </a:lnTo>
                  <a:lnTo>
                    <a:pt x="2867" y="883"/>
                  </a:lnTo>
                  <a:cubicBezTo>
                    <a:pt x="2678" y="316"/>
                    <a:pt x="2206"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3"/>
            <p:cNvSpPr/>
            <p:nvPr/>
          </p:nvSpPr>
          <p:spPr>
            <a:xfrm>
              <a:off x="-32846825" y="3655750"/>
              <a:ext cx="131550" cy="51200"/>
            </a:xfrm>
            <a:custGeom>
              <a:avLst/>
              <a:gdLst/>
              <a:ahLst/>
              <a:cxnLst/>
              <a:rect l="l" t="t" r="r" b="b"/>
              <a:pathLst>
                <a:path w="5262" h="2048" extrusionOk="0">
                  <a:moveTo>
                    <a:pt x="694" y="0"/>
                  </a:moveTo>
                  <a:lnTo>
                    <a:pt x="1" y="2048"/>
                  </a:lnTo>
                  <a:lnTo>
                    <a:pt x="5262" y="2048"/>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9" name="Google Shape;7389;p73"/>
          <p:cNvGrpSpPr/>
          <p:nvPr/>
        </p:nvGrpSpPr>
        <p:grpSpPr>
          <a:xfrm>
            <a:off x="845106" y="3665198"/>
            <a:ext cx="354586" cy="355557"/>
            <a:chOff x="-32927950" y="3944800"/>
            <a:chExt cx="292225" cy="293025"/>
          </a:xfrm>
        </p:grpSpPr>
        <p:sp>
          <p:nvSpPr>
            <p:cNvPr id="7390" name="Google Shape;7390;p73"/>
            <p:cNvSpPr/>
            <p:nvPr/>
          </p:nvSpPr>
          <p:spPr>
            <a:xfrm>
              <a:off x="-32927950" y="3944800"/>
              <a:ext cx="69325" cy="292225"/>
            </a:xfrm>
            <a:custGeom>
              <a:avLst/>
              <a:gdLst/>
              <a:ahLst/>
              <a:cxnLst/>
              <a:rect l="l" t="t" r="r" b="b"/>
              <a:pathLst>
                <a:path w="2773" h="11689" extrusionOk="0">
                  <a:moveTo>
                    <a:pt x="1418" y="0"/>
                  </a:moveTo>
                  <a:cubicBezTo>
                    <a:pt x="1072" y="0"/>
                    <a:pt x="757" y="315"/>
                    <a:pt x="757" y="662"/>
                  </a:cubicBezTo>
                  <a:lnTo>
                    <a:pt x="757" y="9578"/>
                  </a:lnTo>
                  <a:cubicBezTo>
                    <a:pt x="757" y="9830"/>
                    <a:pt x="914" y="10050"/>
                    <a:pt x="1103" y="10176"/>
                  </a:cubicBezTo>
                  <a:lnTo>
                    <a:pt x="1103" y="10996"/>
                  </a:lnTo>
                  <a:lnTo>
                    <a:pt x="347" y="10996"/>
                  </a:lnTo>
                  <a:cubicBezTo>
                    <a:pt x="158" y="10996"/>
                    <a:pt x="1" y="11153"/>
                    <a:pt x="1" y="11342"/>
                  </a:cubicBezTo>
                  <a:cubicBezTo>
                    <a:pt x="1" y="11531"/>
                    <a:pt x="158" y="11689"/>
                    <a:pt x="347" y="11689"/>
                  </a:cubicBezTo>
                  <a:lnTo>
                    <a:pt x="2395" y="11689"/>
                  </a:lnTo>
                  <a:cubicBezTo>
                    <a:pt x="2616" y="11689"/>
                    <a:pt x="2773" y="11531"/>
                    <a:pt x="2773" y="11342"/>
                  </a:cubicBezTo>
                  <a:cubicBezTo>
                    <a:pt x="2773" y="11153"/>
                    <a:pt x="2616" y="10996"/>
                    <a:pt x="2395" y="10996"/>
                  </a:cubicBezTo>
                  <a:lnTo>
                    <a:pt x="1733" y="10996"/>
                  </a:lnTo>
                  <a:lnTo>
                    <a:pt x="1733" y="10176"/>
                  </a:lnTo>
                  <a:cubicBezTo>
                    <a:pt x="1922" y="10050"/>
                    <a:pt x="2080" y="9861"/>
                    <a:pt x="2080" y="9578"/>
                  </a:cubicBezTo>
                  <a:lnTo>
                    <a:pt x="2080" y="662"/>
                  </a:lnTo>
                  <a:cubicBezTo>
                    <a:pt x="2080" y="284"/>
                    <a:pt x="176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3"/>
            <p:cNvSpPr/>
            <p:nvPr/>
          </p:nvSpPr>
          <p:spPr>
            <a:xfrm>
              <a:off x="-32720800" y="4057425"/>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190"/>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3"/>
            <p:cNvSpPr/>
            <p:nvPr/>
          </p:nvSpPr>
          <p:spPr>
            <a:xfrm>
              <a:off x="-32720800" y="4099950"/>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221"/>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3"/>
            <p:cNvSpPr/>
            <p:nvPr/>
          </p:nvSpPr>
          <p:spPr>
            <a:xfrm>
              <a:off x="-32720800" y="4141700"/>
              <a:ext cx="67750" cy="26025"/>
            </a:xfrm>
            <a:custGeom>
              <a:avLst/>
              <a:gdLst/>
              <a:ahLst/>
              <a:cxnLst/>
              <a:rect l="l" t="t" r="r" b="b"/>
              <a:pathLst>
                <a:path w="2710" h="1041" extrusionOk="0">
                  <a:moveTo>
                    <a:pt x="505" y="1"/>
                  </a:moveTo>
                  <a:cubicBezTo>
                    <a:pt x="221" y="1"/>
                    <a:pt x="0" y="253"/>
                    <a:pt x="0" y="536"/>
                  </a:cubicBezTo>
                  <a:cubicBezTo>
                    <a:pt x="0" y="788"/>
                    <a:pt x="221" y="1040"/>
                    <a:pt x="505" y="1040"/>
                  </a:cubicBezTo>
                  <a:lnTo>
                    <a:pt x="2206" y="1040"/>
                  </a:lnTo>
                  <a:cubicBezTo>
                    <a:pt x="2458" y="1040"/>
                    <a:pt x="2710" y="788"/>
                    <a:pt x="2710" y="536"/>
                  </a:cubicBezTo>
                  <a:cubicBezTo>
                    <a:pt x="2710" y="253"/>
                    <a:pt x="2521" y="1"/>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3"/>
            <p:cNvSpPr/>
            <p:nvPr/>
          </p:nvSpPr>
          <p:spPr>
            <a:xfrm>
              <a:off x="-32754675" y="3944800"/>
              <a:ext cx="51225" cy="52000"/>
            </a:xfrm>
            <a:custGeom>
              <a:avLst/>
              <a:gdLst/>
              <a:ahLst/>
              <a:cxnLst/>
              <a:rect l="l" t="t" r="r" b="b"/>
              <a:pathLst>
                <a:path w="2049" h="2080" extrusionOk="0">
                  <a:moveTo>
                    <a:pt x="1702" y="0"/>
                  </a:moveTo>
                  <a:cubicBezTo>
                    <a:pt x="757" y="0"/>
                    <a:pt x="1" y="788"/>
                    <a:pt x="1" y="1733"/>
                  </a:cubicBezTo>
                  <a:lnTo>
                    <a:pt x="1" y="2080"/>
                  </a:lnTo>
                  <a:lnTo>
                    <a:pt x="2049" y="2080"/>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3"/>
            <p:cNvSpPr/>
            <p:nvPr/>
          </p:nvSpPr>
          <p:spPr>
            <a:xfrm>
              <a:off x="-32687725" y="3944800"/>
              <a:ext cx="34675" cy="55150"/>
            </a:xfrm>
            <a:custGeom>
              <a:avLst/>
              <a:gdLst/>
              <a:ahLst/>
              <a:cxnLst/>
              <a:rect l="l" t="t" r="r" b="b"/>
              <a:pathLst>
                <a:path w="1387" h="2206" extrusionOk="0">
                  <a:moveTo>
                    <a:pt x="1" y="0"/>
                  </a:moveTo>
                  <a:lnTo>
                    <a:pt x="1" y="2111"/>
                  </a:lnTo>
                  <a:lnTo>
                    <a:pt x="883" y="2111"/>
                  </a:lnTo>
                  <a:cubicBezTo>
                    <a:pt x="1072" y="2111"/>
                    <a:pt x="1261" y="2143"/>
                    <a:pt x="1387" y="2206"/>
                  </a:cubicBezTo>
                  <a:lnTo>
                    <a:pt x="1387" y="1040"/>
                  </a:lnTo>
                  <a:cubicBezTo>
                    <a:pt x="1387" y="473"/>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3"/>
            <p:cNvSpPr/>
            <p:nvPr/>
          </p:nvSpPr>
          <p:spPr>
            <a:xfrm>
              <a:off x="-32860200" y="4014100"/>
              <a:ext cx="207150" cy="153625"/>
            </a:xfrm>
            <a:custGeom>
              <a:avLst/>
              <a:gdLst/>
              <a:ahLst/>
              <a:cxnLst/>
              <a:rect l="l" t="t" r="r" b="b"/>
              <a:pathLst>
                <a:path w="8286" h="6145" extrusionOk="0">
                  <a:moveTo>
                    <a:pt x="0" y="1"/>
                  </a:moveTo>
                  <a:lnTo>
                    <a:pt x="0" y="6144"/>
                  </a:lnTo>
                  <a:lnTo>
                    <a:pt x="378" y="6144"/>
                  </a:lnTo>
                  <a:cubicBezTo>
                    <a:pt x="756" y="6144"/>
                    <a:pt x="1071" y="5892"/>
                    <a:pt x="1260" y="5577"/>
                  </a:cubicBezTo>
                  <a:lnTo>
                    <a:pt x="2016" y="5955"/>
                  </a:lnTo>
                  <a:cubicBezTo>
                    <a:pt x="2268" y="6050"/>
                    <a:pt x="2552" y="6144"/>
                    <a:pt x="2773" y="6144"/>
                  </a:cubicBezTo>
                  <a:lnTo>
                    <a:pt x="3497" y="6144"/>
                  </a:lnTo>
                  <a:lnTo>
                    <a:pt x="3497" y="3057"/>
                  </a:lnTo>
                  <a:cubicBezTo>
                    <a:pt x="3214" y="3309"/>
                    <a:pt x="2867" y="3435"/>
                    <a:pt x="2457" y="3435"/>
                  </a:cubicBezTo>
                  <a:cubicBezTo>
                    <a:pt x="2268" y="3435"/>
                    <a:pt x="2111" y="3277"/>
                    <a:pt x="2111" y="3057"/>
                  </a:cubicBezTo>
                  <a:cubicBezTo>
                    <a:pt x="2111" y="2868"/>
                    <a:pt x="2268" y="2710"/>
                    <a:pt x="2457" y="2710"/>
                  </a:cubicBezTo>
                  <a:cubicBezTo>
                    <a:pt x="3025" y="2710"/>
                    <a:pt x="3497" y="2238"/>
                    <a:pt x="3497" y="1702"/>
                  </a:cubicBezTo>
                  <a:lnTo>
                    <a:pt x="3497" y="1009"/>
                  </a:lnTo>
                  <a:lnTo>
                    <a:pt x="7782" y="1009"/>
                  </a:lnTo>
                  <a:cubicBezTo>
                    <a:pt x="8065" y="1009"/>
                    <a:pt x="8286" y="788"/>
                    <a:pt x="8286" y="505"/>
                  </a:cubicBezTo>
                  <a:cubicBezTo>
                    <a:pt x="8286" y="221"/>
                    <a:pt x="8065" y="1"/>
                    <a:pt x="7782" y="1"/>
                  </a:cubicBezTo>
                  <a:lnTo>
                    <a:pt x="3560" y="1"/>
                  </a:lnTo>
                  <a:cubicBezTo>
                    <a:pt x="3308" y="1"/>
                    <a:pt x="2899" y="158"/>
                    <a:pt x="2583" y="442"/>
                  </a:cubicBezTo>
                  <a:cubicBezTo>
                    <a:pt x="2426" y="599"/>
                    <a:pt x="2205" y="662"/>
                    <a:pt x="1985" y="662"/>
                  </a:cubicBezTo>
                  <a:lnTo>
                    <a:pt x="1323" y="662"/>
                  </a:lnTo>
                  <a:cubicBezTo>
                    <a:pt x="1166" y="284"/>
                    <a:pt x="78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3"/>
            <p:cNvSpPr/>
            <p:nvPr/>
          </p:nvSpPr>
          <p:spPr>
            <a:xfrm>
              <a:off x="-32755450" y="4055850"/>
              <a:ext cx="51200" cy="181175"/>
            </a:xfrm>
            <a:custGeom>
              <a:avLst/>
              <a:gdLst/>
              <a:ahLst/>
              <a:cxnLst/>
              <a:rect l="l" t="t" r="r" b="b"/>
              <a:pathLst>
                <a:path w="2048" h="7247" extrusionOk="0">
                  <a:moveTo>
                    <a:pt x="0" y="1"/>
                  </a:moveTo>
                  <a:lnTo>
                    <a:pt x="0" y="64"/>
                  </a:lnTo>
                  <a:lnTo>
                    <a:pt x="0" y="5514"/>
                  </a:lnTo>
                  <a:cubicBezTo>
                    <a:pt x="0" y="6459"/>
                    <a:pt x="756" y="7247"/>
                    <a:pt x="1701" y="7247"/>
                  </a:cubicBezTo>
                  <a:lnTo>
                    <a:pt x="2048" y="7247"/>
                  </a:lnTo>
                  <a:lnTo>
                    <a:pt x="2048" y="5167"/>
                  </a:lnTo>
                  <a:lnTo>
                    <a:pt x="1891" y="5167"/>
                  </a:lnTo>
                  <a:cubicBezTo>
                    <a:pt x="1229" y="5167"/>
                    <a:pt x="725" y="4632"/>
                    <a:pt x="725" y="4002"/>
                  </a:cubicBezTo>
                  <a:cubicBezTo>
                    <a:pt x="725" y="3624"/>
                    <a:pt x="882" y="3372"/>
                    <a:pt x="1071" y="3120"/>
                  </a:cubicBezTo>
                  <a:cubicBezTo>
                    <a:pt x="819" y="2899"/>
                    <a:pt x="725" y="2615"/>
                    <a:pt x="725" y="2269"/>
                  </a:cubicBezTo>
                  <a:cubicBezTo>
                    <a:pt x="725" y="1922"/>
                    <a:pt x="882" y="1639"/>
                    <a:pt x="1071" y="1387"/>
                  </a:cubicBezTo>
                  <a:cubicBezTo>
                    <a:pt x="819" y="1166"/>
                    <a:pt x="725" y="883"/>
                    <a:pt x="725" y="536"/>
                  </a:cubicBezTo>
                  <a:cubicBezTo>
                    <a:pt x="725" y="316"/>
                    <a:pt x="756" y="190"/>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3"/>
            <p:cNvSpPr/>
            <p:nvPr/>
          </p:nvSpPr>
          <p:spPr>
            <a:xfrm>
              <a:off x="-32686925" y="4182650"/>
              <a:ext cx="34675" cy="55175"/>
            </a:xfrm>
            <a:custGeom>
              <a:avLst/>
              <a:gdLst/>
              <a:ahLst/>
              <a:cxnLst/>
              <a:rect l="l" t="t" r="r" b="b"/>
              <a:pathLst>
                <a:path w="1387" h="2207" extrusionOk="0">
                  <a:moveTo>
                    <a:pt x="1386" y="1"/>
                  </a:moveTo>
                  <a:cubicBezTo>
                    <a:pt x="1229" y="64"/>
                    <a:pt x="1071" y="95"/>
                    <a:pt x="882" y="95"/>
                  </a:cubicBezTo>
                  <a:lnTo>
                    <a:pt x="0" y="95"/>
                  </a:lnTo>
                  <a:lnTo>
                    <a:pt x="0" y="2206"/>
                  </a:lnTo>
                  <a:lnTo>
                    <a:pt x="378" y="2206"/>
                  </a:lnTo>
                  <a:cubicBezTo>
                    <a:pt x="914" y="2206"/>
                    <a:pt x="1386" y="1734"/>
                    <a:pt x="1386" y="1167"/>
                  </a:cubicBez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9" name="Google Shape;7399;p73"/>
          <p:cNvGrpSpPr/>
          <p:nvPr/>
        </p:nvGrpSpPr>
        <p:grpSpPr>
          <a:xfrm>
            <a:off x="3073898" y="2730449"/>
            <a:ext cx="354586" cy="353888"/>
            <a:chOff x="-31094350" y="3194000"/>
            <a:chExt cx="292225" cy="291650"/>
          </a:xfrm>
        </p:grpSpPr>
        <p:sp>
          <p:nvSpPr>
            <p:cNvPr id="7400" name="Google Shape;7400;p73"/>
            <p:cNvSpPr/>
            <p:nvPr/>
          </p:nvSpPr>
          <p:spPr>
            <a:xfrm>
              <a:off x="-31033700" y="3194000"/>
              <a:ext cx="103200" cy="34100"/>
            </a:xfrm>
            <a:custGeom>
              <a:avLst/>
              <a:gdLst/>
              <a:ahLst/>
              <a:cxnLst/>
              <a:rect l="l" t="t" r="r" b="b"/>
              <a:pathLst>
                <a:path w="4128" h="1364" extrusionOk="0">
                  <a:moveTo>
                    <a:pt x="645" y="0"/>
                  </a:moveTo>
                  <a:cubicBezTo>
                    <a:pt x="263" y="0"/>
                    <a:pt x="0" y="296"/>
                    <a:pt x="0" y="670"/>
                  </a:cubicBezTo>
                  <a:lnTo>
                    <a:pt x="0" y="1016"/>
                  </a:lnTo>
                  <a:cubicBezTo>
                    <a:pt x="0" y="1205"/>
                    <a:pt x="158" y="1363"/>
                    <a:pt x="347" y="1363"/>
                  </a:cubicBezTo>
                  <a:lnTo>
                    <a:pt x="3781" y="1363"/>
                  </a:lnTo>
                  <a:cubicBezTo>
                    <a:pt x="3970" y="1363"/>
                    <a:pt x="4127" y="1205"/>
                    <a:pt x="4127" y="1016"/>
                  </a:cubicBezTo>
                  <a:lnTo>
                    <a:pt x="4127" y="670"/>
                  </a:lnTo>
                  <a:cubicBezTo>
                    <a:pt x="4127" y="260"/>
                    <a:pt x="3812" y="8"/>
                    <a:pt x="3466" y="8"/>
                  </a:cubicBezTo>
                  <a:lnTo>
                    <a:pt x="756" y="8"/>
                  </a:lnTo>
                  <a:cubicBezTo>
                    <a:pt x="718" y="3"/>
                    <a:pt x="681" y="0"/>
                    <a:pt x="6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3"/>
            <p:cNvSpPr/>
            <p:nvPr/>
          </p:nvSpPr>
          <p:spPr>
            <a:xfrm>
              <a:off x="-31042375" y="3346200"/>
              <a:ext cx="16550" cy="18150"/>
            </a:xfrm>
            <a:custGeom>
              <a:avLst/>
              <a:gdLst/>
              <a:ahLst/>
              <a:cxnLst/>
              <a:rect l="l" t="t" r="r" b="b"/>
              <a:pathLst>
                <a:path w="662" h="726" extrusionOk="0">
                  <a:moveTo>
                    <a:pt x="1" y="1"/>
                  </a:moveTo>
                  <a:lnTo>
                    <a:pt x="1" y="725"/>
                  </a:lnTo>
                  <a:lnTo>
                    <a:pt x="662" y="725"/>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3"/>
            <p:cNvSpPr/>
            <p:nvPr/>
          </p:nvSpPr>
          <p:spPr>
            <a:xfrm>
              <a:off x="-31042375" y="3278475"/>
              <a:ext cx="16550" cy="16550"/>
            </a:xfrm>
            <a:custGeom>
              <a:avLst/>
              <a:gdLst/>
              <a:ahLst/>
              <a:cxnLst/>
              <a:rect l="l" t="t" r="r" b="b"/>
              <a:pathLst>
                <a:path w="662" h="662" extrusionOk="0">
                  <a:moveTo>
                    <a:pt x="1" y="0"/>
                  </a:moveTo>
                  <a:lnTo>
                    <a:pt x="1" y="662"/>
                  </a:lnTo>
                  <a:lnTo>
                    <a:pt x="662" y="662"/>
                  </a:ln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3"/>
            <p:cNvSpPr/>
            <p:nvPr/>
          </p:nvSpPr>
          <p:spPr>
            <a:xfrm>
              <a:off x="-31042375" y="3416300"/>
              <a:ext cx="16550" cy="16575"/>
            </a:xfrm>
            <a:custGeom>
              <a:avLst/>
              <a:gdLst/>
              <a:ahLst/>
              <a:cxnLst/>
              <a:rect l="l" t="t" r="r" b="b"/>
              <a:pathLst>
                <a:path w="662" h="663" extrusionOk="0">
                  <a:moveTo>
                    <a:pt x="1" y="1"/>
                  </a:moveTo>
                  <a:lnTo>
                    <a:pt x="1" y="662"/>
                  </a:lnTo>
                  <a:lnTo>
                    <a:pt x="662" y="662"/>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3"/>
            <p:cNvSpPr/>
            <p:nvPr/>
          </p:nvSpPr>
          <p:spPr>
            <a:xfrm>
              <a:off x="-31094350" y="3210725"/>
              <a:ext cx="222900" cy="274925"/>
            </a:xfrm>
            <a:custGeom>
              <a:avLst/>
              <a:gdLst/>
              <a:ahLst/>
              <a:cxnLst/>
              <a:rect l="l" t="t" r="r" b="b"/>
              <a:pathLst>
                <a:path w="8916" h="10997" extrusionOk="0">
                  <a:moveTo>
                    <a:pt x="7183" y="2049"/>
                  </a:moveTo>
                  <a:cubicBezTo>
                    <a:pt x="7404" y="2049"/>
                    <a:pt x="7561" y="2206"/>
                    <a:pt x="7561" y="2395"/>
                  </a:cubicBezTo>
                  <a:cubicBezTo>
                    <a:pt x="7561" y="2584"/>
                    <a:pt x="7404" y="2742"/>
                    <a:pt x="7183" y="2742"/>
                  </a:cubicBezTo>
                  <a:lnTo>
                    <a:pt x="4474" y="2742"/>
                  </a:lnTo>
                  <a:cubicBezTo>
                    <a:pt x="4285" y="2742"/>
                    <a:pt x="4127" y="2584"/>
                    <a:pt x="4127" y="2395"/>
                  </a:cubicBezTo>
                  <a:cubicBezTo>
                    <a:pt x="4127" y="2206"/>
                    <a:pt x="4285" y="2049"/>
                    <a:pt x="4474" y="2049"/>
                  </a:cubicBezTo>
                  <a:close/>
                  <a:moveTo>
                    <a:pt x="3151" y="2017"/>
                  </a:moveTo>
                  <a:cubicBezTo>
                    <a:pt x="3340" y="2017"/>
                    <a:pt x="3497" y="2175"/>
                    <a:pt x="3497" y="2364"/>
                  </a:cubicBezTo>
                  <a:lnTo>
                    <a:pt x="3497" y="3750"/>
                  </a:lnTo>
                  <a:cubicBezTo>
                    <a:pt x="3497" y="3939"/>
                    <a:pt x="3340" y="4097"/>
                    <a:pt x="3151" y="4097"/>
                  </a:cubicBezTo>
                  <a:lnTo>
                    <a:pt x="1764" y="4097"/>
                  </a:lnTo>
                  <a:cubicBezTo>
                    <a:pt x="1575" y="4097"/>
                    <a:pt x="1418" y="3939"/>
                    <a:pt x="1418" y="3750"/>
                  </a:cubicBezTo>
                  <a:lnTo>
                    <a:pt x="1418" y="2364"/>
                  </a:lnTo>
                  <a:cubicBezTo>
                    <a:pt x="1418" y="2175"/>
                    <a:pt x="1575" y="2017"/>
                    <a:pt x="1764" y="2017"/>
                  </a:cubicBezTo>
                  <a:close/>
                  <a:moveTo>
                    <a:pt x="5860" y="3372"/>
                  </a:moveTo>
                  <a:cubicBezTo>
                    <a:pt x="6049" y="3372"/>
                    <a:pt x="6207" y="3529"/>
                    <a:pt x="6207" y="3750"/>
                  </a:cubicBezTo>
                  <a:cubicBezTo>
                    <a:pt x="6207" y="3939"/>
                    <a:pt x="6049" y="4097"/>
                    <a:pt x="5860" y="4097"/>
                  </a:cubicBezTo>
                  <a:lnTo>
                    <a:pt x="4474" y="4097"/>
                  </a:lnTo>
                  <a:cubicBezTo>
                    <a:pt x="4285" y="4097"/>
                    <a:pt x="4127" y="3939"/>
                    <a:pt x="4127" y="3750"/>
                  </a:cubicBezTo>
                  <a:cubicBezTo>
                    <a:pt x="4127" y="3529"/>
                    <a:pt x="4285" y="3372"/>
                    <a:pt x="4474" y="3372"/>
                  </a:cubicBezTo>
                  <a:close/>
                  <a:moveTo>
                    <a:pt x="7183" y="4758"/>
                  </a:moveTo>
                  <a:cubicBezTo>
                    <a:pt x="7404" y="4758"/>
                    <a:pt x="7561" y="4916"/>
                    <a:pt x="7561" y="5105"/>
                  </a:cubicBezTo>
                  <a:cubicBezTo>
                    <a:pt x="7561" y="5325"/>
                    <a:pt x="7404" y="5483"/>
                    <a:pt x="7183" y="5483"/>
                  </a:cubicBezTo>
                  <a:lnTo>
                    <a:pt x="4474" y="5483"/>
                  </a:lnTo>
                  <a:cubicBezTo>
                    <a:pt x="4285" y="5483"/>
                    <a:pt x="4127" y="5325"/>
                    <a:pt x="4127" y="5105"/>
                  </a:cubicBezTo>
                  <a:cubicBezTo>
                    <a:pt x="4127" y="4916"/>
                    <a:pt x="4285" y="4758"/>
                    <a:pt x="4474" y="4758"/>
                  </a:cubicBezTo>
                  <a:close/>
                  <a:moveTo>
                    <a:pt x="3151" y="4758"/>
                  </a:moveTo>
                  <a:cubicBezTo>
                    <a:pt x="3340" y="4758"/>
                    <a:pt x="3497" y="4916"/>
                    <a:pt x="3497" y="5105"/>
                  </a:cubicBezTo>
                  <a:lnTo>
                    <a:pt x="3497" y="6491"/>
                  </a:lnTo>
                  <a:cubicBezTo>
                    <a:pt x="3497" y="6680"/>
                    <a:pt x="3340" y="6837"/>
                    <a:pt x="3151" y="6837"/>
                  </a:cubicBezTo>
                  <a:lnTo>
                    <a:pt x="1764" y="6837"/>
                  </a:lnTo>
                  <a:cubicBezTo>
                    <a:pt x="1575" y="6837"/>
                    <a:pt x="1418" y="6680"/>
                    <a:pt x="1418" y="6491"/>
                  </a:cubicBezTo>
                  <a:lnTo>
                    <a:pt x="1418" y="5105"/>
                  </a:lnTo>
                  <a:cubicBezTo>
                    <a:pt x="1418" y="4916"/>
                    <a:pt x="1575" y="4758"/>
                    <a:pt x="1764" y="4758"/>
                  </a:cubicBezTo>
                  <a:close/>
                  <a:moveTo>
                    <a:pt x="5860" y="6144"/>
                  </a:moveTo>
                  <a:cubicBezTo>
                    <a:pt x="6049" y="6144"/>
                    <a:pt x="6207" y="6302"/>
                    <a:pt x="6207" y="6491"/>
                  </a:cubicBezTo>
                  <a:cubicBezTo>
                    <a:pt x="6207" y="6680"/>
                    <a:pt x="6049" y="6837"/>
                    <a:pt x="5860" y="6837"/>
                  </a:cubicBezTo>
                  <a:lnTo>
                    <a:pt x="4474" y="6837"/>
                  </a:lnTo>
                  <a:cubicBezTo>
                    <a:pt x="4285" y="6837"/>
                    <a:pt x="4127" y="6680"/>
                    <a:pt x="4127" y="6491"/>
                  </a:cubicBezTo>
                  <a:cubicBezTo>
                    <a:pt x="4127" y="6302"/>
                    <a:pt x="4285" y="6144"/>
                    <a:pt x="4474" y="6144"/>
                  </a:cubicBezTo>
                  <a:close/>
                  <a:moveTo>
                    <a:pt x="7183" y="7562"/>
                  </a:moveTo>
                  <a:cubicBezTo>
                    <a:pt x="7404" y="7562"/>
                    <a:pt x="7561" y="7720"/>
                    <a:pt x="7561" y="7909"/>
                  </a:cubicBezTo>
                  <a:cubicBezTo>
                    <a:pt x="7561" y="8098"/>
                    <a:pt x="7404" y="8255"/>
                    <a:pt x="7183" y="8255"/>
                  </a:cubicBezTo>
                  <a:lnTo>
                    <a:pt x="4474" y="8255"/>
                  </a:lnTo>
                  <a:cubicBezTo>
                    <a:pt x="4285" y="8255"/>
                    <a:pt x="4127" y="8098"/>
                    <a:pt x="4127" y="7909"/>
                  </a:cubicBezTo>
                  <a:cubicBezTo>
                    <a:pt x="4127" y="7720"/>
                    <a:pt x="4285" y="7562"/>
                    <a:pt x="4474" y="7562"/>
                  </a:cubicBezTo>
                  <a:close/>
                  <a:moveTo>
                    <a:pt x="3151" y="7531"/>
                  </a:moveTo>
                  <a:cubicBezTo>
                    <a:pt x="3340" y="7531"/>
                    <a:pt x="3497" y="7657"/>
                    <a:pt x="3497" y="7877"/>
                  </a:cubicBezTo>
                  <a:lnTo>
                    <a:pt x="3497" y="9232"/>
                  </a:lnTo>
                  <a:cubicBezTo>
                    <a:pt x="3497" y="9452"/>
                    <a:pt x="3340" y="9610"/>
                    <a:pt x="3151" y="9610"/>
                  </a:cubicBezTo>
                  <a:lnTo>
                    <a:pt x="1764" y="9610"/>
                  </a:lnTo>
                  <a:cubicBezTo>
                    <a:pt x="1575" y="9610"/>
                    <a:pt x="1418" y="9452"/>
                    <a:pt x="1418" y="9232"/>
                  </a:cubicBezTo>
                  <a:lnTo>
                    <a:pt x="1418" y="7877"/>
                  </a:lnTo>
                  <a:cubicBezTo>
                    <a:pt x="1418" y="7657"/>
                    <a:pt x="1575" y="7531"/>
                    <a:pt x="1764" y="7531"/>
                  </a:cubicBezTo>
                  <a:close/>
                  <a:moveTo>
                    <a:pt x="5860" y="8885"/>
                  </a:moveTo>
                  <a:cubicBezTo>
                    <a:pt x="6049" y="8885"/>
                    <a:pt x="6207" y="9043"/>
                    <a:pt x="6207" y="9232"/>
                  </a:cubicBezTo>
                  <a:cubicBezTo>
                    <a:pt x="6207" y="9452"/>
                    <a:pt x="6049" y="9610"/>
                    <a:pt x="5860" y="9610"/>
                  </a:cubicBezTo>
                  <a:lnTo>
                    <a:pt x="4474" y="9610"/>
                  </a:lnTo>
                  <a:cubicBezTo>
                    <a:pt x="4285" y="9610"/>
                    <a:pt x="4127" y="9452"/>
                    <a:pt x="4127" y="9232"/>
                  </a:cubicBezTo>
                  <a:cubicBezTo>
                    <a:pt x="4127" y="9043"/>
                    <a:pt x="4285" y="8885"/>
                    <a:pt x="4474" y="8885"/>
                  </a:cubicBezTo>
                  <a:close/>
                  <a:moveTo>
                    <a:pt x="1040" y="1"/>
                  </a:moveTo>
                  <a:cubicBezTo>
                    <a:pt x="504" y="1"/>
                    <a:pt x="0" y="473"/>
                    <a:pt x="0" y="1009"/>
                  </a:cubicBezTo>
                  <a:lnTo>
                    <a:pt x="0" y="9956"/>
                  </a:lnTo>
                  <a:cubicBezTo>
                    <a:pt x="32" y="10524"/>
                    <a:pt x="504" y="10996"/>
                    <a:pt x="1040" y="10996"/>
                  </a:cubicBezTo>
                  <a:lnTo>
                    <a:pt x="7908" y="10996"/>
                  </a:lnTo>
                  <a:cubicBezTo>
                    <a:pt x="8444" y="10996"/>
                    <a:pt x="8916" y="10524"/>
                    <a:pt x="8916" y="9956"/>
                  </a:cubicBezTo>
                  <a:lnTo>
                    <a:pt x="8916" y="1009"/>
                  </a:lnTo>
                  <a:cubicBezTo>
                    <a:pt x="8916" y="473"/>
                    <a:pt x="8444" y="1"/>
                    <a:pt x="7908" y="1"/>
                  </a:cubicBezTo>
                  <a:lnTo>
                    <a:pt x="7183" y="1"/>
                  </a:lnTo>
                  <a:lnTo>
                    <a:pt x="7183" y="347"/>
                  </a:lnTo>
                  <a:cubicBezTo>
                    <a:pt x="7183" y="915"/>
                    <a:pt x="6711" y="1387"/>
                    <a:pt x="6175" y="1387"/>
                  </a:cubicBezTo>
                  <a:lnTo>
                    <a:pt x="2741" y="1387"/>
                  </a:lnTo>
                  <a:cubicBezTo>
                    <a:pt x="2206" y="1387"/>
                    <a:pt x="1733" y="915"/>
                    <a:pt x="1733" y="347"/>
                  </a:cubicBez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3"/>
            <p:cNvSpPr/>
            <p:nvPr/>
          </p:nvSpPr>
          <p:spPr>
            <a:xfrm>
              <a:off x="-30853350" y="3295000"/>
              <a:ext cx="51225" cy="104000"/>
            </a:xfrm>
            <a:custGeom>
              <a:avLst/>
              <a:gdLst/>
              <a:ahLst/>
              <a:cxnLst/>
              <a:rect l="l" t="t" r="r" b="b"/>
              <a:pathLst>
                <a:path w="2049" h="4160" extrusionOk="0">
                  <a:moveTo>
                    <a:pt x="1" y="1"/>
                  </a:moveTo>
                  <a:lnTo>
                    <a:pt x="1" y="4160"/>
                  </a:lnTo>
                  <a:lnTo>
                    <a:pt x="2049" y="4160"/>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3"/>
            <p:cNvSpPr/>
            <p:nvPr/>
          </p:nvSpPr>
          <p:spPr>
            <a:xfrm>
              <a:off x="-30853350" y="3227275"/>
              <a:ext cx="51225" cy="51225"/>
            </a:xfrm>
            <a:custGeom>
              <a:avLst/>
              <a:gdLst/>
              <a:ahLst/>
              <a:cxnLst/>
              <a:rect l="l" t="t" r="r" b="b"/>
              <a:pathLst>
                <a:path w="2049" h="2049" extrusionOk="0">
                  <a:moveTo>
                    <a:pt x="1009" y="1"/>
                  </a:moveTo>
                  <a:cubicBezTo>
                    <a:pt x="473" y="1"/>
                    <a:pt x="1" y="473"/>
                    <a:pt x="1" y="1040"/>
                  </a:cubicBezTo>
                  <a:lnTo>
                    <a:pt x="1" y="2048"/>
                  </a:lnTo>
                  <a:lnTo>
                    <a:pt x="2049" y="2048"/>
                  </a:lnTo>
                  <a:lnTo>
                    <a:pt x="2049" y="1040"/>
                  </a:ln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3"/>
            <p:cNvSpPr/>
            <p:nvPr/>
          </p:nvSpPr>
          <p:spPr>
            <a:xfrm>
              <a:off x="-30851775" y="3416300"/>
              <a:ext cx="46500" cy="51225"/>
            </a:xfrm>
            <a:custGeom>
              <a:avLst/>
              <a:gdLst/>
              <a:ahLst/>
              <a:cxnLst/>
              <a:rect l="l" t="t" r="r" b="b"/>
              <a:pathLst>
                <a:path w="1860" h="2049" extrusionOk="0">
                  <a:moveTo>
                    <a:pt x="1" y="1"/>
                  </a:moveTo>
                  <a:lnTo>
                    <a:pt x="599" y="1796"/>
                  </a:lnTo>
                  <a:cubicBezTo>
                    <a:pt x="694" y="1985"/>
                    <a:pt x="788" y="2048"/>
                    <a:pt x="946" y="2048"/>
                  </a:cubicBezTo>
                  <a:cubicBezTo>
                    <a:pt x="1103" y="2048"/>
                    <a:pt x="1229" y="1985"/>
                    <a:pt x="1261" y="1796"/>
                  </a:cubicBezTo>
                  <a:lnTo>
                    <a:pt x="18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08" name="Google Shape;7408;p73"/>
          <p:cNvGrpSpPr/>
          <p:nvPr/>
        </p:nvGrpSpPr>
        <p:grpSpPr>
          <a:xfrm>
            <a:off x="3074368" y="3200941"/>
            <a:ext cx="353645" cy="354191"/>
            <a:chOff x="-31093575" y="3552550"/>
            <a:chExt cx="291450" cy="291900"/>
          </a:xfrm>
        </p:grpSpPr>
        <p:sp>
          <p:nvSpPr>
            <p:cNvPr id="7409" name="Google Shape;7409;p73"/>
            <p:cNvSpPr/>
            <p:nvPr/>
          </p:nvSpPr>
          <p:spPr>
            <a:xfrm>
              <a:off x="-31011650" y="3745525"/>
              <a:ext cx="7900" cy="12625"/>
            </a:xfrm>
            <a:custGeom>
              <a:avLst/>
              <a:gdLst/>
              <a:ahLst/>
              <a:cxnLst/>
              <a:rect l="l" t="t" r="r" b="b"/>
              <a:pathLst>
                <a:path w="316" h="505" extrusionOk="0">
                  <a:moveTo>
                    <a:pt x="158" y="1"/>
                  </a:moveTo>
                  <a:lnTo>
                    <a:pt x="0" y="505"/>
                  </a:lnTo>
                  <a:lnTo>
                    <a:pt x="315" y="505"/>
                  </a:lnTo>
                  <a:lnTo>
                    <a:pt x="1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3"/>
            <p:cNvSpPr/>
            <p:nvPr/>
          </p:nvSpPr>
          <p:spPr>
            <a:xfrm>
              <a:off x="-31093575" y="3671500"/>
              <a:ext cx="171725" cy="172950"/>
            </a:xfrm>
            <a:custGeom>
              <a:avLst/>
              <a:gdLst/>
              <a:ahLst/>
              <a:cxnLst/>
              <a:rect l="l" t="t" r="r" b="b"/>
              <a:pathLst>
                <a:path w="6869"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3"/>
            <p:cNvSpPr/>
            <p:nvPr/>
          </p:nvSpPr>
          <p:spPr>
            <a:xfrm>
              <a:off x="-30895875" y="3621075"/>
              <a:ext cx="15775" cy="26025"/>
            </a:xfrm>
            <a:custGeom>
              <a:avLst/>
              <a:gdLst/>
              <a:ahLst/>
              <a:cxnLst/>
              <a:rect l="l" t="t" r="r" b="b"/>
              <a:pathLst>
                <a:path w="631" h="1041" extrusionOk="0">
                  <a:moveTo>
                    <a:pt x="0" y="1"/>
                  </a:moveTo>
                  <a:cubicBezTo>
                    <a:pt x="32" y="410"/>
                    <a:pt x="126" y="694"/>
                    <a:pt x="315" y="1041"/>
                  </a:cubicBezTo>
                  <a:cubicBezTo>
                    <a:pt x="473" y="694"/>
                    <a:pt x="599" y="347"/>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3"/>
            <p:cNvSpPr/>
            <p:nvPr/>
          </p:nvSpPr>
          <p:spPr>
            <a:xfrm>
              <a:off x="-30974650" y="3552550"/>
              <a:ext cx="172525" cy="172400"/>
            </a:xfrm>
            <a:custGeom>
              <a:avLst/>
              <a:gdLst/>
              <a:ahLst/>
              <a:cxnLst/>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13" name="Google Shape;7413;p73"/>
          <p:cNvGrpSpPr/>
          <p:nvPr/>
        </p:nvGrpSpPr>
        <p:grpSpPr>
          <a:xfrm>
            <a:off x="2200736" y="1380546"/>
            <a:ext cx="332593" cy="353645"/>
            <a:chOff x="-34755225" y="3202075"/>
            <a:chExt cx="274100" cy="291450"/>
          </a:xfrm>
        </p:grpSpPr>
        <p:sp>
          <p:nvSpPr>
            <p:cNvPr id="7414" name="Google Shape;7414;p73"/>
            <p:cNvSpPr/>
            <p:nvPr/>
          </p:nvSpPr>
          <p:spPr>
            <a:xfrm>
              <a:off x="-34703250" y="3389525"/>
              <a:ext cx="84300" cy="34675"/>
            </a:xfrm>
            <a:custGeom>
              <a:avLst/>
              <a:gdLst/>
              <a:ahLst/>
              <a:cxnLst/>
              <a:rect l="l" t="t" r="r" b="b"/>
              <a:pathLst>
                <a:path w="3372" h="1387" extrusionOk="0">
                  <a:moveTo>
                    <a:pt x="1670" y="1"/>
                  </a:moveTo>
                  <a:cubicBezTo>
                    <a:pt x="883" y="1"/>
                    <a:pt x="158" y="599"/>
                    <a:pt x="0" y="1387"/>
                  </a:cubicBezTo>
                  <a:lnTo>
                    <a:pt x="3371" y="1387"/>
                  </a:lnTo>
                  <a:cubicBezTo>
                    <a:pt x="3214" y="599"/>
                    <a:pt x="2489"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3"/>
            <p:cNvSpPr/>
            <p:nvPr/>
          </p:nvSpPr>
          <p:spPr>
            <a:xfrm>
              <a:off x="-34636300" y="3348575"/>
              <a:ext cx="69325" cy="75625"/>
            </a:xfrm>
            <a:custGeom>
              <a:avLst/>
              <a:gdLst/>
              <a:ahLst/>
              <a:cxnLst/>
              <a:rect l="l" t="t" r="r" b="b"/>
              <a:pathLst>
                <a:path w="2773" h="3025" extrusionOk="0">
                  <a:moveTo>
                    <a:pt x="2111" y="0"/>
                  </a:moveTo>
                  <a:lnTo>
                    <a:pt x="1387" y="221"/>
                  </a:lnTo>
                  <a:cubicBezTo>
                    <a:pt x="1298" y="265"/>
                    <a:pt x="1179" y="290"/>
                    <a:pt x="1049" y="290"/>
                  </a:cubicBezTo>
                  <a:cubicBezTo>
                    <a:pt x="808" y="290"/>
                    <a:pt x="531" y="205"/>
                    <a:pt x="347" y="0"/>
                  </a:cubicBezTo>
                  <a:lnTo>
                    <a:pt x="347" y="0"/>
                  </a:lnTo>
                  <a:cubicBezTo>
                    <a:pt x="378" y="63"/>
                    <a:pt x="378" y="189"/>
                    <a:pt x="378" y="315"/>
                  </a:cubicBezTo>
                  <a:cubicBezTo>
                    <a:pt x="378" y="662"/>
                    <a:pt x="221" y="977"/>
                    <a:pt x="0" y="1229"/>
                  </a:cubicBezTo>
                  <a:cubicBezTo>
                    <a:pt x="725" y="1575"/>
                    <a:pt x="1229" y="2237"/>
                    <a:pt x="1355" y="3025"/>
                  </a:cubicBezTo>
                  <a:lnTo>
                    <a:pt x="2773" y="3025"/>
                  </a:lnTo>
                  <a:lnTo>
                    <a:pt x="2773" y="221"/>
                  </a:lnTo>
                  <a:cubicBezTo>
                    <a:pt x="2521" y="189"/>
                    <a:pt x="2300" y="126"/>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3"/>
            <p:cNvSpPr/>
            <p:nvPr/>
          </p:nvSpPr>
          <p:spPr>
            <a:xfrm>
              <a:off x="-34752875" y="3253275"/>
              <a:ext cx="126050" cy="170925"/>
            </a:xfrm>
            <a:custGeom>
              <a:avLst/>
              <a:gdLst/>
              <a:ahLst/>
              <a:cxnLst/>
              <a:rect l="l" t="t" r="r" b="b"/>
              <a:pathLst>
                <a:path w="5042" h="6837" extrusionOk="0">
                  <a:moveTo>
                    <a:pt x="1" y="0"/>
                  </a:moveTo>
                  <a:lnTo>
                    <a:pt x="1" y="6837"/>
                  </a:lnTo>
                  <a:lnTo>
                    <a:pt x="1418" y="6837"/>
                  </a:lnTo>
                  <a:cubicBezTo>
                    <a:pt x="1450" y="6018"/>
                    <a:pt x="1954" y="5356"/>
                    <a:pt x="2679" y="4978"/>
                  </a:cubicBezTo>
                  <a:cubicBezTo>
                    <a:pt x="2427" y="4757"/>
                    <a:pt x="2301" y="4442"/>
                    <a:pt x="2301" y="4064"/>
                  </a:cubicBezTo>
                  <a:cubicBezTo>
                    <a:pt x="2301" y="3340"/>
                    <a:pt x="2931" y="2710"/>
                    <a:pt x="3687" y="2710"/>
                  </a:cubicBezTo>
                  <a:cubicBezTo>
                    <a:pt x="4128" y="2710"/>
                    <a:pt x="4474" y="2899"/>
                    <a:pt x="4758" y="3214"/>
                  </a:cubicBezTo>
                  <a:cubicBezTo>
                    <a:pt x="4726" y="3056"/>
                    <a:pt x="4758" y="2899"/>
                    <a:pt x="4789" y="2741"/>
                  </a:cubicBezTo>
                  <a:lnTo>
                    <a:pt x="5041" y="2016"/>
                  </a:lnTo>
                  <a:cubicBezTo>
                    <a:pt x="4821" y="1607"/>
                    <a:pt x="4758" y="1134"/>
                    <a:pt x="4758" y="662"/>
                  </a:cubicBezTo>
                  <a:cubicBezTo>
                    <a:pt x="4758" y="410"/>
                    <a:pt x="4789" y="189"/>
                    <a:pt x="4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3"/>
            <p:cNvSpPr/>
            <p:nvPr/>
          </p:nvSpPr>
          <p:spPr>
            <a:xfrm>
              <a:off x="-34677250" y="3338325"/>
              <a:ext cx="33875" cy="33900"/>
            </a:xfrm>
            <a:custGeom>
              <a:avLst/>
              <a:gdLst/>
              <a:ahLst/>
              <a:cxnLst/>
              <a:rect l="l" t="t" r="r" b="b"/>
              <a:pathLst>
                <a:path w="1355" h="1356" extrusionOk="0">
                  <a:moveTo>
                    <a:pt x="662" y="1"/>
                  </a:moveTo>
                  <a:cubicBezTo>
                    <a:pt x="315" y="1"/>
                    <a:pt x="0" y="316"/>
                    <a:pt x="0" y="694"/>
                  </a:cubicBezTo>
                  <a:cubicBezTo>
                    <a:pt x="0" y="1040"/>
                    <a:pt x="315" y="1355"/>
                    <a:pt x="662" y="1355"/>
                  </a:cubicBezTo>
                  <a:cubicBezTo>
                    <a:pt x="1040" y="1355"/>
                    <a:pt x="1355" y="1040"/>
                    <a:pt x="1355" y="694"/>
                  </a:cubicBezTo>
                  <a:cubicBezTo>
                    <a:pt x="1355" y="316"/>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3"/>
            <p:cNvSpPr/>
            <p:nvPr/>
          </p:nvSpPr>
          <p:spPr>
            <a:xfrm>
              <a:off x="-34618200" y="3202500"/>
              <a:ext cx="137075" cy="135850"/>
            </a:xfrm>
            <a:custGeom>
              <a:avLst/>
              <a:gdLst/>
              <a:ahLst/>
              <a:cxnLst/>
              <a:rect l="l" t="t" r="r" b="b"/>
              <a:pathLst>
                <a:path w="5483" h="5434" extrusionOk="0">
                  <a:moveTo>
                    <a:pt x="2710" y="992"/>
                  </a:moveTo>
                  <a:cubicBezTo>
                    <a:pt x="2899" y="992"/>
                    <a:pt x="3057" y="1149"/>
                    <a:pt x="3057" y="1338"/>
                  </a:cubicBezTo>
                  <a:cubicBezTo>
                    <a:pt x="3057" y="1559"/>
                    <a:pt x="2899" y="1716"/>
                    <a:pt x="2710" y="1716"/>
                  </a:cubicBezTo>
                  <a:cubicBezTo>
                    <a:pt x="2521" y="1716"/>
                    <a:pt x="2364" y="1559"/>
                    <a:pt x="2364" y="1338"/>
                  </a:cubicBezTo>
                  <a:cubicBezTo>
                    <a:pt x="2395" y="1149"/>
                    <a:pt x="2553" y="992"/>
                    <a:pt x="2710" y="992"/>
                  </a:cubicBezTo>
                  <a:close/>
                  <a:moveTo>
                    <a:pt x="2742" y="2346"/>
                  </a:moveTo>
                  <a:cubicBezTo>
                    <a:pt x="2962" y="2346"/>
                    <a:pt x="3120" y="2504"/>
                    <a:pt x="3120" y="2693"/>
                  </a:cubicBezTo>
                  <a:lnTo>
                    <a:pt x="3120" y="4079"/>
                  </a:lnTo>
                  <a:cubicBezTo>
                    <a:pt x="3120" y="4268"/>
                    <a:pt x="2962" y="4426"/>
                    <a:pt x="2742" y="4426"/>
                  </a:cubicBezTo>
                  <a:cubicBezTo>
                    <a:pt x="2553" y="4426"/>
                    <a:pt x="2395" y="4268"/>
                    <a:pt x="2395" y="4079"/>
                  </a:cubicBezTo>
                  <a:lnTo>
                    <a:pt x="2395" y="2693"/>
                  </a:lnTo>
                  <a:cubicBezTo>
                    <a:pt x="2395" y="2504"/>
                    <a:pt x="2553" y="2346"/>
                    <a:pt x="2742" y="2346"/>
                  </a:cubicBezTo>
                  <a:close/>
                  <a:moveTo>
                    <a:pt x="2646" y="0"/>
                  </a:moveTo>
                  <a:cubicBezTo>
                    <a:pt x="1359" y="0"/>
                    <a:pt x="1" y="1099"/>
                    <a:pt x="1" y="2724"/>
                  </a:cubicBezTo>
                  <a:cubicBezTo>
                    <a:pt x="1" y="3197"/>
                    <a:pt x="127" y="3638"/>
                    <a:pt x="348" y="4016"/>
                  </a:cubicBezTo>
                  <a:lnTo>
                    <a:pt x="33" y="4961"/>
                  </a:lnTo>
                  <a:cubicBezTo>
                    <a:pt x="1" y="5087"/>
                    <a:pt x="33" y="5245"/>
                    <a:pt x="127" y="5339"/>
                  </a:cubicBezTo>
                  <a:cubicBezTo>
                    <a:pt x="167" y="5399"/>
                    <a:pt x="245" y="5421"/>
                    <a:pt x="329" y="5421"/>
                  </a:cubicBezTo>
                  <a:cubicBezTo>
                    <a:pt x="377" y="5421"/>
                    <a:pt x="427" y="5414"/>
                    <a:pt x="474" y="5402"/>
                  </a:cubicBezTo>
                  <a:lnTo>
                    <a:pt x="1419" y="5087"/>
                  </a:lnTo>
                  <a:cubicBezTo>
                    <a:pt x="1797" y="5339"/>
                    <a:pt x="2238" y="5434"/>
                    <a:pt x="2742" y="5434"/>
                  </a:cubicBezTo>
                  <a:cubicBezTo>
                    <a:pt x="4254" y="5434"/>
                    <a:pt x="5483" y="4237"/>
                    <a:pt x="5483" y="2724"/>
                  </a:cubicBezTo>
                  <a:cubicBezTo>
                    <a:pt x="5483" y="1275"/>
                    <a:pt x="4317" y="78"/>
                    <a:pt x="2899" y="15"/>
                  </a:cubicBezTo>
                  <a:cubicBezTo>
                    <a:pt x="2815" y="5"/>
                    <a:pt x="2731" y="0"/>
                    <a:pt x="26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3"/>
            <p:cNvSpPr/>
            <p:nvPr/>
          </p:nvSpPr>
          <p:spPr>
            <a:xfrm>
              <a:off x="-34755225" y="3440725"/>
              <a:ext cx="188250" cy="52800"/>
            </a:xfrm>
            <a:custGeom>
              <a:avLst/>
              <a:gdLst/>
              <a:ahLst/>
              <a:cxnLst/>
              <a:rect l="l" t="t" r="r" b="b"/>
              <a:pathLst>
                <a:path w="7530" h="2112" extrusionOk="0">
                  <a:moveTo>
                    <a:pt x="0" y="0"/>
                  </a:moveTo>
                  <a:lnTo>
                    <a:pt x="0" y="1071"/>
                  </a:lnTo>
                  <a:cubicBezTo>
                    <a:pt x="0" y="1670"/>
                    <a:pt x="473" y="2111"/>
                    <a:pt x="1040" y="2111"/>
                  </a:cubicBezTo>
                  <a:lnTo>
                    <a:pt x="6490" y="2111"/>
                  </a:lnTo>
                  <a:cubicBezTo>
                    <a:pt x="7057" y="2111"/>
                    <a:pt x="7530" y="1639"/>
                    <a:pt x="7530" y="1071"/>
                  </a:cubicBez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3"/>
            <p:cNvSpPr/>
            <p:nvPr/>
          </p:nvSpPr>
          <p:spPr>
            <a:xfrm>
              <a:off x="-34754450" y="3202075"/>
              <a:ext cx="153600" cy="33900"/>
            </a:xfrm>
            <a:custGeom>
              <a:avLst/>
              <a:gdLst/>
              <a:ahLst/>
              <a:cxnLst/>
              <a:rect l="l" t="t" r="r" b="b"/>
              <a:pathLst>
                <a:path w="6144" h="1356" extrusionOk="0">
                  <a:moveTo>
                    <a:pt x="1040" y="0"/>
                  </a:moveTo>
                  <a:cubicBezTo>
                    <a:pt x="473" y="0"/>
                    <a:pt x="1" y="473"/>
                    <a:pt x="1" y="1009"/>
                  </a:cubicBezTo>
                  <a:lnTo>
                    <a:pt x="1" y="1355"/>
                  </a:lnTo>
                  <a:lnTo>
                    <a:pt x="5104" y="1355"/>
                  </a:lnTo>
                  <a:cubicBezTo>
                    <a:pt x="5293" y="819"/>
                    <a:pt x="5672" y="347"/>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1" name="Google Shape;7421;p73"/>
          <p:cNvGrpSpPr/>
          <p:nvPr/>
        </p:nvGrpSpPr>
        <p:grpSpPr>
          <a:xfrm>
            <a:off x="3074368" y="3666169"/>
            <a:ext cx="353645" cy="353615"/>
            <a:chOff x="-31093575" y="3911725"/>
            <a:chExt cx="291450" cy="291425"/>
          </a:xfrm>
        </p:grpSpPr>
        <p:sp>
          <p:nvSpPr>
            <p:cNvPr id="7422" name="Google Shape;7422;p73"/>
            <p:cNvSpPr/>
            <p:nvPr/>
          </p:nvSpPr>
          <p:spPr>
            <a:xfrm>
              <a:off x="-31093575" y="3911725"/>
              <a:ext cx="291450" cy="291425"/>
            </a:xfrm>
            <a:custGeom>
              <a:avLst/>
              <a:gdLst/>
              <a:ahLst/>
              <a:cxnLst/>
              <a:rect l="l" t="t" r="r" b="b"/>
              <a:pathLst>
                <a:path w="11658" h="11657" extrusionOk="0">
                  <a:moveTo>
                    <a:pt x="5829" y="0"/>
                  </a:moveTo>
                  <a:cubicBezTo>
                    <a:pt x="3372" y="0"/>
                    <a:pt x="1261" y="1796"/>
                    <a:pt x="788" y="4159"/>
                  </a:cubicBezTo>
                  <a:cubicBezTo>
                    <a:pt x="347" y="4285"/>
                    <a:pt x="1" y="4694"/>
                    <a:pt x="1" y="5167"/>
                  </a:cubicBezTo>
                  <a:lnTo>
                    <a:pt x="1" y="7876"/>
                  </a:lnTo>
                  <a:cubicBezTo>
                    <a:pt x="1" y="8412"/>
                    <a:pt x="473" y="8885"/>
                    <a:pt x="1009" y="8885"/>
                  </a:cubicBezTo>
                  <a:lnTo>
                    <a:pt x="1702" y="8885"/>
                  </a:lnTo>
                  <a:cubicBezTo>
                    <a:pt x="1891" y="8885"/>
                    <a:pt x="2049" y="8727"/>
                    <a:pt x="2049" y="8538"/>
                  </a:cubicBezTo>
                  <a:lnTo>
                    <a:pt x="2049" y="4442"/>
                  </a:lnTo>
                  <a:cubicBezTo>
                    <a:pt x="2049" y="4253"/>
                    <a:pt x="1891" y="4096"/>
                    <a:pt x="1702" y="4096"/>
                  </a:cubicBezTo>
                  <a:lnTo>
                    <a:pt x="1481" y="4096"/>
                  </a:lnTo>
                  <a:cubicBezTo>
                    <a:pt x="1954" y="2111"/>
                    <a:pt x="3781" y="630"/>
                    <a:pt x="5829" y="630"/>
                  </a:cubicBezTo>
                  <a:cubicBezTo>
                    <a:pt x="7877" y="630"/>
                    <a:pt x="9673" y="2111"/>
                    <a:pt x="10145" y="4096"/>
                  </a:cubicBezTo>
                  <a:lnTo>
                    <a:pt x="9956" y="4096"/>
                  </a:lnTo>
                  <a:cubicBezTo>
                    <a:pt x="9767" y="4096"/>
                    <a:pt x="9610" y="4253"/>
                    <a:pt x="9610" y="4442"/>
                  </a:cubicBezTo>
                  <a:lnTo>
                    <a:pt x="9610" y="8538"/>
                  </a:lnTo>
                  <a:cubicBezTo>
                    <a:pt x="9610" y="8727"/>
                    <a:pt x="9767" y="8885"/>
                    <a:pt x="9956" y="8885"/>
                  </a:cubicBezTo>
                  <a:lnTo>
                    <a:pt x="10271" y="8885"/>
                  </a:lnTo>
                  <a:cubicBezTo>
                    <a:pt x="10114" y="9672"/>
                    <a:pt x="9421" y="10271"/>
                    <a:pt x="8570" y="10271"/>
                  </a:cubicBezTo>
                  <a:lnTo>
                    <a:pt x="6774" y="10271"/>
                  </a:lnTo>
                  <a:cubicBezTo>
                    <a:pt x="6617" y="9893"/>
                    <a:pt x="6270" y="9609"/>
                    <a:pt x="5829" y="9609"/>
                  </a:cubicBezTo>
                  <a:cubicBezTo>
                    <a:pt x="5262" y="9609"/>
                    <a:pt x="4789" y="10082"/>
                    <a:pt x="4789" y="10617"/>
                  </a:cubicBezTo>
                  <a:cubicBezTo>
                    <a:pt x="4789" y="11184"/>
                    <a:pt x="5262" y="11657"/>
                    <a:pt x="5829" y="11657"/>
                  </a:cubicBezTo>
                  <a:cubicBezTo>
                    <a:pt x="6270" y="11657"/>
                    <a:pt x="6648" y="11373"/>
                    <a:pt x="6774" y="10995"/>
                  </a:cubicBezTo>
                  <a:lnTo>
                    <a:pt x="8570" y="10995"/>
                  </a:lnTo>
                  <a:cubicBezTo>
                    <a:pt x="9799" y="10995"/>
                    <a:pt x="10775" y="10082"/>
                    <a:pt x="10933" y="8885"/>
                  </a:cubicBezTo>
                  <a:cubicBezTo>
                    <a:pt x="11342" y="8790"/>
                    <a:pt x="11658" y="8380"/>
                    <a:pt x="11658" y="7908"/>
                  </a:cubicBezTo>
                  <a:lnTo>
                    <a:pt x="11658" y="5198"/>
                  </a:lnTo>
                  <a:cubicBezTo>
                    <a:pt x="11658" y="4694"/>
                    <a:pt x="11311" y="4253"/>
                    <a:pt x="10870" y="4159"/>
                  </a:cubicBezTo>
                  <a:cubicBezTo>
                    <a:pt x="10397" y="1796"/>
                    <a:pt x="8255"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73"/>
            <p:cNvSpPr/>
            <p:nvPr/>
          </p:nvSpPr>
          <p:spPr>
            <a:xfrm>
              <a:off x="-31025825" y="3980250"/>
              <a:ext cx="156750" cy="154250"/>
            </a:xfrm>
            <a:custGeom>
              <a:avLst/>
              <a:gdLst/>
              <a:ahLst/>
              <a:cxnLst/>
              <a:rect l="l" t="t" r="r" b="b"/>
              <a:pathLst>
                <a:path w="6270" h="6170" extrusionOk="0">
                  <a:moveTo>
                    <a:pt x="3119" y="1386"/>
                  </a:moveTo>
                  <a:cubicBezTo>
                    <a:pt x="3308" y="1386"/>
                    <a:pt x="3466" y="1544"/>
                    <a:pt x="3466" y="1733"/>
                  </a:cubicBezTo>
                  <a:cubicBezTo>
                    <a:pt x="3466" y="1953"/>
                    <a:pt x="3308" y="2079"/>
                    <a:pt x="3119" y="2079"/>
                  </a:cubicBezTo>
                  <a:cubicBezTo>
                    <a:pt x="2930" y="2079"/>
                    <a:pt x="2773" y="1953"/>
                    <a:pt x="2773" y="1733"/>
                  </a:cubicBezTo>
                  <a:cubicBezTo>
                    <a:pt x="2773" y="1544"/>
                    <a:pt x="2930" y="1386"/>
                    <a:pt x="3119" y="1386"/>
                  </a:cubicBezTo>
                  <a:close/>
                  <a:moveTo>
                    <a:pt x="3119" y="2741"/>
                  </a:moveTo>
                  <a:cubicBezTo>
                    <a:pt x="3308" y="2741"/>
                    <a:pt x="3466" y="2867"/>
                    <a:pt x="3466" y="3088"/>
                  </a:cubicBezTo>
                  <a:lnTo>
                    <a:pt x="3466" y="4474"/>
                  </a:lnTo>
                  <a:cubicBezTo>
                    <a:pt x="3466" y="4663"/>
                    <a:pt x="3308" y="4820"/>
                    <a:pt x="3119" y="4820"/>
                  </a:cubicBezTo>
                  <a:cubicBezTo>
                    <a:pt x="2930" y="4820"/>
                    <a:pt x="2773" y="4663"/>
                    <a:pt x="2773" y="4474"/>
                  </a:cubicBezTo>
                  <a:lnTo>
                    <a:pt x="2773" y="3088"/>
                  </a:lnTo>
                  <a:cubicBezTo>
                    <a:pt x="2773" y="2867"/>
                    <a:pt x="2930" y="2741"/>
                    <a:pt x="3119" y="2741"/>
                  </a:cubicBezTo>
                  <a:close/>
                  <a:moveTo>
                    <a:pt x="3151" y="0"/>
                  </a:moveTo>
                  <a:cubicBezTo>
                    <a:pt x="1449" y="0"/>
                    <a:pt x="63" y="1386"/>
                    <a:pt x="63" y="3088"/>
                  </a:cubicBezTo>
                  <a:cubicBezTo>
                    <a:pt x="63" y="3592"/>
                    <a:pt x="158" y="4096"/>
                    <a:pt x="441" y="4568"/>
                  </a:cubicBezTo>
                  <a:lnTo>
                    <a:pt x="63" y="5734"/>
                  </a:lnTo>
                  <a:cubicBezTo>
                    <a:pt x="0" y="5828"/>
                    <a:pt x="0" y="5955"/>
                    <a:pt x="126" y="6081"/>
                  </a:cubicBezTo>
                  <a:cubicBezTo>
                    <a:pt x="171" y="6125"/>
                    <a:pt x="263" y="6170"/>
                    <a:pt x="357" y="6170"/>
                  </a:cubicBezTo>
                  <a:cubicBezTo>
                    <a:pt x="396" y="6170"/>
                    <a:pt x="436" y="6162"/>
                    <a:pt x="473" y="6144"/>
                  </a:cubicBezTo>
                  <a:lnTo>
                    <a:pt x="1638" y="5765"/>
                  </a:lnTo>
                  <a:cubicBezTo>
                    <a:pt x="2079" y="6049"/>
                    <a:pt x="2615" y="6144"/>
                    <a:pt x="3151" y="6144"/>
                  </a:cubicBezTo>
                  <a:cubicBezTo>
                    <a:pt x="4852" y="6144"/>
                    <a:pt x="6270" y="4789"/>
                    <a:pt x="6270" y="3088"/>
                  </a:cubicBezTo>
                  <a:cubicBezTo>
                    <a:pt x="6270" y="1386"/>
                    <a:pt x="485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4" name="Google Shape;7424;p73"/>
          <p:cNvGrpSpPr/>
          <p:nvPr/>
        </p:nvGrpSpPr>
        <p:grpSpPr>
          <a:xfrm>
            <a:off x="2183798" y="4123136"/>
            <a:ext cx="356497" cy="354586"/>
            <a:chOff x="-29946000" y="3183175"/>
            <a:chExt cx="293800" cy="292225"/>
          </a:xfrm>
        </p:grpSpPr>
        <p:sp>
          <p:nvSpPr>
            <p:cNvPr id="7425" name="Google Shape;7425;p73"/>
            <p:cNvSpPr/>
            <p:nvPr/>
          </p:nvSpPr>
          <p:spPr>
            <a:xfrm>
              <a:off x="-29839675" y="3355650"/>
              <a:ext cx="186700" cy="33900"/>
            </a:xfrm>
            <a:custGeom>
              <a:avLst/>
              <a:gdLst/>
              <a:ahLst/>
              <a:cxnLst/>
              <a:rect l="l" t="t" r="r" b="b"/>
              <a:pathLst>
                <a:path w="7468" h="1356" extrusionOk="0">
                  <a:moveTo>
                    <a:pt x="568" y="1"/>
                  </a:moveTo>
                  <a:cubicBezTo>
                    <a:pt x="568" y="505"/>
                    <a:pt x="379" y="977"/>
                    <a:pt x="1" y="1356"/>
                  </a:cubicBezTo>
                  <a:lnTo>
                    <a:pt x="7467" y="1356"/>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73"/>
            <p:cNvSpPr/>
            <p:nvPr/>
          </p:nvSpPr>
          <p:spPr>
            <a:xfrm>
              <a:off x="-29824700" y="3406850"/>
              <a:ext cx="172500" cy="68550"/>
            </a:xfrm>
            <a:custGeom>
              <a:avLst/>
              <a:gdLst/>
              <a:ahLst/>
              <a:cxnLst/>
              <a:rect l="l" t="t" r="r" b="b"/>
              <a:pathLst>
                <a:path w="6900" h="2742" extrusionOk="0">
                  <a:moveTo>
                    <a:pt x="0" y="1"/>
                  </a:moveTo>
                  <a:cubicBezTo>
                    <a:pt x="662" y="505"/>
                    <a:pt x="1134" y="1292"/>
                    <a:pt x="1292" y="2237"/>
                  </a:cubicBezTo>
                  <a:cubicBezTo>
                    <a:pt x="1355" y="2395"/>
                    <a:pt x="1292" y="2584"/>
                    <a:pt x="1260" y="2742"/>
                  </a:cubicBezTo>
                  <a:lnTo>
                    <a:pt x="6553" y="2742"/>
                  </a:lnTo>
                  <a:cubicBezTo>
                    <a:pt x="6742" y="2742"/>
                    <a:pt x="6900" y="2584"/>
                    <a:pt x="6900" y="2395"/>
                  </a:cubicBezTo>
                  <a:lnTo>
                    <a:pt x="6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73"/>
            <p:cNvSpPr/>
            <p:nvPr/>
          </p:nvSpPr>
          <p:spPr>
            <a:xfrm>
              <a:off x="-29756975" y="3183175"/>
              <a:ext cx="69325" cy="68550"/>
            </a:xfrm>
            <a:custGeom>
              <a:avLst/>
              <a:gdLst/>
              <a:ahLst/>
              <a:cxnLst/>
              <a:rect l="l" t="t" r="r" b="b"/>
              <a:pathLst>
                <a:path w="2773" h="2742" extrusionOk="0">
                  <a:moveTo>
                    <a:pt x="1387" y="0"/>
                  </a:moveTo>
                  <a:cubicBezTo>
                    <a:pt x="631" y="0"/>
                    <a:pt x="1" y="630"/>
                    <a:pt x="1" y="1386"/>
                  </a:cubicBezTo>
                  <a:cubicBezTo>
                    <a:pt x="1" y="2111"/>
                    <a:pt x="631" y="2741"/>
                    <a:pt x="1387" y="2741"/>
                  </a:cubicBezTo>
                  <a:cubicBezTo>
                    <a:pt x="2143" y="2741"/>
                    <a:pt x="2773" y="2174"/>
                    <a:pt x="2773" y="1386"/>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3"/>
            <p:cNvSpPr/>
            <p:nvPr/>
          </p:nvSpPr>
          <p:spPr>
            <a:xfrm>
              <a:off x="-29790850" y="3269025"/>
              <a:ext cx="137875" cy="68550"/>
            </a:xfrm>
            <a:custGeom>
              <a:avLst/>
              <a:gdLst/>
              <a:ahLst/>
              <a:cxnLst/>
              <a:rect l="l" t="t" r="r" b="b"/>
              <a:pathLst>
                <a:path w="5515" h="2742" extrusionOk="0">
                  <a:moveTo>
                    <a:pt x="2773" y="0"/>
                  </a:moveTo>
                  <a:cubicBezTo>
                    <a:pt x="1419" y="0"/>
                    <a:pt x="221" y="1040"/>
                    <a:pt x="32" y="2363"/>
                  </a:cubicBezTo>
                  <a:cubicBezTo>
                    <a:pt x="1" y="2552"/>
                    <a:pt x="158" y="2741"/>
                    <a:pt x="379" y="2741"/>
                  </a:cubicBezTo>
                  <a:lnTo>
                    <a:pt x="5136" y="2741"/>
                  </a:lnTo>
                  <a:cubicBezTo>
                    <a:pt x="5357" y="2741"/>
                    <a:pt x="5514" y="2552"/>
                    <a:pt x="5514" y="2363"/>
                  </a:cubicBezTo>
                  <a:cubicBezTo>
                    <a:pt x="5294" y="1008"/>
                    <a:pt x="4160" y="0"/>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73"/>
            <p:cNvSpPr/>
            <p:nvPr/>
          </p:nvSpPr>
          <p:spPr>
            <a:xfrm>
              <a:off x="-29911350" y="3321000"/>
              <a:ext cx="69325" cy="68550"/>
            </a:xfrm>
            <a:custGeom>
              <a:avLst/>
              <a:gdLst/>
              <a:ahLst/>
              <a:cxnLst/>
              <a:rect l="l" t="t" r="r" b="b"/>
              <a:pathLst>
                <a:path w="2773" h="2742" extrusionOk="0">
                  <a:moveTo>
                    <a:pt x="1387" y="1"/>
                  </a:moveTo>
                  <a:cubicBezTo>
                    <a:pt x="631" y="1"/>
                    <a:pt x="1" y="599"/>
                    <a:pt x="1" y="1387"/>
                  </a:cubicBezTo>
                  <a:cubicBezTo>
                    <a:pt x="1" y="2143"/>
                    <a:pt x="631" y="2742"/>
                    <a:pt x="1387" y="2742"/>
                  </a:cubicBezTo>
                  <a:cubicBezTo>
                    <a:pt x="2143" y="2742"/>
                    <a:pt x="2773" y="2143"/>
                    <a:pt x="2773" y="1387"/>
                  </a:cubicBez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73"/>
            <p:cNvSpPr/>
            <p:nvPr/>
          </p:nvSpPr>
          <p:spPr>
            <a:xfrm>
              <a:off x="-29946000" y="3406850"/>
              <a:ext cx="137075" cy="67775"/>
            </a:xfrm>
            <a:custGeom>
              <a:avLst/>
              <a:gdLst/>
              <a:ahLst/>
              <a:cxnLst/>
              <a:rect l="l" t="t" r="r" b="b"/>
              <a:pathLst>
                <a:path w="5483" h="2711" extrusionOk="0">
                  <a:moveTo>
                    <a:pt x="2773" y="1"/>
                  </a:moveTo>
                  <a:cubicBezTo>
                    <a:pt x="1387" y="1"/>
                    <a:pt x="252" y="1009"/>
                    <a:pt x="63" y="2300"/>
                  </a:cubicBezTo>
                  <a:cubicBezTo>
                    <a:pt x="0" y="2521"/>
                    <a:pt x="158" y="2710"/>
                    <a:pt x="410" y="2710"/>
                  </a:cubicBezTo>
                  <a:lnTo>
                    <a:pt x="5136" y="2710"/>
                  </a:lnTo>
                  <a:cubicBezTo>
                    <a:pt x="5325" y="2710"/>
                    <a:pt x="5482" y="2521"/>
                    <a:pt x="5482" y="2300"/>
                  </a:cubicBezTo>
                  <a:cubicBezTo>
                    <a:pt x="5293" y="1009"/>
                    <a:pt x="4159"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1" name="Google Shape;7431;p73"/>
          <p:cNvGrpSpPr/>
          <p:nvPr/>
        </p:nvGrpSpPr>
        <p:grpSpPr>
          <a:xfrm>
            <a:off x="2628330" y="1380289"/>
            <a:ext cx="358408" cy="354161"/>
            <a:chOff x="-34408675" y="3202075"/>
            <a:chExt cx="295375" cy="291875"/>
          </a:xfrm>
        </p:grpSpPr>
        <p:sp>
          <p:nvSpPr>
            <p:cNvPr id="7432" name="Google Shape;7432;p73"/>
            <p:cNvSpPr/>
            <p:nvPr/>
          </p:nvSpPr>
          <p:spPr>
            <a:xfrm>
              <a:off x="-34274775" y="3202075"/>
              <a:ext cx="161475" cy="161475"/>
            </a:xfrm>
            <a:custGeom>
              <a:avLst/>
              <a:gdLst/>
              <a:ahLst/>
              <a:cxnLst/>
              <a:rect l="l" t="t" r="r" b="b"/>
              <a:pathLst>
                <a:path w="6459" h="6459" extrusionOk="0">
                  <a:moveTo>
                    <a:pt x="3718" y="0"/>
                  </a:moveTo>
                  <a:cubicBezTo>
                    <a:pt x="3560" y="0"/>
                    <a:pt x="3434" y="63"/>
                    <a:pt x="3403" y="189"/>
                  </a:cubicBezTo>
                  <a:cubicBezTo>
                    <a:pt x="3340" y="315"/>
                    <a:pt x="3340" y="473"/>
                    <a:pt x="3466" y="536"/>
                  </a:cubicBezTo>
                  <a:lnTo>
                    <a:pt x="4190" y="1261"/>
                  </a:lnTo>
                  <a:lnTo>
                    <a:pt x="1260" y="4159"/>
                  </a:lnTo>
                  <a:lnTo>
                    <a:pt x="567" y="3466"/>
                  </a:lnTo>
                  <a:cubicBezTo>
                    <a:pt x="496" y="3395"/>
                    <a:pt x="390" y="3360"/>
                    <a:pt x="288" y="3360"/>
                  </a:cubicBezTo>
                  <a:cubicBezTo>
                    <a:pt x="254" y="3360"/>
                    <a:pt x="221" y="3363"/>
                    <a:pt x="189" y="3371"/>
                  </a:cubicBezTo>
                  <a:cubicBezTo>
                    <a:pt x="95" y="3403"/>
                    <a:pt x="0" y="3560"/>
                    <a:pt x="0" y="3686"/>
                  </a:cubicBezTo>
                  <a:lnTo>
                    <a:pt x="0" y="6081"/>
                  </a:lnTo>
                  <a:cubicBezTo>
                    <a:pt x="0" y="6301"/>
                    <a:pt x="158" y="6459"/>
                    <a:pt x="347" y="6459"/>
                  </a:cubicBezTo>
                  <a:lnTo>
                    <a:pt x="2773" y="6459"/>
                  </a:lnTo>
                  <a:cubicBezTo>
                    <a:pt x="2930" y="6459"/>
                    <a:pt x="3025" y="6364"/>
                    <a:pt x="3088" y="6238"/>
                  </a:cubicBezTo>
                  <a:cubicBezTo>
                    <a:pt x="3119" y="6144"/>
                    <a:pt x="3119" y="5986"/>
                    <a:pt x="2993" y="5892"/>
                  </a:cubicBezTo>
                  <a:lnTo>
                    <a:pt x="2300" y="5199"/>
                  </a:lnTo>
                  <a:lnTo>
                    <a:pt x="5198" y="2269"/>
                  </a:lnTo>
                  <a:lnTo>
                    <a:pt x="5923" y="2993"/>
                  </a:lnTo>
                  <a:cubicBezTo>
                    <a:pt x="5969" y="3039"/>
                    <a:pt x="6066" y="3069"/>
                    <a:pt x="6164" y="3069"/>
                  </a:cubicBezTo>
                  <a:cubicBezTo>
                    <a:pt x="6200" y="3069"/>
                    <a:pt x="6236" y="3065"/>
                    <a:pt x="6270" y="3056"/>
                  </a:cubicBezTo>
                  <a:cubicBezTo>
                    <a:pt x="6396" y="3025"/>
                    <a:pt x="6459" y="2867"/>
                    <a:pt x="6459" y="2741"/>
                  </a:cubicBezTo>
                  <a:lnTo>
                    <a:pt x="6459" y="347"/>
                  </a:lnTo>
                  <a:cubicBezTo>
                    <a:pt x="6459" y="158"/>
                    <a:pt x="6301"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73"/>
            <p:cNvSpPr/>
            <p:nvPr/>
          </p:nvSpPr>
          <p:spPr>
            <a:xfrm>
              <a:off x="-34378750" y="3263175"/>
              <a:ext cx="76425" cy="73600"/>
            </a:xfrm>
            <a:custGeom>
              <a:avLst/>
              <a:gdLst/>
              <a:ahLst/>
              <a:cxnLst/>
              <a:rect l="l" t="t" r="r" b="b"/>
              <a:pathLst>
                <a:path w="3057" h="2944" extrusionOk="0">
                  <a:moveTo>
                    <a:pt x="970" y="1"/>
                  </a:moveTo>
                  <a:cubicBezTo>
                    <a:pt x="685" y="1"/>
                    <a:pt x="405" y="114"/>
                    <a:pt x="221" y="297"/>
                  </a:cubicBezTo>
                  <a:lnTo>
                    <a:pt x="1" y="549"/>
                  </a:lnTo>
                  <a:lnTo>
                    <a:pt x="2395" y="2944"/>
                  </a:lnTo>
                  <a:lnTo>
                    <a:pt x="2678" y="2755"/>
                  </a:lnTo>
                  <a:cubicBezTo>
                    <a:pt x="3056" y="2345"/>
                    <a:pt x="3056" y="1683"/>
                    <a:pt x="2678" y="1274"/>
                  </a:cubicBezTo>
                  <a:lnTo>
                    <a:pt x="1670" y="297"/>
                  </a:lnTo>
                  <a:cubicBezTo>
                    <a:pt x="1478" y="90"/>
                    <a:pt x="1222" y="1"/>
                    <a:pt x="9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3"/>
            <p:cNvSpPr/>
            <p:nvPr/>
          </p:nvSpPr>
          <p:spPr>
            <a:xfrm>
              <a:off x="-34250375" y="3392300"/>
              <a:ext cx="77225" cy="74425"/>
            </a:xfrm>
            <a:custGeom>
              <a:avLst/>
              <a:gdLst/>
              <a:ahLst/>
              <a:cxnLst/>
              <a:rect l="l" t="t" r="r" b="b"/>
              <a:pathLst>
                <a:path w="3089" h="2977" extrusionOk="0">
                  <a:moveTo>
                    <a:pt x="999" y="0"/>
                  </a:moveTo>
                  <a:cubicBezTo>
                    <a:pt x="787" y="0"/>
                    <a:pt x="577" y="66"/>
                    <a:pt x="410" y="205"/>
                  </a:cubicBezTo>
                  <a:cubicBezTo>
                    <a:pt x="379" y="205"/>
                    <a:pt x="316" y="268"/>
                    <a:pt x="284" y="299"/>
                  </a:cubicBezTo>
                  <a:lnTo>
                    <a:pt x="1" y="583"/>
                  </a:lnTo>
                  <a:lnTo>
                    <a:pt x="2427" y="2977"/>
                  </a:lnTo>
                  <a:lnTo>
                    <a:pt x="2679" y="2693"/>
                  </a:lnTo>
                  <a:cubicBezTo>
                    <a:pt x="3088" y="2315"/>
                    <a:pt x="3088" y="1622"/>
                    <a:pt x="2679" y="1244"/>
                  </a:cubicBezTo>
                  <a:lnTo>
                    <a:pt x="1734" y="299"/>
                  </a:lnTo>
                  <a:cubicBezTo>
                    <a:pt x="1540" y="105"/>
                    <a:pt x="1267" y="0"/>
                    <a:pt x="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73"/>
            <p:cNvSpPr/>
            <p:nvPr/>
          </p:nvSpPr>
          <p:spPr>
            <a:xfrm>
              <a:off x="-34408675" y="3290275"/>
              <a:ext cx="207150" cy="203675"/>
            </a:xfrm>
            <a:custGeom>
              <a:avLst/>
              <a:gdLst/>
              <a:ahLst/>
              <a:cxnLst/>
              <a:rect l="l" t="t" r="r" b="b"/>
              <a:pathLst>
                <a:path w="8286" h="8147" extrusionOk="0">
                  <a:moveTo>
                    <a:pt x="725" y="1"/>
                  </a:moveTo>
                  <a:cubicBezTo>
                    <a:pt x="95" y="631"/>
                    <a:pt x="0" y="1387"/>
                    <a:pt x="284" y="2017"/>
                  </a:cubicBezTo>
                  <a:cubicBezTo>
                    <a:pt x="1387" y="4223"/>
                    <a:pt x="3938" y="6774"/>
                    <a:pt x="6270" y="7972"/>
                  </a:cubicBezTo>
                  <a:cubicBezTo>
                    <a:pt x="6499" y="8086"/>
                    <a:pt x="6745" y="8147"/>
                    <a:pt x="6996" y="8147"/>
                  </a:cubicBezTo>
                  <a:cubicBezTo>
                    <a:pt x="7434" y="8147"/>
                    <a:pt x="7886" y="7963"/>
                    <a:pt x="8286" y="756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6" name="Google Shape;7436;p73"/>
          <p:cNvGrpSpPr/>
          <p:nvPr/>
        </p:nvGrpSpPr>
        <p:grpSpPr>
          <a:xfrm>
            <a:off x="2630241" y="1820283"/>
            <a:ext cx="354586" cy="356254"/>
            <a:chOff x="-34405525" y="3558075"/>
            <a:chExt cx="292225" cy="293600"/>
          </a:xfrm>
        </p:grpSpPr>
        <p:sp>
          <p:nvSpPr>
            <p:cNvPr id="7437" name="Google Shape;7437;p73"/>
            <p:cNvSpPr/>
            <p:nvPr/>
          </p:nvSpPr>
          <p:spPr>
            <a:xfrm>
              <a:off x="-34303150" y="3663825"/>
              <a:ext cx="189850" cy="187850"/>
            </a:xfrm>
            <a:custGeom>
              <a:avLst/>
              <a:gdLst/>
              <a:ahLst/>
              <a:cxnLst/>
              <a:rect l="l" t="t" r="r" b="b"/>
              <a:pathLst>
                <a:path w="7594" h="7514" extrusionOk="0">
                  <a:moveTo>
                    <a:pt x="5487" y="0"/>
                  </a:moveTo>
                  <a:cubicBezTo>
                    <a:pt x="5380" y="0"/>
                    <a:pt x="5278" y="8"/>
                    <a:pt x="5168" y="24"/>
                  </a:cubicBezTo>
                  <a:cubicBezTo>
                    <a:pt x="4349" y="181"/>
                    <a:pt x="3656" y="843"/>
                    <a:pt x="3561" y="1630"/>
                  </a:cubicBezTo>
                  <a:cubicBezTo>
                    <a:pt x="3467" y="2198"/>
                    <a:pt x="3561" y="2513"/>
                    <a:pt x="3719" y="2891"/>
                  </a:cubicBezTo>
                  <a:lnTo>
                    <a:pt x="285" y="6325"/>
                  </a:lnTo>
                  <a:cubicBezTo>
                    <a:pt x="1" y="6608"/>
                    <a:pt x="1" y="7049"/>
                    <a:pt x="285" y="7301"/>
                  </a:cubicBezTo>
                  <a:cubicBezTo>
                    <a:pt x="426" y="7443"/>
                    <a:pt x="600" y="7514"/>
                    <a:pt x="773" y="7514"/>
                  </a:cubicBezTo>
                  <a:cubicBezTo>
                    <a:pt x="946" y="7514"/>
                    <a:pt x="1119" y="7443"/>
                    <a:pt x="1261" y="7301"/>
                  </a:cubicBezTo>
                  <a:lnTo>
                    <a:pt x="4695" y="3899"/>
                  </a:lnTo>
                  <a:cubicBezTo>
                    <a:pt x="5022" y="4016"/>
                    <a:pt x="5280" y="4080"/>
                    <a:pt x="5597" y="4080"/>
                  </a:cubicBezTo>
                  <a:cubicBezTo>
                    <a:pt x="5708" y="4080"/>
                    <a:pt x="5825" y="4073"/>
                    <a:pt x="5955" y="4056"/>
                  </a:cubicBezTo>
                  <a:cubicBezTo>
                    <a:pt x="6775" y="3899"/>
                    <a:pt x="7436" y="3206"/>
                    <a:pt x="7562" y="2418"/>
                  </a:cubicBezTo>
                  <a:cubicBezTo>
                    <a:pt x="7594" y="2198"/>
                    <a:pt x="7594" y="1945"/>
                    <a:pt x="7562" y="1756"/>
                  </a:cubicBezTo>
                  <a:cubicBezTo>
                    <a:pt x="7562" y="1630"/>
                    <a:pt x="7436" y="1504"/>
                    <a:pt x="7310" y="1473"/>
                  </a:cubicBezTo>
                  <a:cubicBezTo>
                    <a:pt x="7287" y="1465"/>
                    <a:pt x="7259" y="1461"/>
                    <a:pt x="7229" y="1461"/>
                  </a:cubicBezTo>
                  <a:cubicBezTo>
                    <a:pt x="7141" y="1461"/>
                    <a:pt x="7034" y="1497"/>
                    <a:pt x="6964" y="1567"/>
                  </a:cubicBezTo>
                  <a:lnTo>
                    <a:pt x="6491" y="2040"/>
                  </a:lnTo>
                  <a:cubicBezTo>
                    <a:pt x="6365" y="2166"/>
                    <a:pt x="6192" y="2229"/>
                    <a:pt x="6014" y="2229"/>
                  </a:cubicBezTo>
                  <a:cubicBezTo>
                    <a:pt x="5837" y="2229"/>
                    <a:pt x="5656" y="2166"/>
                    <a:pt x="5514" y="2040"/>
                  </a:cubicBezTo>
                  <a:cubicBezTo>
                    <a:pt x="5231" y="1756"/>
                    <a:pt x="5231" y="1315"/>
                    <a:pt x="5514" y="1032"/>
                  </a:cubicBezTo>
                  <a:lnTo>
                    <a:pt x="6018" y="622"/>
                  </a:lnTo>
                  <a:cubicBezTo>
                    <a:pt x="6113" y="528"/>
                    <a:pt x="6144" y="370"/>
                    <a:pt x="6113" y="276"/>
                  </a:cubicBezTo>
                  <a:cubicBezTo>
                    <a:pt x="6050" y="150"/>
                    <a:pt x="5955" y="55"/>
                    <a:pt x="5829" y="24"/>
                  </a:cubicBezTo>
                  <a:cubicBezTo>
                    <a:pt x="5703" y="8"/>
                    <a:pt x="5593" y="0"/>
                    <a:pt x="54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73"/>
            <p:cNvSpPr/>
            <p:nvPr/>
          </p:nvSpPr>
          <p:spPr>
            <a:xfrm>
              <a:off x="-34250375" y="3565950"/>
              <a:ext cx="46500" cy="46500"/>
            </a:xfrm>
            <a:custGeom>
              <a:avLst/>
              <a:gdLst/>
              <a:ahLst/>
              <a:cxnLst/>
              <a:rect l="l" t="t" r="r" b="b"/>
              <a:pathLst>
                <a:path w="1860" h="1860" extrusionOk="0">
                  <a:moveTo>
                    <a:pt x="1" y="1"/>
                  </a:moveTo>
                  <a:lnTo>
                    <a:pt x="1" y="1859"/>
                  </a:lnTo>
                  <a:lnTo>
                    <a:pt x="1860" y="185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73"/>
            <p:cNvSpPr/>
            <p:nvPr/>
          </p:nvSpPr>
          <p:spPr>
            <a:xfrm>
              <a:off x="-34405525" y="3558075"/>
              <a:ext cx="206375" cy="276475"/>
            </a:xfrm>
            <a:custGeom>
              <a:avLst/>
              <a:gdLst/>
              <a:ahLst/>
              <a:cxnLst/>
              <a:rect l="l" t="t" r="r" b="b"/>
              <a:pathLst>
                <a:path w="8255" h="11059" extrusionOk="0">
                  <a:moveTo>
                    <a:pt x="3812" y="1450"/>
                  </a:moveTo>
                  <a:cubicBezTo>
                    <a:pt x="4001" y="1450"/>
                    <a:pt x="4159" y="1607"/>
                    <a:pt x="4159" y="1796"/>
                  </a:cubicBezTo>
                  <a:cubicBezTo>
                    <a:pt x="4159" y="2017"/>
                    <a:pt x="4001" y="2174"/>
                    <a:pt x="3812" y="2174"/>
                  </a:cubicBezTo>
                  <a:cubicBezTo>
                    <a:pt x="3623" y="2174"/>
                    <a:pt x="3466" y="2017"/>
                    <a:pt x="3466" y="1796"/>
                  </a:cubicBezTo>
                  <a:cubicBezTo>
                    <a:pt x="3466" y="1607"/>
                    <a:pt x="3623" y="1450"/>
                    <a:pt x="3812" y="1450"/>
                  </a:cubicBezTo>
                  <a:close/>
                  <a:moveTo>
                    <a:pt x="3812" y="2836"/>
                  </a:moveTo>
                  <a:cubicBezTo>
                    <a:pt x="4001" y="2836"/>
                    <a:pt x="4159" y="2993"/>
                    <a:pt x="4159" y="3183"/>
                  </a:cubicBezTo>
                  <a:lnTo>
                    <a:pt x="4159" y="5293"/>
                  </a:lnTo>
                  <a:cubicBezTo>
                    <a:pt x="4159" y="5482"/>
                    <a:pt x="4001" y="5640"/>
                    <a:pt x="3812" y="5640"/>
                  </a:cubicBezTo>
                  <a:cubicBezTo>
                    <a:pt x="3623" y="5640"/>
                    <a:pt x="3466" y="5482"/>
                    <a:pt x="3466" y="5293"/>
                  </a:cubicBezTo>
                  <a:lnTo>
                    <a:pt x="3466" y="3183"/>
                  </a:lnTo>
                  <a:cubicBezTo>
                    <a:pt x="3466" y="2993"/>
                    <a:pt x="3623" y="2836"/>
                    <a:pt x="3812" y="2836"/>
                  </a:cubicBezTo>
                  <a:close/>
                  <a:moveTo>
                    <a:pt x="5860" y="6301"/>
                  </a:moveTo>
                  <a:cubicBezTo>
                    <a:pt x="6049" y="6301"/>
                    <a:pt x="6207" y="6459"/>
                    <a:pt x="6207" y="6648"/>
                  </a:cubicBezTo>
                  <a:cubicBezTo>
                    <a:pt x="6207" y="6837"/>
                    <a:pt x="6049" y="6995"/>
                    <a:pt x="5860" y="6995"/>
                  </a:cubicBezTo>
                  <a:lnTo>
                    <a:pt x="1733" y="6995"/>
                  </a:lnTo>
                  <a:cubicBezTo>
                    <a:pt x="1544" y="6995"/>
                    <a:pt x="1387" y="6837"/>
                    <a:pt x="1387" y="6648"/>
                  </a:cubicBezTo>
                  <a:cubicBezTo>
                    <a:pt x="1387" y="6459"/>
                    <a:pt x="1544" y="6301"/>
                    <a:pt x="1733" y="6301"/>
                  </a:cubicBezTo>
                  <a:close/>
                  <a:moveTo>
                    <a:pt x="4537" y="7688"/>
                  </a:moveTo>
                  <a:cubicBezTo>
                    <a:pt x="4726" y="7688"/>
                    <a:pt x="4884" y="7845"/>
                    <a:pt x="4884" y="8034"/>
                  </a:cubicBezTo>
                  <a:cubicBezTo>
                    <a:pt x="4884" y="8223"/>
                    <a:pt x="4726" y="8381"/>
                    <a:pt x="4537" y="8381"/>
                  </a:cubicBezTo>
                  <a:lnTo>
                    <a:pt x="1733" y="8381"/>
                  </a:lnTo>
                  <a:cubicBezTo>
                    <a:pt x="1544" y="8381"/>
                    <a:pt x="1387" y="8223"/>
                    <a:pt x="1387" y="8034"/>
                  </a:cubicBezTo>
                  <a:cubicBezTo>
                    <a:pt x="1387" y="7845"/>
                    <a:pt x="1544" y="7688"/>
                    <a:pt x="1733" y="7688"/>
                  </a:cubicBezTo>
                  <a:close/>
                  <a:moveTo>
                    <a:pt x="347" y="1"/>
                  </a:moveTo>
                  <a:cubicBezTo>
                    <a:pt x="158" y="1"/>
                    <a:pt x="0" y="158"/>
                    <a:pt x="0" y="347"/>
                  </a:cubicBezTo>
                  <a:lnTo>
                    <a:pt x="0" y="10681"/>
                  </a:lnTo>
                  <a:cubicBezTo>
                    <a:pt x="0" y="10964"/>
                    <a:pt x="158" y="11059"/>
                    <a:pt x="347" y="11059"/>
                  </a:cubicBezTo>
                  <a:lnTo>
                    <a:pt x="3466" y="11059"/>
                  </a:lnTo>
                  <a:cubicBezTo>
                    <a:pt x="3466" y="10712"/>
                    <a:pt x="3592" y="10366"/>
                    <a:pt x="3844" y="10082"/>
                  </a:cubicBezTo>
                  <a:lnTo>
                    <a:pt x="4254" y="9704"/>
                  </a:lnTo>
                  <a:lnTo>
                    <a:pt x="1702" y="9704"/>
                  </a:lnTo>
                  <a:cubicBezTo>
                    <a:pt x="1481" y="9704"/>
                    <a:pt x="1324" y="9546"/>
                    <a:pt x="1324" y="9326"/>
                  </a:cubicBezTo>
                  <a:cubicBezTo>
                    <a:pt x="1324" y="9137"/>
                    <a:pt x="1481" y="8979"/>
                    <a:pt x="1702" y="8979"/>
                  </a:cubicBezTo>
                  <a:lnTo>
                    <a:pt x="4915" y="8979"/>
                  </a:lnTo>
                  <a:lnTo>
                    <a:pt x="6963" y="6932"/>
                  </a:lnTo>
                  <a:cubicBezTo>
                    <a:pt x="6900" y="6585"/>
                    <a:pt x="6805" y="6238"/>
                    <a:pt x="6931" y="5703"/>
                  </a:cubicBezTo>
                  <a:cubicBezTo>
                    <a:pt x="7089" y="4915"/>
                    <a:pt x="7562" y="4254"/>
                    <a:pt x="8255" y="3876"/>
                  </a:cubicBezTo>
                  <a:lnTo>
                    <a:pt x="8255" y="2773"/>
                  </a:lnTo>
                  <a:lnTo>
                    <a:pt x="5860" y="2773"/>
                  </a:lnTo>
                  <a:cubicBezTo>
                    <a:pt x="5671" y="2773"/>
                    <a:pt x="5514" y="2615"/>
                    <a:pt x="5514" y="2395"/>
                  </a:cubicBezTo>
                  <a:lnTo>
                    <a:pt x="55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0" name="Google Shape;7440;p73"/>
          <p:cNvGrpSpPr/>
          <p:nvPr/>
        </p:nvGrpSpPr>
        <p:grpSpPr>
          <a:xfrm>
            <a:off x="2629755" y="2256940"/>
            <a:ext cx="355557" cy="353615"/>
            <a:chOff x="-34406325" y="3919600"/>
            <a:chExt cx="293025" cy="291425"/>
          </a:xfrm>
        </p:grpSpPr>
        <p:sp>
          <p:nvSpPr>
            <p:cNvPr id="7441" name="Google Shape;7441;p73"/>
            <p:cNvSpPr/>
            <p:nvPr/>
          </p:nvSpPr>
          <p:spPr>
            <a:xfrm>
              <a:off x="-34167675" y="3932000"/>
              <a:ext cx="42550" cy="40575"/>
            </a:xfrm>
            <a:custGeom>
              <a:avLst/>
              <a:gdLst/>
              <a:ahLst/>
              <a:cxnLst/>
              <a:rect l="l" t="t" r="r" b="b"/>
              <a:pathLst>
                <a:path w="1702" h="1623" extrusionOk="0">
                  <a:moveTo>
                    <a:pt x="1352" y="0"/>
                  </a:moveTo>
                  <a:cubicBezTo>
                    <a:pt x="1261" y="0"/>
                    <a:pt x="1167" y="24"/>
                    <a:pt x="1104" y="71"/>
                  </a:cubicBezTo>
                  <a:lnTo>
                    <a:pt x="127" y="1079"/>
                  </a:lnTo>
                  <a:cubicBezTo>
                    <a:pt x="1" y="1205"/>
                    <a:pt x="1" y="1426"/>
                    <a:pt x="127" y="1552"/>
                  </a:cubicBezTo>
                  <a:cubicBezTo>
                    <a:pt x="190" y="1599"/>
                    <a:pt x="284" y="1623"/>
                    <a:pt x="375" y="1623"/>
                  </a:cubicBezTo>
                  <a:cubicBezTo>
                    <a:pt x="466" y="1623"/>
                    <a:pt x="552" y="1599"/>
                    <a:pt x="599" y="1552"/>
                  </a:cubicBezTo>
                  <a:lnTo>
                    <a:pt x="1576" y="544"/>
                  </a:lnTo>
                  <a:cubicBezTo>
                    <a:pt x="1702" y="449"/>
                    <a:pt x="1702" y="260"/>
                    <a:pt x="1576" y="71"/>
                  </a:cubicBezTo>
                  <a:cubicBezTo>
                    <a:pt x="1529" y="24"/>
                    <a:pt x="1442" y="0"/>
                    <a:pt x="13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73"/>
            <p:cNvSpPr/>
            <p:nvPr/>
          </p:nvSpPr>
          <p:spPr>
            <a:xfrm>
              <a:off x="-34286600" y="3922950"/>
              <a:ext cx="171725" cy="167575"/>
            </a:xfrm>
            <a:custGeom>
              <a:avLst/>
              <a:gdLst/>
              <a:ahLst/>
              <a:cxnLst/>
              <a:rect l="l" t="t" r="r" b="b"/>
              <a:pathLst>
                <a:path w="6869" h="6703" extrusionOk="0">
                  <a:moveTo>
                    <a:pt x="772" y="0"/>
                  </a:moveTo>
                  <a:cubicBezTo>
                    <a:pt x="599" y="0"/>
                    <a:pt x="426" y="71"/>
                    <a:pt x="284" y="213"/>
                  </a:cubicBezTo>
                  <a:cubicBezTo>
                    <a:pt x="1" y="496"/>
                    <a:pt x="1" y="937"/>
                    <a:pt x="284" y="1189"/>
                  </a:cubicBezTo>
                  <a:lnTo>
                    <a:pt x="5608" y="6514"/>
                  </a:lnTo>
                  <a:cubicBezTo>
                    <a:pt x="5734" y="6640"/>
                    <a:pt x="5908" y="6703"/>
                    <a:pt x="6085" y="6703"/>
                  </a:cubicBezTo>
                  <a:cubicBezTo>
                    <a:pt x="6262" y="6703"/>
                    <a:pt x="6443" y="6640"/>
                    <a:pt x="6585" y="6514"/>
                  </a:cubicBezTo>
                  <a:cubicBezTo>
                    <a:pt x="6869" y="6230"/>
                    <a:pt x="6869" y="5821"/>
                    <a:pt x="6585" y="5537"/>
                  </a:cubicBezTo>
                  <a:lnTo>
                    <a:pt x="1261" y="213"/>
                  </a:lnTo>
                  <a:cubicBezTo>
                    <a:pt x="1119" y="71"/>
                    <a:pt x="946"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3"/>
            <p:cNvSpPr/>
            <p:nvPr/>
          </p:nvSpPr>
          <p:spPr>
            <a:xfrm>
              <a:off x="-34406325" y="4115900"/>
              <a:ext cx="98475" cy="95125"/>
            </a:xfrm>
            <a:custGeom>
              <a:avLst/>
              <a:gdLst/>
              <a:ahLst/>
              <a:cxnLst/>
              <a:rect l="l" t="t" r="r" b="b"/>
              <a:pathLst>
                <a:path w="3939" h="3805" extrusionOk="0">
                  <a:moveTo>
                    <a:pt x="757" y="1"/>
                  </a:moveTo>
                  <a:cubicBezTo>
                    <a:pt x="576" y="1"/>
                    <a:pt x="395" y="72"/>
                    <a:pt x="253" y="213"/>
                  </a:cubicBezTo>
                  <a:cubicBezTo>
                    <a:pt x="1" y="497"/>
                    <a:pt x="1" y="938"/>
                    <a:pt x="253" y="1190"/>
                  </a:cubicBezTo>
                  <a:lnTo>
                    <a:pt x="2679" y="3616"/>
                  </a:lnTo>
                  <a:cubicBezTo>
                    <a:pt x="2805" y="3742"/>
                    <a:pt x="2978" y="3805"/>
                    <a:pt x="3155" y="3805"/>
                  </a:cubicBezTo>
                  <a:cubicBezTo>
                    <a:pt x="3332" y="3805"/>
                    <a:pt x="3514" y="3742"/>
                    <a:pt x="3655" y="3616"/>
                  </a:cubicBezTo>
                  <a:cubicBezTo>
                    <a:pt x="3939" y="3332"/>
                    <a:pt x="3939" y="2891"/>
                    <a:pt x="3655" y="2608"/>
                  </a:cubicBezTo>
                  <a:lnTo>
                    <a:pt x="1261" y="213"/>
                  </a:lnTo>
                  <a:cubicBezTo>
                    <a:pt x="1119" y="72"/>
                    <a:pt x="93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73"/>
            <p:cNvSpPr/>
            <p:nvPr/>
          </p:nvSpPr>
          <p:spPr>
            <a:xfrm>
              <a:off x="-34364575" y="3966850"/>
              <a:ext cx="204025" cy="204025"/>
            </a:xfrm>
            <a:custGeom>
              <a:avLst/>
              <a:gdLst/>
              <a:ahLst/>
              <a:cxnLst/>
              <a:rect l="l" t="t" r="r" b="b"/>
              <a:pathLst>
                <a:path w="8161" h="8161" extrusionOk="0">
                  <a:moveTo>
                    <a:pt x="2994" y="1"/>
                  </a:moveTo>
                  <a:lnTo>
                    <a:pt x="2489" y="1576"/>
                  </a:lnTo>
                  <a:cubicBezTo>
                    <a:pt x="1985" y="3088"/>
                    <a:pt x="1166" y="4474"/>
                    <a:pt x="1" y="5703"/>
                  </a:cubicBezTo>
                  <a:lnTo>
                    <a:pt x="2458" y="8160"/>
                  </a:lnTo>
                  <a:cubicBezTo>
                    <a:pt x="3687" y="6995"/>
                    <a:pt x="5104" y="6175"/>
                    <a:pt x="6585" y="5671"/>
                  </a:cubicBezTo>
                  <a:lnTo>
                    <a:pt x="8160" y="5136"/>
                  </a:ln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73"/>
            <p:cNvSpPr/>
            <p:nvPr/>
          </p:nvSpPr>
          <p:spPr>
            <a:xfrm>
              <a:off x="-34200750" y="3919600"/>
              <a:ext cx="17350" cy="33875"/>
            </a:xfrm>
            <a:custGeom>
              <a:avLst/>
              <a:gdLst/>
              <a:ahLst/>
              <a:cxnLst/>
              <a:rect l="l" t="t" r="r" b="b"/>
              <a:pathLst>
                <a:path w="694" h="1355" extrusionOk="0">
                  <a:moveTo>
                    <a:pt x="347" y="0"/>
                  </a:moveTo>
                  <a:cubicBezTo>
                    <a:pt x="158" y="0"/>
                    <a:pt x="1" y="158"/>
                    <a:pt x="1" y="347"/>
                  </a:cubicBezTo>
                  <a:lnTo>
                    <a:pt x="1" y="1008"/>
                  </a:lnTo>
                  <a:cubicBezTo>
                    <a:pt x="1" y="1229"/>
                    <a:pt x="158" y="1355"/>
                    <a:pt x="347" y="1355"/>
                  </a:cubicBezTo>
                  <a:cubicBezTo>
                    <a:pt x="536" y="1355"/>
                    <a:pt x="694" y="1229"/>
                    <a:pt x="694" y="1008"/>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3"/>
            <p:cNvSpPr/>
            <p:nvPr/>
          </p:nvSpPr>
          <p:spPr>
            <a:xfrm>
              <a:off x="-34147975" y="3989700"/>
              <a:ext cx="34675" cy="17350"/>
            </a:xfrm>
            <a:custGeom>
              <a:avLst/>
              <a:gdLst/>
              <a:ahLst/>
              <a:cxnLst/>
              <a:rect l="l" t="t" r="r" b="b"/>
              <a:pathLst>
                <a:path w="1387" h="694" extrusionOk="0">
                  <a:moveTo>
                    <a:pt x="379" y="0"/>
                  </a:moveTo>
                  <a:cubicBezTo>
                    <a:pt x="158" y="0"/>
                    <a:pt x="0" y="126"/>
                    <a:pt x="0" y="347"/>
                  </a:cubicBezTo>
                  <a:cubicBezTo>
                    <a:pt x="0" y="536"/>
                    <a:pt x="158" y="693"/>
                    <a:pt x="379" y="693"/>
                  </a:cubicBezTo>
                  <a:lnTo>
                    <a:pt x="1040" y="693"/>
                  </a:lnTo>
                  <a:cubicBezTo>
                    <a:pt x="1229" y="693"/>
                    <a:pt x="1387" y="536"/>
                    <a:pt x="1387" y="347"/>
                  </a:cubicBezTo>
                  <a:cubicBezTo>
                    <a:pt x="1387" y="126"/>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73"/>
            <p:cNvSpPr/>
            <p:nvPr/>
          </p:nvSpPr>
          <p:spPr>
            <a:xfrm>
              <a:off x="-34278725" y="4116500"/>
              <a:ext cx="116600" cy="68600"/>
            </a:xfrm>
            <a:custGeom>
              <a:avLst/>
              <a:gdLst/>
              <a:ahLst/>
              <a:cxnLst/>
              <a:rect l="l" t="t" r="r" b="b"/>
              <a:pathLst>
                <a:path w="4664" h="2744" extrusionOk="0">
                  <a:moveTo>
                    <a:pt x="4411" y="0"/>
                  </a:moveTo>
                  <a:lnTo>
                    <a:pt x="3750" y="221"/>
                  </a:lnTo>
                  <a:cubicBezTo>
                    <a:pt x="3907" y="378"/>
                    <a:pt x="3813" y="631"/>
                    <a:pt x="3624" y="694"/>
                  </a:cubicBezTo>
                  <a:lnTo>
                    <a:pt x="1072" y="2017"/>
                  </a:lnTo>
                  <a:cubicBezTo>
                    <a:pt x="1030" y="2038"/>
                    <a:pt x="984" y="2048"/>
                    <a:pt x="938" y="2048"/>
                  </a:cubicBezTo>
                  <a:cubicBezTo>
                    <a:pt x="844" y="2048"/>
                    <a:pt x="746" y="2006"/>
                    <a:pt x="662" y="1922"/>
                  </a:cubicBezTo>
                  <a:lnTo>
                    <a:pt x="568" y="1796"/>
                  </a:lnTo>
                  <a:cubicBezTo>
                    <a:pt x="347" y="1922"/>
                    <a:pt x="190" y="2080"/>
                    <a:pt x="1" y="2237"/>
                  </a:cubicBezTo>
                  <a:lnTo>
                    <a:pt x="190" y="2426"/>
                  </a:lnTo>
                  <a:cubicBezTo>
                    <a:pt x="395" y="2632"/>
                    <a:pt x="669" y="2744"/>
                    <a:pt x="947" y="2744"/>
                  </a:cubicBezTo>
                  <a:cubicBezTo>
                    <a:pt x="1095" y="2744"/>
                    <a:pt x="1245" y="2712"/>
                    <a:pt x="1387" y="2647"/>
                  </a:cubicBezTo>
                  <a:lnTo>
                    <a:pt x="3939" y="1324"/>
                  </a:lnTo>
                  <a:cubicBezTo>
                    <a:pt x="4411" y="1103"/>
                    <a:pt x="4663" y="505"/>
                    <a:pt x="4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8" name="Google Shape;7448;p73"/>
          <p:cNvGrpSpPr/>
          <p:nvPr/>
        </p:nvGrpSpPr>
        <p:grpSpPr>
          <a:xfrm>
            <a:off x="1293653" y="2736303"/>
            <a:ext cx="353645" cy="342179"/>
            <a:chOff x="-32568800" y="3232000"/>
            <a:chExt cx="291450" cy="282000"/>
          </a:xfrm>
        </p:grpSpPr>
        <p:sp>
          <p:nvSpPr>
            <p:cNvPr id="7449" name="Google Shape;7449;p73"/>
            <p:cNvSpPr/>
            <p:nvPr/>
          </p:nvSpPr>
          <p:spPr>
            <a:xfrm>
              <a:off x="-32545150" y="3232000"/>
              <a:ext cx="244175" cy="246550"/>
            </a:xfrm>
            <a:custGeom>
              <a:avLst/>
              <a:gdLst/>
              <a:ahLst/>
              <a:cxnLst/>
              <a:rect l="l" t="t" r="r" b="b"/>
              <a:pathLst>
                <a:path w="9767" h="9862" extrusionOk="0">
                  <a:moveTo>
                    <a:pt x="4883" y="1"/>
                  </a:moveTo>
                  <a:cubicBezTo>
                    <a:pt x="4505" y="1"/>
                    <a:pt x="4222" y="316"/>
                    <a:pt x="4222" y="662"/>
                  </a:cubicBezTo>
                  <a:lnTo>
                    <a:pt x="4222" y="4128"/>
                  </a:lnTo>
                  <a:cubicBezTo>
                    <a:pt x="4159" y="4033"/>
                    <a:pt x="2899" y="1859"/>
                    <a:pt x="2772" y="1702"/>
                  </a:cubicBezTo>
                  <a:cubicBezTo>
                    <a:pt x="2639" y="1479"/>
                    <a:pt x="2394" y="1350"/>
                    <a:pt x="2151" y="1350"/>
                  </a:cubicBezTo>
                  <a:cubicBezTo>
                    <a:pt x="2051" y="1350"/>
                    <a:pt x="1951" y="1372"/>
                    <a:pt x="1859" y="1418"/>
                  </a:cubicBezTo>
                  <a:cubicBezTo>
                    <a:pt x="1512" y="1576"/>
                    <a:pt x="1386" y="2017"/>
                    <a:pt x="1544" y="2332"/>
                  </a:cubicBezTo>
                  <a:cubicBezTo>
                    <a:pt x="1544" y="2363"/>
                    <a:pt x="2804" y="4947"/>
                    <a:pt x="2836" y="4947"/>
                  </a:cubicBezTo>
                  <a:cubicBezTo>
                    <a:pt x="3434" y="4947"/>
                    <a:pt x="5261" y="4947"/>
                    <a:pt x="5261" y="6617"/>
                  </a:cubicBezTo>
                  <a:cubicBezTo>
                    <a:pt x="5261" y="6806"/>
                    <a:pt x="5104" y="6963"/>
                    <a:pt x="4883" y="6963"/>
                  </a:cubicBezTo>
                  <a:cubicBezTo>
                    <a:pt x="4694" y="6963"/>
                    <a:pt x="4537" y="6806"/>
                    <a:pt x="4537" y="6617"/>
                  </a:cubicBezTo>
                  <a:cubicBezTo>
                    <a:pt x="4537" y="6018"/>
                    <a:pt x="4253" y="5640"/>
                    <a:pt x="3056" y="5608"/>
                  </a:cubicBezTo>
                  <a:cubicBezTo>
                    <a:pt x="3056" y="5608"/>
                    <a:pt x="1260" y="4254"/>
                    <a:pt x="1197" y="4191"/>
                  </a:cubicBezTo>
                  <a:cubicBezTo>
                    <a:pt x="1060" y="4084"/>
                    <a:pt x="901" y="4029"/>
                    <a:pt x="745" y="4029"/>
                  </a:cubicBezTo>
                  <a:cubicBezTo>
                    <a:pt x="578" y="4029"/>
                    <a:pt x="414" y="4092"/>
                    <a:pt x="284" y="4222"/>
                  </a:cubicBezTo>
                  <a:cubicBezTo>
                    <a:pt x="0" y="4506"/>
                    <a:pt x="0" y="4915"/>
                    <a:pt x="284" y="5199"/>
                  </a:cubicBezTo>
                  <a:lnTo>
                    <a:pt x="1859" y="6774"/>
                  </a:lnTo>
                  <a:cubicBezTo>
                    <a:pt x="2048" y="6963"/>
                    <a:pt x="2142" y="7215"/>
                    <a:pt x="2142" y="7436"/>
                  </a:cubicBezTo>
                  <a:cubicBezTo>
                    <a:pt x="2142" y="8034"/>
                    <a:pt x="2520" y="8538"/>
                    <a:pt x="3088" y="8759"/>
                  </a:cubicBezTo>
                  <a:cubicBezTo>
                    <a:pt x="3245" y="8790"/>
                    <a:pt x="3371" y="8948"/>
                    <a:pt x="3434" y="9074"/>
                  </a:cubicBezTo>
                  <a:cubicBezTo>
                    <a:pt x="2426" y="8979"/>
                    <a:pt x="1260" y="8790"/>
                    <a:pt x="1103" y="8475"/>
                  </a:cubicBezTo>
                  <a:cubicBezTo>
                    <a:pt x="1103" y="8475"/>
                    <a:pt x="1197" y="8349"/>
                    <a:pt x="1638" y="8192"/>
                  </a:cubicBezTo>
                  <a:cubicBezTo>
                    <a:pt x="1544" y="8003"/>
                    <a:pt x="1481" y="7751"/>
                    <a:pt x="1481" y="7530"/>
                  </a:cubicBezTo>
                  <a:cubicBezTo>
                    <a:pt x="756" y="7782"/>
                    <a:pt x="441" y="8066"/>
                    <a:pt x="441" y="8475"/>
                  </a:cubicBezTo>
                  <a:cubicBezTo>
                    <a:pt x="441" y="9641"/>
                    <a:pt x="3718" y="9862"/>
                    <a:pt x="4883" y="9862"/>
                  </a:cubicBezTo>
                  <a:cubicBezTo>
                    <a:pt x="6081" y="9862"/>
                    <a:pt x="9357" y="9641"/>
                    <a:pt x="9357" y="8475"/>
                  </a:cubicBezTo>
                  <a:cubicBezTo>
                    <a:pt x="9357" y="8066"/>
                    <a:pt x="8979" y="7751"/>
                    <a:pt x="8317" y="7530"/>
                  </a:cubicBezTo>
                  <a:cubicBezTo>
                    <a:pt x="8317" y="7782"/>
                    <a:pt x="8286" y="8003"/>
                    <a:pt x="8160" y="8192"/>
                  </a:cubicBezTo>
                  <a:cubicBezTo>
                    <a:pt x="8286" y="8255"/>
                    <a:pt x="8349" y="8286"/>
                    <a:pt x="8443" y="8318"/>
                  </a:cubicBezTo>
                  <a:lnTo>
                    <a:pt x="8664" y="8444"/>
                  </a:lnTo>
                  <a:cubicBezTo>
                    <a:pt x="8475" y="8790"/>
                    <a:pt x="7372" y="8948"/>
                    <a:pt x="6364" y="9074"/>
                  </a:cubicBezTo>
                  <a:cubicBezTo>
                    <a:pt x="6427" y="8979"/>
                    <a:pt x="6553" y="8885"/>
                    <a:pt x="6711" y="8822"/>
                  </a:cubicBezTo>
                  <a:cubicBezTo>
                    <a:pt x="7246" y="8633"/>
                    <a:pt x="7656" y="8129"/>
                    <a:pt x="7656" y="7530"/>
                  </a:cubicBezTo>
                  <a:lnTo>
                    <a:pt x="7656" y="6428"/>
                  </a:lnTo>
                  <a:lnTo>
                    <a:pt x="9515" y="4569"/>
                  </a:lnTo>
                  <a:cubicBezTo>
                    <a:pt x="9767" y="4317"/>
                    <a:pt x="9767" y="3876"/>
                    <a:pt x="9515" y="3592"/>
                  </a:cubicBezTo>
                  <a:cubicBezTo>
                    <a:pt x="9373" y="3450"/>
                    <a:pt x="9192" y="3379"/>
                    <a:pt x="9010" y="3379"/>
                  </a:cubicBezTo>
                  <a:cubicBezTo>
                    <a:pt x="8829" y="3379"/>
                    <a:pt x="8648" y="3450"/>
                    <a:pt x="8506" y="3592"/>
                  </a:cubicBezTo>
                  <a:cubicBezTo>
                    <a:pt x="8191" y="3876"/>
                    <a:pt x="7498" y="4411"/>
                    <a:pt x="7026" y="4789"/>
                  </a:cubicBezTo>
                  <a:cubicBezTo>
                    <a:pt x="7089" y="4663"/>
                    <a:pt x="8191" y="2426"/>
                    <a:pt x="8254" y="2332"/>
                  </a:cubicBezTo>
                  <a:cubicBezTo>
                    <a:pt x="8412" y="1985"/>
                    <a:pt x="8286" y="1576"/>
                    <a:pt x="7939" y="1418"/>
                  </a:cubicBezTo>
                  <a:cubicBezTo>
                    <a:pt x="7847" y="1372"/>
                    <a:pt x="7747" y="1350"/>
                    <a:pt x="7647" y="1350"/>
                  </a:cubicBezTo>
                  <a:cubicBezTo>
                    <a:pt x="7404" y="1350"/>
                    <a:pt x="7159" y="1479"/>
                    <a:pt x="7026" y="1702"/>
                  </a:cubicBezTo>
                  <a:cubicBezTo>
                    <a:pt x="6900" y="1859"/>
                    <a:pt x="5639" y="4033"/>
                    <a:pt x="5576" y="4128"/>
                  </a:cubicBezTo>
                  <a:lnTo>
                    <a:pt x="5576" y="662"/>
                  </a:lnTo>
                  <a:cubicBezTo>
                    <a:pt x="5576" y="284"/>
                    <a:pt x="5261" y="1"/>
                    <a:pt x="4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73"/>
            <p:cNvSpPr/>
            <p:nvPr/>
          </p:nvSpPr>
          <p:spPr>
            <a:xfrm>
              <a:off x="-32568800" y="3392675"/>
              <a:ext cx="291450" cy="121325"/>
            </a:xfrm>
            <a:custGeom>
              <a:avLst/>
              <a:gdLst/>
              <a:ahLst/>
              <a:cxnLst/>
              <a:rect l="l" t="t" r="r" b="b"/>
              <a:pathLst>
                <a:path w="11658" h="4853" extrusionOk="0">
                  <a:moveTo>
                    <a:pt x="9578" y="1"/>
                  </a:moveTo>
                  <a:lnTo>
                    <a:pt x="9263" y="316"/>
                  </a:lnTo>
                  <a:lnTo>
                    <a:pt x="9263" y="631"/>
                  </a:lnTo>
                  <a:cubicBezTo>
                    <a:pt x="10335" y="1040"/>
                    <a:pt x="10965" y="1576"/>
                    <a:pt x="10965" y="2143"/>
                  </a:cubicBezTo>
                  <a:cubicBezTo>
                    <a:pt x="10965" y="3119"/>
                    <a:pt x="8885" y="4191"/>
                    <a:pt x="5829" y="4191"/>
                  </a:cubicBezTo>
                  <a:cubicBezTo>
                    <a:pt x="2805" y="4191"/>
                    <a:pt x="726" y="3119"/>
                    <a:pt x="726" y="2143"/>
                  </a:cubicBezTo>
                  <a:cubicBezTo>
                    <a:pt x="726" y="1607"/>
                    <a:pt x="1261" y="1103"/>
                    <a:pt x="2175" y="725"/>
                  </a:cubicBezTo>
                  <a:lnTo>
                    <a:pt x="1671" y="190"/>
                  </a:lnTo>
                  <a:cubicBezTo>
                    <a:pt x="631" y="725"/>
                    <a:pt x="1" y="1387"/>
                    <a:pt x="1" y="2111"/>
                  </a:cubicBezTo>
                  <a:cubicBezTo>
                    <a:pt x="1" y="3655"/>
                    <a:pt x="2584" y="4852"/>
                    <a:pt x="5829" y="4852"/>
                  </a:cubicBezTo>
                  <a:cubicBezTo>
                    <a:pt x="9106" y="4852"/>
                    <a:pt x="11658" y="3624"/>
                    <a:pt x="11658" y="2111"/>
                  </a:cubicBezTo>
                  <a:cubicBezTo>
                    <a:pt x="11658" y="1261"/>
                    <a:pt x="10870" y="505"/>
                    <a:pt x="9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1" name="Google Shape;7451;p73"/>
          <p:cNvGrpSpPr/>
          <p:nvPr/>
        </p:nvGrpSpPr>
        <p:grpSpPr>
          <a:xfrm>
            <a:off x="1293183" y="3201213"/>
            <a:ext cx="354586" cy="353645"/>
            <a:chOff x="-32569575" y="3586425"/>
            <a:chExt cx="292225" cy="291450"/>
          </a:xfrm>
        </p:grpSpPr>
        <p:sp>
          <p:nvSpPr>
            <p:cNvPr id="7452" name="Google Shape;7452;p73"/>
            <p:cNvSpPr/>
            <p:nvPr/>
          </p:nvSpPr>
          <p:spPr>
            <a:xfrm>
              <a:off x="-32569575" y="3672275"/>
              <a:ext cx="292225" cy="205600"/>
            </a:xfrm>
            <a:custGeom>
              <a:avLst/>
              <a:gdLst/>
              <a:ahLst/>
              <a:cxnLst/>
              <a:rect l="l" t="t" r="r" b="b"/>
              <a:pathLst>
                <a:path w="11689" h="8224" extrusionOk="0">
                  <a:moveTo>
                    <a:pt x="5860" y="1"/>
                  </a:moveTo>
                  <a:cubicBezTo>
                    <a:pt x="4506" y="1"/>
                    <a:pt x="3340" y="1040"/>
                    <a:pt x="3151" y="2332"/>
                  </a:cubicBezTo>
                  <a:cubicBezTo>
                    <a:pt x="3119" y="2521"/>
                    <a:pt x="3277" y="2710"/>
                    <a:pt x="3497" y="2710"/>
                  </a:cubicBezTo>
                  <a:lnTo>
                    <a:pt x="5514" y="2710"/>
                  </a:lnTo>
                  <a:lnTo>
                    <a:pt x="5514" y="3435"/>
                  </a:lnTo>
                  <a:lnTo>
                    <a:pt x="2395" y="3435"/>
                  </a:lnTo>
                  <a:cubicBezTo>
                    <a:pt x="1859" y="3435"/>
                    <a:pt x="1387" y="3907"/>
                    <a:pt x="1387" y="4443"/>
                  </a:cubicBezTo>
                  <a:lnTo>
                    <a:pt x="1387" y="4852"/>
                  </a:lnTo>
                  <a:cubicBezTo>
                    <a:pt x="599" y="5010"/>
                    <a:pt x="0" y="5703"/>
                    <a:pt x="0" y="6554"/>
                  </a:cubicBezTo>
                  <a:cubicBezTo>
                    <a:pt x="0" y="7499"/>
                    <a:pt x="757" y="8223"/>
                    <a:pt x="1702" y="8223"/>
                  </a:cubicBezTo>
                  <a:cubicBezTo>
                    <a:pt x="2647" y="8223"/>
                    <a:pt x="3403" y="7499"/>
                    <a:pt x="3403" y="6554"/>
                  </a:cubicBezTo>
                  <a:cubicBezTo>
                    <a:pt x="3403" y="5703"/>
                    <a:pt x="2804" y="5041"/>
                    <a:pt x="2017" y="4852"/>
                  </a:cubicBezTo>
                  <a:lnTo>
                    <a:pt x="2017" y="4443"/>
                  </a:lnTo>
                  <a:cubicBezTo>
                    <a:pt x="2017" y="4254"/>
                    <a:pt x="2174" y="4096"/>
                    <a:pt x="2363" y="4096"/>
                  </a:cubicBezTo>
                  <a:lnTo>
                    <a:pt x="5482" y="4096"/>
                  </a:lnTo>
                  <a:lnTo>
                    <a:pt x="5482" y="4821"/>
                  </a:lnTo>
                  <a:cubicBezTo>
                    <a:pt x="4695" y="4978"/>
                    <a:pt x="4096" y="5672"/>
                    <a:pt x="4096" y="6491"/>
                  </a:cubicBezTo>
                  <a:cubicBezTo>
                    <a:pt x="4096" y="7436"/>
                    <a:pt x="4852" y="8192"/>
                    <a:pt x="5797" y="8192"/>
                  </a:cubicBezTo>
                  <a:cubicBezTo>
                    <a:pt x="6742" y="8192"/>
                    <a:pt x="7499" y="7436"/>
                    <a:pt x="7499" y="6491"/>
                  </a:cubicBezTo>
                  <a:cubicBezTo>
                    <a:pt x="7499" y="5672"/>
                    <a:pt x="6900" y="5010"/>
                    <a:pt x="6112" y="4821"/>
                  </a:cubicBezTo>
                  <a:lnTo>
                    <a:pt x="6112" y="4096"/>
                  </a:lnTo>
                  <a:lnTo>
                    <a:pt x="9231" y="4096"/>
                  </a:lnTo>
                  <a:cubicBezTo>
                    <a:pt x="9420" y="4096"/>
                    <a:pt x="9578" y="4254"/>
                    <a:pt x="9578" y="4443"/>
                  </a:cubicBezTo>
                  <a:lnTo>
                    <a:pt x="9578" y="4852"/>
                  </a:lnTo>
                  <a:cubicBezTo>
                    <a:pt x="8790" y="5010"/>
                    <a:pt x="8192" y="5703"/>
                    <a:pt x="8192" y="6554"/>
                  </a:cubicBezTo>
                  <a:cubicBezTo>
                    <a:pt x="8192" y="7499"/>
                    <a:pt x="8948" y="8223"/>
                    <a:pt x="9893" y="8223"/>
                  </a:cubicBezTo>
                  <a:cubicBezTo>
                    <a:pt x="10838" y="8223"/>
                    <a:pt x="11594" y="7499"/>
                    <a:pt x="11594" y="6554"/>
                  </a:cubicBezTo>
                  <a:cubicBezTo>
                    <a:pt x="11689" y="5703"/>
                    <a:pt x="11153" y="5010"/>
                    <a:pt x="10366" y="4852"/>
                  </a:cubicBezTo>
                  <a:lnTo>
                    <a:pt x="10366" y="4443"/>
                  </a:lnTo>
                  <a:cubicBezTo>
                    <a:pt x="10366" y="3907"/>
                    <a:pt x="9893" y="3435"/>
                    <a:pt x="9326" y="3435"/>
                  </a:cubicBezTo>
                  <a:lnTo>
                    <a:pt x="6238" y="3435"/>
                  </a:lnTo>
                  <a:lnTo>
                    <a:pt x="6238" y="2710"/>
                  </a:lnTo>
                  <a:lnTo>
                    <a:pt x="8223" y="2710"/>
                  </a:lnTo>
                  <a:cubicBezTo>
                    <a:pt x="8444" y="2710"/>
                    <a:pt x="8601" y="2521"/>
                    <a:pt x="8601" y="2332"/>
                  </a:cubicBezTo>
                  <a:cubicBezTo>
                    <a:pt x="8381" y="977"/>
                    <a:pt x="7247"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73"/>
            <p:cNvSpPr/>
            <p:nvPr/>
          </p:nvSpPr>
          <p:spPr>
            <a:xfrm>
              <a:off x="-32456950" y="3586425"/>
              <a:ext cx="68550" cy="69350"/>
            </a:xfrm>
            <a:custGeom>
              <a:avLst/>
              <a:gdLst/>
              <a:ahLst/>
              <a:cxnLst/>
              <a:rect l="l" t="t" r="r" b="b"/>
              <a:pathLst>
                <a:path w="2742" h="2774" extrusionOk="0">
                  <a:moveTo>
                    <a:pt x="1355" y="1"/>
                  </a:moveTo>
                  <a:cubicBezTo>
                    <a:pt x="631" y="1"/>
                    <a:pt x="1" y="631"/>
                    <a:pt x="1" y="1387"/>
                  </a:cubicBezTo>
                  <a:cubicBezTo>
                    <a:pt x="1" y="2143"/>
                    <a:pt x="631" y="2773"/>
                    <a:pt x="1355" y="2773"/>
                  </a:cubicBezTo>
                  <a:cubicBezTo>
                    <a:pt x="2111" y="2773"/>
                    <a:pt x="2742" y="2143"/>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4" name="Google Shape;7454;p73"/>
          <p:cNvGrpSpPr/>
          <p:nvPr/>
        </p:nvGrpSpPr>
        <p:grpSpPr>
          <a:xfrm>
            <a:off x="1284098" y="3665805"/>
            <a:ext cx="372756" cy="354343"/>
            <a:chOff x="-32576675" y="3944600"/>
            <a:chExt cx="307200" cy="292025"/>
          </a:xfrm>
        </p:grpSpPr>
        <p:sp>
          <p:nvSpPr>
            <p:cNvPr id="7455" name="Google Shape;7455;p73"/>
            <p:cNvSpPr/>
            <p:nvPr/>
          </p:nvSpPr>
          <p:spPr>
            <a:xfrm>
              <a:off x="-32482950" y="3944600"/>
              <a:ext cx="213475" cy="214650"/>
            </a:xfrm>
            <a:custGeom>
              <a:avLst/>
              <a:gdLst/>
              <a:ahLst/>
              <a:cxnLst/>
              <a:rect l="l" t="t" r="r" b="b"/>
              <a:pathLst>
                <a:path w="8539" h="8586" extrusionOk="0">
                  <a:moveTo>
                    <a:pt x="5156" y="1"/>
                  </a:moveTo>
                  <a:cubicBezTo>
                    <a:pt x="4372" y="1"/>
                    <a:pt x="3593" y="308"/>
                    <a:pt x="2994" y="922"/>
                  </a:cubicBezTo>
                  <a:lnTo>
                    <a:pt x="1450" y="2466"/>
                  </a:lnTo>
                  <a:cubicBezTo>
                    <a:pt x="1681" y="2417"/>
                    <a:pt x="1916" y="2392"/>
                    <a:pt x="2152" y="2392"/>
                  </a:cubicBezTo>
                  <a:cubicBezTo>
                    <a:pt x="2529" y="2392"/>
                    <a:pt x="2909" y="2456"/>
                    <a:pt x="3277" y="2592"/>
                  </a:cubicBezTo>
                  <a:lnTo>
                    <a:pt x="3939" y="1899"/>
                  </a:lnTo>
                  <a:cubicBezTo>
                    <a:pt x="4270" y="1568"/>
                    <a:pt x="4703" y="1402"/>
                    <a:pt x="5136" y="1402"/>
                  </a:cubicBezTo>
                  <a:cubicBezTo>
                    <a:pt x="5569" y="1402"/>
                    <a:pt x="6003" y="1568"/>
                    <a:pt x="6333" y="1899"/>
                  </a:cubicBezTo>
                  <a:cubicBezTo>
                    <a:pt x="7027" y="2592"/>
                    <a:pt x="7027" y="3631"/>
                    <a:pt x="6333" y="4325"/>
                  </a:cubicBezTo>
                  <a:lnTo>
                    <a:pt x="3939" y="6719"/>
                  </a:lnTo>
                  <a:cubicBezTo>
                    <a:pt x="3608" y="7050"/>
                    <a:pt x="3175" y="7215"/>
                    <a:pt x="2742" y="7215"/>
                  </a:cubicBezTo>
                  <a:cubicBezTo>
                    <a:pt x="2309" y="7215"/>
                    <a:pt x="1875" y="7050"/>
                    <a:pt x="1545" y="6719"/>
                  </a:cubicBezTo>
                  <a:cubicBezTo>
                    <a:pt x="1261" y="6435"/>
                    <a:pt x="1104" y="6089"/>
                    <a:pt x="1072" y="5742"/>
                  </a:cubicBezTo>
                  <a:lnTo>
                    <a:pt x="1" y="6782"/>
                  </a:lnTo>
                  <a:cubicBezTo>
                    <a:pt x="158" y="7097"/>
                    <a:pt x="348" y="7381"/>
                    <a:pt x="600" y="7664"/>
                  </a:cubicBezTo>
                  <a:cubicBezTo>
                    <a:pt x="1214" y="8278"/>
                    <a:pt x="2002" y="8586"/>
                    <a:pt x="2781" y="8586"/>
                  </a:cubicBezTo>
                  <a:cubicBezTo>
                    <a:pt x="3561" y="8586"/>
                    <a:pt x="4333" y="8278"/>
                    <a:pt x="4916" y="7664"/>
                  </a:cubicBezTo>
                  <a:lnTo>
                    <a:pt x="7342" y="5270"/>
                  </a:lnTo>
                  <a:cubicBezTo>
                    <a:pt x="8539" y="4073"/>
                    <a:pt x="8539" y="2151"/>
                    <a:pt x="7342" y="922"/>
                  </a:cubicBezTo>
                  <a:cubicBezTo>
                    <a:pt x="6727" y="308"/>
                    <a:pt x="5940" y="1"/>
                    <a:pt x="51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73"/>
            <p:cNvSpPr/>
            <p:nvPr/>
          </p:nvSpPr>
          <p:spPr>
            <a:xfrm>
              <a:off x="-32576675" y="4020200"/>
              <a:ext cx="215850" cy="216425"/>
            </a:xfrm>
            <a:custGeom>
              <a:avLst/>
              <a:gdLst/>
              <a:ahLst/>
              <a:cxnLst/>
              <a:rect l="l" t="t" r="r" b="b"/>
              <a:pathLst>
                <a:path w="8634" h="8657" extrusionOk="0">
                  <a:moveTo>
                    <a:pt x="5865" y="1"/>
                  </a:moveTo>
                  <a:cubicBezTo>
                    <a:pt x="5081" y="1"/>
                    <a:pt x="4301" y="308"/>
                    <a:pt x="3718" y="922"/>
                  </a:cubicBezTo>
                  <a:lnTo>
                    <a:pt x="1230" y="3411"/>
                  </a:lnTo>
                  <a:cubicBezTo>
                    <a:pt x="1" y="4640"/>
                    <a:pt x="1" y="6562"/>
                    <a:pt x="1230" y="7759"/>
                  </a:cubicBezTo>
                  <a:cubicBezTo>
                    <a:pt x="1844" y="8358"/>
                    <a:pt x="2632" y="8657"/>
                    <a:pt x="3415" y="8657"/>
                  </a:cubicBezTo>
                  <a:cubicBezTo>
                    <a:pt x="4199" y="8657"/>
                    <a:pt x="4979" y="8358"/>
                    <a:pt x="5577" y="7759"/>
                  </a:cubicBezTo>
                  <a:lnTo>
                    <a:pt x="7152" y="6184"/>
                  </a:lnTo>
                  <a:lnTo>
                    <a:pt x="7152" y="6184"/>
                  </a:lnTo>
                  <a:cubicBezTo>
                    <a:pt x="6938" y="6218"/>
                    <a:pt x="6719" y="6235"/>
                    <a:pt x="6499" y="6235"/>
                  </a:cubicBezTo>
                  <a:cubicBezTo>
                    <a:pt x="6106" y="6235"/>
                    <a:pt x="5709" y="6179"/>
                    <a:pt x="5325" y="6058"/>
                  </a:cubicBezTo>
                  <a:lnTo>
                    <a:pt x="4569" y="6814"/>
                  </a:lnTo>
                  <a:cubicBezTo>
                    <a:pt x="4238" y="7145"/>
                    <a:pt x="3805" y="7310"/>
                    <a:pt x="3372" y="7310"/>
                  </a:cubicBezTo>
                  <a:cubicBezTo>
                    <a:pt x="2939" y="7310"/>
                    <a:pt x="2505" y="7145"/>
                    <a:pt x="2175" y="6814"/>
                  </a:cubicBezTo>
                  <a:cubicBezTo>
                    <a:pt x="1513" y="6121"/>
                    <a:pt x="1513" y="5081"/>
                    <a:pt x="2175" y="4388"/>
                  </a:cubicBezTo>
                  <a:lnTo>
                    <a:pt x="4664" y="1899"/>
                  </a:lnTo>
                  <a:cubicBezTo>
                    <a:pt x="4994" y="1568"/>
                    <a:pt x="5428" y="1403"/>
                    <a:pt x="5861" y="1403"/>
                  </a:cubicBezTo>
                  <a:cubicBezTo>
                    <a:pt x="6294" y="1403"/>
                    <a:pt x="6727" y="1568"/>
                    <a:pt x="7058" y="1899"/>
                  </a:cubicBezTo>
                  <a:cubicBezTo>
                    <a:pt x="7342" y="2183"/>
                    <a:pt x="7499" y="2561"/>
                    <a:pt x="7531" y="2907"/>
                  </a:cubicBezTo>
                  <a:lnTo>
                    <a:pt x="8287" y="2151"/>
                  </a:lnTo>
                  <a:lnTo>
                    <a:pt x="8633" y="1805"/>
                  </a:lnTo>
                  <a:cubicBezTo>
                    <a:pt x="8476" y="1490"/>
                    <a:pt x="8287" y="1206"/>
                    <a:pt x="8035" y="922"/>
                  </a:cubicBezTo>
                  <a:cubicBezTo>
                    <a:pt x="7436" y="308"/>
                    <a:pt x="6648" y="1"/>
                    <a:pt x="58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7" name="Google Shape;7457;p73"/>
          <p:cNvGrpSpPr/>
          <p:nvPr/>
        </p:nvGrpSpPr>
        <p:grpSpPr>
          <a:xfrm>
            <a:off x="3529065" y="2730100"/>
            <a:ext cx="354586" cy="354586"/>
            <a:chOff x="-30735200" y="3192625"/>
            <a:chExt cx="292225" cy="292225"/>
          </a:xfrm>
        </p:grpSpPr>
        <p:sp>
          <p:nvSpPr>
            <p:cNvPr id="7458" name="Google Shape;7458;p73"/>
            <p:cNvSpPr/>
            <p:nvPr/>
          </p:nvSpPr>
          <p:spPr>
            <a:xfrm>
              <a:off x="-30665100" y="3192625"/>
              <a:ext cx="175650" cy="223700"/>
            </a:xfrm>
            <a:custGeom>
              <a:avLst/>
              <a:gdLst/>
              <a:ahLst/>
              <a:cxnLst/>
              <a:rect l="l" t="t" r="r" b="b"/>
              <a:pathLst>
                <a:path w="7026" h="8948" extrusionOk="0">
                  <a:moveTo>
                    <a:pt x="2363" y="0"/>
                  </a:moveTo>
                  <a:cubicBezTo>
                    <a:pt x="2143" y="0"/>
                    <a:pt x="1985" y="158"/>
                    <a:pt x="1985" y="378"/>
                  </a:cubicBezTo>
                  <a:cubicBezTo>
                    <a:pt x="1985" y="567"/>
                    <a:pt x="2143" y="725"/>
                    <a:pt x="2363" y="725"/>
                  </a:cubicBezTo>
                  <a:lnTo>
                    <a:pt x="2710" y="725"/>
                  </a:lnTo>
                  <a:lnTo>
                    <a:pt x="2710" y="1576"/>
                  </a:lnTo>
                  <a:cubicBezTo>
                    <a:pt x="1135" y="2017"/>
                    <a:pt x="0" y="3466"/>
                    <a:pt x="0" y="5199"/>
                  </a:cubicBezTo>
                  <a:cubicBezTo>
                    <a:pt x="0" y="7278"/>
                    <a:pt x="1670" y="8948"/>
                    <a:pt x="3718" y="8948"/>
                  </a:cubicBezTo>
                  <a:cubicBezTo>
                    <a:pt x="3970" y="8948"/>
                    <a:pt x="4159" y="8916"/>
                    <a:pt x="4348" y="8853"/>
                  </a:cubicBezTo>
                  <a:cubicBezTo>
                    <a:pt x="4159" y="8664"/>
                    <a:pt x="4033" y="8381"/>
                    <a:pt x="4033" y="8066"/>
                  </a:cubicBezTo>
                  <a:cubicBezTo>
                    <a:pt x="4033" y="7877"/>
                    <a:pt x="4096" y="7687"/>
                    <a:pt x="4191" y="7530"/>
                  </a:cubicBezTo>
                  <a:lnTo>
                    <a:pt x="4191" y="7530"/>
                  </a:lnTo>
                  <a:cubicBezTo>
                    <a:pt x="4033" y="7561"/>
                    <a:pt x="3876" y="7561"/>
                    <a:pt x="3686" y="7561"/>
                  </a:cubicBezTo>
                  <a:cubicBezTo>
                    <a:pt x="2363" y="7561"/>
                    <a:pt x="1292" y="6522"/>
                    <a:pt x="1292" y="5167"/>
                  </a:cubicBezTo>
                  <a:cubicBezTo>
                    <a:pt x="1292" y="3844"/>
                    <a:pt x="2363" y="2773"/>
                    <a:pt x="3686" y="2773"/>
                  </a:cubicBezTo>
                  <a:cubicBezTo>
                    <a:pt x="4348" y="2773"/>
                    <a:pt x="4978" y="3088"/>
                    <a:pt x="5451" y="3560"/>
                  </a:cubicBezTo>
                  <a:cubicBezTo>
                    <a:pt x="5608" y="3466"/>
                    <a:pt x="5766" y="3466"/>
                    <a:pt x="5923" y="3466"/>
                  </a:cubicBezTo>
                  <a:lnTo>
                    <a:pt x="7026" y="3466"/>
                  </a:lnTo>
                  <a:cubicBezTo>
                    <a:pt x="6553" y="2584"/>
                    <a:pt x="5734" y="1859"/>
                    <a:pt x="4726" y="1576"/>
                  </a:cubicBezTo>
                  <a:lnTo>
                    <a:pt x="4726" y="725"/>
                  </a:lnTo>
                  <a:lnTo>
                    <a:pt x="5073" y="725"/>
                  </a:lnTo>
                  <a:cubicBezTo>
                    <a:pt x="5262" y="725"/>
                    <a:pt x="5419" y="567"/>
                    <a:pt x="5419" y="378"/>
                  </a:cubicBezTo>
                  <a:cubicBezTo>
                    <a:pt x="5419" y="158"/>
                    <a:pt x="5262" y="0"/>
                    <a:pt x="50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73"/>
            <p:cNvSpPr/>
            <p:nvPr/>
          </p:nvSpPr>
          <p:spPr>
            <a:xfrm>
              <a:off x="-30615475" y="3278475"/>
              <a:ext cx="52775" cy="52000"/>
            </a:xfrm>
            <a:custGeom>
              <a:avLst/>
              <a:gdLst/>
              <a:ahLst/>
              <a:cxnLst/>
              <a:rect l="l" t="t" r="r" b="b"/>
              <a:pathLst>
                <a:path w="2111" h="2080" extrusionOk="0">
                  <a:moveTo>
                    <a:pt x="1733" y="0"/>
                  </a:moveTo>
                  <a:cubicBezTo>
                    <a:pt x="1544" y="32"/>
                    <a:pt x="1386" y="158"/>
                    <a:pt x="1386" y="347"/>
                  </a:cubicBezTo>
                  <a:lnTo>
                    <a:pt x="1386" y="1387"/>
                  </a:lnTo>
                  <a:lnTo>
                    <a:pt x="378" y="1387"/>
                  </a:lnTo>
                  <a:cubicBezTo>
                    <a:pt x="158" y="1387"/>
                    <a:pt x="0" y="1544"/>
                    <a:pt x="0" y="1733"/>
                  </a:cubicBezTo>
                  <a:cubicBezTo>
                    <a:pt x="0" y="1922"/>
                    <a:pt x="158" y="2080"/>
                    <a:pt x="378" y="2080"/>
                  </a:cubicBezTo>
                  <a:lnTo>
                    <a:pt x="1733" y="2080"/>
                  </a:lnTo>
                  <a:cubicBezTo>
                    <a:pt x="1954" y="2080"/>
                    <a:pt x="2111" y="1922"/>
                    <a:pt x="2111" y="1733"/>
                  </a:cubicBezTo>
                  <a:lnTo>
                    <a:pt x="2111" y="347"/>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3"/>
            <p:cNvSpPr/>
            <p:nvPr/>
          </p:nvSpPr>
          <p:spPr>
            <a:xfrm>
              <a:off x="-30528850" y="3296575"/>
              <a:ext cx="85875" cy="25250"/>
            </a:xfrm>
            <a:custGeom>
              <a:avLst/>
              <a:gdLst/>
              <a:ahLst/>
              <a:cxnLst/>
              <a:rect l="l" t="t" r="r" b="b"/>
              <a:pathLst>
                <a:path w="3435" h="1010" extrusionOk="0">
                  <a:moveTo>
                    <a:pt x="536" y="1"/>
                  </a:moveTo>
                  <a:cubicBezTo>
                    <a:pt x="253" y="1"/>
                    <a:pt x="1" y="221"/>
                    <a:pt x="1" y="505"/>
                  </a:cubicBezTo>
                  <a:cubicBezTo>
                    <a:pt x="1" y="789"/>
                    <a:pt x="253" y="1009"/>
                    <a:pt x="536" y="1009"/>
                  </a:cubicBezTo>
                  <a:lnTo>
                    <a:pt x="2931" y="1009"/>
                  </a:lnTo>
                  <a:cubicBezTo>
                    <a:pt x="3214" y="1009"/>
                    <a:pt x="3435" y="789"/>
                    <a:pt x="3435" y="505"/>
                  </a:cubicBezTo>
                  <a:cubicBezTo>
                    <a:pt x="3435" y="221"/>
                    <a:pt x="3214"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73"/>
            <p:cNvSpPr/>
            <p:nvPr/>
          </p:nvSpPr>
          <p:spPr>
            <a:xfrm>
              <a:off x="-30546175" y="3338325"/>
              <a:ext cx="85875" cy="26025"/>
            </a:xfrm>
            <a:custGeom>
              <a:avLst/>
              <a:gdLst/>
              <a:ahLst/>
              <a:cxnLst/>
              <a:rect l="l" t="t" r="r" b="b"/>
              <a:pathLst>
                <a:path w="3435" h="1041" extrusionOk="0">
                  <a:moveTo>
                    <a:pt x="505" y="1"/>
                  </a:moveTo>
                  <a:cubicBezTo>
                    <a:pt x="221" y="1"/>
                    <a:pt x="1" y="253"/>
                    <a:pt x="1" y="536"/>
                  </a:cubicBezTo>
                  <a:cubicBezTo>
                    <a:pt x="1" y="788"/>
                    <a:pt x="221" y="1040"/>
                    <a:pt x="505" y="1040"/>
                  </a:cubicBezTo>
                  <a:lnTo>
                    <a:pt x="2899" y="1040"/>
                  </a:lnTo>
                  <a:cubicBezTo>
                    <a:pt x="3183" y="1040"/>
                    <a:pt x="3435" y="851"/>
                    <a:pt x="3435" y="536"/>
                  </a:cubicBezTo>
                  <a:cubicBezTo>
                    <a:pt x="3435" y="253"/>
                    <a:pt x="3183"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73"/>
            <p:cNvSpPr/>
            <p:nvPr/>
          </p:nvSpPr>
          <p:spPr>
            <a:xfrm>
              <a:off x="-30546175" y="3381650"/>
              <a:ext cx="67750" cy="26025"/>
            </a:xfrm>
            <a:custGeom>
              <a:avLst/>
              <a:gdLst/>
              <a:ahLst/>
              <a:cxnLst/>
              <a:rect l="l" t="t" r="r" b="b"/>
              <a:pathLst>
                <a:path w="2710" h="1041" extrusionOk="0">
                  <a:moveTo>
                    <a:pt x="505" y="0"/>
                  </a:moveTo>
                  <a:cubicBezTo>
                    <a:pt x="221" y="0"/>
                    <a:pt x="1" y="252"/>
                    <a:pt x="1" y="536"/>
                  </a:cubicBezTo>
                  <a:cubicBezTo>
                    <a:pt x="1" y="788"/>
                    <a:pt x="221" y="1040"/>
                    <a:pt x="505" y="1040"/>
                  </a:cubicBezTo>
                  <a:lnTo>
                    <a:pt x="2206" y="1040"/>
                  </a:lnTo>
                  <a:cubicBezTo>
                    <a:pt x="2490" y="1040"/>
                    <a:pt x="2710" y="788"/>
                    <a:pt x="2710" y="536"/>
                  </a:cubicBezTo>
                  <a:cubicBezTo>
                    <a:pt x="2710" y="252"/>
                    <a:pt x="2490" y="0"/>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3"/>
            <p:cNvSpPr/>
            <p:nvPr/>
          </p:nvSpPr>
          <p:spPr>
            <a:xfrm>
              <a:off x="-30546175" y="3424175"/>
              <a:ext cx="51225" cy="26025"/>
            </a:xfrm>
            <a:custGeom>
              <a:avLst/>
              <a:gdLst/>
              <a:ahLst/>
              <a:cxnLst/>
              <a:rect l="l" t="t" r="r" b="b"/>
              <a:pathLst>
                <a:path w="2049" h="1041" extrusionOk="0">
                  <a:moveTo>
                    <a:pt x="505" y="1"/>
                  </a:moveTo>
                  <a:cubicBezTo>
                    <a:pt x="221" y="1"/>
                    <a:pt x="1" y="253"/>
                    <a:pt x="1" y="505"/>
                  </a:cubicBezTo>
                  <a:cubicBezTo>
                    <a:pt x="1" y="788"/>
                    <a:pt x="221" y="1040"/>
                    <a:pt x="505" y="1040"/>
                  </a:cubicBezTo>
                  <a:lnTo>
                    <a:pt x="1544" y="1040"/>
                  </a:lnTo>
                  <a:cubicBezTo>
                    <a:pt x="1796" y="1040"/>
                    <a:pt x="2048" y="788"/>
                    <a:pt x="2048" y="505"/>
                  </a:cubicBezTo>
                  <a:cubicBezTo>
                    <a:pt x="2048" y="253"/>
                    <a:pt x="1796" y="1"/>
                    <a:pt x="15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73"/>
            <p:cNvSpPr/>
            <p:nvPr/>
          </p:nvSpPr>
          <p:spPr>
            <a:xfrm>
              <a:off x="-30735200" y="3209325"/>
              <a:ext cx="174075" cy="275525"/>
            </a:xfrm>
            <a:custGeom>
              <a:avLst/>
              <a:gdLst/>
              <a:ahLst/>
              <a:cxnLst/>
              <a:rect l="l" t="t" r="r" b="b"/>
              <a:pathLst>
                <a:path w="6963" h="11021" extrusionOk="0">
                  <a:moveTo>
                    <a:pt x="3803" y="0"/>
                  </a:moveTo>
                  <a:cubicBezTo>
                    <a:pt x="3716" y="0"/>
                    <a:pt x="3637" y="52"/>
                    <a:pt x="3592" y="120"/>
                  </a:cubicBezTo>
                  <a:lnTo>
                    <a:pt x="1702" y="2231"/>
                  </a:lnTo>
                  <a:cubicBezTo>
                    <a:pt x="1544" y="2420"/>
                    <a:pt x="1418" y="2640"/>
                    <a:pt x="1418" y="2892"/>
                  </a:cubicBezTo>
                  <a:lnTo>
                    <a:pt x="1418" y="5917"/>
                  </a:lnTo>
                  <a:cubicBezTo>
                    <a:pt x="1418" y="6200"/>
                    <a:pt x="1292" y="6421"/>
                    <a:pt x="1103" y="6641"/>
                  </a:cubicBezTo>
                  <a:lnTo>
                    <a:pt x="126" y="7618"/>
                  </a:lnTo>
                  <a:cubicBezTo>
                    <a:pt x="0" y="7744"/>
                    <a:pt x="0" y="7965"/>
                    <a:pt x="126" y="8091"/>
                  </a:cubicBezTo>
                  <a:lnTo>
                    <a:pt x="2867" y="10926"/>
                  </a:lnTo>
                  <a:cubicBezTo>
                    <a:pt x="2930" y="10989"/>
                    <a:pt x="3017" y="11021"/>
                    <a:pt x="3104" y="11021"/>
                  </a:cubicBezTo>
                  <a:cubicBezTo>
                    <a:pt x="3190" y="11021"/>
                    <a:pt x="3277" y="10989"/>
                    <a:pt x="3340" y="10926"/>
                  </a:cubicBezTo>
                  <a:lnTo>
                    <a:pt x="4317" y="9949"/>
                  </a:lnTo>
                  <a:cubicBezTo>
                    <a:pt x="4537" y="9729"/>
                    <a:pt x="4758" y="9634"/>
                    <a:pt x="5041" y="9634"/>
                  </a:cubicBezTo>
                  <a:lnTo>
                    <a:pt x="6963" y="9634"/>
                  </a:lnTo>
                  <a:cubicBezTo>
                    <a:pt x="6900" y="9477"/>
                    <a:pt x="6837" y="9288"/>
                    <a:pt x="6837" y="9099"/>
                  </a:cubicBezTo>
                  <a:cubicBezTo>
                    <a:pt x="6837" y="9036"/>
                    <a:pt x="6837" y="8973"/>
                    <a:pt x="6900" y="8910"/>
                  </a:cubicBezTo>
                  <a:cubicBezTo>
                    <a:pt x="6774" y="8910"/>
                    <a:pt x="6648" y="8941"/>
                    <a:pt x="6522" y="8941"/>
                  </a:cubicBezTo>
                  <a:cubicBezTo>
                    <a:pt x="4096" y="8941"/>
                    <a:pt x="2080" y="6925"/>
                    <a:pt x="2080" y="4499"/>
                  </a:cubicBezTo>
                  <a:cubicBezTo>
                    <a:pt x="2080" y="2892"/>
                    <a:pt x="2962" y="1475"/>
                    <a:pt x="4254" y="687"/>
                  </a:cubicBezTo>
                  <a:cubicBezTo>
                    <a:pt x="4254" y="592"/>
                    <a:pt x="4222" y="529"/>
                    <a:pt x="4222" y="498"/>
                  </a:cubicBezTo>
                  <a:lnTo>
                    <a:pt x="4128" y="246"/>
                  </a:lnTo>
                  <a:cubicBezTo>
                    <a:pt x="4096" y="120"/>
                    <a:pt x="4002" y="57"/>
                    <a:pt x="3907" y="25"/>
                  </a:cubicBezTo>
                  <a:cubicBezTo>
                    <a:pt x="3872" y="8"/>
                    <a:pt x="3837" y="0"/>
                    <a:pt x="38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5" name="Google Shape;7465;p73"/>
          <p:cNvGrpSpPr/>
          <p:nvPr/>
        </p:nvGrpSpPr>
        <p:grpSpPr>
          <a:xfrm>
            <a:off x="3529065" y="3201532"/>
            <a:ext cx="354586" cy="353008"/>
            <a:chOff x="-30735200" y="3552550"/>
            <a:chExt cx="292225" cy="290925"/>
          </a:xfrm>
        </p:grpSpPr>
        <p:sp>
          <p:nvSpPr>
            <p:cNvPr id="7466" name="Google Shape;7466;p73"/>
            <p:cNvSpPr/>
            <p:nvPr/>
          </p:nvSpPr>
          <p:spPr>
            <a:xfrm>
              <a:off x="-30613900" y="3655750"/>
              <a:ext cx="170925" cy="187725"/>
            </a:xfrm>
            <a:custGeom>
              <a:avLst/>
              <a:gdLst/>
              <a:ahLst/>
              <a:cxnLst/>
              <a:rect l="l" t="t" r="r" b="b"/>
              <a:pathLst>
                <a:path w="6837" h="7509"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73"/>
            <p:cNvSpPr/>
            <p:nvPr/>
          </p:nvSpPr>
          <p:spPr>
            <a:xfrm>
              <a:off x="-30735200" y="3552550"/>
              <a:ext cx="188275" cy="205075"/>
            </a:xfrm>
            <a:custGeom>
              <a:avLst/>
              <a:gdLst/>
              <a:ahLst/>
              <a:cxnLst/>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8" name="Google Shape;7468;p73"/>
          <p:cNvGrpSpPr/>
          <p:nvPr/>
        </p:nvGrpSpPr>
        <p:grpSpPr>
          <a:xfrm>
            <a:off x="3529065" y="3666154"/>
            <a:ext cx="354586" cy="353645"/>
            <a:chOff x="-30735200" y="3910925"/>
            <a:chExt cx="292225" cy="291450"/>
          </a:xfrm>
        </p:grpSpPr>
        <p:sp>
          <p:nvSpPr>
            <p:cNvPr id="7469" name="Google Shape;7469;p73"/>
            <p:cNvSpPr/>
            <p:nvPr/>
          </p:nvSpPr>
          <p:spPr>
            <a:xfrm>
              <a:off x="-30683225" y="3962900"/>
              <a:ext cx="188275" cy="186700"/>
            </a:xfrm>
            <a:custGeom>
              <a:avLst/>
              <a:gdLst/>
              <a:ahLst/>
              <a:cxnLst/>
              <a:rect l="l" t="t" r="r" b="b"/>
              <a:pathLst>
                <a:path w="7531" h="7468" extrusionOk="0">
                  <a:moveTo>
                    <a:pt x="3750" y="663"/>
                  </a:moveTo>
                  <a:cubicBezTo>
                    <a:pt x="3939" y="663"/>
                    <a:pt x="4096" y="820"/>
                    <a:pt x="4096" y="1009"/>
                  </a:cubicBezTo>
                  <a:lnTo>
                    <a:pt x="4096" y="3624"/>
                  </a:lnTo>
                  <a:lnTo>
                    <a:pt x="5357" y="4884"/>
                  </a:lnTo>
                  <a:cubicBezTo>
                    <a:pt x="5514" y="5042"/>
                    <a:pt x="5514" y="5231"/>
                    <a:pt x="5357" y="5357"/>
                  </a:cubicBezTo>
                  <a:cubicBezTo>
                    <a:pt x="5294" y="5420"/>
                    <a:pt x="5207" y="5451"/>
                    <a:pt x="5120" y="5451"/>
                  </a:cubicBezTo>
                  <a:cubicBezTo>
                    <a:pt x="5034" y="5451"/>
                    <a:pt x="4947" y="5420"/>
                    <a:pt x="4884" y="5357"/>
                  </a:cubicBezTo>
                  <a:lnTo>
                    <a:pt x="3498" y="3971"/>
                  </a:lnTo>
                  <a:cubicBezTo>
                    <a:pt x="3435" y="3908"/>
                    <a:pt x="3403" y="3813"/>
                    <a:pt x="3403" y="3719"/>
                  </a:cubicBezTo>
                  <a:lnTo>
                    <a:pt x="3403" y="1009"/>
                  </a:lnTo>
                  <a:cubicBezTo>
                    <a:pt x="3403" y="820"/>
                    <a:pt x="3561" y="663"/>
                    <a:pt x="3750" y="663"/>
                  </a:cubicBezTo>
                  <a:close/>
                  <a:moveTo>
                    <a:pt x="3750" y="1"/>
                  </a:moveTo>
                  <a:cubicBezTo>
                    <a:pt x="1671" y="1"/>
                    <a:pt x="1" y="1702"/>
                    <a:pt x="1" y="3750"/>
                  </a:cubicBezTo>
                  <a:cubicBezTo>
                    <a:pt x="1" y="5829"/>
                    <a:pt x="1702" y="7468"/>
                    <a:pt x="3750" y="7468"/>
                  </a:cubicBezTo>
                  <a:cubicBezTo>
                    <a:pt x="5798" y="7468"/>
                    <a:pt x="7499" y="5798"/>
                    <a:pt x="7499" y="3750"/>
                  </a:cubicBezTo>
                  <a:cubicBezTo>
                    <a:pt x="7530" y="1702"/>
                    <a:pt x="5829" y="1"/>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73"/>
            <p:cNvSpPr/>
            <p:nvPr/>
          </p:nvSpPr>
          <p:spPr>
            <a:xfrm>
              <a:off x="-30735200" y="3910925"/>
              <a:ext cx="292225" cy="291450"/>
            </a:xfrm>
            <a:custGeom>
              <a:avLst/>
              <a:gdLst/>
              <a:ahLst/>
              <a:cxnLst/>
              <a:rect l="l" t="t" r="r" b="b"/>
              <a:pathLst>
                <a:path w="11689" h="11658" extrusionOk="0">
                  <a:moveTo>
                    <a:pt x="5829" y="1355"/>
                  </a:moveTo>
                  <a:cubicBezTo>
                    <a:pt x="8286" y="1355"/>
                    <a:pt x="10271" y="3372"/>
                    <a:pt x="10271" y="5829"/>
                  </a:cubicBezTo>
                  <a:cubicBezTo>
                    <a:pt x="10271" y="8286"/>
                    <a:pt x="8318" y="10271"/>
                    <a:pt x="5829" y="10271"/>
                  </a:cubicBezTo>
                  <a:cubicBezTo>
                    <a:pt x="3403" y="10271"/>
                    <a:pt x="1387" y="8255"/>
                    <a:pt x="1387" y="5829"/>
                  </a:cubicBezTo>
                  <a:cubicBezTo>
                    <a:pt x="1387" y="3372"/>
                    <a:pt x="3371" y="1355"/>
                    <a:pt x="5829" y="1355"/>
                  </a:cubicBezTo>
                  <a:close/>
                  <a:moveTo>
                    <a:pt x="5829" y="1"/>
                  </a:moveTo>
                  <a:cubicBezTo>
                    <a:pt x="2647" y="1"/>
                    <a:pt x="0" y="2616"/>
                    <a:pt x="0" y="5829"/>
                  </a:cubicBezTo>
                  <a:cubicBezTo>
                    <a:pt x="0" y="9011"/>
                    <a:pt x="2647" y="11657"/>
                    <a:pt x="5829" y="11657"/>
                  </a:cubicBezTo>
                  <a:cubicBezTo>
                    <a:pt x="9011" y="11657"/>
                    <a:pt x="11657" y="9011"/>
                    <a:pt x="11657" y="5829"/>
                  </a:cubicBezTo>
                  <a:cubicBezTo>
                    <a:pt x="11689" y="2616"/>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71" name="Google Shape;7471;p73"/>
          <p:cNvSpPr/>
          <p:nvPr/>
        </p:nvSpPr>
        <p:spPr>
          <a:xfrm>
            <a:off x="2632180" y="4123242"/>
            <a:ext cx="354586" cy="353645"/>
          </a:xfrm>
          <a:custGeom>
            <a:avLst/>
            <a:gdLst/>
            <a:ahLst/>
            <a:cxnLst/>
            <a:rect l="l" t="t" r="r" b="b"/>
            <a:pathLst>
              <a:path w="11689" h="11658" extrusionOk="0">
                <a:moveTo>
                  <a:pt x="5829" y="2458"/>
                </a:moveTo>
                <a:cubicBezTo>
                  <a:pt x="6207" y="2458"/>
                  <a:pt x="6491" y="2773"/>
                  <a:pt x="6491" y="3120"/>
                </a:cubicBezTo>
                <a:cubicBezTo>
                  <a:pt x="6522" y="3466"/>
                  <a:pt x="6207" y="3781"/>
                  <a:pt x="5829" y="3781"/>
                </a:cubicBezTo>
                <a:cubicBezTo>
                  <a:pt x="5419" y="3781"/>
                  <a:pt x="5136" y="3466"/>
                  <a:pt x="5136" y="3120"/>
                </a:cubicBezTo>
                <a:cubicBezTo>
                  <a:pt x="5136" y="2742"/>
                  <a:pt x="5482" y="2458"/>
                  <a:pt x="5829" y="2458"/>
                </a:cubicBezTo>
                <a:close/>
                <a:moveTo>
                  <a:pt x="5860" y="4474"/>
                </a:moveTo>
                <a:cubicBezTo>
                  <a:pt x="6238" y="4474"/>
                  <a:pt x="6522" y="4789"/>
                  <a:pt x="6522" y="5136"/>
                </a:cubicBezTo>
                <a:lnTo>
                  <a:pt x="6522" y="8570"/>
                </a:lnTo>
                <a:cubicBezTo>
                  <a:pt x="6522" y="8948"/>
                  <a:pt x="6207" y="9232"/>
                  <a:pt x="5860" y="9232"/>
                </a:cubicBezTo>
                <a:cubicBezTo>
                  <a:pt x="5451" y="9232"/>
                  <a:pt x="5199" y="8917"/>
                  <a:pt x="5199" y="8570"/>
                </a:cubicBezTo>
                <a:lnTo>
                  <a:pt x="5199" y="5136"/>
                </a:lnTo>
                <a:cubicBezTo>
                  <a:pt x="5199" y="4726"/>
                  <a:pt x="5514" y="4474"/>
                  <a:pt x="5860" y="4474"/>
                </a:cubicBezTo>
                <a:close/>
                <a:moveTo>
                  <a:pt x="5829" y="1"/>
                </a:moveTo>
                <a:cubicBezTo>
                  <a:pt x="2615" y="1"/>
                  <a:pt x="0" y="2647"/>
                  <a:pt x="0" y="5829"/>
                </a:cubicBezTo>
                <a:cubicBezTo>
                  <a:pt x="0" y="9043"/>
                  <a:pt x="2615" y="11657"/>
                  <a:pt x="5829" y="11657"/>
                </a:cubicBezTo>
                <a:cubicBezTo>
                  <a:pt x="9011" y="11657"/>
                  <a:pt x="11657" y="9043"/>
                  <a:pt x="11657" y="5829"/>
                </a:cubicBezTo>
                <a:cubicBezTo>
                  <a:pt x="11689" y="2647"/>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72" name="Google Shape;7472;p73"/>
          <p:cNvGrpSpPr/>
          <p:nvPr/>
        </p:nvGrpSpPr>
        <p:grpSpPr>
          <a:xfrm>
            <a:off x="4882910" y="1379021"/>
            <a:ext cx="358971" cy="359224"/>
            <a:chOff x="-57956275" y="3197925"/>
            <a:chExt cx="319000" cy="319225"/>
          </a:xfrm>
        </p:grpSpPr>
        <p:sp>
          <p:nvSpPr>
            <p:cNvPr id="7473" name="Google Shape;7473;p73"/>
            <p:cNvSpPr/>
            <p:nvPr/>
          </p:nvSpPr>
          <p:spPr>
            <a:xfrm>
              <a:off x="-57940525" y="3353300"/>
              <a:ext cx="18150" cy="65400"/>
            </a:xfrm>
            <a:custGeom>
              <a:avLst/>
              <a:gdLst/>
              <a:ahLst/>
              <a:cxnLst/>
              <a:rect l="l" t="t" r="r" b="b"/>
              <a:pathLst>
                <a:path w="726" h="2616" extrusionOk="0">
                  <a:moveTo>
                    <a:pt x="725" y="0"/>
                  </a:moveTo>
                  <a:cubicBezTo>
                    <a:pt x="316" y="284"/>
                    <a:pt x="1" y="756"/>
                    <a:pt x="1" y="1292"/>
                  </a:cubicBezTo>
                  <a:cubicBezTo>
                    <a:pt x="1" y="1859"/>
                    <a:pt x="316" y="2332"/>
                    <a:pt x="725" y="2615"/>
                  </a:cubicBezTo>
                  <a:lnTo>
                    <a:pt x="725" y="239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73"/>
            <p:cNvSpPr/>
            <p:nvPr/>
          </p:nvSpPr>
          <p:spPr>
            <a:xfrm>
              <a:off x="-57679825" y="3353300"/>
              <a:ext cx="18925" cy="65400"/>
            </a:xfrm>
            <a:custGeom>
              <a:avLst/>
              <a:gdLst/>
              <a:ahLst/>
              <a:cxnLst/>
              <a:rect l="l" t="t" r="r" b="b"/>
              <a:pathLst>
                <a:path w="757" h="2616" extrusionOk="0">
                  <a:moveTo>
                    <a:pt x="1" y="0"/>
                  </a:moveTo>
                  <a:lnTo>
                    <a:pt x="1" y="2395"/>
                  </a:lnTo>
                  <a:lnTo>
                    <a:pt x="1" y="2615"/>
                  </a:lnTo>
                  <a:cubicBezTo>
                    <a:pt x="442" y="2332"/>
                    <a:pt x="757" y="1859"/>
                    <a:pt x="757" y="1292"/>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3"/>
            <p:cNvSpPr/>
            <p:nvPr/>
          </p:nvSpPr>
          <p:spPr>
            <a:xfrm>
              <a:off x="-57956275" y="3255625"/>
              <a:ext cx="319000" cy="55175"/>
            </a:xfrm>
            <a:custGeom>
              <a:avLst/>
              <a:gdLst/>
              <a:ahLst/>
              <a:cxnLst/>
              <a:rect l="l" t="t" r="r" b="b"/>
              <a:pathLst>
                <a:path w="12760" h="2207" extrusionOk="0">
                  <a:moveTo>
                    <a:pt x="442" y="1"/>
                  </a:moveTo>
                  <a:cubicBezTo>
                    <a:pt x="190" y="1"/>
                    <a:pt x="1" y="253"/>
                    <a:pt x="64" y="442"/>
                  </a:cubicBezTo>
                  <a:cubicBezTo>
                    <a:pt x="284" y="1481"/>
                    <a:pt x="1261" y="2206"/>
                    <a:pt x="2332" y="2206"/>
                  </a:cubicBezTo>
                  <a:lnTo>
                    <a:pt x="10523" y="2206"/>
                  </a:lnTo>
                  <a:cubicBezTo>
                    <a:pt x="11563" y="2206"/>
                    <a:pt x="12571" y="1418"/>
                    <a:pt x="12760" y="442"/>
                  </a:cubicBezTo>
                  <a:cubicBezTo>
                    <a:pt x="12603" y="221"/>
                    <a:pt x="12445" y="1"/>
                    <a:pt x="12193" y="1"/>
                  </a:cubicBezTo>
                  <a:lnTo>
                    <a:pt x="10303" y="1"/>
                  </a:lnTo>
                  <a:lnTo>
                    <a:pt x="10303" y="757"/>
                  </a:lnTo>
                  <a:cubicBezTo>
                    <a:pt x="10303" y="946"/>
                    <a:pt x="10145" y="1103"/>
                    <a:pt x="9956" y="1103"/>
                  </a:cubicBezTo>
                  <a:cubicBezTo>
                    <a:pt x="9767" y="1103"/>
                    <a:pt x="9610" y="946"/>
                    <a:pt x="9610" y="757"/>
                  </a:cubicBezTo>
                  <a:lnTo>
                    <a:pt x="9610" y="1"/>
                  </a:lnTo>
                  <a:lnTo>
                    <a:pt x="8853" y="1"/>
                  </a:lnTo>
                  <a:lnTo>
                    <a:pt x="8853" y="757"/>
                  </a:lnTo>
                  <a:cubicBezTo>
                    <a:pt x="8853" y="946"/>
                    <a:pt x="8696" y="1103"/>
                    <a:pt x="8507" y="1103"/>
                  </a:cubicBezTo>
                  <a:cubicBezTo>
                    <a:pt x="8318" y="1103"/>
                    <a:pt x="8160" y="946"/>
                    <a:pt x="8160" y="757"/>
                  </a:cubicBezTo>
                  <a:lnTo>
                    <a:pt x="8160" y="1"/>
                  </a:lnTo>
                  <a:lnTo>
                    <a:pt x="7404" y="1"/>
                  </a:lnTo>
                  <a:lnTo>
                    <a:pt x="7404" y="757"/>
                  </a:lnTo>
                  <a:cubicBezTo>
                    <a:pt x="7404" y="946"/>
                    <a:pt x="7247" y="1103"/>
                    <a:pt x="7058" y="1103"/>
                  </a:cubicBezTo>
                  <a:cubicBezTo>
                    <a:pt x="6837" y="1103"/>
                    <a:pt x="6680" y="946"/>
                    <a:pt x="6680" y="757"/>
                  </a:cubicBezTo>
                  <a:lnTo>
                    <a:pt x="6680" y="1"/>
                  </a:lnTo>
                  <a:lnTo>
                    <a:pt x="5955" y="1"/>
                  </a:lnTo>
                  <a:lnTo>
                    <a:pt x="5955" y="757"/>
                  </a:lnTo>
                  <a:cubicBezTo>
                    <a:pt x="5955" y="946"/>
                    <a:pt x="5797" y="1103"/>
                    <a:pt x="5577" y="1103"/>
                  </a:cubicBezTo>
                  <a:cubicBezTo>
                    <a:pt x="5388" y="1103"/>
                    <a:pt x="5230" y="946"/>
                    <a:pt x="5230" y="757"/>
                  </a:cubicBezTo>
                  <a:lnTo>
                    <a:pt x="5230" y="1"/>
                  </a:lnTo>
                  <a:lnTo>
                    <a:pt x="4474" y="1"/>
                  </a:lnTo>
                  <a:lnTo>
                    <a:pt x="4474" y="757"/>
                  </a:lnTo>
                  <a:cubicBezTo>
                    <a:pt x="4474" y="946"/>
                    <a:pt x="4317" y="1103"/>
                    <a:pt x="4128" y="1103"/>
                  </a:cubicBezTo>
                  <a:cubicBezTo>
                    <a:pt x="3939" y="1103"/>
                    <a:pt x="3781" y="946"/>
                    <a:pt x="3781" y="757"/>
                  </a:cubicBezTo>
                  <a:lnTo>
                    <a:pt x="3781" y="1"/>
                  </a:lnTo>
                  <a:lnTo>
                    <a:pt x="3025" y="1"/>
                  </a:lnTo>
                  <a:lnTo>
                    <a:pt x="3025" y="757"/>
                  </a:lnTo>
                  <a:cubicBezTo>
                    <a:pt x="3025" y="946"/>
                    <a:pt x="2867" y="1103"/>
                    <a:pt x="2678" y="1103"/>
                  </a:cubicBezTo>
                  <a:cubicBezTo>
                    <a:pt x="2489" y="1103"/>
                    <a:pt x="2332" y="946"/>
                    <a:pt x="2332" y="757"/>
                  </a:cubicBezTo>
                  <a:lnTo>
                    <a:pt x="23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73"/>
            <p:cNvSpPr/>
            <p:nvPr/>
          </p:nvSpPr>
          <p:spPr>
            <a:xfrm>
              <a:off x="-57868050" y="3494275"/>
              <a:ext cx="18900" cy="22875"/>
            </a:xfrm>
            <a:custGeom>
              <a:avLst/>
              <a:gdLst/>
              <a:ahLst/>
              <a:cxnLst/>
              <a:rect l="l" t="t" r="r" b="b"/>
              <a:pathLst>
                <a:path w="756" h="915" extrusionOk="0">
                  <a:moveTo>
                    <a:pt x="0" y="1"/>
                  </a:moveTo>
                  <a:lnTo>
                    <a:pt x="0" y="536"/>
                  </a:lnTo>
                  <a:lnTo>
                    <a:pt x="32" y="536"/>
                  </a:lnTo>
                  <a:cubicBezTo>
                    <a:pt x="32" y="757"/>
                    <a:pt x="189" y="914"/>
                    <a:pt x="410" y="914"/>
                  </a:cubicBezTo>
                  <a:cubicBezTo>
                    <a:pt x="599" y="914"/>
                    <a:pt x="756" y="757"/>
                    <a:pt x="756" y="536"/>
                  </a:cubicBezTo>
                  <a:lnTo>
                    <a:pt x="756" y="473"/>
                  </a:lnTo>
                  <a:cubicBezTo>
                    <a:pt x="473" y="347"/>
                    <a:pt x="252"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73"/>
            <p:cNvSpPr/>
            <p:nvPr/>
          </p:nvSpPr>
          <p:spPr>
            <a:xfrm>
              <a:off x="-57755425" y="3494275"/>
              <a:ext cx="18125" cy="22875"/>
            </a:xfrm>
            <a:custGeom>
              <a:avLst/>
              <a:gdLst/>
              <a:ahLst/>
              <a:cxnLst/>
              <a:rect l="l" t="t" r="r" b="b"/>
              <a:pathLst>
                <a:path w="725" h="915" extrusionOk="0">
                  <a:moveTo>
                    <a:pt x="725" y="1"/>
                  </a:moveTo>
                  <a:cubicBezTo>
                    <a:pt x="504" y="190"/>
                    <a:pt x="252" y="347"/>
                    <a:pt x="0" y="473"/>
                  </a:cubicBezTo>
                  <a:lnTo>
                    <a:pt x="0" y="536"/>
                  </a:lnTo>
                  <a:lnTo>
                    <a:pt x="32" y="536"/>
                  </a:lnTo>
                  <a:cubicBezTo>
                    <a:pt x="32" y="757"/>
                    <a:pt x="189" y="914"/>
                    <a:pt x="378" y="914"/>
                  </a:cubicBezTo>
                  <a:cubicBezTo>
                    <a:pt x="567" y="914"/>
                    <a:pt x="725" y="757"/>
                    <a:pt x="725" y="53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3"/>
            <p:cNvSpPr/>
            <p:nvPr/>
          </p:nvSpPr>
          <p:spPr>
            <a:xfrm>
              <a:off x="-57903500" y="3329675"/>
              <a:ext cx="204800" cy="187475"/>
            </a:xfrm>
            <a:custGeom>
              <a:avLst/>
              <a:gdLst/>
              <a:ahLst/>
              <a:cxnLst/>
              <a:rect l="l" t="t" r="r" b="b"/>
              <a:pathLst>
                <a:path w="8192" h="7499" extrusionOk="0">
                  <a:moveTo>
                    <a:pt x="2615" y="756"/>
                  </a:moveTo>
                  <a:cubicBezTo>
                    <a:pt x="2804" y="756"/>
                    <a:pt x="2962" y="914"/>
                    <a:pt x="2962" y="1103"/>
                  </a:cubicBezTo>
                  <a:cubicBezTo>
                    <a:pt x="2962" y="1292"/>
                    <a:pt x="2804" y="1449"/>
                    <a:pt x="2615" y="1449"/>
                  </a:cubicBezTo>
                  <a:cubicBezTo>
                    <a:pt x="2395" y="1449"/>
                    <a:pt x="2269" y="1292"/>
                    <a:pt x="2269" y="1103"/>
                  </a:cubicBezTo>
                  <a:cubicBezTo>
                    <a:pt x="2206" y="945"/>
                    <a:pt x="2395" y="756"/>
                    <a:pt x="2615" y="756"/>
                  </a:cubicBezTo>
                  <a:close/>
                  <a:moveTo>
                    <a:pt x="5608" y="756"/>
                  </a:moveTo>
                  <a:cubicBezTo>
                    <a:pt x="5797" y="756"/>
                    <a:pt x="5955" y="914"/>
                    <a:pt x="5955" y="1103"/>
                  </a:cubicBezTo>
                  <a:cubicBezTo>
                    <a:pt x="5955" y="1292"/>
                    <a:pt x="5797" y="1449"/>
                    <a:pt x="5608" y="1449"/>
                  </a:cubicBezTo>
                  <a:cubicBezTo>
                    <a:pt x="5388" y="1449"/>
                    <a:pt x="5230" y="1292"/>
                    <a:pt x="5230" y="1103"/>
                  </a:cubicBezTo>
                  <a:cubicBezTo>
                    <a:pt x="5199" y="945"/>
                    <a:pt x="5356" y="756"/>
                    <a:pt x="5608" y="756"/>
                  </a:cubicBezTo>
                  <a:close/>
                  <a:moveTo>
                    <a:pt x="5159" y="4072"/>
                  </a:moveTo>
                  <a:cubicBezTo>
                    <a:pt x="5254" y="4072"/>
                    <a:pt x="5340" y="4112"/>
                    <a:pt x="5388" y="4190"/>
                  </a:cubicBezTo>
                  <a:cubicBezTo>
                    <a:pt x="5545" y="4348"/>
                    <a:pt x="5545" y="4568"/>
                    <a:pt x="5388" y="4694"/>
                  </a:cubicBezTo>
                  <a:cubicBezTo>
                    <a:pt x="5041" y="5041"/>
                    <a:pt x="4569" y="5230"/>
                    <a:pt x="4096" y="5230"/>
                  </a:cubicBezTo>
                  <a:cubicBezTo>
                    <a:pt x="3623" y="5230"/>
                    <a:pt x="3119" y="5041"/>
                    <a:pt x="2804" y="4694"/>
                  </a:cubicBezTo>
                  <a:cubicBezTo>
                    <a:pt x="2647" y="4537"/>
                    <a:pt x="2647" y="4285"/>
                    <a:pt x="2804" y="4190"/>
                  </a:cubicBezTo>
                  <a:cubicBezTo>
                    <a:pt x="2883" y="4112"/>
                    <a:pt x="2978" y="4072"/>
                    <a:pt x="3068" y="4072"/>
                  </a:cubicBezTo>
                  <a:cubicBezTo>
                    <a:pt x="3159" y="4072"/>
                    <a:pt x="3245" y="4112"/>
                    <a:pt x="3308" y="4190"/>
                  </a:cubicBezTo>
                  <a:cubicBezTo>
                    <a:pt x="3513" y="4379"/>
                    <a:pt x="3797" y="4474"/>
                    <a:pt x="4084" y="4474"/>
                  </a:cubicBezTo>
                  <a:cubicBezTo>
                    <a:pt x="4372" y="4474"/>
                    <a:pt x="4663" y="4379"/>
                    <a:pt x="4884" y="4190"/>
                  </a:cubicBezTo>
                  <a:cubicBezTo>
                    <a:pt x="4962" y="4112"/>
                    <a:pt x="5065" y="4072"/>
                    <a:pt x="5159" y="4072"/>
                  </a:cubicBezTo>
                  <a:close/>
                  <a:moveTo>
                    <a:pt x="0" y="0"/>
                  </a:moveTo>
                  <a:lnTo>
                    <a:pt x="0" y="3403"/>
                  </a:lnTo>
                  <a:cubicBezTo>
                    <a:pt x="0" y="4663"/>
                    <a:pt x="599" y="5829"/>
                    <a:pt x="1513" y="6585"/>
                  </a:cubicBezTo>
                  <a:lnTo>
                    <a:pt x="1513" y="4127"/>
                  </a:lnTo>
                  <a:cubicBezTo>
                    <a:pt x="1513" y="3119"/>
                    <a:pt x="2332" y="2300"/>
                    <a:pt x="3340" y="2300"/>
                  </a:cubicBezTo>
                  <a:cubicBezTo>
                    <a:pt x="3560" y="2300"/>
                    <a:pt x="3718" y="2458"/>
                    <a:pt x="3718" y="2647"/>
                  </a:cubicBezTo>
                  <a:cubicBezTo>
                    <a:pt x="3718" y="2836"/>
                    <a:pt x="3560" y="2993"/>
                    <a:pt x="3340" y="2993"/>
                  </a:cubicBezTo>
                  <a:cubicBezTo>
                    <a:pt x="2710" y="2993"/>
                    <a:pt x="2237" y="3497"/>
                    <a:pt x="2237" y="4096"/>
                  </a:cubicBezTo>
                  <a:lnTo>
                    <a:pt x="2237" y="7026"/>
                  </a:lnTo>
                  <a:cubicBezTo>
                    <a:pt x="2804" y="7278"/>
                    <a:pt x="3434" y="7498"/>
                    <a:pt x="4096" y="7498"/>
                  </a:cubicBezTo>
                  <a:cubicBezTo>
                    <a:pt x="4758" y="7498"/>
                    <a:pt x="5388" y="7341"/>
                    <a:pt x="5955" y="7026"/>
                  </a:cubicBezTo>
                  <a:lnTo>
                    <a:pt x="5955" y="4096"/>
                  </a:lnTo>
                  <a:cubicBezTo>
                    <a:pt x="5955" y="3466"/>
                    <a:pt x="5451" y="2993"/>
                    <a:pt x="4852" y="2993"/>
                  </a:cubicBezTo>
                  <a:cubicBezTo>
                    <a:pt x="4663" y="2993"/>
                    <a:pt x="4506" y="2836"/>
                    <a:pt x="4506" y="2647"/>
                  </a:cubicBezTo>
                  <a:cubicBezTo>
                    <a:pt x="4506" y="2458"/>
                    <a:pt x="4663" y="2300"/>
                    <a:pt x="4852" y="2300"/>
                  </a:cubicBezTo>
                  <a:cubicBezTo>
                    <a:pt x="5860" y="2300"/>
                    <a:pt x="6711" y="3119"/>
                    <a:pt x="6711" y="4127"/>
                  </a:cubicBezTo>
                  <a:lnTo>
                    <a:pt x="6711" y="6585"/>
                  </a:lnTo>
                  <a:cubicBezTo>
                    <a:pt x="7593" y="5829"/>
                    <a:pt x="8192" y="4663"/>
                    <a:pt x="8192" y="3403"/>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73"/>
            <p:cNvSpPr/>
            <p:nvPr/>
          </p:nvSpPr>
          <p:spPr>
            <a:xfrm>
              <a:off x="-57860975" y="3197925"/>
              <a:ext cx="119750" cy="37250"/>
            </a:xfrm>
            <a:custGeom>
              <a:avLst/>
              <a:gdLst/>
              <a:ahLst/>
              <a:cxnLst/>
              <a:rect l="l" t="t" r="r" b="b"/>
              <a:pathLst>
                <a:path w="4790" h="1490" extrusionOk="0">
                  <a:moveTo>
                    <a:pt x="2383" y="1"/>
                  </a:moveTo>
                  <a:cubicBezTo>
                    <a:pt x="1812" y="1"/>
                    <a:pt x="1245" y="214"/>
                    <a:pt x="851" y="639"/>
                  </a:cubicBezTo>
                  <a:lnTo>
                    <a:pt x="1" y="1490"/>
                  </a:lnTo>
                  <a:lnTo>
                    <a:pt x="4789" y="1490"/>
                  </a:lnTo>
                  <a:lnTo>
                    <a:pt x="3939" y="639"/>
                  </a:lnTo>
                  <a:cubicBezTo>
                    <a:pt x="3529" y="214"/>
                    <a:pt x="2954" y="1"/>
                    <a:pt x="23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0" name="Google Shape;7480;p73"/>
          <p:cNvGrpSpPr/>
          <p:nvPr/>
        </p:nvGrpSpPr>
        <p:grpSpPr>
          <a:xfrm>
            <a:off x="4905064" y="1835446"/>
            <a:ext cx="314662" cy="358971"/>
            <a:chOff x="-57940525" y="3590375"/>
            <a:chExt cx="279625" cy="319000"/>
          </a:xfrm>
        </p:grpSpPr>
        <p:sp>
          <p:nvSpPr>
            <p:cNvPr id="7481" name="Google Shape;7481;p73"/>
            <p:cNvSpPr/>
            <p:nvPr/>
          </p:nvSpPr>
          <p:spPr>
            <a:xfrm>
              <a:off x="-57940525" y="3727425"/>
              <a:ext cx="18150" cy="63800"/>
            </a:xfrm>
            <a:custGeom>
              <a:avLst/>
              <a:gdLst/>
              <a:ahLst/>
              <a:cxnLst/>
              <a:rect l="l" t="t" r="r" b="b"/>
              <a:pathLst>
                <a:path w="726" h="2552" extrusionOk="0">
                  <a:moveTo>
                    <a:pt x="725" y="0"/>
                  </a:moveTo>
                  <a:cubicBezTo>
                    <a:pt x="253" y="252"/>
                    <a:pt x="1" y="725"/>
                    <a:pt x="1" y="1260"/>
                  </a:cubicBezTo>
                  <a:cubicBezTo>
                    <a:pt x="1" y="1827"/>
                    <a:pt x="316" y="2300"/>
                    <a:pt x="725" y="2552"/>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73"/>
            <p:cNvSpPr/>
            <p:nvPr/>
          </p:nvSpPr>
          <p:spPr>
            <a:xfrm>
              <a:off x="-57904300" y="3686450"/>
              <a:ext cx="205600" cy="111075"/>
            </a:xfrm>
            <a:custGeom>
              <a:avLst/>
              <a:gdLst/>
              <a:ahLst/>
              <a:cxnLst/>
              <a:rect l="l" t="t" r="r" b="b"/>
              <a:pathLst>
                <a:path w="8224" h="4443" extrusionOk="0">
                  <a:moveTo>
                    <a:pt x="2647" y="2143"/>
                  </a:moveTo>
                  <a:cubicBezTo>
                    <a:pt x="2836" y="2143"/>
                    <a:pt x="2994" y="2301"/>
                    <a:pt x="2994" y="2521"/>
                  </a:cubicBezTo>
                  <a:cubicBezTo>
                    <a:pt x="2994" y="2710"/>
                    <a:pt x="2836" y="2868"/>
                    <a:pt x="2647" y="2868"/>
                  </a:cubicBezTo>
                  <a:cubicBezTo>
                    <a:pt x="2427" y="2868"/>
                    <a:pt x="2301" y="2710"/>
                    <a:pt x="2301" y="2521"/>
                  </a:cubicBezTo>
                  <a:cubicBezTo>
                    <a:pt x="2301" y="2301"/>
                    <a:pt x="2427" y="2143"/>
                    <a:pt x="2647" y="2143"/>
                  </a:cubicBezTo>
                  <a:close/>
                  <a:moveTo>
                    <a:pt x="5640" y="2143"/>
                  </a:moveTo>
                  <a:cubicBezTo>
                    <a:pt x="5829" y="2143"/>
                    <a:pt x="5987" y="2301"/>
                    <a:pt x="5987" y="2521"/>
                  </a:cubicBezTo>
                  <a:cubicBezTo>
                    <a:pt x="5987" y="2710"/>
                    <a:pt x="5829" y="2868"/>
                    <a:pt x="5640" y="2868"/>
                  </a:cubicBezTo>
                  <a:cubicBezTo>
                    <a:pt x="5420" y="2868"/>
                    <a:pt x="5262" y="2710"/>
                    <a:pt x="5262" y="2521"/>
                  </a:cubicBezTo>
                  <a:cubicBezTo>
                    <a:pt x="5262" y="2301"/>
                    <a:pt x="5420" y="2143"/>
                    <a:pt x="5640" y="2143"/>
                  </a:cubicBezTo>
                  <a:close/>
                  <a:moveTo>
                    <a:pt x="1923" y="1"/>
                  </a:moveTo>
                  <a:lnTo>
                    <a:pt x="1" y="1923"/>
                  </a:lnTo>
                  <a:lnTo>
                    <a:pt x="1" y="4443"/>
                  </a:lnTo>
                  <a:lnTo>
                    <a:pt x="1765" y="4443"/>
                  </a:lnTo>
                  <a:cubicBezTo>
                    <a:pt x="2490" y="3986"/>
                    <a:pt x="3309" y="3758"/>
                    <a:pt x="4124" y="3758"/>
                  </a:cubicBezTo>
                  <a:cubicBezTo>
                    <a:pt x="4939" y="3758"/>
                    <a:pt x="5751" y="3986"/>
                    <a:pt x="6459" y="4443"/>
                  </a:cubicBezTo>
                  <a:lnTo>
                    <a:pt x="8224" y="4443"/>
                  </a:lnTo>
                  <a:lnTo>
                    <a:pt x="8224" y="1923"/>
                  </a:lnTo>
                  <a:lnTo>
                    <a:pt x="6302" y="1"/>
                  </a:lnTo>
                  <a:cubicBezTo>
                    <a:pt x="5625" y="395"/>
                    <a:pt x="4876" y="592"/>
                    <a:pt x="4124" y="592"/>
                  </a:cubicBezTo>
                  <a:cubicBezTo>
                    <a:pt x="3372" y="592"/>
                    <a:pt x="2616" y="395"/>
                    <a:pt x="19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73"/>
            <p:cNvSpPr/>
            <p:nvPr/>
          </p:nvSpPr>
          <p:spPr>
            <a:xfrm>
              <a:off x="-57903500" y="3590375"/>
              <a:ext cx="205575" cy="117375"/>
            </a:xfrm>
            <a:custGeom>
              <a:avLst/>
              <a:gdLst/>
              <a:ahLst/>
              <a:cxnLst/>
              <a:rect l="l" t="t" r="r" b="b"/>
              <a:pathLst>
                <a:path w="8223" h="4695" extrusionOk="0">
                  <a:moveTo>
                    <a:pt x="4096" y="0"/>
                  </a:moveTo>
                  <a:cubicBezTo>
                    <a:pt x="3560" y="0"/>
                    <a:pt x="3088" y="315"/>
                    <a:pt x="2804" y="756"/>
                  </a:cubicBezTo>
                  <a:cubicBezTo>
                    <a:pt x="2753" y="751"/>
                    <a:pt x="2702" y="748"/>
                    <a:pt x="2651" y="748"/>
                  </a:cubicBezTo>
                  <a:cubicBezTo>
                    <a:pt x="2101" y="748"/>
                    <a:pt x="1551" y="1051"/>
                    <a:pt x="1292" y="1512"/>
                  </a:cubicBezTo>
                  <a:cubicBezTo>
                    <a:pt x="567" y="1638"/>
                    <a:pt x="0" y="2269"/>
                    <a:pt x="0" y="3056"/>
                  </a:cubicBezTo>
                  <a:lnTo>
                    <a:pt x="0" y="4694"/>
                  </a:lnTo>
                  <a:lnTo>
                    <a:pt x="1607" y="3088"/>
                  </a:lnTo>
                  <a:cubicBezTo>
                    <a:pt x="1683" y="3011"/>
                    <a:pt x="1783" y="2970"/>
                    <a:pt x="1884" y="2970"/>
                  </a:cubicBezTo>
                  <a:cubicBezTo>
                    <a:pt x="1951" y="2970"/>
                    <a:pt x="2018" y="2987"/>
                    <a:pt x="2080" y="3025"/>
                  </a:cubicBezTo>
                  <a:cubicBezTo>
                    <a:pt x="2694" y="3450"/>
                    <a:pt x="3403" y="3663"/>
                    <a:pt x="4112" y="3663"/>
                  </a:cubicBezTo>
                  <a:cubicBezTo>
                    <a:pt x="4821" y="3663"/>
                    <a:pt x="5529" y="3450"/>
                    <a:pt x="6144" y="3025"/>
                  </a:cubicBezTo>
                  <a:cubicBezTo>
                    <a:pt x="6206" y="2987"/>
                    <a:pt x="6273" y="2970"/>
                    <a:pt x="6339" y="2970"/>
                  </a:cubicBezTo>
                  <a:cubicBezTo>
                    <a:pt x="6441" y="2970"/>
                    <a:pt x="6540" y="3011"/>
                    <a:pt x="6616" y="3088"/>
                  </a:cubicBezTo>
                  <a:lnTo>
                    <a:pt x="8223" y="4694"/>
                  </a:lnTo>
                  <a:lnTo>
                    <a:pt x="8223" y="3056"/>
                  </a:lnTo>
                  <a:cubicBezTo>
                    <a:pt x="8192" y="2300"/>
                    <a:pt x="7656" y="1638"/>
                    <a:pt x="6900" y="1512"/>
                  </a:cubicBezTo>
                  <a:cubicBezTo>
                    <a:pt x="6641" y="1051"/>
                    <a:pt x="6091" y="748"/>
                    <a:pt x="5541" y="748"/>
                  </a:cubicBezTo>
                  <a:cubicBezTo>
                    <a:pt x="5490" y="748"/>
                    <a:pt x="5439" y="751"/>
                    <a:pt x="5388" y="756"/>
                  </a:cubicBezTo>
                  <a:cubicBezTo>
                    <a:pt x="5136" y="284"/>
                    <a:pt x="466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3"/>
            <p:cNvSpPr/>
            <p:nvPr/>
          </p:nvSpPr>
          <p:spPr>
            <a:xfrm>
              <a:off x="-57903500" y="3798700"/>
              <a:ext cx="204800" cy="110675"/>
            </a:xfrm>
            <a:custGeom>
              <a:avLst/>
              <a:gdLst/>
              <a:ahLst/>
              <a:cxnLst/>
              <a:rect l="l" t="t" r="r" b="b"/>
              <a:pathLst>
                <a:path w="8192" h="4427" extrusionOk="0">
                  <a:moveTo>
                    <a:pt x="5159" y="1001"/>
                  </a:moveTo>
                  <a:cubicBezTo>
                    <a:pt x="5254" y="1001"/>
                    <a:pt x="5340" y="1040"/>
                    <a:pt x="5388" y="1119"/>
                  </a:cubicBezTo>
                  <a:cubicBezTo>
                    <a:pt x="5545" y="1245"/>
                    <a:pt x="5545" y="1465"/>
                    <a:pt x="5388" y="1654"/>
                  </a:cubicBezTo>
                  <a:cubicBezTo>
                    <a:pt x="5041" y="2001"/>
                    <a:pt x="4569" y="2190"/>
                    <a:pt x="4096" y="2190"/>
                  </a:cubicBezTo>
                  <a:cubicBezTo>
                    <a:pt x="3623" y="2190"/>
                    <a:pt x="3119" y="2001"/>
                    <a:pt x="2804" y="1654"/>
                  </a:cubicBezTo>
                  <a:cubicBezTo>
                    <a:pt x="2647" y="1497"/>
                    <a:pt x="2647" y="1245"/>
                    <a:pt x="2804" y="1119"/>
                  </a:cubicBezTo>
                  <a:cubicBezTo>
                    <a:pt x="2883" y="1040"/>
                    <a:pt x="2978" y="1001"/>
                    <a:pt x="3068" y="1001"/>
                  </a:cubicBezTo>
                  <a:cubicBezTo>
                    <a:pt x="3159" y="1001"/>
                    <a:pt x="3245" y="1040"/>
                    <a:pt x="3308" y="1119"/>
                  </a:cubicBezTo>
                  <a:cubicBezTo>
                    <a:pt x="3529" y="1339"/>
                    <a:pt x="3812" y="1449"/>
                    <a:pt x="4096" y="1449"/>
                  </a:cubicBezTo>
                  <a:cubicBezTo>
                    <a:pt x="4380" y="1449"/>
                    <a:pt x="4663" y="1339"/>
                    <a:pt x="4884" y="1119"/>
                  </a:cubicBezTo>
                  <a:cubicBezTo>
                    <a:pt x="4962" y="1040"/>
                    <a:pt x="5065" y="1001"/>
                    <a:pt x="5159" y="1001"/>
                  </a:cubicBezTo>
                  <a:close/>
                  <a:moveTo>
                    <a:pt x="4080" y="0"/>
                  </a:moveTo>
                  <a:cubicBezTo>
                    <a:pt x="3371" y="0"/>
                    <a:pt x="2663" y="205"/>
                    <a:pt x="2048" y="615"/>
                  </a:cubicBezTo>
                  <a:cubicBezTo>
                    <a:pt x="1985" y="646"/>
                    <a:pt x="1922" y="678"/>
                    <a:pt x="1859" y="678"/>
                  </a:cubicBezTo>
                  <a:lnTo>
                    <a:pt x="0" y="678"/>
                  </a:lnTo>
                  <a:cubicBezTo>
                    <a:pt x="189" y="2788"/>
                    <a:pt x="1922" y="4427"/>
                    <a:pt x="4096" y="4427"/>
                  </a:cubicBezTo>
                  <a:cubicBezTo>
                    <a:pt x="6270" y="4427"/>
                    <a:pt x="8003" y="2788"/>
                    <a:pt x="8192" y="678"/>
                  </a:cubicBezTo>
                  <a:lnTo>
                    <a:pt x="6333" y="678"/>
                  </a:lnTo>
                  <a:cubicBezTo>
                    <a:pt x="6270" y="678"/>
                    <a:pt x="6175" y="646"/>
                    <a:pt x="6112" y="615"/>
                  </a:cubicBezTo>
                  <a:cubicBezTo>
                    <a:pt x="5498" y="205"/>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73"/>
            <p:cNvSpPr/>
            <p:nvPr/>
          </p:nvSpPr>
          <p:spPr>
            <a:xfrm>
              <a:off x="-57679825" y="3726625"/>
              <a:ext cx="18925" cy="63825"/>
            </a:xfrm>
            <a:custGeom>
              <a:avLst/>
              <a:gdLst/>
              <a:ahLst/>
              <a:cxnLst/>
              <a:rect l="l" t="t" r="r" b="b"/>
              <a:pathLst>
                <a:path w="757" h="2553" extrusionOk="0">
                  <a:moveTo>
                    <a:pt x="1" y="1"/>
                  </a:moveTo>
                  <a:lnTo>
                    <a:pt x="1" y="2552"/>
                  </a:lnTo>
                  <a:cubicBezTo>
                    <a:pt x="442" y="2269"/>
                    <a:pt x="757" y="1796"/>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6" name="Google Shape;7486;p73"/>
          <p:cNvGrpSpPr/>
          <p:nvPr/>
        </p:nvGrpSpPr>
        <p:grpSpPr>
          <a:xfrm>
            <a:off x="4875945" y="2276817"/>
            <a:ext cx="358099" cy="358999"/>
            <a:chOff x="-57959425" y="3982600"/>
            <a:chExt cx="318225" cy="319025"/>
          </a:xfrm>
        </p:grpSpPr>
        <p:sp>
          <p:nvSpPr>
            <p:cNvPr id="7487" name="Google Shape;7487;p73"/>
            <p:cNvSpPr/>
            <p:nvPr/>
          </p:nvSpPr>
          <p:spPr>
            <a:xfrm>
              <a:off x="-57771975" y="41503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73"/>
            <p:cNvSpPr/>
            <p:nvPr/>
          </p:nvSpPr>
          <p:spPr>
            <a:xfrm>
              <a:off x="-57959425" y="3982600"/>
              <a:ext cx="318225" cy="130775"/>
            </a:xfrm>
            <a:custGeom>
              <a:avLst/>
              <a:gdLst/>
              <a:ahLst/>
              <a:cxnLst/>
              <a:rect l="l" t="t" r="r" b="b"/>
              <a:pathLst>
                <a:path w="12729" h="5231" extrusionOk="0">
                  <a:moveTo>
                    <a:pt x="7081" y="1521"/>
                  </a:moveTo>
                  <a:cubicBezTo>
                    <a:pt x="7176" y="1521"/>
                    <a:pt x="7262" y="1560"/>
                    <a:pt x="7310" y="1639"/>
                  </a:cubicBezTo>
                  <a:cubicBezTo>
                    <a:pt x="7436" y="1796"/>
                    <a:pt x="7467" y="2048"/>
                    <a:pt x="7310" y="2174"/>
                  </a:cubicBezTo>
                  <a:lnTo>
                    <a:pt x="6837" y="2647"/>
                  </a:lnTo>
                  <a:lnTo>
                    <a:pt x="7310" y="3120"/>
                  </a:lnTo>
                  <a:cubicBezTo>
                    <a:pt x="7467" y="3246"/>
                    <a:pt x="7467" y="3498"/>
                    <a:pt x="7310" y="3624"/>
                  </a:cubicBezTo>
                  <a:cubicBezTo>
                    <a:pt x="7231" y="3702"/>
                    <a:pt x="7136" y="3742"/>
                    <a:pt x="7046" y="3742"/>
                  </a:cubicBezTo>
                  <a:cubicBezTo>
                    <a:pt x="6955" y="3742"/>
                    <a:pt x="6869" y="3702"/>
                    <a:pt x="6806" y="3624"/>
                  </a:cubicBezTo>
                  <a:lnTo>
                    <a:pt x="6333" y="3151"/>
                  </a:lnTo>
                  <a:lnTo>
                    <a:pt x="5860" y="3624"/>
                  </a:lnTo>
                  <a:cubicBezTo>
                    <a:pt x="5782" y="3702"/>
                    <a:pt x="5687" y="3742"/>
                    <a:pt x="5597" y="3742"/>
                  </a:cubicBezTo>
                  <a:cubicBezTo>
                    <a:pt x="5506" y="3742"/>
                    <a:pt x="5419" y="3702"/>
                    <a:pt x="5356" y="3624"/>
                  </a:cubicBezTo>
                  <a:cubicBezTo>
                    <a:pt x="5199" y="3466"/>
                    <a:pt x="5199" y="3214"/>
                    <a:pt x="5356" y="3120"/>
                  </a:cubicBezTo>
                  <a:lnTo>
                    <a:pt x="5829" y="2647"/>
                  </a:lnTo>
                  <a:lnTo>
                    <a:pt x="5356" y="2174"/>
                  </a:lnTo>
                  <a:cubicBezTo>
                    <a:pt x="5199" y="2017"/>
                    <a:pt x="5199" y="1765"/>
                    <a:pt x="5356" y="1639"/>
                  </a:cubicBezTo>
                  <a:cubicBezTo>
                    <a:pt x="5435" y="1560"/>
                    <a:pt x="5530" y="1521"/>
                    <a:pt x="5620" y="1521"/>
                  </a:cubicBezTo>
                  <a:cubicBezTo>
                    <a:pt x="5711" y="1521"/>
                    <a:pt x="5797" y="1560"/>
                    <a:pt x="5860" y="1639"/>
                  </a:cubicBezTo>
                  <a:lnTo>
                    <a:pt x="6333" y="2111"/>
                  </a:lnTo>
                  <a:lnTo>
                    <a:pt x="6806" y="1639"/>
                  </a:lnTo>
                  <a:cubicBezTo>
                    <a:pt x="6884" y="1560"/>
                    <a:pt x="6987" y="1521"/>
                    <a:pt x="7081" y="1521"/>
                  </a:cubicBezTo>
                  <a:close/>
                  <a:moveTo>
                    <a:pt x="6333" y="1"/>
                  </a:moveTo>
                  <a:cubicBezTo>
                    <a:pt x="5388" y="1"/>
                    <a:pt x="4506" y="379"/>
                    <a:pt x="3907" y="1072"/>
                  </a:cubicBezTo>
                  <a:cubicBezTo>
                    <a:pt x="3389" y="1628"/>
                    <a:pt x="2673" y="1927"/>
                    <a:pt x="1944" y="1927"/>
                  </a:cubicBezTo>
                  <a:cubicBezTo>
                    <a:pt x="1474" y="1927"/>
                    <a:pt x="999" y="1803"/>
                    <a:pt x="568" y="1544"/>
                  </a:cubicBezTo>
                  <a:cubicBezTo>
                    <a:pt x="505" y="1505"/>
                    <a:pt x="438" y="1487"/>
                    <a:pt x="373" y="1487"/>
                  </a:cubicBezTo>
                  <a:cubicBezTo>
                    <a:pt x="178" y="1487"/>
                    <a:pt x="1" y="1647"/>
                    <a:pt x="1" y="1859"/>
                  </a:cubicBezTo>
                  <a:lnTo>
                    <a:pt x="1" y="2426"/>
                  </a:lnTo>
                  <a:cubicBezTo>
                    <a:pt x="1" y="3970"/>
                    <a:pt x="1261" y="5230"/>
                    <a:pt x="2804" y="5230"/>
                  </a:cubicBezTo>
                  <a:cubicBezTo>
                    <a:pt x="3624" y="5230"/>
                    <a:pt x="4096" y="4915"/>
                    <a:pt x="4884" y="4537"/>
                  </a:cubicBezTo>
                  <a:cubicBezTo>
                    <a:pt x="4915" y="4474"/>
                    <a:pt x="5010" y="4474"/>
                    <a:pt x="5041" y="4474"/>
                  </a:cubicBezTo>
                  <a:lnTo>
                    <a:pt x="7688" y="4474"/>
                  </a:lnTo>
                  <a:cubicBezTo>
                    <a:pt x="7719" y="4474"/>
                    <a:pt x="7782" y="4474"/>
                    <a:pt x="7845" y="4537"/>
                  </a:cubicBezTo>
                  <a:cubicBezTo>
                    <a:pt x="8664" y="4915"/>
                    <a:pt x="9105" y="5230"/>
                    <a:pt x="9925" y="5230"/>
                  </a:cubicBezTo>
                  <a:cubicBezTo>
                    <a:pt x="11468" y="5230"/>
                    <a:pt x="12729" y="3970"/>
                    <a:pt x="12729" y="2426"/>
                  </a:cubicBezTo>
                  <a:lnTo>
                    <a:pt x="12729" y="1891"/>
                  </a:lnTo>
                  <a:cubicBezTo>
                    <a:pt x="12729" y="1698"/>
                    <a:pt x="12543" y="1523"/>
                    <a:pt x="12329" y="1523"/>
                  </a:cubicBezTo>
                  <a:cubicBezTo>
                    <a:pt x="12264" y="1523"/>
                    <a:pt x="12196" y="1539"/>
                    <a:pt x="12130" y="1576"/>
                  </a:cubicBezTo>
                  <a:cubicBezTo>
                    <a:pt x="11708" y="1824"/>
                    <a:pt x="11233" y="1945"/>
                    <a:pt x="10762" y="1945"/>
                  </a:cubicBezTo>
                  <a:cubicBezTo>
                    <a:pt x="10036" y="1945"/>
                    <a:pt x="9319" y="1657"/>
                    <a:pt x="8822" y="1103"/>
                  </a:cubicBezTo>
                  <a:cubicBezTo>
                    <a:pt x="8192" y="442"/>
                    <a:pt x="731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73"/>
            <p:cNvSpPr/>
            <p:nvPr/>
          </p:nvSpPr>
          <p:spPr>
            <a:xfrm>
              <a:off x="-57903500" y="4125950"/>
              <a:ext cx="204800" cy="175675"/>
            </a:xfrm>
            <a:custGeom>
              <a:avLst/>
              <a:gdLst/>
              <a:ahLst/>
              <a:cxnLst/>
              <a:rect l="l" t="t" r="r" b="b"/>
              <a:pathLst>
                <a:path w="8192" h="7027" extrusionOk="0">
                  <a:moveTo>
                    <a:pt x="2615" y="1009"/>
                  </a:moveTo>
                  <a:cubicBezTo>
                    <a:pt x="2804" y="1009"/>
                    <a:pt x="2962" y="1166"/>
                    <a:pt x="2962" y="1355"/>
                  </a:cubicBezTo>
                  <a:cubicBezTo>
                    <a:pt x="2962" y="1544"/>
                    <a:pt x="2804" y="1702"/>
                    <a:pt x="2615" y="1702"/>
                  </a:cubicBezTo>
                  <a:cubicBezTo>
                    <a:pt x="2395" y="1702"/>
                    <a:pt x="2237" y="1576"/>
                    <a:pt x="2237" y="1355"/>
                  </a:cubicBezTo>
                  <a:cubicBezTo>
                    <a:pt x="2237" y="1166"/>
                    <a:pt x="2395" y="1009"/>
                    <a:pt x="2615" y="1009"/>
                  </a:cubicBezTo>
                  <a:close/>
                  <a:moveTo>
                    <a:pt x="5163" y="3600"/>
                  </a:moveTo>
                  <a:cubicBezTo>
                    <a:pt x="5262" y="3600"/>
                    <a:pt x="5356" y="3639"/>
                    <a:pt x="5419" y="3718"/>
                  </a:cubicBezTo>
                  <a:cubicBezTo>
                    <a:pt x="5608" y="3844"/>
                    <a:pt x="5608" y="4065"/>
                    <a:pt x="5451" y="4222"/>
                  </a:cubicBezTo>
                  <a:cubicBezTo>
                    <a:pt x="5073" y="4569"/>
                    <a:pt x="4600" y="4789"/>
                    <a:pt x="4096" y="4789"/>
                  </a:cubicBezTo>
                  <a:cubicBezTo>
                    <a:pt x="3592" y="4789"/>
                    <a:pt x="3119" y="4569"/>
                    <a:pt x="2804" y="4222"/>
                  </a:cubicBezTo>
                  <a:cubicBezTo>
                    <a:pt x="2647" y="4065"/>
                    <a:pt x="2647" y="3844"/>
                    <a:pt x="2804" y="3718"/>
                  </a:cubicBezTo>
                  <a:cubicBezTo>
                    <a:pt x="2883" y="3639"/>
                    <a:pt x="2978" y="3600"/>
                    <a:pt x="3068" y="3600"/>
                  </a:cubicBezTo>
                  <a:cubicBezTo>
                    <a:pt x="3159" y="3600"/>
                    <a:pt x="3245" y="3639"/>
                    <a:pt x="3308" y="3718"/>
                  </a:cubicBezTo>
                  <a:cubicBezTo>
                    <a:pt x="3529" y="3939"/>
                    <a:pt x="3812" y="4049"/>
                    <a:pt x="4096" y="4049"/>
                  </a:cubicBezTo>
                  <a:cubicBezTo>
                    <a:pt x="4380" y="4049"/>
                    <a:pt x="4663" y="3939"/>
                    <a:pt x="4884" y="3718"/>
                  </a:cubicBezTo>
                  <a:cubicBezTo>
                    <a:pt x="4962" y="3639"/>
                    <a:pt x="5065" y="3600"/>
                    <a:pt x="5163" y="3600"/>
                  </a:cubicBezTo>
                  <a:close/>
                  <a:moveTo>
                    <a:pt x="1828" y="0"/>
                  </a:moveTo>
                  <a:cubicBezTo>
                    <a:pt x="1418" y="158"/>
                    <a:pt x="977" y="253"/>
                    <a:pt x="567" y="253"/>
                  </a:cubicBezTo>
                  <a:cubicBezTo>
                    <a:pt x="347" y="253"/>
                    <a:pt x="221" y="221"/>
                    <a:pt x="0" y="221"/>
                  </a:cubicBezTo>
                  <a:lnTo>
                    <a:pt x="0" y="2899"/>
                  </a:lnTo>
                  <a:cubicBezTo>
                    <a:pt x="0" y="5136"/>
                    <a:pt x="1859" y="7026"/>
                    <a:pt x="4096" y="7026"/>
                  </a:cubicBezTo>
                  <a:cubicBezTo>
                    <a:pt x="6270" y="7026"/>
                    <a:pt x="8097" y="5262"/>
                    <a:pt x="8192" y="3119"/>
                  </a:cubicBezTo>
                  <a:lnTo>
                    <a:pt x="6333" y="2206"/>
                  </a:lnTo>
                  <a:cubicBezTo>
                    <a:pt x="6144" y="2363"/>
                    <a:pt x="5860" y="2489"/>
                    <a:pt x="5608" y="2489"/>
                  </a:cubicBezTo>
                  <a:cubicBezTo>
                    <a:pt x="4978" y="2489"/>
                    <a:pt x="4474" y="1985"/>
                    <a:pt x="4506" y="1324"/>
                  </a:cubicBezTo>
                  <a:lnTo>
                    <a:pt x="18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3"/>
            <p:cNvSpPr/>
            <p:nvPr/>
          </p:nvSpPr>
          <p:spPr>
            <a:xfrm>
              <a:off x="-57835775" y="4113350"/>
              <a:ext cx="138650" cy="70125"/>
            </a:xfrm>
            <a:custGeom>
              <a:avLst/>
              <a:gdLst/>
              <a:ahLst/>
              <a:cxnLst/>
              <a:rect l="l" t="t" r="r" b="b"/>
              <a:pathLst>
                <a:path w="5546" h="2805" extrusionOk="0">
                  <a:moveTo>
                    <a:pt x="221" y="0"/>
                  </a:moveTo>
                  <a:lnTo>
                    <a:pt x="1" y="95"/>
                  </a:lnTo>
                  <a:lnTo>
                    <a:pt x="2112" y="1103"/>
                  </a:lnTo>
                  <a:cubicBezTo>
                    <a:pt x="2301" y="883"/>
                    <a:pt x="2616" y="757"/>
                    <a:pt x="2931" y="757"/>
                  </a:cubicBezTo>
                  <a:cubicBezTo>
                    <a:pt x="3592" y="757"/>
                    <a:pt x="4159" y="1355"/>
                    <a:pt x="4033" y="2048"/>
                  </a:cubicBezTo>
                  <a:lnTo>
                    <a:pt x="5546" y="2804"/>
                  </a:lnTo>
                  <a:lnTo>
                    <a:pt x="5546" y="725"/>
                  </a:lnTo>
                  <a:cubicBezTo>
                    <a:pt x="5325" y="725"/>
                    <a:pt x="5136" y="757"/>
                    <a:pt x="4979" y="757"/>
                  </a:cubicBezTo>
                  <a:cubicBezTo>
                    <a:pt x="4033" y="757"/>
                    <a:pt x="3435" y="410"/>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1" name="Google Shape;7491;p73"/>
          <p:cNvGrpSpPr/>
          <p:nvPr/>
        </p:nvGrpSpPr>
        <p:grpSpPr>
          <a:xfrm>
            <a:off x="7076112" y="1380146"/>
            <a:ext cx="357226" cy="357226"/>
            <a:chOff x="-55987225" y="3198925"/>
            <a:chExt cx="317450" cy="317450"/>
          </a:xfrm>
        </p:grpSpPr>
        <p:sp>
          <p:nvSpPr>
            <p:cNvPr id="7492" name="Google Shape;7492;p73"/>
            <p:cNvSpPr/>
            <p:nvPr/>
          </p:nvSpPr>
          <p:spPr>
            <a:xfrm>
              <a:off x="-55987225" y="3261925"/>
              <a:ext cx="173300" cy="198500"/>
            </a:xfrm>
            <a:custGeom>
              <a:avLst/>
              <a:gdLst/>
              <a:ahLst/>
              <a:cxnLst/>
              <a:rect l="l" t="t" r="r" b="b"/>
              <a:pathLst>
                <a:path w="6932" h="7940" extrusionOk="0">
                  <a:moveTo>
                    <a:pt x="4821" y="1954"/>
                  </a:moveTo>
                  <a:cubicBezTo>
                    <a:pt x="5042" y="1954"/>
                    <a:pt x="5199" y="2112"/>
                    <a:pt x="5199" y="2332"/>
                  </a:cubicBezTo>
                  <a:cubicBezTo>
                    <a:pt x="5199" y="2521"/>
                    <a:pt x="5042" y="2679"/>
                    <a:pt x="4821" y="2679"/>
                  </a:cubicBezTo>
                  <a:cubicBezTo>
                    <a:pt x="4632" y="2679"/>
                    <a:pt x="4475" y="2521"/>
                    <a:pt x="4475" y="2332"/>
                  </a:cubicBezTo>
                  <a:cubicBezTo>
                    <a:pt x="4475" y="2175"/>
                    <a:pt x="4632" y="1954"/>
                    <a:pt x="4821" y="1954"/>
                  </a:cubicBezTo>
                  <a:close/>
                  <a:moveTo>
                    <a:pt x="1041" y="4380"/>
                  </a:moveTo>
                  <a:cubicBezTo>
                    <a:pt x="1324" y="4726"/>
                    <a:pt x="1765" y="4947"/>
                    <a:pt x="2269" y="4947"/>
                  </a:cubicBezTo>
                  <a:cubicBezTo>
                    <a:pt x="2238" y="5388"/>
                    <a:pt x="1891" y="5703"/>
                    <a:pt x="1482" y="5703"/>
                  </a:cubicBezTo>
                  <a:cubicBezTo>
                    <a:pt x="1104" y="5703"/>
                    <a:pt x="726" y="5357"/>
                    <a:pt x="726" y="4947"/>
                  </a:cubicBezTo>
                  <a:cubicBezTo>
                    <a:pt x="726" y="4726"/>
                    <a:pt x="852" y="4474"/>
                    <a:pt x="1041" y="4380"/>
                  </a:cubicBezTo>
                  <a:close/>
                  <a:moveTo>
                    <a:pt x="5262" y="1"/>
                  </a:moveTo>
                  <a:cubicBezTo>
                    <a:pt x="4916" y="473"/>
                    <a:pt x="4412" y="820"/>
                    <a:pt x="3845" y="1009"/>
                  </a:cubicBezTo>
                  <a:cubicBezTo>
                    <a:pt x="3466" y="1166"/>
                    <a:pt x="3057" y="1229"/>
                    <a:pt x="2679" y="1229"/>
                  </a:cubicBezTo>
                  <a:cubicBezTo>
                    <a:pt x="2553" y="1229"/>
                    <a:pt x="2427" y="1229"/>
                    <a:pt x="2301" y="1166"/>
                  </a:cubicBezTo>
                  <a:cubicBezTo>
                    <a:pt x="2301" y="1292"/>
                    <a:pt x="2269" y="1450"/>
                    <a:pt x="2269" y="1576"/>
                  </a:cubicBezTo>
                  <a:lnTo>
                    <a:pt x="2269" y="1923"/>
                  </a:lnTo>
                  <a:cubicBezTo>
                    <a:pt x="1450" y="1923"/>
                    <a:pt x="726" y="2584"/>
                    <a:pt x="726" y="3435"/>
                  </a:cubicBezTo>
                  <a:lnTo>
                    <a:pt x="726" y="3624"/>
                  </a:lnTo>
                  <a:cubicBezTo>
                    <a:pt x="253" y="3907"/>
                    <a:pt x="1" y="4380"/>
                    <a:pt x="1" y="4915"/>
                  </a:cubicBezTo>
                  <a:cubicBezTo>
                    <a:pt x="1" y="5735"/>
                    <a:pt x="663" y="6428"/>
                    <a:pt x="1482" y="6428"/>
                  </a:cubicBezTo>
                  <a:cubicBezTo>
                    <a:pt x="1507" y="6429"/>
                    <a:pt x="1533" y="6430"/>
                    <a:pt x="1558" y="6430"/>
                  </a:cubicBezTo>
                  <a:cubicBezTo>
                    <a:pt x="2033" y="6430"/>
                    <a:pt x="2473" y="6156"/>
                    <a:pt x="2742" y="5798"/>
                  </a:cubicBezTo>
                  <a:cubicBezTo>
                    <a:pt x="3466" y="7089"/>
                    <a:pt x="4790" y="7940"/>
                    <a:pt x="6365" y="7940"/>
                  </a:cubicBezTo>
                  <a:cubicBezTo>
                    <a:pt x="6554" y="7940"/>
                    <a:pt x="6775" y="7940"/>
                    <a:pt x="6932" y="7908"/>
                  </a:cubicBezTo>
                  <a:cubicBezTo>
                    <a:pt x="6806" y="7562"/>
                    <a:pt x="6712" y="7184"/>
                    <a:pt x="6712" y="6837"/>
                  </a:cubicBezTo>
                  <a:lnTo>
                    <a:pt x="6712" y="5672"/>
                  </a:lnTo>
                  <a:cubicBezTo>
                    <a:pt x="6617" y="5703"/>
                    <a:pt x="6491" y="5703"/>
                    <a:pt x="6365" y="5703"/>
                  </a:cubicBezTo>
                  <a:cubicBezTo>
                    <a:pt x="5861" y="5703"/>
                    <a:pt x="5388" y="5514"/>
                    <a:pt x="5073" y="5168"/>
                  </a:cubicBezTo>
                  <a:cubicBezTo>
                    <a:pt x="4916" y="5010"/>
                    <a:pt x="4916" y="4758"/>
                    <a:pt x="5073" y="4632"/>
                  </a:cubicBezTo>
                  <a:cubicBezTo>
                    <a:pt x="5152" y="4553"/>
                    <a:pt x="5247" y="4514"/>
                    <a:pt x="5337" y="4514"/>
                  </a:cubicBezTo>
                  <a:cubicBezTo>
                    <a:pt x="5428" y="4514"/>
                    <a:pt x="5514" y="4553"/>
                    <a:pt x="5577" y="4632"/>
                  </a:cubicBezTo>
                  <a:cubicBezTo>
                    <a:pt x="5792" y="4847"/>
                    <a:pt x="6080" y="4959"/>
                    <a:pt x="6371" y="4959"/>
                  </a:cubicBezTo>
                  <a:cubicBezTo>
                    <a:pt x="6507" y="4959"/>
                    <a:pt x="6644" y="4934"/>
                    <a:pt x="6775" y="4884"/>
                  </a:cubicBezTo>
                  <a:lnTo>
                    <a:pt x="6775" y="1923"/>
                  </a:lnTo>
                  <a:cubicBezTo>
                    <a:pt x="5892" y="1765"/>
                    <a:pt x="5262" y="977"/>
                    <a:pt x="5262" y="127"/>
                  </a:cubicBezTo>
                  <a:lnTo>
                    <a:pt x="52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3"/>
            <p:cNvSpPr/>
            <p:nvPr/>
          </p:nvSpPr>
          <p:spPr>
            <a:xfrm>
              <a:off x="-55837575" y="3198925"/>
              <a:ext cx="167800" cy="298525"/>
            </a:xfrm>
            <a:custGeom>
              <a:avLst/>
              <a:gdLst/>
              <a:ahLst/>
              <a:cxnLst/>
              <a:rect l="l" t="t" r="r" b="b"/>
              <a:pathLst>
                <a:path w="6712" h="11941" extrusionOk="0">
                  <a:moveTo>
                    <a:pt x="5672" y="6900"/>
                  </a:moveTo>
                  <a:cubicBezTo>
                    <a:pt x="5861" y="6994"/>
                    <a:pt x="5987" y="7246"/>
                    <a:pt x="5987" y="7467"/>
                  </a:cubicBezTo>
                  <a:cubicBezTo>
                    <a:pt x="5987" y="7908"/>
                    <a:pt x="5672" y="8223"/>
                    <a:pt x="5231" y="8223"/>
                  </a:cubicBezTo>
                  <a:cubicBezTo>
                    <a:pt x="4821" y="8223"/>
                    <a:pt x="4443" y="7877"/>
                    <a:pt x="4443" y="7467"/>
                  </a:cubicBezTo>
                  <a:cubicBezTo>
                    <a:pt x="4916" y="7467"/>
                    <a:pt x="5388" y="7246"/>
                    <a:pt x="5672" y="6900"/>
                  </a:cubicBezTo>
                  <a:close/>
                  <a:moveTo>
                    <a:pt x="1" y="0"/>
                  </a:moveTo>
                  <a:lnTo>
                    <a:pt x="1" y="2584"/>
                  </a:lnTo>
                  <a:cubicBezTo>
                    <a:pt x="1" y="3214"/>
                    <a:pt x="505" y="3686"/>
                    <a:pt x="1104" y="3686"/>
                  </a:cubicBezTo>
                  <a:cubicBezTo>
                    <a:pt x="1293" y="3686"/>
                    <a:pt x="1450" y="3844"/>
                    <a:pt x="1450" y="4064"/>
                  </a:cubicBezTo>
                  <a:lnTo>
                    <a:pt x="1450" y="9294"/>
                  </a:lnTo>
                  <a:cubicBezTo>
                    <a:pt x="1450" y="10743"/>
                    <a:pt x="2647" y="11941"/>
                    <a:pt x="4065" y="11941"/>
                  </a:cubicBezTo>
                  <a:lnTo>
                    <a:pt x="4412" y="11941"/>
                  </a:lnTo>
                  <a:lnTo>
                    <a:pt x="4412" y="8790"/>
                  </a:lnTo>
                  <a:cubicBezTo>
                    <a:pt x="4632" y="8885"/>
                    <a:pt x="4916" y="8979"/>
                    <a:pt x="5199" y="8979"/>
                  </a:cubicBezTo>
                  <a:cubicBezTo>
                    <a:pt x="6018" y="8979"/>
                    <a:pt x="6680" y="8318"/>
                    <a:pt x="6680" y="7467"/>
                  </a:cubicBezTo>
                  <a:cubicBezTo>
                    <a:pt x="6711" y="6931"/>
                    <a:pt x="6396" y="6459"/>
                    <a:pt x="5987" y="6175"/>
                  </a:cubicBezTo>
                  <a:lnTo>
                    <a:pt x="5987" y="5986"/>
                  </a:lnTo>
                  <a:cubicBezTo>
                    <a:pt x="5987" y="5167"/>
                    <a:pt x="5262" y="4474"/>
                    <a:pt x="4443" y="4474"/>
                  </a:cubicBezTo>
                  <a:lnTo>
                    <a:pt x="4443" y="4127"/>
                  </a:lnTo>
                  <a:cubicBezTo>
                    <a:pt x="4443" y="1891"/>
                    <a:pt x="258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73"/>
            <p:cNvSpPr/>
            <p:nvPr/>
          </p:nvSpPr>
          <p:spPr>
            <a:xfrm>
              <a:off x="-55931300" y="3435200"/>
              <a:ext cx="194575" cy="81175"/>
            </a:xfrm>
            <a:custGeom>
              <a:avLst/>
              <a:gdLst/>
              <a:ahLst/>
              <a:cxnLst/>
              <a:rect l="l" t="t" r="r" b="b"/>
              <a:pathLst>
                <a:path w="7783" h="3247" extrusionOk="0">
                  <a:moveTo>
                    <a:pt x="347" y="1"/>
                  </a:moveTo>
                  <a:cubicBezTo>
                    <a:pt x="221" y="64"/>
                    <a:pt x="127" y="127"/>
                    <a:pt x="1" y="158"/>
                  </a:cubicBezTo>
                  <a:lnTo>
                    <a:pt x="1" y="2899"/>
                  </a:lnTo>
                  <a:cubicBezTo>
                    <a:pt x="1" y="3088"/>
                    <a:pt x="158" y="3246"/>
                    <a:pt x="347" y="3246"/>
                  </a:cubicBezTo>
                  <a:lnTo>
                    <a:pt x="7627" y="3246"/>
                  </a:lnTo>
                  <a:cubicBezTo>
                    <a:pt x="6551" y="3216"/>
                    <a:pt x="5551" y="2574"/>
                    <a:pt x="5010" y="1702"/>
                  </a:cubicBezTo>
                  <a:cubicBezTo>
                    <a:pt x="4727" y="1734"/>
                    <a:pt x="4411" y="1765"/>
                    <a:pt x="4096" y="1765"/>
                  </a:cubicBezTo>
                  <a:cubicBezTo>
                    <a:pt x="2584" y="1765"/>
                    <a:pt x="1229" y="1040"/>
                    <a:pt x="347" y="1"/>
                  </a:cubicBezTo>
                  <a:close/>
                  <a:moveTo>
                    <a:pt x="7627" y="3246"/>
                  </a:moveTo>
                  <a:cubicBezTo>
                    <a:pt x="7653" y="3246"/>
                    <a:pt x="7679" y="3247"/>
                    <a:pt x="7705" y="3247"/>
                  </a:cubicBezTo>
                  <a:cubicBezTo>
                    <a:pt x="7731" y="3247"/>
                    <a:pt x="7757" y="3246"/>
                    <a:pt x="7783" y="3246"/>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73"/>
            <p:cNvSpPr/>
            <p:nvPr/>
          </p:nvSpPr>
          <p:spPr>
            <a:xfrm>
              <a:off x="-55927350" y="3202850"/>
              <a:ext cx="70900" cy="71200"/>
            </a:xfrm>
            <a:custGeom>
              <a:avLst/>
              <a:gdLst/>
              <a:ahLst/>
              <a:cxnLst/>
              <a:rect l="l" t="t" r="r" b="b"/>
              <a:pathLst>
                <a:path w="2836" h="2848" extrusionOk="0">
                  <a:moveTo>
                    <a:pt x="2836" y="1"/>
                  </a:moveTo>
                  <a:cubicBezTo>
                    <a:pt x="1450" y="379"/>
                    <a:pt x="378" y="1482"/>
                    <a:pt x="0" y="2836"/>
                  </a:cubicBezTo>
                  <a:cubicBezTo>
                    <a:pt x="85" y="2843"/>
                    <a:pt x="170" y="2847"/>
                    <a:pt x="255" y="2847"/>
                  </a:cubicBezTo>
                  <a:cubicBezTo>
                    <a:pt x="548" y="2847"/>
                    <a:pt x="841" y="2801"/>
                    <a:pt x="1135" y="2679"/>
                  </a:cubicBezTo>
                  <a:cubicBezTo>
                    <a:pt x="2111" y="2332"/>
                    <a:pt x="2804" y="1324"/>
                    <a:pt x="2836" y="284"/>
                  </a:cubicBez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6" name="Google Shape;7496;p73"/>
          <p:cNvGrpSpPr/>
          <p:nvPr/>
        </p:nvGrpSpPr>
        <p:grpSpPr>
          <a:xfrm>
            <a:off x="7076112" y="1836178"/>
            <a:ext cx="357226" cy="357367"/>
            <a:chOff x="-55987225" y="3591025"/>
            <a:chExt cx="317450" cy="317575"/>
          </a:xfrm>
        </p:grpSpPr>
        <p:sp>
          <p:nvSpPr>
            <p:cNvPr id="7497" name="Google Shape;7497;p73"/>
            <p:cNvSpPr/>
            <p:nvPr/>
          </p:nvSpPr>
          <p:spPr>
            <a:xfrm>
              <a:off x="-55950200" y="3740025"/>
              <a:ext cx="204800" cy="168575"/>
            </a:xfrm>
            <a:custGeom>
              <a:avLst/>
              <a:gdLst/>
              <a:ahLst/>
              <a:cxnLst/>
              <a:rect l="l" t="t" r="r" b="b"/>
              <a:pathLst>
                <a:path w="8192" h="6743" extrusionOk="0">
                  <a:moveTo>
                    <a:pt x="2647" y="756"/>
                  </a:moveTo>
                  <a:cubicBezTo>
                    <a:pt x="2836" y="756"/>
                    <a:pt x="2994" y="914"/>
                    <a:pt x="2994" y="1103"/>
                  </a:cubicBezTo>
                  <a:cubicBezTo>
                    <a:pt x="2994" y="1323"/>
                    <a:pt x="2836" y="1449"/>
                    <a:pt x="2647" y="1449"/>
                  </a:cubicBezTo>
                  <a:cubicBezTo>
                    <a:pt x="2458" y="1449"/>
                    <a:pt x="2301" y="1323"/>
                    <a:pt x="2301" y="1103"/>
                  </a:cubicBezTo>
                  <a:cubicBezTo>
                    <a:pt x="2238" y="914"/>
                    <a:pt x="2395" y="756"/>
                    <a:pt x="2647" y="756"/>
                  </a:cubicBezTo>
                  <a:close/>
                  <a:moveTo>
                    <a:pt x="5609" y="756"/>
                  </a:moveTo>
                  <a:cubicBezTo>
                    <a:pt x="5798" y="756"/>
                    <a:pt x="5955" y="914"/>
                    <a:pt x="5955" y="1103"/>
                  </a:cubicBezTo>
                  <a:cubicBezTo>
                    <a:pt x="5955" y="1323"/>
                    <a:pt x="5798" y="1449"/>
                    <a:pt x="5609" y="1449"/>
                  </a:cubicBezTo>
                  <a:cubicBezTo>
                    <a:pt x="5388" y="1449"/>
                    <a:pt x="5262" y="1323"/>
                    <a:pt x="5262" y="1103"/>
                  </a:cubicBezTo>
                  <a:cubicBezTo>
                    <a:pt x="5231" y="914"/>
                    <a:pt x="5388" y="756"/>
                    <a:pt x="5609" y="756"/>
                  </a:cubicBezTo>
                  <a:close/>
                  <a:moveTo>
                    <a:pt x="5160" y="3316"/>
                  </a:moveTo>
                  <a:cubicBezTo>
                    <a:pt x="5254" y="3316"/>
                    <a:pt x="5341" y="3355"/>
                    <a:pt x="5388" y="3434"/>
                  </a:cubicBezTo>
                  <a:cubicBezTo>
                    <a:pt x="5546" y="3592"/>
                    <a:pt x="5546" y="3812"/>
                    <a:pt x="5388" y="3938"/>
                  </a:cubicBezTo>
                  <a:cubicBezTo>
                    <a:pt x="5041" y="4285"/>
                    <a:pt x="4569" y="4505"/>
                    <a:pt x="4065" y="4505"/>
                  </a:cubicBezTo>
                  <a:cubicBezTo>
                    <a:pt x="3561" y="4505"/>
                    <a:pt x="3088" y="4285"/>
                    <a:pt x="2773" y="3938"/>
                  </a:cubicBezTo>
                  <a:cubicBezTo>
                    <a:pt x="2616" y="3781"/>
                    <a:pt x="2616" y="3560"/>
                    <a:pt x="2773" y="3434"/>
                  </a:cubicBezTo>
                  <a:cubicBezTo>
                    <a:pt x="2868" y="3355"/>
                    <a:pt x="2970" y="3316"/>
                    <a:pt x="3065" y="3316"/>
                  </a:cubicBezTo>
                  <a:cubicBezTo>
                    <a:pt x="3159" y="3316"/>
                    <a:pt x="3246" y="3355"/>
                    <a:pt x="3309" y="3434"/>
                  </a:cubicBezTo>
                  <a:cubicBezTo>
                    <a:pt x="3529" y="3655"/>
                    <a:pt x="3813" y="3765"/>
                    <a:pt x="4096" y="3765"/>
                  </a:cubicBezTo>
                  <a:cubicBezTo>
                    <a:pt x="4380" y="3765"/>
                    <a:pt x="4663" y="3655"/>
                    <a:pt x="4884" y="3434"/>
                  </a:cubicBezTo>
                  <a:cubicBezTo>
                    <a:pt x="4963" y="3355"/>
                    <a:pt x="5065" y="3316"/>
                    <a:pt x="5160" y="3316"/>
                  </a:cubicBezTo>
                  <a:close/>
                  <a:moveTo>
                    <a:pt x="1" y="0"/>
                  </a:moveTo>
                  <a:lnTo>
                    <a:pt x="1" y="2615"/>
                  </a:lnTo>
                  <a:cubicBezTo>
                    <a:pt x="1" y="4852"/>
                    <a:pt x="1859" y="6742"/>
                    <a:pt x="4096" y="6742"/>
                  </a:cubicBezTo>
                  <a:cubicBezTo>
                    <a:pt x="6333" y="6742"/>
                    <a:pt x="8192" y="4883"/>
                    <a:pt x="8192" y="2615"/>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73"/>
            <p:cNvSpPr/>
            <p:nvPr/>
          </p:nvSpPr>
          <p:spPr>
            <a:xfrm>
              <a:off x="-55967525" y="3591025"/>
              <a:ext cx="297750" cy="131700"/>
            </a:xfrm>
            <a:custGeom>
              <a:avLst/>
              <a:gdLst/>
              <a:ahLst/>
              <a:cxnLst/>
              <a:rect l="l" t="t" r="r" b="b"/>
              <a:pathLst>
                <a:path w="11910" h="5268" extrusionOk="0">
                  <a:moveTo>
                    <a:pt x="4810" y="0"/>
                  </a:moveTo>
                  <a:cubicBezTo>
                    <a:pt x="4730" y="0"/>
                    <a:pt x="4650" y="2"/>
                    <a:pt x="4569" y="6"/>
                  </a:cubicBezTo>
                  <a:cubicBezTo>
                    <a:pt x="1954" y="163"/>
                    <a:pt x="1" y="2463"/>
                    <a:pt x="1" y="5047"/>
                  </a:cubicBezTo>
                  <a:cubicBezTo>
                    <a:pt x="1" y="5173"/>
                    <a:pt x="64" y="5267"/>
                    <a:pt x="190" y="5267"/>
                  </a:cubicBezTo>
                  <a:lnTo>
                    <a:pt x="2994" y="5267"/>
                  </a:lnTo>
                  <a:lnTo>
                    <a:pt x="2994" y="4920"/>
                  </a:lnTo>
                  <a:cubicBezTo>
                    <a:pt x="2994" y="4259"/>
                    <a:pt x="3498" y="3818"/>
                    <a:pt x="4096" y="3818"/>
                  </a:cubicBezTo>
                  <a:lnTo>
                    <a:pt x="5577" y="3818"/>
                  </a:lnTo>
                  <a:cubicBezTo>
                    <a:pt x="6207" y="3818"/>
                    <a:pt x="6680" y="4322"/>
                    <a:pt x="6680" y="4920"/>
                  </a:cubicBezTo>
                  <a:lnTo>
                    <a:pt x="6680" y="5267"/>
                  </a:lnTo>
                  <a:lnTo>
                    <a:pt x="11563" y="5267"/>
                  </a:lnTo>
                  <a:cubicBezTo>
                    <a:pt x="11752" y="5267"/>
                    <a:pt x="11909" y="5110"/>
                    <a:pt x="11909" y="4920"/>
                  </a:cubicBezTo>
                  <a:cubicBezTo>
                    <a:pt x="11909" y="4637"/>
                    <a:pt x="11752" y="4479"/>
                    <a:pt x="11563" y="4479"/>
                  </a:cubicBezTo>
                  <a:lnTo>
                    <a:pt x="9673" y="4479"/>
                  </a:lnTo>
                  <a:cubicBezTo>
                    <a:pt x="9489" y="1943"/>
                    <a:pt x="7380" y="0"/>
                    <a:pt x="48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3"/>
            <p:cNvSpPr/>
            <p:nvPr/>
          </p:nvSpPr>
          <p:spPr>
            <a:xfrm>
              <a:off x="-55875375" y="3703000"/>
              <a:ext cx="55950" cy="17350"/>
            </a:xfrm>
            <a:custGeom>
              <a:avLst/>
              <a:gdLst/>
              <a:ahLst/>
              <a:cxnLst/>
              <a:rect l="l" t="t" r="r" b="b"/>
              <a:pathLst>
                <a:path w="2238" h="694" extrusionOk="0">
                  <a:moveTo>
                    <a:pt x="347" y="0"/>
                  </a:moveTo>
                  <a:cubicBezTo>
                    <a:pt x="158" y="0"/>
                    <a:pt x="1" y="158"/>
                    <a:pt x="1" y="347"/>
                  </a:cubicBezTo>
                  <a:lnTo>
                    <a:pt x="1" y="694"/>
                  </a:lnTo>
                  <a:lnTo>
                    <a:pt x="2238" y="694"/>
                  </a:lnTo>
                  <a:lnTo>
                    <a:pt x="2238" y="347"/>
                  </a:lnTo>
                  <a:cubicBezTo>
                    <a:pt x="2238" y="158"/>
                    <a:pt x="208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73"/>
            <p:cNvSpPr/>
            <p:nvPr/>
          </p:nvSpPr>
          <p:spPr>
            <a:xfrm>
              <a:off x="-55987225" y="3746325"/>
              <a:ext cx="18150" cy="63825"/>
            </a:xfrm>
            <a:custGeom>
              <a:avLst/>
              <a:gdLst/>
              <a:ahLst/>
              <a:cxnLst/>
              <a:rect l="l" t="t" r="r" b="b"/>
              <a:pathLst>
                <a:path w="726" h="2553" extrusionOk="0">
                  <a:moveTo>
                    <a:pt x="726" y="0"/>
                  </a:moveTo>
                  <a:cubicBezTo>
                    <a:pt x="253" y="221"/>
                    <a:pt x="1" y="693"/>
                    <a:pt x="1" y="1260"/>
                  </a:cubicBezTo>
                  <a:cubicBezTo>
                    <a:pt x="1" y="1796"/>
                    <a:pt x="316" y="2269"/>
                    <a:pt x="726" y="2552"/>
                  </a:cubicBezTo>
                  <a:lnTo>
                    <a:pt x="7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73"/>
            <p:cNvSpPr/>
            <p:nvPr/>
          </p:nvSpPr>
          <p:spPr>
            <a:xfrm>
              <a:off x="-55725725"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2" name="Google Shape;7502;p73"/>
          <p:cNvGrpSpPr/>
          <p:nvPr/>
        </p:nvGrpSpPr>
        <p:grpSpPr>
          <a:xfrm>
            <a:off x="7090027" y="2276817"/>
            <a:ext cx="358999" cy="358999"/>
            <a:chOff x="-55988800" y="3982600"/>
            <a:chExt cx="319025" cy="319025"/>
          </a:xfrm>
        </p:grpSpPr>
        <p:sp>
          <p:nvSpPr>
            <p:cNvPr id="7503" name="Google Shape;7503;p73"/>
            <p:cNvSpPr/>
            <p:nvPr/>
          </p:nvSpPr>
          <p:spPr>
            <a:xfrm>
              <a:off x="-55791875" y="3982600"/>
              <a:ext cx="102400" cy="102425"/>
            </a:xfrm>
            <a:custGeom>
              <a:avLst/>
              <a:gdLst/>
              <a:ahLst/>
              <a:cxnLst/>
              <a:rect l="l" t="t" r="r" b="b"/>
              <a:pathLst>
                <a:path w="4096" h="4097" extrusionOk="0">
                  <a:moveTo>
                    <a:pt x="1859" y="1"/>
                  </a:moveTo>
                  <a:cubicBezTo>
                    <a:pt x="1071" y="1"/>
                    <a:pt x="410" y="379"/>
                    <a:pt x="0" y="977"/>
                  </a:cubicBezTo>
                  <a:cubicBezTo>
                    <a:pt x="1512" y="1450"/>
                    <a:pt x="2647" y="2647"/>
                    <a:pt x="3119" y="4096"/>
                  </a:cubicBezTo>
                  <a:cubicBezTo>
                    <a:pt x="3718" y="3687"/>
                    <a:pt x="4096" y="3025"/>
                    <a:pt x="4096" y="2237"/>
                  </a:cubicBezTo>
                  <a:cubicBezTo>
                    <a:pt x="4096" y="1009"/>
                    <a:pt x="3119"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73"/>
            <p:cNvSpPr/>
            <p:nvPr/>
          </p:nvSpPr>
          <p:spPr>
            <a:xfrm>
              <a:off x="-55969100" y="3982600"/>
              <a:ext cx="102400" cy="102425"/>
            </a:xfrm>
            <a:custGeom>
              <a:avLst/>
              <a:gdLst/>
              <a:ahLst/>
              <a:cxnLst/>
              <a:rect l="l" t="t" r="r" b="b"/>
              <a:pathLst>
                <a:path w="4096" h="4097" extrusionOk="0">
                  <a:moveTo>
                    <a:pt x="2269" y="1"/>
                  </a:moveTo>
                  <a:cubicBezTo>
                    <a:pt x="1040" y="1"/>
                    <a:pt x="1" y="977"/>
                    <a:pt x="1" y="2237"/>
                  </a:cubicBezTo>
                  <a:cubicBezTo>
                    <a:pt x="1" y="2994"/>
                    <a:pt x="410" y="3687"/>
                    <a:pt x="1009" y="4096"/>
                  </a:cubicBezTo>
                  <a:cubicBezTo>
                    <a:pt x="1481" y="2647"/>
                    <a:pt x="2647" y="1450"/>
                    <a:pt x="4096" y="977"/>
                  </a:cubicBezTo>
                  <a:cubicBezTo>
                    <a:pt x="3718" y="379"/>
                    <a:pt x="3057" y="1"/>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3"/>
            <p:cNvSpPr/>
            <p:nvPr/>
          </p:nvSpPr>
          <p:spPr>
            <a:xfrm>
              <a:off x="-55819450" y="4021200"/>
              <a:ext cx="92950" cy="92175"/>
            </a:xfrm>
            <a:custGeom>
              <a:avLst/>
              <a:gdLst/>
              <a:ahLst/>
              <a:cxnLst/>
              <a:rect l="l" t="t" r="r" b="b"/>
              <a:pathLst>
                <a:path w="3718" h="3687" extrusionOk="0">
                  <a:moveTo>
                    <a:pt x="32" y="0"/>
                  </a:moveTo>
                  <a:lnTo>
                    <a:pt x="32" y="1103"/>
                  </a:lnTo>
                  <a:cubicBezTo>
                    <a:pt x="1" y="2521"/>
                    <a:pt x="1198" y="3686"/>
                    <a:pt x="2615" y="3686"/>
                  </a:cubicBezTo>
                  <a:lnTo>
                    <a:pt x="3718" y="3686"/>
                  </a:lnTo>
                  <a:cubicBezTo>
                    <a:pt x="3529" y="1733"/>
                    <a:pt x="1985" y="158"/>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73"/>
            <p:cNvSpPr/>
            <p:nvPr/>
          </p:nvSpPr>
          <p:spPr>
            <a:xfrm>
              <a:off x="-55930500" y="4021200"/>
              <a:ext cx="92950" cy="92175"/>
            </a:xfrm>
            <a:custGeom>
              <a:avLst/>
              <a:gdLst/>
              <a:ahLst/>
              <a:cxnLst/>
              <a:rect l="l" t="t" r="r" b="b"/>
              <a:pathLst>
                <a:path w="3718" h="3687" extrusionOk="0">
                  <a:moveTo>
                    <a:pt x="3718" y="0"/>
                  </a:moveTo>
                  <a:cubicBezTo>
                    <a:pt x="1733" y="158"/>
                    <a:pt x="158" y="1733"/>
                    <a:pt x="0" y="3686"/>
                  </a:cubicBezTo>
                  <a:lnTo>
                    <a:pt x="1103" y="3686"/>
                  </a:lnTo>
                  <a:cubicBezTo>
                    <a:pt x="2552" y="3686"/>
                    <a:pt x="3718" y="2521"/>
                    <a:pt x="3718" y="1103"/>
                  </a:cubicBezTo>
                  <a:lnTo>
                    <a:pt x="37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73"/>
            <p:cNvSpPr/>
            <p:nvPr/>
          </p:nvSpPr>
          <p:spPr>
            <a:xfrm>
              <a:off x="-55988800" y="4086575"/>
              <a:ext cx="319025" cy="215050"/>
            </a:xfrm>
            <a:custGeom>
              <a:avLst/>
              <a:gdLst/>
              <a:ahLst/>
              <a:cxnLst/>
              <a:rect l="l" t="t" r="r" b="b"/>
              <a:pathLst>
                <a:path w="12761" h="8602" extrusionOk="0">
                  <a:moveTo>
                    <a:pt x="4884" y="2584"/>
                  </a:moveTo>
                  <a:cubicBezTo>
                    <a:pt x="5105" y="2584"/>
                    <a:pt x="5262" y="2741"/>
                    <a:pt x="5262" y="2930"/>
                  </a:cubicBezTo>
                  <a:cubicBezTo>
                    <a:pt x="5262" y="3119"/>
                    <a:pt x="5105" y="3277"/>
                    <a:pt x="4884" y="3277"/>
                  </a:cubicBezTo>
                  <a:cubicBezTo>
                    <a:pt x="4695" y="3277"/>
                    <a:pt x="4538" y="3151"/>
                    <a:pt x="4538" y="2930"/>
                  </a:cubicBezTo>
                  <a:cubicBezTo>
                    <a:pt x="4538" y="2741"/>
                    <a:pt x="4695" y="2584"/>
                    <a:pt x="4884" y="2584"/>
                  </a:cubicBezTo>
                  <a:close/>
                  <a:moveTo>
                    <a:pt x="7877" y="2615"/>
                  </a:moveTo>
                  <a:cubicBezTo>
                    <a:pt x="8098" y="2615"/>
                    <a:pt x="8255" y="2773"/>
                    <a:pt x="8255" y="2962"/>
                  </a:cubicBezTo>
                  <a:cubicBezTo>
                    <a:pt x="8287" y="3151"/>
                    <a:pt x="8129" y="3308"/>
                    <a:pt x="7877" y="3308"/>
                  </a:cubicBezTo>
                  <a:cubicBezTo>
                    <a:pt x="7688" y="3308"/>
                    <a:pt x="7531" y="3151"/>
                    <a:pt x="7531" y="2962"/>
                  </a:cubicBezTo>
                  <a:cubicBezTo>
                    <a:pt x="7531" y="2773"/>
                    <a:pt x="7688" y="2615"/>
                    <a:pt x="7877" y="2615"/>
                  </a:cubicBezTo>
                  <a:close/>
                  <a:moveTo>
                    <a:pt x="1104" y="4222"/>
                  </a:moveTo>
                  <a:cubicBezTo>
                    <a:pt x="1387" y="4568"/>
                    <a:pt x="1828" y="4820"/>
                    <a:pt x="2332" y="4820"/>
                  </a:cubicBezTo>
                  <a:cubicBezTo>
                    <a:pt x="2301" y="5199"/>
                    <a:pt x="1954" y="5577"/>
                    <a:pt x="1545" y="5577"/>
                  </a:cubicBezTo>
                  <a:cubicBezTo>
                    <a:pt x="1167" y="5577"/>
                    <a:pt x="789" y="5199"/>
                    <a:pt x="789" y="4820"/>
                  </a:cubicBezTo>
                  <a:cubicBezTo>
                    <a:pt x="789" y="4568"/>
                    <a:pt x="915" y="4348"/>
                    <a:pt x="1104" y="4222"/>
                  </a:cubicBezTo>
                  <a:close/>
                  <a:moveTo>
                    <a:pt x="11721" y="4222"/>
                  </a:moveTo>
                  <a:cubicBezTo>
                    <a:pt x="11910" y="4348"/>
                    <a:pt x="12036" y="4568"/>
                    <a:pt x="12036" y="4820"/>
                  </a:cubicBezTo>
                  <a:cubicBezTo>
                    <a:pt x="12036" y="5199"/>
                    <a:pt x="11721" y="5577"/>
                    <a:pt x="11280" y="5577"/>
                  </a:cubicBezTo>
                  <a:cubicBezTo>
                    <a:pt x="10870" y="5577"/>
                    <a:pt x="10492" y="5199"/>
                    <a:pt x="10492" y="4820"/>
                  </a:cubicBezTo>
                  <a:cubicBezTo>
                    <a:pt x="10965" y="4820"/>
                    <a:pt x="11437" y="4568"/>
                    <a:pt x="11721" y="4222"/>
                  </a:cubicBezTo>
                  <a:close/>
                  <a:moveTo>
                    <a:pt x="7460" y="5143"/>
                  </a:moveTo>
                  <a:cubicBezTo>
                    <a:pt x="7554" y="5143"/>
                    <a:pt x="7641" y="5183"/>
                    <a:pt x="7688" y="5262"/>
                  </a:cubicBezTo>
                  <a:cubicBezTo>
                    <a:pt x="7877" y="5356"/>
                    <a:pt x="7877" y="5608"/>
                    <a:pt x="7720" y="5766"/>
                  </a:cubicBezTo>
                  <a:cubicBezTo>
                    <a:pt x="7373" y="6112"/>
                    <a:pt x="6901" y="6301"/>
                    <a:pt x="6396" y="6301"/>
                  </a:cubicBezTo>
                  <a:cubicBezTo>
                    <a:pt x="5892" y="6301"/>
                    <a:pt x="5420" y="6112"/>
                    <a:pt x="5105" y="5766"/>
                  </a:cubicBezTo>
                  <a:cubicBezTo>
                    <a:pt x="4947" y="5608"/>
                    <a:pt x="4947" y="5356"/>
                    <a:pt x="5105" y="5262"/>
                  </a:cubicBezTo>
                  <a:cubicBezTo>
                    <a:pt x="5184" y="5183"/>
                    <a:pt x="5278" y="5143"/>
                    <a:pt x="5369" y="5143"/>
                  </a:cubicBezTo>
                  <a:cubicBezTo>
                    <a:pt x="5459" y="5143"/>
                    <a:pt x="5546" y="5183"/>
                    <a:pt x="5609" y="5262"/>
                  </a:cubicBezTo>
                  <a:cubicBezTo>
                    <a:pt x="5829" y="5466"/>
                    <a:pt x="6113" y="5569"/>
                    <a:pt x="6396" y="5569"/>
                  </a:cubicBezTo>
                  <a:cubicBezTo>
                    <a:pt x="6680" y="5569"/>
                    <a:pt x="6964" y="5466"/>
                    <a:pt x="7184" y="5262"/>
                  </a:cubicBezTo>
                  <a:cubicBezTo>
                    <a:pt x="7263" y="5183"/>
                    <a:pt x="7365" y="5143"/>
                    <a:pt x="7460" y="5143"/>
                  </a:cubicBezTo>
                  <a:close/>
                  <a:moveTo>
                    <a:pt x="6396" y="0"/>
                  </a:moveTo>
                  <a:cubicBezTo>
                    <a:pt x="5829" y="1071"/>
                    <a:pt x="4695" y="1828"/>
                    <a:pt x="3403" y="1828"/>
                  </a:cubicBezTo>
                  <a:lnTo>
                    <a:pt x="2301" y="1828"/>
                  </a:lnTo>
                  <a:cubicBezTo>
                    <a:pt x="1482" y="1828"/>
                    <a:pt x="757" y="2489"/>
                    <a:pt x="757" y="3308"/>
                  </a:cubicBezTo>
                  <a:lnTo>
                    <a:pt x="757" y="3529"/>
                  </a:lnTo>
                  <a:cubicBezTo>
                    <a:pt x="284" y="3781"/>
                    <a:pt x="1" y="4253"/>
                    <a:pt x="1" y="4820"/>
                  </a:cubicBezTo>
                  <a:cubicBezTo>
                    <a:pt x="1" y="5640"/>
                    <a:pt x="694" y="6301"/>
                    <a:pt x="1513" y="6301"/>
                  </a:cubicBezTo>
                  <a:cubicBezTo>
                    <a:pt x="1891" y="6301"/>
                    <a:pt x="2301" y="6144"/>
                    <a:pt x="2521" y="5923"/>
                  </a:cubicBezTo>
                  <a:cubicBezTo>
                    <a:pt x="3120" y="7467"/>
                    <a:pt x="4632" y="8601"/>
                    <a:pt x="6365" y="8601"/>
                  </a:cubicBezTo>
                  <a:cubicBezTo>
                    <a:pt x="8098" y="8601"/>
                    <a:pt x="9578" y="7467"/>
                    <a:pt x="10177" y="5923"/>
                  </a:cubicBezTo>
                  <a:cubicBezTo>
                    <a:pt x="10461" y="6144"/>
                    <a:pt x="10807" y="6301"/>
                    <a:pt x="11185" y="6301"/>
                  </a:cubicBezTo>
                  <a:cubicBezTo>
                    <a:pt x="12036" y="6301"/>
                    <a:pt x="12697" y="5640"/>
                    <a:pt x="12697" y="4820"/>
                  </a:cubicBezTo>
                  <a:cubicBezTo>
                    <a:pt x="12760" y="4253"/>
                    <a:pt x="12445" y="3749"/>
                    <a:pt x="12036" y="3529"/>
                  </a:cubicBezTo>
                  <a:lnTo>
                    <a:pt x="12036" y="3308"/>
                  </a:lnTo>
                  <a:cubicBezTo>
                    <a:pt x="12036" y="2489"/>
                    <a:pt x="11311" y="1828"/>
                    <a:pt x="10492" y="1828"/>
                  </a:cubicBezTo>
                  <a:lnTo>
                    <a:pt x="9389" y="1828"/>
                  </a:lnTo>
                  <a:cubicBezTo>
                    <a:pt x="8098" y="1828"/>
                    <a:pt x="6932" y="1071"/>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8" name="Google Shape;7508;p73"/>
          <p:cNvGrpSpPr/>
          <p:nvPr/>
        </p:nvGrpSpPr>
        <p:grpSpPr>
          <a:xfrm>
            <a:off x="5748546" y="2734774"/>
            <a:ext cx="356326" cy="358971"/>
            <a:chOff x="-54026025" y="3192625"/>
            <a:chExt cx="316650" cy="319000"/>
          </a:xfrm>
        </p:grpSpPr>
        <p:sp>
          <p:nvSpPr>
            <p:cNvPr id="7509" name="Google Shape;7509;p73"/>
            <p:cNvSpPr/>
            <p:nvPr/>
          </p:nvSpPr>
          <p:spPr>
            <a:xfrm>
              <a:off x="-54026025" y="3312350"/>
              <a:ext cx="18125" cy="63800"/>
            </a:xfrm>
            <a:custGeom>
              <a:avLst/>
              <a:gdLst/>
              <a:ahLst/>
              <a:cxnLst/>
              <a:rect l="l" t="t" r="r" b="b"/>
              <a:pathLst>
                <a:path w="725" h="2552" extrusionOk="0">
                  <a:moveTo>
                    <a:pt x="725" y="0"/>
                  </a:moveTo>
                  <a:cubicBezTo>
                    <a:pt x="315" y="189"/>
                    <a:pt x="0" y="693"/>
                    <a:pt x="0" y="1260"/>
                  </a:cubicBezTo>
                  <a:cubicBezTo>
                    <a:pt x="0" y="1796"/>
                    <a:pt x="315" y="2268"/>
                    <a:pt x="725" y="2552"/>
                  </a:cubicBezTo>
                  <a:lnTo>
                    <a:pt x="725" y="15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73"/>
            <p:cNvSpPr/>
            <p:nvPr/>
          </p:nvSpPr>
          <p:spPr>
            <a:xfrm>
              <a:off x="-53890550" y="3192625"/>
              <a:ext cx="125250" cy="56725"/>
            </a:xfrm>
            <a:custGeom>
              <a:avLst/>
              <a:gdLst/>
              <a:ahLst/>
              <a:cxnLst/>
              <a:rect l="l" t="t" r="r" b="b"/>
              <a:pathLst>
                <a:path w="5010" h="2269" extrusionOk="0">
                  <a:moveTo>
                    <a:pt x="914" y="0"/>
                  </a:moveTo>
                  <a:cubicBezTo>
                    <a:pt x="599" y="0"/>
                    <a:pt x="315" y="63"/>
                    <a:pt x="0" y="95"/>
                  </a:cubicBezTo>
                  <a:cubicBezTo>
                    <a:pt x="158" y="536"/>
                    <a:pt x="441" y="914"/>
                    <a:pt x="756" y="1260"/>
                  </a:cubicBezTo>
                  <a:cubicBezTo>
                    <a:pt x="1418" y="1891"/>
                    <a:pt x="2237" y="2269"/>
                    <a:pt x="3151" y="2269"/>
                  </a:cubicBezTo>
                  <a:lnTo>
                    <a:pt x="5009" y="2269"/>
                  </a:lnTo>
                  <a:cubicBezTo>
                    <a:pt x="4127" y="914"/>
                    <a:pt x="2647" y="0"/>
                    <a:pt x="9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3"/>
            <p:cNvSpPr/>
            <p:nvPr/>
          </p:nvSpPr>
          <p:spPr>
            <a:xfrm>
              <a:off x="-53839375" y="3306025"/>
              <a:ext cx="55175" cy="55175"/>
            </a:xfrm>
            <a:custGeom>
              <a:avLst/>
              <a:gdLst/>
              <a:ahLst/>
              <a:cxnLst/>
              <a:rect l="l" t="t" r="r" b="b"/>
              <a:pathLst>
                <a:path w="2207" h="2207" extrusionOk="0">
                  <a:moveTo>
                    <a:pt x="1104" y="1"/>
                  </a:moveTo>
                  <a:cubicBezTo>
                    <a:pt x="505" y="1"/>
                    <a:pt x="1" y="505"/>
                    <a:pt x="1" y="1104"/>
                  </a:cubicBezTo>
                  <a:cubicBezTo>
                    <a:pt x="1" y="1702"/>
                    <a:pt x="505" y="2206"/>
                    <a:pt x="1104" y="2206"/>
                  </a:cubicBezTo>
                  <a:cubicBezTo>
                    <a:pt x="1734" y="2206"/>
                    <a:pt x="2206" y="1702"/>
                    <a:pt x="2206" y="1104"/>
                  </a:cubicBezTo>
                  <a:cubicBezTo>
                    <a:pt x="2206" y="505"/>
                    <a:pt x="1734"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73"/>
            <p:cNvSpPr/>
            <p:nvPr/>
          </p:nvSpPr>
          <p:spPr>
            <a:xfrm>
              <a:off x="-53950425" y="3306025"/>
              <a:ext cx="55150" cy="55175"/>
            </a:xfrm>
            <a:custGeom>
              <a:avLst/>
              <a:gdLst/>
              <a:ahLst/>
              <a:cxnLst/>
              <a:rect l="l" t="t" r="r" b="b"/>
              <a:pathLst>
                <a:path w="2206" h="2207" extrusionOk="0">
                  <a:moveTo>
                    <a:pt x="1103" y="1"/>
                  </a:moveTo>
                  <a:cubicBezTo>
                    <a:pt x="505" y="1"/>
                    <a:pt x="1" y="505"/>
                    <a:pt x="1" y="1104"/>
                  </a:cubicBezTo>
                  <a:cubicBezTo>
                    <a:pt x="1" y="1702"/>
                    <a:pt x="505" y="2206"/>
                    <a:pt x="1103" y="2206"/>
                  </a:cubicBezTo>
                  <a:cubicBezTo>
                    <a:pt x="1702" y="2206"/>
                    <a:pt x="2206" y="1702"/>
                    <a:pt x="2206" y="1104"/>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73"/>
            <p:cNvSpPr/>
            <p:nvPr/>
          </p:nvSpPr>
          <p:spPr>
            <a:xfrm>
              <a:off x="-53985075" y="3400950"/>
              <a:ext cx="236300" cy="110675"/>
            </a:xfrm>
            <a:custGeom>
              <a:avLst/>
              <a:gdLst/>
              <a:ahLst/>
              <a:cxnLst/>
              <a:rect l="l" t="t" r="r" b="b"/>
              <a:pathLst>
                <a:path w="9452" h="4427" extrusionOk="0">
                  <a:moveTo>
                    <a:pt x="5790" y="969"/>
                  </a:moveTo>
                  <a:cubicBezTo>
                    <a:pt x="5884" y="969"/>
                    <a:pt x="5971" y="1008"/>
                    <a:pt x="6018" y="1087"/>
                  </a:cubicBezTo>
                  <a:cubicBezTo>
                    <a:pt x="6176" y="1245"/>
                    <a:pt x="6176" y="1497"/>
                    <a:pt x="6018" y="1591"/>
                  </a:cubicBezTo>
                  <a:cubicBezTo>
                    <a:pt x="5671" y="1969"/>
                    <a:pt x="5199" y="2158"/>
                    <a:pt x="4726" y="2158"/>
                  </a:cubicBezTo>
                  <a:cubicBezTo>
                    <a:pt x="4254" y="2158"/>
                    <a:pt x="3750" y="1969"/>
                    <a:pt x="3435" y="1591"/>
                  </a:cubicBezTo>
                  <a:cubicBezTo>
                    <a:pt x="3277" y="1434"/>
                    <a:pt x="3277" y="1213"/>
                    <a:pt x="3435" y="1087"/>
                  </a:cubicBezTo>
                  <a:cubicBezTo>
                    <a:pt x="3513" y="1008"/>
                    <a:pt x="3608" y="969"/>
                    <a:pt x="3698" y="969"/>
                  </a:cubicBezTo>
                  <a:cubicBezTo>
                    <a:pt x="3789" y="969"/>
                    <a:pt x="3876" y="1008"/>
                    <a:pt x="3939" y="1087"/>
                  </a:cubicBezTo>
                  <a:cubicBezTo>
                    <a:pt x="4159" y="1308"/>
                    <a:pt x="4443" y="1418"/>
                    <a:pt x="4726" y="1418"/>
                  </a:cubicBezTo>
                  <a:cubicBezTo>
                    <a:pt x="5010" y="1418"/>
                    <a:pt x="5293" y="1308"/>
                    <a:pt x="5514" y="1087"/>
                  </a:cubicBezTo>
                  <a:cubicBezTo>
                    <a:pt x="5593" y="1008"/>
                    <a:pt x="5695" y="969"/>
                    <a:pt x="5790" y="969"/>
                  </a:cubicBezTo>
                  <a:close/>
                  <a:moveTo>
                    <a:pt x="4711" y="0"/>
                  </a:moveTo>
                  <a:cubicBezTo>
                    <a:pt x="4002" y="0"/>
                    <a:pt x="3293" y="205"/>
                    <a:pt x="2678" y="615"/>
                  </a:cubicBezTo>
                  <a:cubicBezTo>
                    <a:pt x="2615" y="646"/>
                    <a:pt x="2552" y="709"/>
                    <a:pt x="2489" y="709"/>
                  </a:cubicBezTo>
                  <a:lnTo>
                    <a:pt x="1" y="709"/>
                  </a:lnTo>
                  <a:cubicBezTo>
                    <a:pt x="505" y="2820"/>
                    <a:pt x="2458" y="4427"/>
                    <a:pt x="4726" y="4427"/>
                  </a:cubicBezTo>
                  <a:cubicBezTo>
                    <a:pt x="7026" y="4427"/>
                    <a:pt x="8948" y="2820"/>
                    <a:pt x="9452" y="709"/>
                  </a:cubicBezTo>
                  <a:lnTo>
                    <a:pt x="6963" y="709"/>
                  </a:lnTo>
                  <a:cubicBezTo>
                    <a:pt x="6869" y="646"/>
                    <a:pt x="6774" y="646"/>
                    <a:pt x="6743" y="615"/>
                  </a:cubicBezTo>
                  <a:cubicBezTo>
                    <a:pt x="6128" y="205"/>
                    <a:pt x="5419" y="0"/>
                    <a:pt x="4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3"/>
            <p:cNvSpPr/>
            <p:nvPr/>
          </p:nvSpPr>
          <p:spPr>
            <a:xfrm>
              <a:off x="-53986650" y="3342275"/>
              <a:ext cx="241025" cy="55150"/>
            </a:xfrm>
            <a:custGeom>
              <a:avLst/>
              <a:gdLst/>
              <a:ahLst/>
              <a:cxnLst/>
              <a:rect l="l" t="t" r="r" b="b"/>
              <a:pathLst>
                <a:path w="9641" h="2206" extrusionOk="0">
                  <a:moveTo>
                    <a:pt x="1" y="0"/>
                  </a:moveTo>
                  <a:lnTo>
                    <a:pt x="1" y="1859"/>
                  </a:lnTo>
                  <a:lnTo>
                    <a:pt x="1" y="2206"/>
                  </a:lnTo>
                  <a:lnTo>
                    <a:pt x="2458" y="2206"/>
                  </a:lnTo>
                  <a:cubicBezTo>
                    <a:pt x="3198" y="1749"/>
                    <a:pt x="4017" y="1520"/>
                    <a:pt x="4829" y="1520"/>
                  </a:cubicBezTo>
                  <a:cubicBezTo>
                    <a:pt x="5640" y="1520"/>
                    <a:pt x="6443" y="1749"/>
                    <a:pt x="7152" y="2206"/>
                  </a:cubicBezTo>
                  <a:lnTo>
                    <a:pt x="9641" y="2206"/>
                  </a:lnTo>
                  <a:lnTo>
                    <a:pt x="9641" y="1859"/>
                  </a:lnTo>
                  <a:lnTo>
                    <a:pt x="9641" y="0"/>
                  </a:lnTo>
                  <a:lnTo>
                    <a:pt x="8853" y="0"/>
                  </a:lnTo>
                  <a:cubicBezTo>
                    <a:pt x="8696" y="882"/>
                    <a:pt x="7940" y="1512"/>
                    <a:pt x="7026" y="1512"/>
                  </a:cubicBezTo>
                  <a:cubicBezTo>
                    <a:pt x="6144" y="1512"/>
                    <a:pt x="5388" y="882"/>
                    <a:pt x="5230" y="0"/>
                  </a:cubicBezTo>
                  <a:lnTo>
                    <a:pt x="4411" y="0"/>
                  </a:lnTo>
                  <a:cubicBezTo>
                    <a:pt x="4254" y="882"/>
                    <a:pt x="3466" y="1512"/>
                    <a:pt x="2584" y="1512"/>
                  </a:cubicBezTo>
                  <a:cubicBezTo>
                    <a:pt x="1670" y="1512"/>
                    <a:pt x="946" y="882"/>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73"/>
            <p:cNvSpPr/>
            <p:nvPr/>
          </p:nvSpPr>
          <p:spPr>
            <a:xfrm>
              <a:off x="-53989000" y="3199700"/>
              <a:ext cx="241800" cy="123700"/>
            </a:xfrm>
            <a:custGeom>
              <a:avLst/>
              <a:gdLst/>
              <a:ahLst/>
              <a:cxnLst/>
              <a:rect l="l" t="t" r="r" b="b"/>
              <a:pathLst>
                <a:path w="9672" h="4948" extrusionOk="0">
                  <a:moveTo>
                    <a:pt x="3245" y="1"/>
                  </a:moveTo>
                  <a:cubicBezTo>
                    <a:pt x="1355" y="662"/>
                    <a:pt x="0" y="2490"/>
                    <a:pt x="0" y="4601"/>
                  </a:cubicBezTo>
                  <a:lnTo>
                    <a:pt x="0" y="4947"/>
                  </a:lnTo>
                  <a:lnTo>
                    <a:pt x="788" y="4947"/>
                  </a:lnTo>
                  <a:cubicBezTo>
                    <a:pt x="945" y="4096"/>
                    <a:pt x="1701" y="3466"/>
                    <a:pt x="2615" y="3466"/>
                  </a:cubicBezTo>
                  <a:cubicBezTo>
                    <a:pt x="3529" y="3466"/>
                    <a:pt x="4253" y="4096"/>
                    <a:pt x="4411" y="4947"/>
                  </a:cubicBezTo>
                  <a:lnTo>
                    <a:pt x="5261" y="4947"/>
                  </a:lnTo>
                  <a:cubicBezTo>
                    <a:pt x="5419" y="4096"/>
                    <a:pt x="6207" y="3466"/>
                    <a:pt x="7057" y="3466"/>
                  </a:cubicBezTo>
                  <a:cubicBezTo>
                    <a:pt x="7971" y="3466"/>
                    <a:pt x="8727" y="4096"/>
                    <a:pt x="8884" y="4947"/>
                  </a:cubicBezTo>
                  <a:lnTo>
                    <a:pt x="9672" y="4947"/>
                  </a:lnTo>
                  <a:lnTo>
                    <a:pt x="9672" y="4601"/>
                  </a:lnTo>
                  <a:cubicBezTo>
                    <a:pt x="9672" y="3939"/>
                    <a:pt x="9546" y="3309"/>
                    <a:pt x="9262" y="2710"/>
                  </a:cubicBezTo>
                  <a:lnTo>
                    <a:pt x="7089" y="2710"/>
                  </a:lnTo>
                  <a:cubicBezTo>
                    <a:pt x="5986" y="2710"/>
                    <a:pt x="4978" y="2301"/>
                    <a:pt x="4190" y="1513"/>
                  </a:cubicBezTo>
                  <a:cubicBezTo>
                    <a:pt x="3749" y="1072"/>
                    <a:pt x="3434" y="568"/>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73"/>
            <p:cNvSpPr/>
            <p:nvPr/>
          </p:nvSpPr>
          <p:spPr>
            <a:xfrm>
              <a:off x="-53728300" y="3310775"/>
              <a:ext cx="18925" cy="64600"/>
            </a:xfrm>
            <a:custGeom>
              <a:avLst/>
              <a:gdLst/>
              <a:ahLst/>
              <a:cxnLst/>
              <a:rect l="l" t="t" r="r" b="b"/>
              <a:pathLst>
                <a:path w="757" h="2584" extrusionOk="0">
                  <a:moveTo>
                    <a:pt x="0" y="0"/>
                  </a:moveTo>
                  <a:lnTo>
                    <a:pt x="0" y="158"/>
                  </a:lnTo>
                  <a:lnTo>
                    <a:pt x="0" y="2583"/>
                  </a:lnTo>
                  <a:cubicBezTo>
                    <a:pt x="441" y="2300"/>
                    <a:pt x="756" y="1827"/>
                    <a:pt x="756" y="1260"/>
                  </a:cubicBezTo>
                  <a:cubicBezTo>
                    <a:pt x="756" y="756"/>
                    <a:pt x="473"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7" name="Google Shape;7517;p73"/>
          <p:cNvGrpSpPr/>
          <p:nvPr/>
        </p:nvGrpSpPr>
        <p:grpSpPr>
          <a:xfrm>
            <a:off x="5768492" y="3205748"/>
            <a:ext cx="316434" cy="358099"/>
            <a:chOff x="-54007925" y="3584850"/>
            <a:chExt cx="281200" cy="318225"/>
          </a:xfrm>
        </p:grpSpPr>
        <p:sp>
          <p:nvSpPr>
            <p:cNvPr id="7518" name="Google Shape;7518;p73"/>
            <p:cNvSpPr/>
            <p:nvPr/>
          </p:nvSpPr>
          <p:spPr>
            <a:xfrm>
              <a:off x="-53943325" y="3716375"/>
              <a:ext cx="151250" cy="18950"/>
            </a:xfrm>
            <a:custGeom>
              <a:avLst/>
              <a:gdLst/>
              <a:ahLst/>
              <a:cxnLst/>
              <a:rect l="l" t="t" r="r" b="b"/>
              <a:pathLst>
                <a:path w="6050" h="758" extrusionOk="0">
                  <a:moveTo>
                    <a:pt x="0" y="1"/>
                  </a:moveTo>
                  <a:cubicBezTo>
                    <a:pt x="441" y="474"/>
                    <a:pt x="1040" y="757"/>
                    <a:pt x="1702" y="757"/>
                  </a:cubicBezTo>
                  <a:lnTo>
                    <a:pt x="4348" y="757"/>
                  </a:lnTo>
                  <a:cubicBezTo>
                    <a:pt x="5041" y="757"/>
                    <a:pt x="5608" y="474"/>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73"/>
            <p:cNvSpPr/>
            <p:nvPr/>
          </p:nvSpPr>
          <p:spPr>
            <a:xfrm>
              <a:off x="-53970100" y="3679375"/>
              <a:ext cx="205575" cy="18125"/>
            </a:xfrm>
            <a:custGeom>
              <a:avLst/>
              <a:gdLst/>
              <a:ahLst/>
              <a:cxnLst/>
              <a:rect l="l" t="t" r="r" b="b"/>
              <a:pathLst>
                <a:path w="8223" h="725" extrusionOk="0">
                  <a:moveTo>
                    <a:pt x="0" y="0"/>
                  </a:moveTo>
                  <a:lnTo>
                    <a:pt x="0" y="725"/>
                  </a:lnTo>
                  <a:lnTo>
                    <a:pt x="8223" y="725"/>
                  </a:lnTo>
                  <a:lnTo>
                    <a:pt x="82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3"/>
            <p:cNvSpPr/>
            <p:nvPr/>
          </p:nvSpPr>
          <p:spPr>
            <a:xfrm>
              <a:off x="-53970100" y="3715600"/>
              <a:ext cx="204800" cy="187475"/>
            </a:xfrm>
            <a:custGeom>
              <a:avLst/>
              <a:gdLst/>
              <a:ahLst/>
              <a:cxnLst/>
              <a:rect l="l" t="t" r="r" b="b"/>
              <a:pathLst>
                <a:path w="8192" h="7499" extrusionOk="0">
                  <a:moveTo>
                    <a:pt x="2584" y="2300"/>
                  </a:moveTo>
                  <a:cubicBezTo>
                    <a:pt x="2804" y="2300"/>
                    <a:pt x="2962" y="2426"/>
                    <a:pt x="2962" y="2647"/>
                  </a:cubicBezTo>
                  <a:cubicBezTo>
                    <a:pt x="2962" y="2836"/>
                    <a:pt x="2804" y="2993"/>
                    <a:pt x="2584" y="2993"/>
                  </a:cubicBezTo>
                  <a:cubicBezTo>
                    <a:pt x="2395" y="2993"/>
                    <a:pt x="2237" y="2836"/>
                    <a:pt x="2237" y="2647"/>
                  </a:cubicBezTo>
                  <a:cubicBezTo>
                    <a:pt x="2237" y="2426"/>
                    <a:pt x="2395" y="2300"/>
                    <a:pt x="2584" y="2300"/>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91" y="4072"/>
                  </a:moveTo>
                  <a:cubicBezTo>
                    <a:pt x="5285" y="4072"/>
                    <a:pt x="5372" y="4112"/>
                    <a:pt x="5419" y="4191"/>
                  </a:cubicBezTo>
                  <a:cubicBezTo>
                    <a:pt x="5577" y="4348"/>
                    <a:pt x="5577" y="4569"/>
                    <a:pt x="5419" y="4695"/>
                  </a:cubicBezTo>
                  <a:cubicBezTo>
                    <a:pt x="5072" y="5041"/>
                    <a:pt x="4600" y="5230"/>
                    <a:pt x="4127" y="5230"/>
                  </a:cubicBezTo>
                  <a:cubicBezTo>
                    <a:pt x="3655" y="5230"/>
                    <a:pt x="3151" y="5041"/>
                    <a:pt x="2836" y="4695"/>
                  </a:cubicBezTo>
                  <a:cubicBezTo>
                    <a:pt x="2678" y="4537"/>
                    <a:pt x="2678" y="4285"/>
                    <a:pt x="2836" y="4191"/>
                  </a:cubicBezTo>
                  <a:cubicBezTo>
                    <a:pt x="2914" y="4112"/>
                    <a:pt x="3009" y="4072"/>
                    <a:pt x="3099" y="4072"/>
                  </a:cubicBezTo>
                  <a:cubicBezTo>
                    <a:pt x="3190" y="4072"/>
                    <a:pt x="3277" y="4112"/>
                    <a:pt x="3340" y="4191"/>
                  </a:cubicBezTo>
                  <a:cubicBezTo>
                    <a:pt x="3560" y="4395"/>
                    <a:pt x="3844" y="4498"/>
                    <a:pt x="4127" y="4498"/>
                  </a:cubicBezTo>
                  <a:cubicBezTo>
                    <a:pt x="4411" y="4498"/>
                    <a:pt x="4694" y="4395"/>
                    <a:pt x="4915" y="4191"/>
                  </a:cubicBezTo>
                  <a:cubicBezTo>
                    <a:pt x="4994" y="4112"/>
                    <a:pt x="5096" y="4072"/>
                    <a:pt x="5191" y="4072"/>
                  </a:cubicBezTo>
                  <a:close/>
                  <a:moveTo>
                    <a:pt x="0" y="0"/>
                  </a:moveTo>
                  <a:lnTo>
                    <a:pt x="0" y="3340"/>
                  </a:lnTo>
                  <a:cubicBezTo>
                    <a:pt x="0" y="5577"/>
                    <a:pt x="1859" y="7499"/>
                    <a:pt x="4096" y="7499"/>
                  </a:cubicBezTo>
                  <a:cubicBezTo>
                    <a:pt x="6333" y="7499"/>
                    <a:pt x="8191" y="5640"/>
                    <a:pt x="8191" y="3340"/>
                  </a:cubicBezTo>
                  <a:lnTo>
                    <a:pt x="8191" y="0"/>
                  </a:lnTo>
                  <a:lnTo>
                    <a:pt x="8034" y="0"/>
                  </a:lnTo>
                  <a:cubicBezTo>
                    <a:pt x="7467" y="946"/>
                    <a:pt x="6490" y="1513"/>
                    <a:pt x="5419" y="1513"/>
                  </a:cubicBezTo>
                  <a:lnTo>
                    <a:pt x="2804" y="1513"/>
                  </a:lnTo>
                  <a:cubicBezTo>
                    <a:pt x="1701" y="1513"/>
                    <a:pt x="693" y="946"/>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73"/>
            <p:cNvSpPr/>
            <p:nvPr/>
          </p:nvSpPr>
          <p:spPr>
            <a:xfrm>
              <a:off x="-54007125" y="3584850"/>
              <a:ext cx="278825" cy="74850"/>
            </a:xfrm>
            <a:custGeom>
              <a:avLst/>
              <a:gdLst/>
              <a:ahLst/>
              <a:cxnLst/>
              <a:rect l="l" t="t" r="r" b="b"/>
              <a:pathLst>
                <a:path w="11153" h="2994" extrusionOk="0">
                  <a:moveTo>
                    <a:pt x="5577" y="1"/>
                  </a:moveTo>
                  <a:cubicBezTo>
                    <a:pt x="2867" y="1"/>
                    <a:pt x="0" y="788"/>
                    <a:pt x="0" y="2238"/>
                  </a:cubicBezTo>
                  <a:cubicBezTo>
                    <a:pt x="0" y="2647"/>
                    <a:pt x="315" y="2994"/>
                    <a:pt x="725" y="2994"/>
                  </a:cubicBezTo>
                  <a:lnTo>
                    <a:pt x="10429" y="2994"/>
                  </a:lnTo>
                  <a:cubicBezTo>
                    <a:pt x="10838" y="2994"/>
                    <a:pt x="11153" y="2679"/>
                    <a:pt x="11153" y="2238"/>
                  </a:cubicBezTo>
                  <a:cubicBezTo>
                    <a:pt x="11153" y="788"/>
                    <a:pt x="82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73"/>
            <p:cNvSpPr/>
            <p:nvPr/>
          </p:nvSpPr>
          <p:spPr>
            <a:xfrm>
              <a:off x="-54007925"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3"/>
            <p:cNvSpPr/>
            <p:nvPr/>
          </p:nvSpPr>
          <p:spPr>
            <a:xfrm>
              <a:off x="-53745625" y="3740025"/>
              <a:ext cx="18900" cy="64600"/>
            </a:xfrm>
            <a:custGeom>
              <a:avLst/>
              <a:gdLst/>
              <a:ahLst/>
              <a:cxnLst/>
              <a:rect l="l" t="t" r="r" b="b"/>
              <a:pathLst>
                <a:path w="756" h="2584" extrusionOk="0">
                  <a:moveTo>
                    <a:pt x="0" y="0"/>
                  </a:moveTo>
                  <a:lnTo>
                    <a:pt x="0" y="2584"/>
                  </a:lnTo>
                  <a:cubicBezTo>
                    <a:pt x="441" y="2300"/>
                    <a:pt x="756" y="1827"/>
                    <a:pt x="756" y="1260"/>
                  </a:cubicBezTo>
                  <a:cubicBezTo>
                    <a:pt x="693" y="725"/>
                    <a:pt x="441"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4" name="Google Shape;7524;p73"/>
          <p:cNvGrpSpPr/>
          <p:nvPr/>
        </p:nvGrpSpPr>
        <p:grpSpPr>
          <a:xfrm>
            <a:off x="5768492" y="3667633"/>
            <a:ext cx="316434" cy="358914"/>
            <a:chOff x="-54007925" y="3975575"/>
            <a:chExt cx="281200" cy="318950"/>
          </a:xfrm>
        </p:grpSpPr>
        <p:sp>
          <p:nvSpPr>
            <p:cNvPr id="7525" name="Google Shape;7525;p73"/>
            <p:cNvSpPr/>
            <p:nvPr/>
          </p:nvSpPr>
          <p:spPr>
            <a:xfrm>
              <a:off x="-53988225" y="3975575"/>
              <a:ext cx="244175" cy="142825"/>
            </a:xfrm>
            <a:custGeom>
              <a:avLst/>
              <a:gdLst/>
              <a:ahLst/>
              <a:cxnLst/>
              <a:rect l="l" t="t" r="r" b="b"/>
              <a:pathLst>
                <a:path w="9767" h="5713" extrusionOk="0">
                  <a:moveTo>
                    <a:pt x="5161" y="1329"/>
                  </a:moveTo>
                  <a:cubicBezTo>
                    <a:pt x="5247" y="1329"/>
                    <a:pt x="5333" y="1337"/>
                    <a:pt x="5419" y="1353"/>
                  </a:cubicBezTo>
                  <a:cubicBezTo>
                    <a:pt x="5577" y="1384"/>
                    <a:pt x="5671" y="1416"/>
                    <a:pt x="5797" y="1479"/>
                  </a:cubicBezTo>
                  <a:cubicBezTo>
                    <a:pt x="6617" y="1857"/>
                    <a:pt x="7026" y="2960"/>
                    <a:pt x="6837" y="4220"/>
                  </a:cubicBezTo>
                  <a:cubicBezTo>
                    <a:pt x="6774" y="4409"/>
                    <a:pt x="6617" y="4535"/>
                    <a:pt x="6459" y="4535"/>
                  </a:cubicBezTo>
                  <a:lnTo>
                    <a:pt x="6396" y="4535"/>
                  </a:lnTo>
                  <a:cubicBezTo>
                    <a:pt x="6207" y="4503"/>
                    <a:pt x="6049" y="4283"/>
                    <a:pt x="6081" y="4094"/>
                  </a:cubicBezTo>
                  <a:cubicBezTo>
                    <a:pt x="6239" y="3117"/>
                    <a:pt x="5892" y="2172"/>
                    <a:pt x="5293" y="2046"/>
                  </a:cubicBezTo>
                  <a:cubicBezTo>
                    <a:pt x="5250" y="2037"/>
                    <a:pt x="5205" y="2032"/>
                    <a:pt x="5161" y="2032"/>
                  </a:cubicBezTo>
                  <a:cubicBezTo>
                    <a:pt x="4601" y="2032"/>
                    <a:pt x="4022" y="2752"/>
                    <a:pt x="3876" y="3716"/>
                  </a:cubicBezTo>
                  <a:cubicBezTo>
                    <a:pt x="3847" y="3888"/>
                    <a:pt x="3660" y="4035"/>
                    <a:pt x="3484" y="4035"/>
                  </a:cubicBezTo>
                  <a:cubicBezTo>
                    <a:pt x="3468" y="4035"/>
                    <a:pt x="3451" y="4033"/>
                    <a:pt x="3435" y="4031"/>
                  </a:cubicBezTo>
                  <a:cubicBezTo>
                    <a:pt x="3246" y="3968"/>
                    <a:pt x="3088" y="3779"/>
                    <a:pt x="3120" y="3590"/>
                  </a:cubicBezTo>
                  <a:cubicBezTo>
                    <a:pt x="3351" y="2261"/>
                    <a:pt x="4217" y="1329"/>
                    <a:pt x="5161" y="1329"/>
                  </a:cubicBezTo>
                  <a:close/>
                  <a:moveTo>
                    <a:pt x="6821" y="1"/>
                  </a:moveTo>
                  <a:cubicBezTo>
                    <a:pt x="6045" y="1"/>
                    <a:pt x="5381" y="480"/>
                    <a:pt x="5104" y="1227"/>
                  </a:cubicBezTo>
                  <a:lnTo>
                    <a:pt x="3939" y="1038"/>
                  </a:lnTo>
                  <a:cubicBezTo>
                    <a:pt x="3734" y="998"/>
                    <a:pt x="3530" y="979"/>
                    <a:pt x="3328" y="979"/>
                  </a:cubicBezTo>
                  <a:cubicBezTo>
                    <a:pt x="1759" y="979"/>
                    <a:pt x="343" y="2128"/>
                    <a:pt x="64" y="3747"/>
                  </a:cubicBezTo>
                  <a:cubicBezTo>
                    <a:pt x="1" y="3936"/>
                    <a:pt x="158" y="4125"/>
                    <a:pt x="379" y="4188"/>
                  </a:cubicBezTo>
                  <a:lnTo>
                    <a:pt x="9200" y="5700"/>
                  </a:lnTo>
                  <a:cubicBezTo>
                    <a:pt x="9225" y="5709"/>
                    <a:pt x="9251" y="5713"/>
                    <a:pt x="9276" y="5713"/>
                  </a:cubicBezTo>
                  <a:cubicBezTo>
                    <a:pt x="9437" y="5713"/>
                    <a:pt x="9582" y="5549"/>
                    <a:pt x="9610" y="5385"/>
                  </a:cubicBezTo>
                  <a:cubicBezTo>
                    <a:pt x="9767" y="4535"/>
                    <a:pt x="9578" y="3621"/>
                    <a:pt x="9074" y="2865"/>
                  </a:cubicBezTo>
                  <a:cubicBezTo>
                    <a:pt x="8570" y="2203"/>
                    <a:pt x="7782" y="1731"/>
                    <a:pt x="6900" y="1573"/>
                  </a:cubicBezTo>
                  <a:lnTo>
                    <a:pt x="5892" y="1384"/>
                  </a:lnTo>
                  <a:cubicBezTo>
                    <a:pt x="6090" y="1017"/>
                    <a:pt x="6465" y="776"/>
                    <a:pt x="6882" y="776"/>
                  </a:cubicBezTo>
                  <a:cubicBezTo>
                    <a:pt x="6929" y="776"/>
                    <a:pt x="6978" y="779"/>
                    <a:pt x="7026" y="786"/>
                  </a:cubicBezTo>
                  <a:cubicBezTo>
                    <a:pt x="7042" y="788"/>
                    <a:pt x="7059" y="790"/>
                    <a:pt x="7075" y="790"/>
                  </a:cubicBezTo>
                  <a:cubicBezTo>
                    <a:pt x="7247" y="790"/>
                    <a:pt x="7410" y="643"/>
                    <a:pt x="7467" y="471"/>
                  </a:cubicBezTo>
                  <a:cubicBezTo>
                    <a:pt x="7499" y="282"/>
                    <a:pt x="7341" y="93"/>
                    <a:pt x="7152" y="30"/>
                  </a:cubicBezTo>
                  <a:cubicBezTo>
                    <a:pt x="7040" y="10"/>
                    <a:pt x="6930" y="1"/>
                    <a:pt x="6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3"/>
            <p:cNvSpPr/>
            <p:nvPr/>
          </p:nvSpPr>
          <p:spPr>
            <a:xfrm>
              <a:off x="-53970100" y="4100750"/>
              <a:ext cx="204800" cy="193775"/>
            </a:xfrm>
            <a:custGeom>
              <a:avLst/>
              <a:gdLst/>
              <a:ahLst/>
              <a:cxnLst/>
              <a:rect l="l" t="t" r="r" b="b"/>
              <a:pathLst>
                <a:path w="8192" h="7751" extrusionOk="0">
                  <a:moveTo>
                    <a:pt x="2584" y="1796"/>
                  </a:moveTo>
                  <a:cubicBezTo>
                    <a:pt x="2804" y="1796"/>
                    <a:pt x="2962" y="1954"/>
                    <a:pt x="2962" y="2143"/>
                  </a:cubicBezTo>
                  <a:cubicBezTo>
                    <a:pt x="2962" y="2363"/>
                    <a:pt x="2804" y="2521"/>
                    <a:pt x="2584" y="2521"/>
                  </a:cubicBezTo>
                  <a:cubicBezTo>
                    <a:pt x="2395" y="2521"/>
                    <a:pt x="2237" y="2363"/>
                    <a:pt x="2237" y="2143"/>
                  </a:cubicBezTo>
                  <a:cubicBezTo>
                    <a:pt x="2237" y="1954"/>
                    <a:pt x="2395" y="1796"/>
                    <a:pt x="2584" y="1796"/>
                  </a:cubicBezTo>
                  <a:close/>
                  <a:moveTo>
                    <a:pt x="5577" y="1796"/>
                  </a:moveTo>
                  <a:cubicBezTo>
                    <a:pt x="5797" y="1796"/>
                    <a:pt x="5955" y="1954"/>
                    <a:pt x="5955" y="2143"/>
                  </a:cubicBezTo>
                  <a:cubicBezTo>
                    <a:pt x="5955" y="2363"/>
                    <a:pt x="5797" y="2521"/>
                    <a:pt x="5577" y="2521"/>
                  </a:cubicBezTo>
                  <a:cubicBezTo>
                    <a:pt x="5388" y="2521"/>
                    <a:pt x="5230" y="2363"/>
                    <a:pt x="5230" y="2143"/>
                  </a:cubicBezTo>
                  <a:cubicBezTo>
                    <a:pt x="5230" y="1954"/>
                    <a:pt x="5388" y="1796"/>
                    <a:pt x="5577" y="1796"/>
                  </a:cubicBezTo>
                  <a:close/>
                  <a:moveTo>
                    <a:pt x="5147" y="4324"/>
                  </a:moveTo>
                  <a:cubicBezTo>
                    <a:pt x="5238" y="4324"/>
                    <a:pt x="5324" y="4364"/>
                    <a:pt x="5388" y="4443"/>
                  </a:cubicBezTo>
                  <a:cubicBezTo>
                    <a:pt x="5545" y="4600"/>
                    <a:pt x="5545" y="4852"/>
                    <a:pt x="5388" y="4947"/>
                  </a:cubicBezTo>
                  <a:cubicBezTo>
                    <a:pt x="5041" y="5325"/>
                    <a:pt x="4568" y="5514"/>
                    <a:pt x="4096" y="5514"/>
                  </a:cubicBezTo>
                  <a:cubicBezTo>
                    <a:pt x="3623" y="5514"/>
                    <a:pt x="3119" y="5325"/>
                    <a:pt x="2804" y="4947"/>
                  </a:cubicBezTo>
                  <a:cubicBezTo>
                    <a:pt x="2647" y="4789"/>
                    <a:pt x="2647" y="4569"/>
                    <a:pt x="2804" y="4443"/>
                  </a:cubicBezTo>
                  <a:cubicBezTo>
                    <a:pt x="2883" y="4380"/>
                    <a:pt x="2977" y="4348"/>
                    <a:pt x="3068" y="4348"/>
                  </a:cubicBezTo>
                  <a:cubicBezTo>
                    <a:pt x="3159" y="4348"/>
                    <a:pt x="3245" y="4380"/>
                    <a:pt x="3308" y="4443"/>
                  </a:cubicBezTo>
                  <a:cubicBezTo>
                    <a:pt x="3529" y="4663"/>
                    <a:pt x="3812" y="4773"/>
                    <a:pt x="4096" y="4773"/>
                  </a:cubicBezTo>
                  <a:cubicBezTo>
                    <a:pt x="4379" y="4773"/>
                    <a:pt x="4663" y="4663"/>
                    <a:pt x="4883" y="4443"/>
                  </a:cubicBezTo>
                  <a:cubicBezTo>
                    <a:pt x="4962" y="4364"/>
                    <a:pt x="5057" y="4324"/>
                    <a:pt x="5147" y="4324"/>
                  </a:cubicBezTo>
                  <a:close/>
                  <a:moveTo>
                    <a:pt x="0" y="0"/>
                  </a:moveTo>
                  <a:lnTo>
                    <a:pt x="0" y="3655"/>
                  </a:lnTo>
                  <a:cubicBezTo>
                    <a:pt x="0" y="5892"/>
                    <a:pt x="1859" y="7751"/>
                    <a:pt x="4096" y="7751"/>
                  </a:cubicBezTo>
                  <a:cubicBezTo>
                    <a:pt x="6333" y="7751"/>
                    <a:pt x="8191" y="5892"/>
                    <a:pt x="8191" y="3655"/>
                  </a:cubicBezTo>
                  <a:lnTo>
                    <a:pt x="8191" y="145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73"/>
            <p:cNvSpPr/>
            <p:nvPr/>
          </p:nvSpPr>
          <p:spPr>
            <a:xfrm>
              <a:off x="-53745625" y="4132250"/>
              <a:ext cx="18900" cy="63825"/>
            </a:xfrm>
            <a:custGeom>
              <a:avLst/>
              <a:gdLst/>
              <a:ahLst/>
              <a:cxnLst/>
              <a:rect l="l" t="t" r="r" b="b"/>
              <a:pathLst>
                <a:path w="756" h="2553" extrusionOk="0">
                  <a:moveTo>
                    <a:pt x="0" y="1"/>
                  </a:moveTo>
                  <a:lnTo>
                    <a:pt x="0" y="2552"/>
                  </a:lnTo>
                  <a:cubicBezTo>
                    <a:pt x="441" y="2269"/>
                    <a:pt x="756" y="1796"/>
                    <a:pt x="756" y="1261"/>
                  </a:cubicBezTo>
                  <a:cubicBezTo>
                    <a:pt x="693" y="694"/>
                    <a:pt x="441"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73"/>
            <p:cNvSpPr/>
            <p:nvPr/>
          </p:nvSpPr>
          <p:spPr>
            <a:xfrm>
              <a:off x="-54007925"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9" name="Google Shape;7529;p73"/>
          <p:cNvGrpSpPr/>
          <p:nvPr/>
        </p:nvGrpSpPr>
        <p:grpSpPr>
          <a:xfrm>
            <a:off x="8003359" y="2752104"/>
            <a:ext cx="274770" cy="358492"/>
            <a:chOff x="-52005775" y="3208025"/>
            <a:chExt cx="244175" cy="318575"/>
          </a:xfrm>
        </p:grpSpPr>
        <p:sp>
          <p:nvSpPr>
            <p:cNvPr id="7530" name="Google Shape;7530;p73"/>
            <p:cNvSpPr/>
            <p:nvPr/>
          </p:nvSpPr>
          <p:spPr>
            <a:xfrm>
              <a:off x="-51800200" y="3469850"/>
              <a:ext cx="38600" cy="56750"/>
            </a:xfrm>
            <a:custGeom>
              <a:avLst/>
              <a:gdLst/>
              <a:ahLst/>
              <a:cxnLst/>
              <a:rect l="l" t="t" r="r" b="b"/>
              <a:pathLst>
                <a:path w="1544" h="2270" extrusionOk="0">
                  <a:moveTo>
                    <a:pt x="756" y="1"/>
                  </a:moveTo>
                  <a:cubicBezTo>
                    <a:pt x="347" y="1"/>
                    <a:pt x="0" y="348"/>
                    <a:pt x="0" y="726"/>
                  </a:cubicBezTo>
                  <a:cubicBezTo>
                    <a:pt x="0" y="852"/>
                    <a:pt x="32" y="915"/>
                    <a:pt x="63" y="1041"/>
                  </a:cubicBezTo>
                  <a:lnTo>
                    <a:pt x="630" y="2175"/>
                  </a:lnTo>
                  <a:cubicBezTo>
                    <a:pt x="662" y="2238"/>
                    <a:pt x="717" y="2269"/>
                    <a:pt x="776" y="2269"/>
                  </a:cubicBezTo>
                  <a:cubicBezTo>
                    <a:pt x="835" y="2269"/>
                    <a:pt x="898" y="2238"/>
                    <a:pt x="945" y="2175"/>
                  </a:cubicBezTo>
                  <a:lnTo>
                    <a:pt x="1449" y="1135"/>
                  </a:lnTo>
                  <a:cubicBezTo>
                    <a:pt x="1513" y="1009"/>
                    <a:pt x="1544" y="883"/>
                    <a:pt x="1544" y="789"/>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73"/>
            <p:cNvSpPr/>
            <p:nvPr/>
          </p:nvSpPr>
          <p:spPr>
            <a:xfrm>
              <a:off x="-52005775" y="3208025"/>
              <a:ext cx="111875" cy="131900"/>
            </a:xfrm>
            <a:custGeom>
              <a:avLst/>
              <a:gdLst/>
              <a:ahLst/>
              <a:cxnLst/>
              <a:rect l="l" t="t" r="r" b="b"/>
              <a:pathLst>
                <a:path w="4475" h="5276" extrusionOk="0">
                  <a:moveTo>
                    <a:pt x="2915" y="1"/>
                  </a:moveTo>
                  <a:cubicBezTo>
                    <a:pt x="2816" y="1"/>
                    <a:pt x="2717" y="5"/>
                    <a:pt x="2615" y="14"/>
                  </a:cubicBezTo>
                  <a:cubicBezTo>
                    <a:pt x="1103" y="235"/>
                    <a:pt x="0" y="1590"/>
                    <a:pt x="0" y="3133"/>
                  </a:cubicBezTo>
                  <a:lnTo>
                    <a:pt x="0" y="4866"/>
                  </a:lnTo>
                  <a:cubicBezTo>
                    <a:pt x="32" y="5055"/>
                    <a:pt x="189" y="5276"/>
                    <a:pt x="379" y="5276"/>
                  </a:cubicBezTo>
                  <a:lnTo>
                    <a:pt x="1135" y="5276"/>
                  </a:lnTo>
                  <a:cubicBezTo>
                    <a:pt x="2993" y="5276"/>
                    <a:pt x="4474" y="3732"/>
                    <a:pt x="4474" y="1873"/>
                  </a:cubicBezTo>
                  <a:lnTo>
                    <a:pt x="4474" y="424"/>
                  </a:lnTo>
                  <a:cubicBezTo>
                    <a:pt x="4017" y="155"/>
                    <a:pt x="3490" y="1"/>
                    <a:pt x="2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3"/>
            <p:cNvSpPr/>
            <p:nvPr/>
          </p:nvSpPr>
          <p:spPr>
            <a:xfrm>
              <a:off x="-51800200" y="3385575"/>
              <a:ext cx="37025" cy="37850"/>
            </a:xfrm>
            <a:custGeom>
              <a:avLst/>
              <a:gdLst/>
              <a:ahLst/>
              <a:cxnLst/>
              <a:rect l="l" t="t" r="r" b="b"/>
              <a:pathLst>
                <a:path w="1481" h="1514" extrusionOk="0">
                  <a:moveTo>
                    <a:pt x="756" y="1"/>
                  </a:moveTo>
                  <a:cubicBezTo>
                    <a:pt x="347" y="1"/>
                    <a:pt x="0" y="348"/>
                    <a:pt x="0" y="757"/>
                  </a:cubicBezTo>
                  <a:cubicBezTo>
                    <a:pt x="0" y="1167"/>
                    <a:pt x="347" y="1513"/>
                    <a:pt x="756" y="1513"/>
                  </a:cubicBezTo>
                  <a:cubicBezTo>
                    <a:pt x="1166" y="1513"/>
                    <a:pt x="1481" y="1167"/>
                    <a:pt x="1481" y="757"/>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73"/>
            <p:cNvSpPr/>
            <p:nvPr/>
          </p:nvSpPr>
          <p:spPr>
            <a:xfrm>
              <a:off x="-51800200" y="3348575"/>
              <a:ext cx="37025" cy="37025"/>
            </a:xfrm>
            <a:custGeom>
              <a:avLst/>
              <a:gdLst/>
              <a:ahLst/>
              <a:cxnLst/>
              <a:rect l="l" t="t" r="r" b="b"/>
              <a:pathLst>
                <a:path w="1481" h="1481" extrusionOk="0">
                  <a:moveTo>
                    <a:pt x="756" y="0"/>
                  </a:moveTo>
                  <a:cubicBezTo>
                    <a:pt x="347" y="0"/>
                    <a:pt x="0" y="315"/>
                    <a:pt x="0" y="756"/>
                  </a:cubicBezTo>
                  <a:cubicBezTo>
                    <a:pt x="0" y="1166"/>
                    <a:pt x="347" y="1481"/>
                    <a:pt x="756" y="1481"/>
                  </a:cubicBezTo>
                  <a:cubicBezTo>
                    <a:pt x="1166" y="1481"/>
                    <a:pt x="1481" y="1166"/>
                    <a:pt x="1481" y="756"/>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73"/>
            <p:cNvSpPr/>
            <p:nvPr/>
          </p:nvSpPr>
          <p:spPr>
            <a:xfrm>
              <a:off x="-51800200" y="3423400"/>
              <a:ext cx="37025" cy="37025"/>
            </a:xfrm>
            <a:custGeom>
              <a:avLst/>
              <a:gdLst/>
              <a:ahLst/>
              <a:cxnLst/>
              <a:rect l="l" t="t" r="r" b="b"/>
              <a:pathLst>
                <a:path w="1481" h="1481" extrusionOk="0">
                  <a:moveTo>
                    <a:pt x="756" y="0"/>
                  </a:moveTo>
                  <a:cubicBezTo>
                    <a:pt x="347" y="0"/>
                    <a:pt x="0" y="315"/>
                    <a:pt x="0" y="725"/>
                  </a:cubicBezTo>
                  <a:cubicBezTo>
                    <a:pt x="0" y="1166"/>
                    <a:pt x="347" y="1481"/>
                    <a:pt x="756" y="1481"/>
                  </a:cubicBezTo>
                  <a:cubicBezTo>
                    <a:pt x="1166" y="1481"/>
                    <a:pt x="1481" y="1166"/>
                    <a:pt x="1481" y="725"/>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3"/>
            <p:cNvSpPr/>
            <p:nvPr/>
          </p:nvSpPr>
          <p:spPr>
            <a:xfrm>
              <a:off x="-51875025" y="3208025"/>
              <a:ext cx="111850" cy="131125"/>
            </a:xfrm>
            <a:custGeom>
              <a:avLst/>
              <a:gdLst/>
              <a:ahLst/>
              <a:cxnLst/>
              <a:rect l="l" t="t" r="r" b="b"/>
              <a:pathLst>
                <a:path w="4474" h="5245" extrusionOk="0">
                  <a:moveTo>
                    <a:pt x="1560" y="1"/>
                  </a:moveTo>
                  <a:cubicBezTo>
                    <a:pt x="984" y="1"/>
                    <a:pt x="458" y="155"/>
                    <a:pt x="0" y="424"/>
                  </a:cubicBezTo>
                  <a:lnTo>
                    <a:pt x="0" y="1873"/>
                  </a:lnTo>
                  <a:cubicBezTo>
                    <a:pt x="0" y="3732"/>
                    <a:pt x="1481" y="5244"/>
                    <a:pt x="3340" y="5244"/>
                  </a:cubicBezTo>
                  <a:lnTo>
                    <a:pt x="4096" y="5244"/>
                  </a:lnTo>
                  <a:cubicBezTo>
                    <a:pt x="4285" y="5244"/>
                    <a:pt x="4442" y="5087"/>
                    <a:pt x="4442" y="4898"/>
                  </a:cubicBezTo>
                  <a:lnTo>
                    <a:pt x="4442" y="3165"/>
                  </a:lnTo>
                  <a:cubicBezTo>
                    <a:pt x="4474" y="1590"/>
                    <a:pt x="3371" y="235"/>
                    <a:pt x="1859" y="14"/>
                  </a:cubicBezTo>
                  <a:cubicBezTo>
                    <a:pt x="1758" y="5"/>
                    <a:pt x="1658" y="1"/>
                    <a:pt x="15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73"/>
            <p:cNvSpPr/>
            <p:nvPr/>
          </p:nvSpPr>
          <p:spPr>
            <a:xfrm>
              <a:off x="-52005000" y="3469850"/>
              <a:ext cx="38625" cy="56750"/>
            </a:xfrm>
            <a:custGeom>
              <a:avLst/>
              <a:gdLst/>
              <a:ahLst/>
              <a:cxnLst/>
              <a:rect l="l" t="t" r="r" b="b"/>
              <a:pathLst>
                <a:path w="1545" h="2270" extrusionOk="0">
                  <a:moveTo>
                    <a:pt x="757" y="1"/>
                  </a:moveTo>
                  <a:cubicBezTo>
                    <a:pt x="348" y="1"/>
                    <a:pt x="1" y="348"/>
                    <a:pt x="1" y="726"/>
                  </a:cubicBezTo>
                  <a:cubicBezTo>
                    <a:pt x="1" y="852"/>
                    <a:pt x="32" y="915"/>
                    <a:pt x="64" y="1041"/>
                  </a:cubicBezTo>
                  <a:lnTo>
                    <a:pt x="631" y="2175"/>
                  </a:lnTo>
                  <a:cubicBezTo>
                    <a:pt x="663" y="2238"/>
                    <a:pt x="718" y="2269"/>
                    <a:pt x="777" y="2269"/>
                  </a:cubicBezTo>
                  <a:cubicBezTo>
                    <a:pt x="836" y="2269"/>
                    <a:pt x="899" y="2238"/>
                    <a:pt x="946" y="2175"/>
                  </a:cubicBezTo>
                  <a:lnTo>
                    <a:pt x="1450" y="1135"/>
                  </a:lnTo>
                  <a:cubicBezTo>
                    <a:pt x="1482" y="1009"/>
                    <a:pt x="1545" y="883"/>
                    <a:pt x="1545" y="789"/>
                  </a:cubicBezTo>
                  <a:cubicBezTo>
                    <a:pt x="1482" y="348"/>
                    <a:pt x="1135"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73"/>
            <p:cNvSpPr/>
            <p:nvPr/>
          </p:nvSpPr>
          <p:spPr>
            <a:xfrm>
              <a:off x="-52005000" y="3423400"/>
              <a:ext cx="37050" cy="37025"/>
            </a:xfrm>
            <a:custGeom>
              <a:avLst/>
              <a:gdLst/>
              <a:ahLst/>
              <a:cxnLst/>
              <a:rect l="l" t="t" r="r" b="b"/>
              <a:pathLst>
                <a:path w="1482" h="1481" extrusionOk="0">
                  <a:moveTo>
                    <a:pt x="757" y="0"/>
                  </a:moveTo>
                  <a:cubicBezTo>
                    <a:pt x="348" y="0"/>
                    <a:pt x="1" y="315"/>
                    <a:pt x="1" y="725"/>
                  </a:cubicBezTo>
                  <a:cubicBezTo>
                    <a:pt x="1" y="1166"/>
                    <a:pt x="348" y="1481"/>
                    <a:pt x="757" y="1481"/>
                  </a:cubicBezTo>
                  <a:cubicBezTo>
                    <a:pt x="1167" y="1481"/>
                    <a:pt x="1482" y="1166"/>
                    <a:pt x="1482" y="725"/>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3"/>
            <p:cNvSpPr/>
            <p:nvPr/>
          </p:nvSpPr>
          <p:spPr>
            <a:xfrm>
              <a:off x="-52005000" y="3385575"/>
              <a:ext cx="37050" cy="37850"/>
            </a:xfrm>
            <a:custGeom>
              <a:avLst/>
              <a:gdLst/>
              <a:ahLst/>
              <a:cxnLst/>
              <a:rect l="l" t="t" r="r" b="b"/>
              <a:pathLst>
                <a:path w="1482" h="1514" extrusionOk="0">
                  <a:moveTo>
                    <a:pt x="757" y="1"/>
                  </a:moveTo>
                  <a:cubicBezTo>
                    <a:pt x="348" y="1"/>
                    <a:pt x="1" y="348"/>
                    <a:pt x="1" y="757"/>
                  </a:cubicBezTo>
                  <a:cubicBezTo>
                    <a:pt x="1" y="1167"/>
                    <a:pt x="348" y="1513"/>
                    <a:pt x="757" y="1513"/>
                  </a:cubicBezTo>
                  <a:cubicBezTo>
                    <a:pt x="1167" y="1513"/>
                    <a:pt x="1482" y="1167"/>
                    <a:pt x="1482" y="757"/>
                  </a:cubicBezTo>
                  <a:cubicBezTo>
                    <a:pt x="1482" y="348"/>
                    <a:pt x="1167"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73"/>
            <p:cNvSpPr/>
            <p:nvPr/>
          </p:nvSpPr>
          <p:spPr>
            <a:xfrm>
              <a:off x="-51957725" y="3298150"/>
              <a:ext cx="148100" cy="209550"/>
            </a:xfrm>
            <a:custGeom>
              <a:avLst/>
              <a:gdLst/>
              <a:ahLst/>
              <a:cxnLst/>
              <a:rect l="l" t="t" r="r" b="b"/>
              <a:pathLst>
                <a:path w="5924" h="8382" extrusionOk="0">
                  <a:moveTo>
                    <a:pt x="1449" y="3151"/>
                  </a:moveTo>
                  <a:cubicBezTo>
                    <a:pt x="1639" y="3151"/>
                    <a:pt x="1796" y="3309"/>
                    <a:pt x="1796" y="3498"/>
                  </a:cubicBezTo>
                  <a:cubicBezTo>
                    <a:pt x="1796" y="3719"/>
                    <a:pt x="1639" y="3845"/>
                    <a:pt x="1449" y="3845"/>
                  </a:cubicBezTo>
                  <a:cubicBezTo>
                    <a:pt x="1260" y="3845"/>
                    <a:pt x="1103" y="3719"/>
                    <a:pt x="1103" y="3498"/>
                  </a:cubicBezTo>
                  <a:cubicBezTo>
                    <a:pt x="1103" y="3309"/>
                    <a:pt x="1260" y="3151"/>
                    <a:pt x="1449" y="3151"/>
                  </a:cubicBezTo>
                  <a:close/>
                  <a:moveTo>
                    <a:pt x="4442" y="3183"/>
                  </a:moveTo>
                  <a:cubicBezTo>
                    <a:pt x="4631" y="3183"/>
                    <a:pt x="4789" y="3340"/>
                    <a:pt x="4789" y="3561"/>
                  </a:cubicBezTo>
                  <a:cubicBezTo>
                    <a:pt x="4789" y="3719"/>
                    <a:pt x="4631" y="3908"/>
                    <a:pt x="4442" y="3908"/>
                  </a:cubicBezTo>
                  <a:cubicBezTo>
                    <a:pt x="4253" y="3908"/>
                    <a:pt x="4096" y="3750"/>
                    <a:pt x="4096" y="3561"/>
                  </a:cubicBezTo>
                  <a:cubicBezTo>
                    <a:pt x="4096" y="3340"/>
                    <a:pt x="4253" y="3183"/>
                    <a:pt x="4442" y="3183"/>
                  </a:cubicBezTo>
                  <a:close/>
                  <a:moveTo>
                    <a:pt x="3966" y="5680"/>
                  </a:moveTo>
                  <a:cubicBezTo>
                    <a:pt x="4064" y="5680"/>
                    <a:pt x="4159" y="5719"/>
                    <a:pt x="4222" y="5798"/>
                  </a:cubicBezTo>
                  <a:cubicBezTo>
                    <a:pt x="4411" y="5955"/>
                    <a:pt x="4411" y="6176"/>
                    <a:pt x="4253" y="6302"/>
                  </a:cubicBezTo>
                  <a:cubicBezTo>
                    <a:pt x="3907" y="6648"/>
                    <a:pt x="3434" y="6869"/>
                    <a:pt x="2899" y="6869"/>
                  </a:cubicBezTo>
                  <a:cubicBezTo>
                    <a:pt x="2395" y="6869"/>
                    <a:pt x="1922" y="6648"/>
                    <a:pt x="1607" y="6302"/>
                  </a:cubicBezTo>
                  <a:cubicBezTo>
                    <a:pt x="1449" y="6144"/>
                    <a:pt x="1449" y="5924"/>
                    <a:pt x="1607" y="5798"/>
                  </a:cubicBezTo>
                  <a:cubicBezTo>
                    <a:pt x="1686" y="5719"/>
                    <a:pt x="1788" y="5680"/>
                    <a:pt x="1883" y="5680"/>
                  </a:cubicBezTo>
                  <a:cubicBezTo>
                    <a:pt x="1977" y="5680"/>
                    <a:pt x="2064" y="5719"/>
                    <a:pt x="2111" y="5798"/>
                  </a:cubicBezTo>
                  <a:cubicBezTo>
                    <a:pt x="2332" y="6018"/>
                    <a:pt x="2623" y="6129"/>
                    <a:pt x="2911" y="6129"/>
                  </a:cubicBezTo>
                  <a:cubicBezTo>
                    <a:pt x="3198" y="6129"/>
                    <a:pt x="3482" y="6018"/>
                    <a:pt x="3686" y="5798"/>
                  </a:cubicBezTo>
                  <a:cubicBezTo>
                    <a:pt x="3765" y="5719"/>
                    <a:pt x="3868" y="5680"/>
                    <a:pt x="3966" y="5680"/>
                  </a:cubicBezTo>
                  <a:close/>
                  <a:moveTo>
                    <a:pt x="2993" y="1"/>
                  </a:moveTo>
                  <a:cubicBezTo>
                    <a:pt x="2489" y="1104"/>
                    <a:pt x="1513" y="1923"/>
                    <a:pt x="284" y="2238"/>
                  </a:cubicBezTo>
                  <a:cubicBezTo>
                    <a:pt x="347" y="2395"/>
                    <a:pt x="347" y="2553"/>
                    <a:pt x="347" y="2773"/>
                  </a:cubicBezTo>
                  <a:cubicBezTo>
                    <a:pt x="347" y="3025"/>
                    <a:pt x="284" y="3277"/>
                    <a:pt x="158" y="3498"/>
                  </a:cubicBezTo>
                  <a:cubicBezTo>
                    <a:pt x="284" y="3750"/>
                    <a:pt x="347" y="3971"/>
                    <a:pt x="347" y="4254"/>
                  </a:cubicBezTo>
                  <a:cubicBezTo>
                    <a:pt x="347" y="4538"/>
                    <a:pt x="284" y="4758"/>
                    <a:pt x="158" y="5010"/>
                  </a:cubicBezTo>
                  <a:cubicBezTo>
                    <a:pt x="284" y="5231"/>
                    <a:pt x="347" y="5483"/>
                    <a:pt x="347" y="5735"/>
                  </a:cubicBezTo>
                  <a:cubicBezTo>
                    <a:pt x="347" y="6113"/>
                    <a:pt x="252" y="6428"/>
                    <a:pt x="0" y="6680"/>
                  </a:cubicBezTo>
                  <a:cubicBezTo>
                    <a:pt x="158" y="6900"/>
                    <a:pt x="284" y="7121"/>
                    <a:pt x="315" y="7405"/>
                  </a:cubicBezTo>
                  <a:cubicBezTo>
                    <a:pt x="1040" y="8035"/>
                    <a:pt x="1985" y="8381"/>
                    <a:pt x="2962" y="8381"/>
                  </a:cubicBezTo>
                  <a:cubicBezTo>
                    <a:pt x="3938" y="8381"/>
                    <a:pt x="4852" y="8035"/>
                    <a:pt x="5608" y="7436"/>
                  </a:cubicBezTo>
                  <a:cubicBezTo>
                    <a:pt x="5640" y="7184"/>
                    <a:pt x="5766" y="6932"/>
                    <a:pt x="5923" y="6743"/>
                  </a:cubicBezTo>
                  <a:cubicBezTo>
                    <a:pt x="5671" y="6459"/>
                    <a:pt x="5545" y="6113"/>
                    <a:pt x="5545" y="5798"/>
                  </a:cubicBezTo>
                  <a:cubicBezTo>
                    <a:pt x="5545" y="5483"/>
                    <a:pt x="5640" y="5231"/>
                    <a:pt x="5797" y="5010"/>
                  </a:cubicBezTo>
                  <a:cubicBezTo>
                    <a:pt x="5671" y="4758"/>
                    <a:pt x="5577" y="4538"/>
                    <a:pt x="5577" y="4254"/>
                  </a:cubicBezTo>
                  <a:cubicBezTo>
                    <a:pt x="5577" y="3971"/>
                    <a:pt x="5671" y="3750"/>
                    <a:pt x="5797" y="3498"/>
                  </a:cubicBezTo>
                  <a:cubicBezTo>
                    <a:pt x="5671" y="3277"/>
                    <a:pt x="5577" y="3025"/>
                    <a:pt x="5577" y="2773"/>
                  </a:cubicBezTo>
                  <a:cubicBezTo>
                    <a:pt x="5577" y="2679"/>
                    <a:pt x="5577" y="2553"/>
                    <a:pt x="5640" y="2490"/>
                  </a:cubicBezTo>
                  <a:cubicBezTo>
                    <a:pt x="5640" y="2395"/>
                    <a:pt x="5671" y="2332"/>
                    <a:pt x="5703" y="2238"/>
                  </a:cubicBezTo>
                  <a:cubicBezTo>
                    <a:pt x="4474" y="1923"/>
                    <a:pt x="3497" y="1104"/>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73"/>
            <p:cNvSpPr/>
            <p:nvPr/>
          </p:nvSpPr>
          <p:spPr>
            <a:xfrm>
              <a:off x="-52005000" y="3348575"/>
              <a:ext cx="37050" cy="37025"/>
            </a:xfrm>
            <a:custGeom>
              <a:avLst/>
              <a:gdLst/>
              <a:ahLst/>
              <a:cxnLst/>
              <a:rect l="l" t="t" r="r" b="b"/>
              <a:pathLst>
                <a:path w="1482" h="1481" extrusionOk="0">
                  <a:moveTo>
                    <a:pt x="757" y="0"/>
                  </a:moveTo>
                  <a:cubicBezTo>
                    <a:pt x="348" y="0"/>
                    <a:pt x="1" y="315"/>
                    <a:pt x="1" y="756"/>
                  </a:cubicBezTo>
                  <a:cubicBezTo>
                    <a:pt x="1" y="1166"/>
                    <a:pt x="348" y="1481"/>
                    <a:pt x="757" y="1481"/>
                  </a:cubicBezTo>
                  <a:cubicBezTo>
                    <a:pt x="1167" y="1481"/>
                    <a:pt x="1482" y="1166"/>
                    <a:pt x="1482" y="756"/>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1" name="Google Shape;7541;p73"/>
          <p:cNvGrpSpPr/>
          <p:nvPr/>
        </p:nvGrpSpPr>
        <p:grpSpPr>
          <a:xfrm>
            <a:off x="5309825" y="1380146"/>
            <a:ext cx="358099" cy="358099"/>
            <a:chOff x="-57568775" y="3198925"/>
            <a:chExt cx="318225" cy="318225"/>
          </a:xfrm>
        </p:grpSpPr>
        <p:sp>
          <p:nvSpPr>
            <p:cNvPr id="7542" name="Google Shape;7542;p73"/>
            <p:cNvSpPr/>
            <p:nvPr/>
          </p:nvSpPr>
          <p:spPr>
            <a:xfrm>
              <a:off x="-57530950" y="3373775"/>
              <a:ext cx="18125" cy="64600"/>
            </a:xfrm>
            <a:custGeom>
              <a:avLst/>
              <a:gdLst/>
              <a:ahLst/>
              <a:cxnLst/>
              <a:rect l="l" t="t" r="r" b="b"/>
              <a:pathLst>
                <a:path w="725" h="2584" extrusionOk="0">
                  <a:moveTo>
                    <a:pt x="725" y="0"/>
                  </a:moveTo>
                  <a:cubicBezTo>
                    <a:pt x="315" y="284"/>
                    <a:pt x="0" y="725"/>
                    <a:pt x="0" y="1261"/>
                  </a:cubicBezTo>
                  <a:lnTo>
                    <a:pt x="0" y="1324"/>
                  </a:lnTo>
                  <a:cubicBezTo>
                    <a:pt x="0" y="1859"/>
                    <a:pt x="315" y="2332"/>
                    <a:pt x="725" y="2584"/>
                  </a:cubicBezTo>
                  <a:lnTo>
                    <a:pt x="725" y="157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73"/>
            <p:cNvSpPr/>
            <p:nvPr/>
          </p:nvSpPr>
          <p:spPr>
            <a:xfrm>
              <a:off x="-57568775" y="3406850"/>
              <a:ext cx="99275" cy="110300"/>
            </a:xfrm>
            <a:custGeom>
              <a:avLst/>
              <a:gdLst/>
              <a:ahLst/>
              <a:cxnLst/>
              <a:rect l="l" t="t" r="r" b="b"/>
              <a:pathLst>
                <a:path w="3971" h="4412" extrusionOk="0">
                  <a:moveTo>
                    <a:pt x="757" y="1"/>
                  </a:moveTo>
                  <a:cubicBezTo>
                    <a:pt x="285" y="473"/>
                    <a:pt x="1" y="1103"/>
                    <a:pt x="1" y="1796"/>
                  </a:cubicBezTo>
                  <a:cubicBezTo>
                    <a:pt x="1" y="3246"/>
                    <a:pt x="1198" y="4411"/>
                    <a:pt x="2616" y="4411"/>
                  </a:cubicBezTo>
                  <a:cubicBezTo>
                    <a:pt x="3120" y="4411"/>
                    <a:pt x="3561" y="4254"/>
                    <a:pt x="3971" y="4002"/>
                  </a:cubicBezTo>
                  <a:cubicBezTo>
                    <a:pt x="3435" y="3561"/>
                    <a:pt x="2994" y="2962"/>
                    <a:pt x="2710" y="2363"/>
                  </a:cubicBezTo>
                  <a:lnTo>
                    <a:pt x="1891" y="1891"/>
                  </a:lnTo>
                  <a:cubicBezTo>
                    <a:pt x="1230" y="1481"/>
                    <a:pt x="789" y="788"/>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3"/>
            <p:cNvSpPr/>
            <p:nvPr/>
          </p:nvSpPr>
          <p:spPr>
            <a:xfrm>
              <a:off x="-57494725" y="3254850"/>
              <a:ext cx="207175" cy="262300"/>
            </a:xfrm>
            <a:custGeom>
              <a:avLst/>
              <a:gdLst/>
              <a:ahLst/>
              <a:cxnLst/>
              <a:rect l="l" t="t" r="r" b="b"/>
              <a:pathLst>
                <a:path w="8287" h="10492" extrusionOk="0">
                  <a:moveTo>
                    <a:pt x="2647" y="5293"/>
                  </a:moveTo>
                  <a:cubicBezTo>
                    <a:pt x="2836" y="5293"/>
                    <a:pt x="2993" y="5451"/>
                    <a:pt x="2993" y="5640"/>
                  </a:cubicBezTo>
                  <a:cubicBezTo>
                    <a:pt x="2993" y="5829"/>
                    <a:pt x="2836" y="5986"/>
                    <a:pt x="2647" y="5986"/>
                  </a:cubicBezTo>
                  <a:cubicBezTo>
                    <a:pt x="2628" y="5989"/>
                    <a:pt x="2609" y="5990"/>
                    <a:pt x="2592" y="5990"/>
                  </a:cubicBezTo>
                  <a:cubicBezTo>
                    <a:pt x="2400" y="5990"/>
                    <a:pt x="2269" y="5841"/>
                    <a:pt x="2269" y="5640"/>
                  </a:cubicBezTo>
                  <a:cubicBezTo>
                    <a:pt x="2269" y="5451"/>
                    <a:pt x="2426" y="5293"/>
                    <a:pt x="2647" y="5293"/>
                  </a:cubicBezTo>
                  <a:close/>
                  <a:moveTo>
                    <a:pt x="5640" y="5324"/>
                  </a:moveTo>
                  <a:cubicBezTo>
                    <a:pt x="5829" y="5324"/>
                    <a:pt x="5986" y="5482"/>
                    <a:pt x="5986" y="5671"/>
                  </a:cubicBezTo>
                  <a:cubicBezTo>
                    <a:pt x="6018" y="5860"/>
                    <a:pt x="5860" y="6018"/>
                    <a:pt x="5640" y="6018"/>
                  </a:cubicBezTo>
                  <a:cubicBezTo>
                    <a:pt x="5419" y="6018"/>
                    <a:pt x="5262" y="5860"/>
                    <a:pt x="5262" y="5671"/>
                  </a:cubicBezTo>
                  <a:cubicBezTo>
                    <a:pt x="5262" y="5482"/>
                    <a:pt x="5419" y="5324"/>
                    <a:pt x="5640" y="5324"/>
                  </a:cubicBezTo>
                  <a:close/>
                  <a:moveTo>
                    <a:pt x="5191" y="7845"/>
                  </a:moveTo>
                  <a:cubicBezTo>
                    <a:pt x="5285" y="7845"/>
                    <a:pt x="5372" y="7876"/>
                    <a:pt x="5419" y="7939"/>
                  </a:cubicBezTo>
                  <a:cubicBezTo>
                    <a:pt x="5640" y="8065"/>
                    <a:pt x="5640" y="8317"/>
                    <a:pt x="5482" y="8475"/>
                  </a:cubicBezTo>
                  <a:cubicBezTo>
                    <a:pt x="5104" y="8822"/>
                    <a:pt x="4632" y="9011"/>
                    <a:pt x="4128" y="9011"/>
                  </a:cubicBezTo>
                  <a:cubicBezTo>
                    <a:pt x="3624" y="9011"/>
                    <a:pt x="3151" y="8822"/>
                    <a:pt x="2836" y="8475"/>
                  </a:cubicBezTo>
                  <a:cubicBezTo>
                    <a:pt x="2678" y="8317"/>
                    <a:pt x="2678" y="8065"/>
                    <a:pt x="2836" y="7939"/>
                  </a:cubicBezTo>
                  <a:cubicBezTo>
                    <a:pt x="2915" y="7876"/>
                    <a:pt x="3009" y="7845"/>
                    <a:pt x="3100" y="7845"/>
                  </a:cubicBezTo>
                  <a:cubicBezTo>
                    <a:pt x="3190" y="7845"/>
                    <a:pt x="3277" y="7876"/>
                    <a:pt x="3340" y="7939"/>
                  </a:cubicBezTo>
                  <a:cubicBezTo>
                    <a:pt x="3561" y="8160"/>
                    <a:pt x="3844" y="8270"/>
                    <a:pt x="4128" y="8270"/>
                  </a:cubicBezTo>
                  <a:cubicBezTo>
                    <a:pt x="4411" y="8270"/>
                    <a:pt x="4695" y="8160"/>
                    <a:pt x="4915" y="7939"/>
                  </a:cubicBezTo>
                  <a:cubicBezTo>
                    <a:pt x="4994" y="7876"/>
                    <a:pt x="5096" y="7845"/>
                    <a:pt x="5191" y="7845"/>
                  </a:cubicBezTo>
                  <a:close/>
                  <a:moveTo>
                    <a:pt x="1796" y="0"/>
                  </a:moveTo>
                  <a:cubicBezTo>
                    <a:pt x="1670" y="126"/>
                    <a:pt x="1135" y="504"/>
                    <a:pt x="1072" y="630"/>
                  </a:cubicBezTo>
                  <a:cubicBezTo>
                    <a:pt x="442" y="1260"/>
                    <a:pt x="0" y="2363"/>
                    <a:pt x="0" y="3403"/>
                  </a:cubicBezTo>
                  <a:lnTo>
                    <a:pt x="0" y="6396"/>
                  </a:lnTo>
                  <a:cubicBezTo>
                    <a:pt x="0" y="8632"/>
                    <a:pt x="1859" y="10491"/>
                    <a:pt x="4128" y="10491"/>
                  </a:cubicBezTo>
                  <a:cubicBezTo>
                    <a:pt x="6427" y="10491"/>
                    <a:pt x="8286" y="8632"/>
                    <a:pt x="8286" y="6396"/>
                  </a:cubicBezTo>
                  <a:lnTo>
                    <a:pt x="8286" y="4505"/>
                  </a:lnTo>
                  <a:cubicBezTo>
                    <a:pt x="8157" y="4513"/>
                    <a:pt x="8028" y="4517"/>
                    <a:pt x="7899" y="4517"/>
                  </a:cubicBezTo>
                  <a:cubicBezTo>
                    <a:pt x="6396" y="4517"/>
                    <a:pt x="4939" y="4009"/>
                    <a:pt x="3750" y="2993"/>
                  </a:cubicBezTo>
                  <a:cubicBezTo>
                    <a:pt x="2804" y="2206"/>
                    <a:pt x="2174" y="1103"/>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73"/>
            <p:cNvSpPr/>
            <p:nvPr/>
          </p:nvSpPr>
          <p:spPr>
            <a:xfrm>
              <a:off x="-57269475" y="3372975"/>
              <a:ext cx="18925" cy="63825"/>
            </a:xfrm>
            <a:custGeom>
              <a:avLst/>
              <a:gdLst/>
              <a:ahLst/>
              <a:cxnLst/>
              <a:rect l="l" t="t" r="r" b="b"/>
              <a:pathLst>
                <a:path w="757" h="2553" extrusionOk="0">
                  <a:moveTo>
                    <a:pt x="1" y="1"/>
                  </a:moveTo>
                  <a:lnTo>
                    <a:pt x="1" y="2553"/>
                  </a:lnTo>
                  <a:cubicBezTo>
                    <a:pt x="442" y="2301"/>
                    <a:pt x="757" y="1828"/>
                    <a:pt x="757" y="1261"/>
                  </a:cubicBezTo>
                  <a:cubicBezTo>
                    <a:pt x="757" y="757"/>
                    <a:pt x="47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73"/>
            <p:cNvSpPr/>
            <p:nvPr/>
          </p:nvSpPr>
          <p:spPr>
            <a:xfrm>
              <a:off x="-57436450" y="3198925"/>
              <a:ext cx="185900" cy="154400"/>
            </a:xfrm>
            <a:custGeom>
              <a:avLst/>
              <a:gdLst/>
              <a:ahLst/>
              <a:cxnLst/>
              <a:rect l="l" t="t" r="r" b="b"/>
              <a:pathLst>
                <a:path w="7436" h="6176" extrusionOk="0">
                  <a:moveTo>
                    <a:pt x="1828" y="0"/>
                  </a:moveTo>
                  <a:cubicBezTo>
                    <a:pt x="1198" y="0"/>
                    <a:pt x="568" y="126"/>
                    <a:pt x="1" y="315"/>
                  </a:cubicBezTo>
                  <a:cubicBezTo>
                    <a:pt x="1" y="977"/>
                    <a:pt x="127" y="1639"/>
                    <a:pt x="316" y="2237"/>
                  </a:cubicBezTo>
                  <a:cubicBezTo>
                    <a:pt x="631" y="3151"/>
                    <a:pt x="1167" y="3970"/>
                    <a:pt x="1923" y="4600"/>
                  </a:cubicBezTo>
                  <a:cubicBezTo>
                    <a:pt x="2710" y="5262"/>
                    <a:pt x="3655" y="5734"/>
                    <a:pt x="4632" y="5892"/>
                  </a:cubicBezTo>
                  <a:cubicBezTo>
                    <a:pt x="5073" y="5976"/>
                    <a:pt x="5262" y="5976"/>
                    <a:pt x="5507" y="5976"/>
                  </a:cubicBezTo>
                  <a:lnTo>
                    <a:pt x="5507" y="5976"/>
                  </a:lnTo>
                  <a:cubicBezTo>
                    <a:pt x="5630" y="5976"/>
                    <a:pt x="5766" y="5976"/>
                    <a:pt x="5955" y="5986"/>
                  </a:cubicBezTo>
                  <a:lnTo>
                    <a:pt x="6680" y="5986"/>
                  </a:lnTo>
                  <a:cubicBezTo>
                    <a:pt x="6963" y="5986"/>
                    <a:pt x="7215" y="6049"/>
                    <a:pt x="7436" y="6175"/>
                  </a:cubicBezTo>
                  <a:lnTo>
                    <a:pt x="7436" y="5671"/>
                  </a:lnTo>
                  <a:lnTo>
                    <a:pt x="7436" y="5640"/>
                  </a:lnTo>
                  <a:cubicBezTo>
                    <a:pt x="7436" y="2552"/>
                    <a:pt x="4916" y="0"/>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3"/>
            <p:cNvSpPr/>
            <p:nvPr/>
          </p:nvSpPr>
          <p:spPr>
            <a:xfrm>
              <a:off x="-57532525" y="3215450"/>
              <a:ext cx="77975" cy="148900"/>
            </a:xfrm>
            <a:custGeom>
              <a:avLst/>
              <a:gdLst/>
              <a:ahLst/>
              <a:cxnLst/>
              <a:rect l="l" t="t" r="r" b="b"/>
              <a:pathLst>
                <a:path w="3119" h="5956" extrusionOk="0">
                  <a:moveTo>
                    <a:pt x="3056" y="1"/>
                  </a:moveTo>
                  <a:cubicBezTo>
                    <a:pt x="1260" y="946"/>
                    <a:pt x="0" y="2836"/>
                    <a:pt x="0" y="5010"/>
                  </a:cubicBezTo>
                  <a:lnTo>
                    <a:pt x="0" y="5199"/>
                  </a:lnTo>
                  <a:lnTo>
                    <a:pt x="0" y="5955"/>
                  </a:lnTo>
                  <a:lnTo>
                    <a:pt x="63" y="5955"/>
                  </a:lnTo>
                  <a:cubicBezTo>
                    <a:pt x="158" y="5829"/>
                    <a:pt x="284" y="5766"/>
                    <a:pt x="410" y="5672"/>
                  </a:cubicBezTo>
                  <a:lnTo>
                    <a:pt x="788" y="5451"/>
                  </a:lnTo>
                  <a:lnTo>
                    <a:pt x="788" y="4601"/>
                  </a:lnTo>
                  <a:cubicBezTo>
                    <a:pt x="914" y="3088"/>
                    <a:pt x="1828" y="1576"/>
                    <a:pt x="3119" y="789"/>
                  </a:cubicBezTo>
                  <a:cubicBezTo>
                    <a:pt x="3088" y="505"/>
                    <a:pt x="3056" y="253"/>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8" name="Google Shape;7548;p73"/>
          <p:cNvGrpSpPr/>
          <p:nvPr/>
        </p:nvGrpSpPr>
        <p:grpSpPr>
          <a:xfrm>
            <a:off x="5331543" y="1835446"/>
            <a:ext cx="314662" cy="358099"/>
            <a:chOff x="-57549075" y="3590375"/>
            <a:chExt cx="279625" cy="318225"/>
          </a:xfrm>
        </p:grpSpPr>
        <p:sp>
          <p:nvSpPr>
            <p:cNvPr id="7549" name="Google Shape;7549;p73"/>
            <p:cNvSpPr/>
            <p:nvPr/>
          </p:nvSpPr>
          <p:spPr>
            <a:xfrm>
              <a:off x="-57493150" y="3777825"/>
              <a:ext cx="167000" cy="74850"/>
            </a:xfrm>
            <a:custGeom>
              <a:avLst/>
              <a:gdLst/>
              <a:ahLst/>
              <a:cxnLst/>
              <a:rect l="l" t="t" r="r" b="b"/>
              <a:pathLst>
                <a:path w="6680" h="2994" extrusionOk="0">
                  <a:moveTo>
                    <a:pt x="4376" y="670"/>
                  </a:moveTo>
                  <a:cubicBezTo>
                    <a:pt x="4474" y="670"/>
                    <a:pt x="4569" y="709"/>
                    <a:pt x="4632" y="788"/>
                  </a:cubicBezTo>
                  <a:cubicBezTo>
                    <a:pt x="4789" y="946"/>
                    <a:pt x="4789" y="1166"/>
                    <a:pt x="4632" y="1292"/>
                  </a:cubicBezTo>
                  <a:cubicBezTo>
                    <a:pt x="4285" y="1639"/>
                    <a:pt x="3781" y="1859"/>
                    <a:pt x="3308" y="1859"/>
                  </a:cubicBezTo>
                  <a:cubicBezTo>
                    <a:pt x="2836" y="1859"/>
                    <a:pt x="2332" y="1639"/>
                    <a:pt x="2017" y="1292"/>
                  </a:cubicBezTo>
                  <a:cubicBezTo>
                    <a:pt x="1859" y="1166"/>
                    <a:pt x="1859" y="946"/>
                    <a:pt x="2017" y="788"/>
                  </a:cubicBezTo>
                  <a:cubicBezTo>
                    <a:pt x="2096" y="709"/>
                    <a:pt x="2198" y="670"/>
                    <a:pt x="2292" y="670"/>
                  </a:cubicBezTo>
                  <a:cubicBezTo>
                    <a:pt x="2387" y="670"/>
                    <a:pt x="2474" y="709"/>
                    <a:pt x="2521" y="788"/>
                  </a:cubicBezTo>
                  <a:cubicBezTo>
                    <a:pt x="2741" y="1009"/>
                    <a:pt x="3033" y="1119"/>
                    <a:pt x="3320" y="1119"/>
                  </a:cubicBezTo>
                  <a:cubicBezTo>
                    <a:pt x="3608" y="1119"/>
                    <a:pt x="3891" y="1009"/>
                    <a:pt x="4096" y="788"/>
                  </a:cubicBezTo>
                  <a:cubicBezTo>
                    <a:pt x="4175" y="709"/>
                    <a:pt x="4277" y="670"/>
                    <a:pt x="4376" y="670"/>
                  </a:cubicBezTo>
                  <a:close/>
                  <a:moveTo>
                    <a:pt x="0" y="0"/>
                  </a:moveTo>
                  <a:cubicBezTo>
                    <a:pt x="221" y="1702"/>
                    <a:pt x="1639" y="2993"/>
                    <a:pt x="3371" y="2993"/>
                  </a:cubicBezTo>
                  <a:cubicBezTo>
                    <a:pt x="5104" y="2993"/>
                    <a:pt x="6522" y="1702"/>
                    <a:pt x="6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3"/>
            <p:cNvSpPr/>
            <p:nvPr/>
          </p:nvSpPr>
          <p:spPr>
            <a:xfrm>
              <a:off x="-57478975" y="3647075"/>
              <a:ext cx="139425" cy="37050"/>
            </a:xfrm>
            <a:custGeom>
              <a:avLst/>
              <a:gdLst/>
              <a:ahLst/>
              <a:cxnLst/>
              <a:rect l="l" t="t" r="r" b="b"/>
              <a:pathLst>
                <a:path w="5577" h="1482" extrusionOk="0">
                  <a:moveTo>
                    <a:pt x="2804" y="1"/>
                  </a:moveTo>
                  <a:cubicBezTo>
                    <a:pt x="1639" y="1"/>
                    <a:pt x="599" y="568"/>
                    <a:pt x="1" y="1481"/>
                  </a:cubicBezTo>
                  <a:lnTo>
                    <a:pt x="5577" y="1481"/>
                  </a:lnTo>
                  <a:cubicBezTo>
                    <a:pt x="4947" y="568"/>
                    <a:pt x="3939" y="1"/>
                    <a:pt x="28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73"/>
            <p:cNvSpPr/>
            <p:nvPr/>
          </p:nvSpPr>
          <p:spPr>
            <a:xfrm>
              <a:off x="-57493950" y="3703775"/>
              <a:ext cx="168575" cy="55175"/>
            </a:xfrm>
            <a:custGeom>
              <a:avLst/>
              <a:gdLst/>
              <a:ahLst/>
              <a:cxnLst/>
              <a:rect l="l" t="t" r="r" b="b"/>
              <a:pathLst>
                <a:path w="6743" h="2207" extrusionOk="0">
                  <a:moveTo>
                    <a:pt x="1891" y="726"/>
                  </a:moveTo>
                  <a:cubicBezTo>
                    <a:pt x="2080" y="726"/>
                    <a:pt x="2238" y="883"/>
                    <a:pt x="2238" y="1072"/>
                  </a:cubicBezTo>
                  <a:cubicBezTo>
                    <a:pt x="2238" y="1261"/>
                    <a:pt x="2080" y="1419"/>
                    <a:pt x="1891" y="1419"/>
                  </a:cubicBezTo>
                  <a:cubicBezTo>
                    <a:pt x="1702" y="1419"/>
                    <a:pt x="1545" y="1261"/>
                    <a:pt x="1545" y="1072"/>
                  </a:cubicBezTo>
                  <a:cubicBezTo>
                    <a:pt x="1513" y="883"/>
                    <a:pt x="1671" y="726"/>
                    <a:pt x="1891" y="726"/>
                  </a:cubicBezTo>
                  <a:close/>
                  <a:moveTo>
                    <a:pt x="4853" y="726"/>
                  </a:moveTo>
                  <a:cubicBezTo>
                    <a:pt x="5042" y="726"/>
                    <a:pt x="5199" y="883"/>
                    <a:pt x="5199" y="1072"/>
                  </a:cubicBezTo>
                  <a:cubicBezTo>
                    <a:pt x="5199" y="1261"/>
                    <a:pt x="5042" y="1419"/>
                    <a:pt x="4853" y="1419"/>
                  </a:cubicBezTo>
                  <a:cubicBezTo>
                    <a:pt x="4664" y="1419"/>
                    <a:pt x="4506" y="1261"/>
                    <a:pt x="4506" y="1072"/>
                  </a:cubicBezTo>
                  <a:cubicBezTo>
                    <a:pt x="4506" y="883"/>
                    <a:pt x="4664" y="726"/>
                    <a:pt x="4853" y="726"/>
                  </a:cubicBezTo>
                  <a:close/>
                  <a:moveTo>
                    <a:pt x="253" y="1"/>
                  </a:moveTo>
                  <a:cubicBezTo>
                    <a:pt x="95" y="316"/>
                    <a:pt x="1" y="726"/>
                    <a:pt x="1" y="1104"/>
                  </a:cubicBezTo>
                  <a:lnTo>
                    <a:pt x="1" y="2206"/>
                  </a:lnTo>
                  <a:lnTo>
                    <a:pt x="6743" y="2206"/>
                  </a:lnTo>
                  <a:lnTo>
                    <a:pt x="6743" y="1104"/>
                  </a:lnTo>
                  <a:cubicBezTo>
                    <a:pt x="6743" y="726"/>
                    <a:pt x="6680" y="347"/>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73"/>
            <p:cNvSpPr/>
            <p:nvPr/>
          </p:nvSpPr>
          <p:spPr>
            <a:xfrm>
              <a:off x="-57549075" y="3590375"/>
              <a:ext cx="279625" cy="318225"/>
            </a:xfrm>
            <a:custGeom>
              <a:avLst/>
              <a:gdLst/>
              <a:ahLst/>
              <a:cxnLst/>
              <a:rect l="l" t="t" r="r" b="b"/>
              <a:pathLst>
                <a:path w="11185" h="12729" extrusionOk="0">
                  <a:moveTo>
                    <a:pt x="5608" y="1544"/>
                  </a:moveTo>
                  <a:cubicBezTo>
                    <a:pt x="7877" y="1544"/>
                    <a:pt x="9704" y="3403"/>
                    <a:pt x="9704" y="5640"/>
                  </a:cubicBezTo>
                  <a:lnTo>
                    <a:pt x="9704" y="7152"/>
                  </a:lnTo>
                  <a:cubicBezTo>
                    <a:pt x="9704" y="9389"/>
                    <a:pt x="7845" y="11247"/>
                    <a:pt x="5608" y="11247"/>
                  </a:cubicBezTo>
                  <a:cubicBezTo>
                    <a:pt x="3372" y="11247"/>
                    <a:pt x="1513" y="9389"/>
                    <a:pt x="1513" y="7152"/>
                  </a:cubicBezTo>
                  <a:lnTo>
                    <a:pt x="1513" y="5640"/>
                  </a:lnTo>
                  <a:cubicBezTo>
                    <a:pt x="1513" y="3403"/>
                    <a:pt x="3309" y="1544"/>
                    <a:pt x="5608" y="1544"/>
                  </a:cubicBezTo>
                  <a:close/>
                  <a:moveTo>
                    <a:pt x="5608" y="0"/>
                  </a:moveTo>
                  <a:cubicBezTo>
                    <a:pt x="2521" y="0"/>
                    <a:pt x="1" y="2521"/>
                    <a:pt x="1" y="5640"/>
                  </a:cubicBezTo>
                  <a:lnTo>
                    <a:pt x="1" y="12382"/>
                  </a:lnTo>
                  <a:cubicBezTo>
                    <a:pt x="1" y="12571"/>
                    <a:pt x="158" y="12728"/>
                    <a:pt x="347" y="12728"/>
                  </a:cubicBezTo>
                  <a:lnTo>
                    <a:pt x="10807" y="12728"/>
                  </a:lnTo>
                  <a:cubicBezTo>
                    <a:pt x="10996" y="12728"/>
                    <a:pt x="11153" y="12571"/>
                    <a:pt x="11153" y="12382"/>
                  </a:cubicBezTo>
                  <a:lnTo>
                    <a:pt x="11153" y="5640"/>
                  </a:lnTo>
                  <a:cubicBezTo>
                    <a:pt x="11185" y="2521"/>
                    <a:pt x="8664" y="0"/>
                    <a:pt x="5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3" name="Google Shape;7553;p73"/>
          <p:cNvGrpSpPr/>
          <p:nvPr/>
        </p:nvGrpSpPr>
        <p:grpSpPr>
          <a:xfrm>
            <a:off x="5323740" y="2276817"/>
            <a:ext cx="359871" cy="359871"/>
            <a:chOff x="-57570350" y="3982600"/>
            <a:chExt cx="319800" cy="319800"/>
          </a:xfrm>
        </p:grpSpPr>
        <p:sp>
          <p:nvSpPr>
            <p:cNvPr id="7554" name="Google Shape;7554;p73"/>
            <p:cNvSpPr/>
            <p:nvPr/>
          </p:nvSpPr>
          <p:spPr>
            <a:xfrm>
              <a:off x="-57570350" y="4033000"/>
              <a:ext cx="319800" cy="269400"/>
            </a:xfrm>
            <a:custGeom>
              <a:avLst/>
              <a:gdLst/>
              <a:ahLst/>
              <a:cxnLst/>
              <a:rect l="l" t="t" r="r" b="b"/>
              <a:pathLst>
                <a:path w="12792" h="10776" extrusionOk="0">
                  <a:moveTo>
                    <a:pt x="9452" y="4002"/>
                  </a:moveTo>
                  <a:cubicBezTo>
                    <a:pt x="10083" y="4002"/>
                    <a:pt x="10555" y="4506"/>
                    <a:pt x="10555" y="5105"/>
                  </a:cubicBezTo>
                  <a:lnTo>
                    <a:pt x="10555" y="5861"/>
                  </a:lnTo>
                  <a:cubicBezTo>
                    <a:pt x="10555" y="6459"/>
                    <a:pt x="10020" y="6963"/>
                    <a:pt x="9389" y="6963"/>
                  </a:cubicBezTo>
                  <a:lnTo>
                    <a:pt x="8665" y="6963"/>
                  </a:lnTo>
                  <a:cubicBezTo>
                    <a:pt x="7751" y="6963"/>
                    <a:pt x="6995" y="6333"/>
                    <a:pt x="6838" y="5451"/>
                  </a:cubicBezTo>
                  <a:lnTo>
                    <a:pt x="6018" y="5451"/>
                  </a:lnTo>
                  <a:cubicBezTo>
                    <a:pt x="5861" y="6333"/>
                    <a:pt x="5105" y="6963"/>
                    <a:pt x="4191" y="6963"/>
                  </a:cubicBezTo>
                  <a:lnTo>
                    <a:pt x="3467" y="6963"/>
                  </a:lnTo>
                  <a:cubicBezTo>
                    <a:pt x="2836" y="6963"/>
                    <a:pt x="2364" y="6459"/>
                    <a:pt x="2364" y="5861"/>
                  </a:cubicBezTo>
                  <a:lnTo>
                    <a:pt x="2364" y="5105"/>
                  </a:lnTo>
                  <a:cubicBezTo>
                    <a:pt x="2364" y="4475"/>
                    <a:pt x="2868" y="4002"/>
                    <a:pt x="3467" y="4002"/>
                  </a:cubicBezTo>
                  <a:lnTo>
                    <a:pt x="4947" y="4002"/>
                  </a:lnTo>
                  <a:cubicBezTo>
                    <a:pt x="5420" y="4002"/>
                    <a:pt x="5861" y="4317"/>
                    <a:pt x="6018" y="4758"/>
                  </a:cubicBezTo>
                  <a:lnTo>
                    <a:pt x="6869" y="4758"/>
                  </a:lnTo>
                  <a:cubicBezTo>
                    <a:pt x="7027" y="4317"/>
                    <a:pt x="7436" y="4002"/>
                    <a:pt x="7940" y="4002"/>
                  </a:cubicBezTo>
                  <a:close/>
                  <a:moveTo>
                    <a:pt x="1135" y="6365"/>
                  </a:moveTo>
                  <a:cubicBezTo>
                    <a:pt x="1419" y="6711"/>
                    <a:pt x="1860" y="6963"/>
                    <a:pt x="2364" y="6963"/>
                  </a:cubicBezTo>
                  <a:cubicBezTo>
                    <a:pt x="2301" y="7342"/>
                    <a:pt x="1954" y="7720"/>
                    <a:pt x="1576" y="7720"/>
                  </a:cubicBezTo>
                  <a:cubicBezTo>
                    <a:pt x="1167" y="7720"/>
                    <a:pt x="820" y="7342"/>
                    <a:pt x="820" y="6963"/>
                  </a:cubicBezTo>
                  <a:cubicBezTo>
                    <a:pt x="820" y="6711"/>
                    <a:pt x="946" y="6491"/>
                    <a:pt x="1135" y="6365"/>
                  </a:cubicBezTo>
                  <a:close/>
                  <a:moveTo>
                    <a:pt x="11784" y="6365"/>
                  </a:moveTo>
                  <a:cubicBezTo>
                    <a:pt x="11973" y="6491"/>
                    <a:pt x="12099" y="6711"/>
                    <a:pt x="12099" y="6963"/>
                  </a:cubicBezTo>
                  <a:cubicBezTo>
                    <a:pt x="12099" y="7342"/>
                    <a:pt x="11721" y="7720"/>
                    <a:pt x="11343" y="7720"/>
                  </a:cubicBezTo>
                  <a:cubicBezTo>
                    <a:pt x="10933" y="7720"/>
                    <a:pt x="10555" y="7342"/>
                    <a:pt x="10555" y="6963"/>
                  </a:cubicBezTo>
                  <a:cubicBezTo>
                    <a:pt x="11028" y="6963"/>
                    <a:pt x="11500" y="6711"/>
                    <a:pt x="11784" y="6365"/>
                  </a:cubicBezTo>
                  <a:close/>
                  <a:moveTo>
                    <a:pt x="7432" y="7286"/>
                  </a:moveTo>
                  <a:cubicBezTo>
                    <a:pt x="7531" y="7286"/>
                    <a:pt x="7625" y="7326"/>
                    <a:pt x="7688" y="7405"/>
                  </a:cubicBezTo>
                  <a:cubicBezTo>
                    <a:pt x="7909" y="7499"/>
                    <a:pt x="7909" y="7751"/>
                    <a:pt x="7751" y="7909"/>
                  </a:cubicBezTo>
                  <a:cubicBezTo>
                    <a:pt x="7405" y="8255"/>
                    <a:pt x="6932" y="8444"/>
                    <a:pt x="6396" y="8444"/>
                  </a:cubicBezTo>
                  <a:cubicBezTo>
                    <a:pt x="5892" y="8444"/>
                    <a:pt x="5420" y="8255"/>
                    <a:pt x="5073" y="7909"/>
                  </a:cubicBezTo>
                  <a:cubicBezTo>
                    <a:pt x="4916" y="7751"/>
                    <a:pt x="4916" y="7499"/>
                    <a:pt x="5073" y="7405"/>
                  </a:cubicBezTo>
                  <a:cubicBezTo>
                    <a:pt x="5152" y="7326"/>
                    <a:pt x="5254" y="7286"/>
                    <a:pt x="5349" y="7286"/>
                  </a:cubicBezTo>
                  <a:cubicBezTo>
                    <a:pt x="5443" y="7286"/>
                    <a:pt x="5530" y="7326"/>
                    <a:pt x="5577" y="7405"/>
                  </a:cubicBezTo>
                  <a:cubicBezTo>
                    <a:pt x="5798" y="7609"/>
                    <a:pt x="6081" y="7712"/>
                    <a:pt x="6365" y="7712"/>
                  </a:cubicBezTo>
                  <a:cubicBezTo>
                    <a:pt x="6649" y="7712"/>
                    <a:pt x="6932" y="7609"/>
                    <a:pt x="7153" y="7405"/>
                  </a:cubicBezTo>
                  <a:cubicBezTo>
                    <a:pt x="7231" y="7326"/>
                    <a:pt x="7334" y="7286"/>
                    <a:pt x="7432" y="7286"/>
                  </a:cubicBezTo>
                  <a:close/>
                  <a:moveTo>
                    <a:pt x="8287" y="1"/>
                  </a:moveTo>
                  <a:lnTo>
                    <a:pt x="8350" y="158"/>
                  </a:lnTo>
                  <a:cubicBezTo>
                    <a:pt x="8476" y="726"/>
                    <a:pt x="8287" y="1324"/>
                    <a:pt x="7940" y="1797"/>
                  </a:cubicBezTo>
                  <a:cubicBezTo>
                    <a:pt x="7562" y="2269"/>
                    <a:pt x="6995" y="2521"/>
                    <a:pt x="6428" y="2521"/>
                  </a:cubicBezTo>
                  <a:cubicBezTo>
                    <a:pt x="5829" y="2521"/>
                    <a:pt x="5262" y="2238"/>
                    <a:pt x="4884" y="1797"/>
                  </a:cubicBezTo>
                  <a:cubicBezTo>
                    <a:pt x="4475" y="1324"/>
                    <a:pt x="4380" y="726"/>
                    <a:pt x="4475" y="190"/>
                  </a:cubicBezTo>
                  <a:lnTo>
                    <a:pt x="4538" y="32"/>
                  </a:lnTo>
                  <a:lnTo>
                    <a:pt x="4538" y="32"/>
                  </a:lnTo>
                  <a:cubicBezTo>
                    <a:pt x="3183" y="726"/>
                    <a:pt x="2332" y="2112"/>
                    <a:pt x="2332" y="3655"/>
                  </a:cubicBezTo>
                  <a:lnTo>
                    <a:pt x="2332" y="4002"/>
                  </a:lnTo>
                  <a:cubicBezTo>
                    <a:pt x="1482" y="4002"/>
                    <a:pt x="789" y="4664"/>
                    <a:pt x="789" y="5514"/>
                  </a:cubicBezTo>
                  <a:lnTo>
                    <a:pt x="789" y="5703"/>
                  </a:lnTo>
                  <a:cubicBezTo>
                    <a:pt x="316" y="5987"/>
                    <a:pt x="32" y="6428"/>
                    <a:pt x="32" y="6995"/>
                  </a:cubicBezTo>
                  <a:cubicBezTo>
                    <a:pt x="32" y="7405"/>
                    <a:pt x="190" y="7751"/>
                    <a:pt x="442" y="7972"/>
                  </a:cubicBezTo>
                  <a:lnTo>
                    <a:pt x="64" y="8696"/>
                  </a:lnTo>
                  <a:cubicBezTo>
                    <a:pt x="1" y="8885"/>
                    <a:pt x="64" y="9074"/>
                    <a:pt x="222" y="9200"/>
                  </a:cubicBezTo>
                  <a:cubicBezTo>
                    <a:pt x="282" y="9226"/>
                    <a:pt x="341" y="9238"/>
                    <a:pt x="396" y="9238"/>
                  </a:cubicBezTo>
                  <a:cubicBezTo>
                    <a:pt x="541" y="9238"/>
                    <a:pt x="666" y="9157"/>
                    <a:pt x="757" y="9043"/>
                  </a:cubicBezTo>
                  <a:lnTo>
                    <a:pt x="1072" y="8413"/>
                  </a:lnTo>
                  <a:cubicBezTo>
                    <a:pt x="1230" y="8444"/>
                    <a:pt x="1387" y="8507"/>
                    <a:pt x="1545" y="8507"/>
                  </a:cubicBezTo>
                  <a:cubicBezTo>
                    <a:pt x="1923" y="8507"/>
                    <a:pt x="2332" y="8350"/>
                    <a:pt x="2553" y="8098"/>
                  </a:cubicBezTo>
                  <a:cubicBezTo>
                    <a:pt x="3151" y="9641"/>
                    <a:pt x="4632" y="10776"/>
                    <a:pt x="6365" y="10776"/>
                  </a:cubicBezTo>
                  <a:cubicBezTo>
                    <a:pt x="8098" y="10776"/>
                    <a:pt x="9610" y="9641"/>
                    <a:pt x="10209" y="8098"/>
                  </a:cubicBezTo>
                  <a:cubicBezTo>
                    <a:pt x="10461" y="8381"/>
                    <a:pt x="10839" y="8507"/>
                    <a:pt x="11217" y="8507"/>
                  </a:cubicBezTo>
                  <a:cubicBezTo>
                    <a:pt x="11374" y="8507"/>
                    <a:pt x="11532" y="8444"/>
                    <a:pt x="11689" y="8413"/>
                  </a:cubicBezTo>
                  <a:lnTo>
                    <a:pt x="12004" y="9043"/>
                  </a:lnTo>
                  <a:cubicBezTo>
                    <a:pt x="12069" y="9173"/>
                    <a:pt x="12193" y="9258"/>
                    <a:pt x="12326" y="9258"/>
                  </a:cubicBezTo>
                  <a:cubicBezTo>
                    <a:pt x="12387" y="9258"/>
                    <a:pt x="12449" y="9240"/>
                    <a:pt x="12508" y="9200"/>
                  </a:cubicBezTo>
                  <a:cubicBezTo>
                    <a:pt x="12729" y="9137"/>
                    <a:pt x="12792" y="8885"/>
                    <a:pt x="12666" y="8696"/>
                  </a:cubicBezTo>
                  <a:lnTo>
                    <a:pt x="12382" y="7940"/>
                  </a:lnTo>
                  <a:cubicBezTo>
                    <a:pt x="12634" y="7657"/>
                    <a:pt x="12792" y="7310"/>
                    <a:pt x="12792" y="6963"/>
                  </a:cubicBezTo>
                  <a:cubicBezTo>
                    <a:pt x="12792" y="6396"/>
                    <a:pt x="12477" y="5924"/>
                    <a:pt x="12036" y="5672"/>
                  </a:cubicBezTo>
                  <a:lnTo>
                    <a:pt x="12036" y="5451"/>
                  </a:lnTo>
                  <a:cubicBezTo>
                    <a:pt x="12036" y="4632"/>
                    <a:pt x="11343" y="3971"/>
                    <a:pt x="10524" y="3971"/>
                  </a:cubicBezTo>
                  <a:lnTo>
                    <a:pt x="10524" y="3624"/>
                  </a:lnTo>
                  <a:cubicBezTo>
                    <a:pt x="10524" y="2080"/>
                    <a:pt x="9641" y="694"/>
                    <a:pt x="82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73"/>
            <p:cNvSpPr/>
            <p:nvPr/>
          </p:nvSpPr>
          <p:spPr>
            <a:xfrm>
              <a:off x="-57493150" y="4151150"/>
              <a:ext cx="55150" cy="36250"/>
            </a:xfrm>
            <a:custGeom>
              <a:avLst/>
              <a:gdLst/>
              <a:ahLst/>
              <a:cxnLst/>
              <a:rect l="l" t="t" r="r" b="b"/>
              <a:pathLst>
                <a:path w="2206" h="1450" extrusionOk="0">
                  <a:moveTo>
                    <a:pt x="379" y="1"/>
                  </a:moveTo>
                  <a:cubicBezTo>
                    <a:pt x="158" y="1"/>
                    <a:pt x="0" y="127"/>
                    <a:pt x="0" y="347"/>
                  </a:cubicBezTo>
                  <a:lnTo>
                    <a:pt x="0" y="1072"/>
                  </a:lnTo>
                  <a:cubicBezTo>
                    <a:pt x="0" y="1292"/>
                    <a:pt x="158" y="1450"/>
                    <a:pt x="379" y="1450"/>
                  </a:cubicBezTo>
                  <a:lnTo>
                    <a:pt x="1103" y="1450"/>
                  </a:lnTo>
                  <a:cubicBezTo>
                    <a:pt x="1733" y="1450"/>
                    <a:pt x="2206" y="914"/>
                    <a:pt x="2206" y="347"/>
                  </a:cubicBezTo>
                  <a:cubicBezTo>
                    <a:pt x="2206" y="158"/>
                    <a:pt x="2048"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3"/>
            <p:cNvSpPr/>
            <p:nvPr/>
          </p:nvSpPr>
          <p:spPr>
            <a:xfrm>
              <a:off x="-57381300" y="4151150"/>
              <a:ext cx="55925" cy="36250"/>
            </a:xfrm>
            <a:custGeom>
              <a:avLst/>
              <a:gdLst/>
              <a:ahLst/>
              <a:cxnLst/>
              <a:rect l="l" t="t" r="r" b="b"/>
              <a:pathLst>
                <a:path w="2237" h="1450" extrusionOk="0">
                  <a:moveTo>
                    <a:pt x="347" y="1"/>
                  </a:moveTo>
                  <a:cubicBezTo>
                    <a:pt x="158" y="1"/>
                    <a:pt x="0" y="127"/>
                    <a:pt x="0" y="347"/>
                  </a:cubicBezTo>
                  <a:cubicBezTo>
                    <a:pt x="0" y="977"/>
                    <a:pt x="504" y="1450"/>
                    <a:pt x="1103" y="1450"/>
                  </a:cubicBezTo>
                  <a:lnTo>
                    <a:pt x="1827" y="1450"/>
                  </a:lnTo>
                  <a:cubicBezTo>
                    <a:pt x="2048" y="1450"/>
                    <a:pt x="2206" y="1292"/>
                    <a:pt x="2206" y="1103"/>
                  </a:cubicBezTo>
                  <a:lnTo>
                    <a:pt x="2206" y="347"/>
                  </a:lnTo>
                  <a:cubicBezTo>
                    <a:pt x="2237" y="158"/>
                    <a:pt x="2079"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73"/>
            <p:cNvSpPr/>
            <p:nvPr/>
          </p:nvSpPr>
          <p:spPr>
            <a:xfrm>
              <a:off x="-57442750" y="3982600"/>
              <a:ext cx="65400" cy="93750"/>
            </a:xfrm>
            <a:custGeom>
              <a:avLst/>
              <a:gdLst/>
              <a:ahLst/>
              <a:cxnLst/>
              <a:rect l="l" t="t" r="r" b="b"/>
              <a:pathLst>
                <a:path w="2616" h="3750" extrusionOk="0">
                  <a:moveTo>
                    <a:pt x="1292" y="1"/>
                  </a:moveTo>
                  <a:cubicBezTo>
                    <a:pt x="883" y="1"/>
                    <a:pt x="473" y="316"/>
                    <a:pt x="410" y="757"/>
                  </a:cubicBezTo>
                  <a:lnTo>
                    <a:pt x="95" y="2269"/>
                  </a:lnTo>
                  <a:cubicBezTo>
                    <a:pt x="1" y="2616"/>
                    <a:pt x="127" y="3025"/>
                    <a:pt x="316" y="3309"/>
                  </a:cubicBezTo>
                  <a:cubicBezTo>
                    <a:pt x="599" y="3529"/>
                    <a:pt x="946" y="3750"/>
                    <a:pt x="1355" y="3750"/>
                  </a:cubicBezTo>
                  <a:cubicBezTo>
                    <a:pt x="1702" y="3750"/>
                    <a:pt x="2049" y="3592"/>
                    <a:pt x="2301" y="3309"/>
                  </a:cubicBezTo>
                  <a:cubicBezTo>
                    <a:pt x="2521" y="3025"/>
                    <a:pt x="2616" y="2647"/>
                    <a:pt x="2521" y="2269"/>
                  </a:cubicBezTo>
                  <a:lnTo>
                    <a:pt x="2206" y="757"/>
                  </a:lnTo>
                  <a:cubicBezTo>
                    <a:pt x="2143" y="316"/>
                    <a:pt x="1734"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8" name="Google Shape;7558;p73"/>
          <p:cNvGrpSpPr/>
          <p:nvPr/>
        </p:nvGrpSpPr>
        <p:grpSpPr>
          <a:xfrm>
            <a:off x="7538779" y="1379246"/>
            <a:ext cx="314662" cy="358999"/>
            <a:chOff x="-55576850" y="3198125"/>
            <a:chExt cx="279625" cy="319025"/>
          </a:xfrm>
        </p:grpSpPr>
        <p:sp>
          <p:nvSpPr>
            <p:cNvPr id="7559" name="Google Shape;7559;p73"/>
            <p:cNvSpPr/>
            <p:nvPr/>
          </p:nvSpPr>
          <p:spPr>
            <a:xfrm>
              <a:off x="-55576850" y="3335975"/>
              <a:ext cx="18900" cy="63825"/>
            </a:xfrm>
            <a:custGeom>
              <a:avLst/>
              <a:gdLst/>
              <a:ahLst/>
              <a:cxnLst/>
              <a:rect l="l" t="t" r="r" b="b"/>
              <a:pathLst>
                <a:path w="756" h="2553" extrusionOk="0">
                  <a:moveTo>
                    <a:pt x="756" y="0"/>
                  </a:moveTo>
                  <a:cubicBezTo>
                    <a:pt x="315" y="221"/>
                    <a:pt x="0" y="693"/>
                    <a:pt x="0" y="1260"/>
                  </a:cubicBezTo>
                  <a:cubicBezTo>
                    <a:pt x="0" y="1796"/>
                    <a:pt x="315" y="2269"/>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73"/>
            <p:cNvSpPr/>
            <p:nvPr/>
          </p:nvSpPr>
          <p:spPr>
            <a:xfrm>
              <a:off x="-55539850" y="3198125"/>
              <a:ext cx="206375" cy="99275"/>
            </a:xfrm>
            <a:custGeom>
              <a:avLst/>
              <a:gdLst/>
              <a:ahLst/>
              <a:cxnLst/>
              <a:rect l="l" t="t" r="r" b="b"/>
              <a:pathLst>
                <a:path w="8255" h="3971" extrusionOk="0">
                  <a:moveTo>
                    <a:pt x="2616" y="1"/>
                  </a:moveTo>
                  <a:cubicBezTo>
                    <a:pt x="2348" y="1"/>
                    <a:pt x="2080" y="95"/>
                    <a:pt x="1860" y="284"/>
                  </a:cubicBezTo>
                  <a:cubicBezTo>
                    <a:pt x="1671" y="95"/>
                    <a:pt x="1387" y="32"/>
                    <a:pt x="1103" y="32"/>
                  </a:cubicBezTo>
                  <a:cubicBezTo>
                    <a:pt x="473" y="32"/>
                    <a:pt x="1" y="536"/>
                    <a:pt x="1" y="1135"/>
                  </a:cubicBezTo>
                  <a:lnTo>
                    <a:pt x="1" y="3970"/>
                  </a:lnTo>
                  <a:lnTo>
                    <a:pt x="1639" y="2364"/>
                  </a:lnTo>
                  <a:cubicBezTo>
                    <a:pt x="1715" y="2287"/>
                    <a:pt x="1815" y="2246"/>
                    <a:pt x="1916" y="2246"/>
                  </a:cubicBezTo>
                  <a:cubicBezTo>
                    <a:pt x="1982" y="2246"/>
                    <a:pt x="2049" y="2263"/>
                    <a:pt x="2112" y="2301"/>
                  </a:cubicBezTo>
                  <a:cubicBezTo>
                    <a:pt x="2726" y="2726"/>
                    <a:pt x="3435" y="2939"/>
                    <a:pt x="4144" y="2939"/>
                  </a:cubicBezTo>
                  <a:cubicBezTo>
                    <a:pt x="4853" y="2939"/>
                    <a:pt x="5561" y="2726"/>
                    <a:pt x="6176" y="2301"/>
                  </a:cubicBezTo>
                  <a:cubicBezTo>
                    <a:pt x="6225" y="2263"/>
                    <a:pt x="6290" y="2246"/>
                    <a:pt x="6355" y="2246"/>
                  </a:cubicBezTo>
                  <a:cubicBezTo>
                    <a:pt x="6456" y="2246"/>
                    <a:pt x="6560" y="2287"/>
                    <a:pt x="6617" y="2364"/>
                  </a:cubicBezTo>
                  <a:lnTo>
                    <a:pt x="8255" y="3970"/>
                  </a:lnTo>
                  <a:lnTo>
                    <a:pt x="8255" y="1135"/>
                  </a:lnTo>
                  <a:cubicBezTo>
                    <a:pt x="8192" y="536"/>
                    <a:pt x="7719" y="32"/>
                    <a:pt x="7089" y="32"/>
                  </a:cubicBezTo>
                  <a:cubicBezTo>
                    <a:pt x="6837" y="32"/>
                    <a:pt x="6554" y="158"/>
                    <a:pt x="6365" y="284"/>
                  </a:cubicBezTo>
                  <a:cubicBezTo>
                    <a:pt x="6144" y="95"/>
                    <a:pt x="5876" y="1"/>
                    <a:pt x="5609" y="1"/>
                  </a:cubicBezTo>
                  <a:cubicBezTo>
                    <a:pt x="5341" y="1"/>
                    <a:pt x="5073" y="95"/>
                    <a:pt x="4853" y="284"/>
                  </a:cubicBezTo>
                  <a:cubicBezTo>
                    <a:pt x="4632" y="95"/>
                    <a:pt x="4372" y="1"/>
                    <a:pt x="4112" y="1"/>
                  </a:cubicBezTo>
                  <a:cubicBezTo>
                    <a:pt x="3852" y="1"/>
                    <a:pt x="3592" y="95"/>
                    <a:pt x="3372" y="284"/>
                  </a:cubicBezTo>
                  <a:cubicBezTo>
                    <a:pt x="3151" y="95"/>
                    <a:pt x="2883"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73"/>
            <p:cNvSpPr/>
            <p:nvPr/>
          </p:nvSpPr>
          <p:spPr>
            <a:xfrm>
              <a:off x="-55539850" y="3275325"/>
              <a:ext cx="204800" cy="241825"/>
            </a:xfrm>
            <a:custGeom>
              <a:avLst/>
              <a:gdLst/>
              <a:ahLst/>
              <a:cxnLst/>
              <a:rect l="l" t="t" r="r" b="b"/>
              <a:pathLst>
                <a:path w="8192" h="9673" extrusionOk="0">
                  <a:moveTo>
                    <a:pt x="2616" y="2962"/>
                  </a:moveTo>
                  <a:cubicBezTo>
                    <a:pt x="2805" y="2962"/>
                    <a:pt x="2962" y="3119"/>
                    <a:pt x="2962" y="3308"/>
                  </a:cubicBezTo>
                  <a:cubicBezTo>
                    <a:pt x="2962" y="3529"/>
                    <a:pt x="2805" y="3686"/>
                    <a:pt x="2616" y="3686"/>
                  </a:cubicBezTo>
                  <a:cubicBezTo>
                    <a:pt x="2427" y="3686"/>
                    <a:pt x="2269" y="3560"/>
                    <a:pt x="2269" y="3308"/>
                  </a:cubicBezTo>
                  <a:cubicBezTo>
                    <a:pt x="2269" y="3119"/>
                    <a:pt x="2427" y="2962"/>
                    <a:pt x="2616" y="2962"/>
                  </a:cubicBezTo>
                  <a:close/>
                  <a:moveTo>
                    <a:pt x="5609" y="2993"/>
                  </a:moveTo>
                  <a:cubicBezTo>
                    <a:pt x="5798" y="2993"/>
                    <a:pt x="5955" y="3151"/>
                    <a:pt x="5955" y="3371"/>
                  </a:cubicBezTo>
                  <a:cubicBezTo>
                    <a:pt x="5987" y="3560"/>
                    <a:pt x="5798" y="3718"/>
                    <a:pt x="5609" y="3718"/>
                  </a:cubicBezTo>
                  <a:cubicBezTo>
                    <a:pt x="5420" y="3718"/>
                    <a:pt x="5262" y="3560"/>
                    <a:pt x="5262" y="3371"/>
                  </a:cubicBezTo>
                  <a:cubicBezTo>
                    <a:pt x="5262" y="3151"/>
                    <a:pt x="5420" y="2993"/>
                    <a:pt x="5609" y="2993"/>
                  </a:cubicBezTo>
                  <a:close/>
                  <a:moveTo>
                    <a:pt x="5164" y="6278"/>
                  </a:moveTo>
                  <a:cubicBezTo>
                    <a:pt x="5262" y="6278"/>
                    <a:pt x="5357" y="6317"/>
                    <a:pt x="5420" y="6396"/>
                  </a:cubicBezTo>
                  <a:cubicBezTo>
                    <a:pt x="5577" y="6522"/>
                    <a:pt x="5577" y="6742"/>
                    <a:pt x="5451" y="6900"/>
                  </a:cubicBezTo>
                  <a:cubicBezTo>
                    <a:pt x="5105" y="7246"/>
                    <a:pt x="4632" y="7435"/>
                    <a:pt x="4096" y="7435"/>
                  </a:cubicBezTo>
                  <a:cubicBezTo>
                    <a:pt x="3592" y="7435"/>
                    <a:pt x="3120" y="7246"/>
                    <a:pt x="2805" y="6900"/>
                  </a:cubicBezTo>
                  <a:cubicBezTo>
                    <a:pt x="2647" y="6742"/>
                    <a:pt x="2647" y="6522"/>
                    <a:pt x="2805" y="6396"/>
                  </a:cubicBezTo>
                  <a:cubicBezTo>
                    <a:pt x="2883" y="6317"/>
                    <a:pt x="2986" y="6278"/>
                    <a:pt x="3080" y="6278"/>
                  </a:cubicBezTo>
                  <a:cubicBezTo>
                    <a:pt x="3175" y="6278"/>
                    <a:pt x="3262" y="6317"/>
                    <a:pt x="3309" y="6396"/>
                  </a:cubicBezTo>
                  <a:cubicBezTo>
                    <a:pt x="3529" y="6616"/>
                    <a:pt x="3821" y="6727"/>
                    <a:pt x="4108" y="6727"/>
                  </a:cubicBezTo>
                  <a:cubicBezTo>
                    <a:pt x="4396" y="6727"/>
                    <a:pt x="4679" y="6616"/>
                    <a:pt x="4884" y="6396"/>
                  </a:cubicBezTo>
                  <a:cubicBezTo>
                    <a:pt x="4963" y="6317"/>
                    <a:pt x="5065" y="6278"/>
                    <a:pt x="5164" y="6278"/>
                  </a:cubicBezTo>
                  <a:close/>
                  <a:moveTo>
                    <a:pt x="1954" y="0"/>
                  </a:moveTo>
                  <a:lnTo>
                    <a:pt x="1" y="1954"/>
                  </a:lnTo>
                  <a:lnTo>
                    <a:pt x="1" y="5577"/>
                  </a:lnTo>
                  <a:cubicBezTo>
                    <a:pt x="1" y="7813"/>
                    <a:pt x="1860" y="9672"/>
                    <a:pt x="4096" y="9672"/>
                  </a:cubicBezTo>
                  <a:cubicBezTo>
                    <a:pt x="6365" y="9672"/>
                    <a:pt x="8192" y="7813"/>
                    <a:pt x="8192" y="5577"/>
                  </a:cubicBezTo>
                  <a:lnTo>
                    <a:pt x="8192" y="1954"/>
                  </a:lnTo>
                  <a:lnTo>
                    <a:pt x="6270" y="0"/>
                  </a:lnTo>
                  <a:cubicBezTo>
                    <a:pt x="5609" y="394"/>
                    <a:pt x="4860" y="591"/>
                    <a:pt x="4112" y="591"/>
                  </a:cubicBezTo>
                  <a:cubicBezTo>
                    <a:pt x="3364" y="591"/>
                    <a:pt x="2616" y="394"/>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73"/>
            <p:cNvSpPr/>
            <p:nvPr/>
          </p:nvSpPr>
          <p:spPr>
            <a:xfrm>
              <a:off x="-55316150" y="3335975"/>
              <a:ext cx="18925" cy="63825"/>
            </a:xfrm>
            <a:custGeom>
              <a:avLst/>
              <a:gdLst/>
              <a:ahLst/>
              <a:cxnLst/>
              <a:rect l="l" t="t" r="r" b="b"/>
              <a:pathLst>
                <a:path w="757" h="2553" extrusionOk="0">
                  <a:moveTo>
                    <a:pt x="0" y="0"/>
                  </a:moveTo>
                  <a:lnTo>
                    <a:pt x="0" y="2552"/>
                  </a:lnTo>
                  <a:cubicBezTo>
                    <a:pt x="441" y="2269"/>
                    <a:pt x="756" y="1796"/>
                    <a:pt x="756" y="1260"/>
                  </a:cubicBezTo>
                  <a:cubicBezTo>
                    <a:pt x="756" y="693"/>
                    <a:pt x="473"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3" name="Google Shape;7563;p73"/>
          <p:cNvGrpSpPr/>
          <p:nvPr/>
        </p:nvGrpSpPr>
        <p:grpSpPr>
          <a:xfrm>
            <a:off x="7516174" y="1835221"/>
            <a:ext cx="359871" cy="358324"/>
            <a:chOff x="-55596550" y="3590175"/>
            <a:chExt cx="319800" cy="318425"/>
          </a:xfrm>
        </p:grpSpPr>
        <p:sp>
          <p:nvSpPr>
            <p:cNvPr id="7564" name="Google Shape;7564;p73"/>
            <p:cNvSpPr/>
            <p:nvPr/>
          </p:nvSpPr>
          <p:spPr>
            <a:xfrm>
              <a:off x="-55596550" y="3590175"/>
              <a:ext cx="319800" cy="112850"/>
            </a:xfrm>
            <a:custGeom>
              <a:avLst/>
              <a:gdLst/>
              <a:ahLst/>
              <a:cxnLst/>
              <a:rect l="l" t="t" r="r" b="b"/>
              <a:pathLst>
                <a:path w="12792" h="4514" extrusionOk="0">
                  <a:moveTo>
                    <a:pt x="6380" y="0"/>
                  </a:moveTo>
                  <a:cubicBezTo>
                    <a:pt x="6309" y="0"/>
                    <a:pt x="6238" y="24"/>
                    <a:pt x="6175" y="71"/>
                  </a:cubicBezTo>
                  <a:lnTo>
                    <a:pt x="189" y="3789"/>
                  </a:lnTo>
                  <a:cubicBezTo>
                    <a:pt x="32" y="3883"/>
                    <a:pt x="0" y="4072"/>
                    <a:pt x="32" y="4230"/>
                  </a:cubicBezTo>
                  <a:cubicBezTo>
                    <a:pt x="95" y="4387"/>
                    <a:pt x="221" y="4513"/>
                    <a:pt x="378" y="4513"/>
                  </a:cubicBezTo>
                  <a:lnTo>
                    <a:pt x="12350" y="4513"/>
                  </a:lnTo>
                  <a:cubicBezTo>
                    <a:pt x="12508" y="4513"/>
                    <a:pt x="12665" y="4387"/>
                    <a:pt x="12728" y="4230"/>
                  </a:cubicBezTo>
                  <a:cubicBezTo>
                    <a:pt x="12791" y="4072"/>
                    <a:pt x="12728" y="3883"/>
                    <a:pt x="12571" y="3789"/>
                  </a:cubicBezTo>
                  <a:lnTo>
                    <a:pt x="6585" y="71"/>
                  </a:lnTo>
                  <a:cubicBezTo>
                    <a:pt x="6522" y="24"/>
                    <a:pt x="6451" y="0"/>
                    <a:pt x="63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73"/>
            <p:cNvSpPr/>
            <p:nvPr/>
          </p:nvSpPr>
          <p:spPr>
            <a:xfrm>
              <a:off x="-55539850" y="3721900"/>
              <a:ext cx="204800" cy="186700"/>
            </a:xfrm>
            <a:custGeom>
              <a:avLst/>
              <a:gdLst/>
              <a:ahLst/>
              <a:cxnLst/>
              <a:rect l="l" t="t" r="r" b="b"/>
              <a:pathLst>
                <a:path w="8192" h="7468" extrusionOk="0">
                  <a:moveTo>
                    <a:pt x="2616" y="725"/>
                  </a:moveTo>
                  <a:cubicBezTo>
                    <a:pt x="2805" y="725"/>
                    <a:pt x="2962" y="883"/>
                    <a:pt x="2962" y="1072"/>
                  </a:cubicBezTo>
                  <a:cubicBezTo>
                    <a:pt x="2962" y="1292"/>
                    <a:pt x="2805" y="1450"/>
                    <a:pt x="2616" y="1450"/>
                  </a:cubicBezTo>
                  <a:cubicBezTo>
                    <a:pt x="2427" y="1450"/>
                    <a:pt x="2269" y="1292"/>
                    <a:pt x="2269" y="1072"/>
                  </a:cubicBezTo>
                  <a:cubicBezTo>
                    <a:pt x="2269" y="883"/>
                    <a:pt x="2427" y="725"/>
                    <a:pt x="2616" y="725"/>
                  </a:cubicBezTo>
                  <a:close/>
                  <a:moveTo>
                    <a:pt x="5609" y="725"/>
                  </a:moveTo>
                  <a:cubicBezTo>
                    <a:pt x="5798" y="725"/>
                    <a:pt x="5955" y="883"/>
                    <a:pt x="5955" y="1072"/>
                  </a:cubicBezTo>
                  <a:cubicBezTo>
                    <a:pt x="5955" y="1292"/>
                    <a:pt x="5798" y="1450"/>
                    <a:pt x="5609" y="1450"/>
                  </a:cubicBezTo>
                  <a:cubicBezTo>
                    <a:pt x="5420" y="1450"/>
                    <a:pt x="5262" y="1292"/>
                    <a:pt x="5262" y="1072"/>
                  </a:cubicBezTo>
                  <a:cubicBezTo>
                    <a:pt x="5262" y="883"/>
                    <a:pt x="5420" y="725"/>
                    <a:pt x="5609" y="725"/>
                  </a:cubicBezTo>
                  <a:close/>
                  <a:moveTo>
                    <a:pt x="3395" y="2245"/>
                  </a:moveTo>
                  <a:cubicBezTo>
                    <a:pt x="3490" y="2245"/>
                    <a:pt x="3577" y="2285"/>
                    <a:pt x="3624" y="2363"/>
                  </a:cubicBezTo>
                  <a:cubicBezTo>
                    <a:pt x="3781" y="2521"/>
                    <a:pt x="3781" y="2741"/>
                    <a:pt x="3624" y="2867"/>
                  </a:cubicBezTo>
                  <a:lnTo>
                    <a:pt x="2899" y="3624"/>
                  </a:lnTo>
                  <a:cubicBezTo>
                    <a:pt x="2820" y="3687"/>
                    <a:pt x="2718" y="3718"/>
                    <a:pt x="2620" y="3718"/>
                  </a:cubicBezTo>
                  <a:cubicBezTo>
                    <a:pt x="2521" y="3718"/>
                    <a:pt x="2427" y="3687"/>
                    <a:pt x="2364" y="3624"/>
                  </a:cubicBezTo>
                  <a:cubicBezTo>
                    <a:pt x="2206" y="3466"/>
                    <a:pt x="2206" y="3214"/>
                    <a:pt x="2364" y="3088"/>
                  </a:cubicBezTo>
                  <a:lnTo>
                    <a:pt x="3120" y="2363"/>
                  </a:lnTo>
                  <a:cubicBezTo>
                    <a:pt x="3199" y="2285"/>
                    <a:pt x="3301" y="2245"/>
                    <a:pt x="3395" y="2245"/>
                  </a:cubicBezTo>
                  <a:close/>
                  <a:moveTo>
                    <a:pt x="4849" y="2245"/>
                  </a:moveTo>
                  <a:cubicBezTo>
                    <a:pt x="4947" y="2245"/>
                    <a:pt x="5042" y="2285"/>
                    <a:pt x="5105" y="2363"/>
                  </a:cubicBezTo>
                  <a:lnTo>
                    <a:pt x="5829" y="3088"/>
                  </a:lnTo>
                  <a:cubicBezTo>
                    <a:pt x="5987" y="3246"/>
                    <a:pt x="5987" y="3498"/>
                    <a:pt x="5829" y="3624"/>
                  </a:cubicBezTo>
                  <a:cubicBezTo>
                    <a:pt x="5750" y="3687"/>
                    <a:pt x="5656" y="3718"/>
                    <a:pt x="5565" y="3718"/>
                  </a:cubicBezTo>
                  <a:cubicBezTo>
                    <a:pt x="5475" y="3718"/>
                    <a:pt x="5388" y="3687"/>
                    <a:pt x="5325" y="3624"/>
                  </a:cubicBezTo>
                  <a:lnTo>
                    <a:pt x="4569" y="2867"/>
                  </a:lnTo>
                  <a:cubicBezTo>
                    <a:pt x="4474" y="2741"/>
                    <a:pt x="4474" y="2521"/>
                    <a:pt x="4569" y="2363"/>
                  </a:cubicBezTo>
                  <a:cubicBezTo>
                    <a:pt x="4648" y="2285"/>
                    <a:pt x="4750" y="2245"/>
                    <a:pt x="4849" y="2245"/>
                  </a:cubicBezTo>
                  <a:close/>
                  <a:moveTo>
                    <a:pt x="5164" y="4041"/>
                  </a:moveTo>
                  <a:cubicBezTo>
                    <a:pt x="5262" y="4041"/>
                    <a:pt x="5357" y="4080"/>
                    <a:pt x="5420" y="4159"/>
                  </a:cubicBezTo>
                  <a:cubicBezTo>
                    <a:pt x="5577" y="4317"/>
                    <a:pt x="5577" y="4537"/>
                    <a:pt x="5420" y="4663"/>
                  </a:cubicBezTo>
                  <a:cubicBezTo>
                    <a:pt x="5042" y="5010"/>
                    <a:pt x="4569" y="5230"/>
                    <a:pt x="4065" y="5230"/>
                  </a:cubicBezTo>
                  <a:cubicBezTo>
                    <a:pt x="3561" y="5230"/>
                    <a:pt x="3088" y="5010"/>
                    <a:pt x="2773" y="4663"/>
                  </a:cubicBezTo>
                  <a:cubicBezTo>
                    <a:pt x="2616" y="4506"/>
                    <a:pt x="2616" y="4285"/>
                    <a:pt x="2773" y="4159"/>
                  </a:cubicBezTo>
                  <a:cubicBezTo>
                    <a:pt x="2852" y="4080"/>
                    <a:pt x="2946" y="4041"/>
                    <a:pt x="3037" y="4041"/>
                  </a:cubicBezTo>
                  <a:cubicBezTo>
                    <a:pt x="3128" y="4041"/>
                    <a:pt x="3214" y="4080"/>
                    <a:pt x="3277" y="4159"/>
                  </a:cubicBezTo>
                  <a:cubicBezTo>
                    <a:pt x="3514" y="4380"/>
                    <a:pt x="3821" y="4490"/>
                    <a:pt x="4116" y="4490"/>
                  </a:cubicBezTo>
                  <a:cubicBezTo>
                    <a:pt x="4411" y="4490"/>
                    <a:pt x="4695" y="4380"/>
                    <a:pt x="4884" y="4159"/>
                  </a:cubicBezTo>
                  <a:cubicBezTo>
                    <a:pt x="4963" y="4080"/>
                    <a:pt x="5065" y="4041"/>
                    <a:pt x="5164" y="4041"/>
                  </a:cubicBezTo>
                  <a:close/>
                  <a:moveTo>
                    <a:pt x="1" y="1"/>
                  </a:moveTo>
                  <a:lnTo>
                    <a:pt x="1" y="3340"/>
                  </a:lnTo>
                  <a:cubicBezTo>
                    <a:pt x="1" y="5577"/>
                    <a:pt x="1860" y="7467"/>
                    <a:pt x="4096" y="7467"/>
                  </a:cubicBezTo>
                  <a:cubicBezTo>
                    <a:pt x="6365" y="7467"/>
                    <a:pt x="8192" y="5608"/>
                    <a:pt x="8192" y="3340"/>
                  </a:cubicBezTo>
                  <a:lnTo>
                    <a:pt x="81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73"/>
            <p:cNvSpPr/>
            <p:nvPr/>
          </p:nvSpPr>
          <p:spPr>
            <a:xfrm>
              <a:off x="-55316150" y="3726625"/>
              <a:ext cx="18925" cy="63825"/>
            </a:xfrm>
            <a:custGeom>
              <a:avLst/>
              <a:gdLst/>
              <a:ahLst/>
              <a:cxnLst/>
              <a:rect l="l" t="t" r="r" b="b"/>
              <a:pathLst>
                <a:path w="757" h="2553" extrusionOk="0">
                  <a:moveTo>
                    <a:pt x="0" y="1"/>
                  </a:moveTo>
                  <a:lnTo>
                    <a:pt x="0" y="2552"/>
                  </a:lnTo>
                  <a:cubicBezTo>
                    <a:pt x="441" y="2269"/>
                    <a:pt x="756" y="1796"/>
                    <a:pt x="756" y="1261"/>
                  </a:cubicBezTo>
                  <a:cubicBezTo>
                    <a:pt x="756" y="757"/>
                    <a:pt x="473"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3"/>
            <p:cNvSpPr/>
            <p:nvPr/>
          </p:nvSpPr>
          <p:spPr>
            <a:xfrm>
              <a:off x="-55576850" y="3727425"/>
              <a:ext cx="18900" cy="63800"/>
            </a:xfrm>
            <a:custGeom>
              <a:avLst/>
              <a:gdLst/>
              <a:ahLst/>
              <a:cxnLst/>
              <a:rect l="l" t="t" r="r" b="b"/>
              <a:pathLst>
                <a:path w="756" h="2552"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8" name="Google Shape;7568;p73"/>
          <p:cNvGrpSpPr/>
          <p:nvPr/>
        </p:nvGrpSpPr>
        <p:grpSpPr>
          <a:xfrm>
            <a:off x="7531412" y="2276564"/>
            <a:ext cx="358999" cy="359252"/>
            <a:chOff x="-55595775" y="3982375"/>
            <a:chExt cx="319025" cy="319250"/>
          </a:xfrm>
        </p:grpSpPr>
        <p:sp>
          <p:nvSpPr>
            <p:cNvPr id="7569" name="Google Shape;7569;p73"/>
            <p:cNvSpPr/>
            <p:nvPr/>
          </p:nvSpPr>
          <p:spPr>
            <a:xfrm>
              <a:off x="-55441400" y="3982375"/>
              <a:ext cx="125250" cy="145175"/>
            </a:xfrm>
            <a:custGeom>
              <a:avLst/>
              <a:gdLst/>
              <a:ahLst/>
              <a:cxnLst/>
              <a:rect l="l" t="t" r="r" b="b"/>
              <a:pathLst>
                <a:path w="5010" h="5807" extrusionOk="0">
                  <a:moveTo>
                    <a:pt x="2038" y="1"/>
                  </a:moveTo>
                  <a:cubicBezTo>
                    <a:pt x="1277" y="1"/>
                    <a:pt x="574" y="302"/>
                    <a:pt x="1" y="797"/>
                  </a:cubicBezTo>
                  <a:cubicBezTo>
                    <a:pt x="2332" y="1081"/>
                    <a:pt x="4160" y="3003"/>
                    <a:pt x="4254" y="5365"/>
                  </a:cubicBezTo>
                  <a:cubicBezTo>
                    <a:pt x="4538" y="5491"/>
                    <a:pt x="4821" y="5586"/>
                    <a:pt x="5010" y="5807"/>
                  </a:cubicBezTo>
                  <a:lnTo>
                    <a:pt x="5010" y="3066"/>
                  </a:lnTo>
                  <a:cubicBezTo>
                    <a:pt x="5010" y="1585"/>
                    <a:pt x="3939" y="293"/>
                    <a:pt x="2521" y="41"/>
                  </a:cubicBezTo>
                  <a:cubicBezTo>
                    <a:pt x="2358" y="14"/>
                    <a:pt x="2197" y="1"/>
                    <a:pt x="20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3"/>
            <p:cNvSpPr/>
            <p:nvPr/>
          </p:nvSpPr>
          <p:spPr>
            <a:xfrm>
              <a:off x="-55343725" y="4203125"/>
              <a:ext cx="66975" cy="41000"/>
            </a:xfrm>
            <a:custGeom>
              <a:avLst/>
              <a:gdLst/>
              <a:ahLst/>
              <a:cxnLst/>
              <a:rect l="l" t="t" r="r" b="b"/>
              <a:pathLst>
                <a:path w="2679" h="1640" extrusionOk="0">
                  <a:moveTo>
                    <a:pt x="1418" y="1"/>
                  </a:moveTo>
                  <a:cubicBezTo>
                    <a:pt x="1135" y="379"/>
                    <a:pt x="757" y="663"/>
                    <a:pt x="284" y="789"/>
                  </a:cubicBezTo>
                  <a:cubicBezTo>
                    <a:pt x="190" y="1072"/>
                    <a:pt x="127" y="1387"/>
                    <a:pt x="1" y="1639"/>
                  </a:cubicBezTo>
                  <a:lnTo>
                    <a:pt x="2300" y="1639"/>
                  </a:lnTo>
                  <a:cubicBezTo>
                    <a:pt x="2458" y="1639"/>
                    <a:pt x="2615" y="1545"/>
                    <a:pt x="2647" y="1387"/>
                  </a:cubicBezTo>
                  <a:cubicBezTo>
                    <a:pt x="2678" y="1167"/>
                    <a:pt x="2615" y="1009"/>
                    <a:pt x="2458" y="946"/>
                  </a:cubicBezTo>
                  <a:cubicBezTo>
                    <a:pt x="2017" y="757"/>
                    <a:pt x="1670" y="379"/>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3"/>
            <p:cNvSpPr/>
            <p:nvPr/>
          </p:nvSpPr>
          <p:spPr>
            <a:xfrm>
              <a:off x="-55557950" y="4019625"/>
              <a:ext cx="147300" cy="94525"/>
            </a:xfrm>
            <a:custGeom>
              <a:avLst/>
              <a:gdLst/>
              <a:ahLst/>
              <a:cxnLst/>
              <a:rect l="l" t="t" r="r" b="b"/>
              <a:pathLst>
                <a:path w="5892" h="3781" extrusionOk="0">
                  <a:moveTo>
                    <a:pt x="4064" y="0"/>
                  </a:moveTo>
                  <a:cubicBezTo>
                    <a:pt x="1922" y="63"/>
                    <a:pt x="189" y="1702"/>
                    <a:pt x="0" y="3781"/>
                  </a:cubicBezTo>
                  <a:lnTo>
                    <a:pt x="2584" y="3749"/>
                  </a:lnTo>
                  <a:cubicBezTo>
                    <a:pt x="3938" y="3749"/>
                    <a:pt x="5135" y="2930"/>
                    <a:pt x="5671" y="1670"/>
                  </a:cubicBezTo>
                  <a:cubicBezTo>
                    <a:pt x="5829" y="1261"/>
                    <a:pt x="5892" y="882"/>
                    <a:pt x="5892" y="441"/>
                  </a:cubicBezTo>
                  <a:cubicBezTo>
                    <a:pt x="5356" y="158"/>
                    <a:pt x="4726" y="0"/>
                    <a:pt x="40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3"/>
            <p:cNvSpPr/>
            <p:nvPr/>
          </p:nvSpPr>
          <p:spPr>
            <a:xfrm>
              <a:off x="-55557950" y="4042450"/>
              <a:ext cx="206375" cy="259175"/>
            </a:xfrm>
            <a:custGeom>
              <a:avLst/>
              <a:gdLst/>
              <a:ahLst/>
              <a:cxnLst/>
              <a:rect l="l" t="t" r="r" b="b"/>
              <a:pathLst>
                <a:path w="8255" h="10367" extrusionOk="0">
                  <a:moveTo>
                    <a:pt x="2584" y="4349"/>
                  </a:moveTo>
                  <a:cubicBezTo>
                    <a:pt x="2773" y="4349"/>
                    <a:pt x="2993" y="4475"/>
                    <a:pt x="2993" y="4695"/>
                  </a:cubicBezTo>
                  <a:cubicBezTo>
                    <a:pt x="2993" y="4884"/>
                    <a:pt x="2836" y="5073"/>
                    <a:pt x="2615" y="5073"/>
                  </a:cubicBezTo>
                  <a:cubicBezTo>
                    <a:pt x="2395" y="5073"/>
                    <a:pt x="2237" y="4916"/>
                    <a:pt x="2237" y="4727"/>
                  </a:cubicBezTo>
                  <a:cubicBezTo>
                    <a:pt x="2237" y="4538"/>
                    <a:pt x="2395" y="4349"/>
                    <a:pt x="2584" y="4349"/>
                  </a:cubicBezTo>
                  <a:close/>
                  <a:moveTo>
                    <a:pt x="5545" y="4349"/>
                  </a:moveTo>
                  <a:cubicBezTo>
                    <a:pt x="5734" y="4349"/>
                    <a:pt x="5923" y="4506"/>
                    <a:pt x="5923" y="4695"/>
                  </a:cubicBezTo>
                  <a:cubicBezTo>
                    <a:pt x="5986" y="4884"/>
                    <a:pt x="5829" y="5042"/>
                    <a:pt x="5577" y="5073"/>
                  </a:cubicBezTo>
                  <a:cubicBezTo>
                    <a:pt x="5388" y="5073"/>
                    <a:pt x="5198" y="4916"/>
                    <a:pt x="5198" y="4727"/>
                  </a:cubicBezTo>
                  <a:cubicBezTo>
                    <a:pt x="5198" y="4538"/>
                    <a:pt x="5356" y="4349"/>
                    <a:pt x="5545" y="4349"/>
                  </a:cubicBezTo>
                  <a:close/>
                  <a:moveTo>
                    <a:pt x="5191" y="6908"/>
                  </a:moveTo>
                  <a:cubicBezTo>
                    <a:pt x="5285" y="6908"/>
                    <a:pt x="5372" y="6948"/>
                    <a:pt x="5419" y="7027"/>
                  </a:cubicBezTo>
                  <a:cubicBezTo>
                    <a:pt x="5577" y="7121"/>
                    <a:pt x="5577" y="7373"/>
                    <a:pt x="5451" y="7531"/>
                  </a:cubicBezTo>
                  <a:cubicBezTo>
                    <a:pt x="5104" y="7877"/>
                    <a:pt x="4631" y="8066"/>
                    <a:pt x="4159" y="8066"/>
                  </a:cubicBezTo>
                  <a:cubicBezTo>
                    <a:pt x="3655" y="8066"/>
                    <a:pt x="3182" y="7877"/>
                    <a:pt x="2836" y="7531"/>
                  </a:cubicBezTo>
                  <a:cubicBezTo>
                    <a:pt x="2678" y="7373"/>
                    <a:pt x="2678" y="7121"/>
                    <a:pt x="2836" y="7027"/>
                  </a:cubicBezTo>
                  <a:cubicBezTo>
                    <a:pt x="2914" y="6948"/>
                    <a:pt x="3009" y="6908"/>
                    <a:pt x="3099" y="6908"/>
                  </a:cubicBezTo>
                  <a:cubicBezTo>
                    <a:pt x="3190" y="6908"/>
                    <a:pt x="3277" y="6948"/>
                    <a:pt x="3340" y="7027"/>
                  </a:cubicBezTo>
                  <a:cubicBezTo>
                    <a:pt x="3556" y="7227"/>
                    <a:pt x="3848" y="7322"/>
                    <a:pt x="4133" y="7322"/>
                  </a:cubicBezTo>
                  <a:cubicBezTo>
                    <a:pt x="4431" y="7322"/>
                    <a:pt x="4722" y="7219"/>
                    <a:pt x="4915" y="7027"/>
                  </a:cubicBezTo>
                  <a:cubicBezTo>
                    <a:pt x="4994" y="6948"/>
                    <a:pt x="5096" y="6908"/>
                    <a:pt x="5191" y="6908"/>
                  </a:cubicBezTo>
                  <a:close/>
                  <a:moveTo>
                    <a:pt x="6616" y="1"/>
                  </a:moveTo>
                  <a:cubicBezTo>
                    <a:pt x="6553" y="348"/>
                    <a:pt x="6490" y="726"/>
                    <a:pt x="6333" y="1072"/>
                  </a:cubicBezTo>
                  <a:cubicBezTo>
                    <a:pt x="5703" y="2584"/>
                    <a:pt x="4253" y="3624"/>
                    <a:pt x="2584" y="3624"/>
                  </a:cubicBezTo>
                  <a:lnTo>
                    <a:pt x="0" y="3656"/>
                  </a:lnTo>
                  <a:lnTo>
                    <a:pt x="32" y="6302"/>
                  </a:lnTo>
                  <a:cubicBezTo>
                    <a:pt x="63" y="8520"/>
                    <a:pt x="1891" y="10366"/>
                    <a:pt x="4103" y="10366"/>
                  </a:cubicBezTo>
                  <a:cubicBezTo>
                    <a:pt x="4121" y="10366"/>
                    <a:pt x="4140" y="10366"/>
                    <a:pt x="4159" y="10366"/>
                  </a:cubicBezTo>
                  <a:cubicBezTo>
                    <a:pt x="6396" y="10335"/>
                    <a:pt x="8254" y="8476"/>
                    <a:pt x="8223" y="6239"/>
                  </a:cubicBezTo>
                  <a:lnTo>
                    <a:pt x="8191" y="3246"/>
                  </a:lnTo>
                  <a:cubicBezTo>
                    <a:pt x="8191" y="1891"/>
                    <a:pt x="7561" y="757"/>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73"/>
            <p:cNvSpPr/>
            <p:nvPr/>
          </p:nvSpPr>
          <p:spPr>
            <a:xfrm>
              <a:off x="-55335050" y="4136200"/>
              <a:ext cx="18900" cy="64600"/>
            </a:xfrm>
            <a:custGeom>
              <a:avLst/>
              <a:gdLst/>
              <a:ahLst/>
              <a:cxnLst/>
              <a:rect l="l" t="t" r="r" b="b"/>
              <a:pathLst>
                <a:path w="756" h="2584" extrusionOk="0">
                  <a:moveTo>
                    <a:pt x="0" y="0"/>
                  </a:moveTo>
                  <a:lnTo>
                    <a:pt x="0" y="2426"/>
                  </a:lnTo>
                  <a:lnTo>
                    <a:pt x="0" y="2583"/>
                  </a:lnTo>
                  <a:cubicBezTo>
                    <a:pt x="441" y="2331"/>
                    <a:pt x="756" y="1859"/>
                    <a:pt x="756" y="1292"/>
                  </a:cubicBezTo>
                  <a:cubicBezTo>
                    <a:pt x="756" y="756"/>
                    <a:pt x="441"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73"/>
            <p:cNvSpPr/>
            <p:nvPr/>
          </p:nvSpPr>
          <p:spPr>
            <a:xfrm>
              <a:off x="-55595775" y="4136975"/>
              <a:ext cx="18925" cy="65400"/>
            </a:xfrm>
            <a:custGeom>
              <a:avLst/>
              <a:gdLst/>
              <a:ahLst/>
              <a:cxnLst/>
              <a:rect l="l" t="t" r="r" b="b"/>
              <a:pathLst>
                <a:path w="757" h="2616" extrusionOk="0">
                  <a:moveTo>
                    <a:pt x="757" y="1"/>
                  </a:moveTo>
                  <a:cubicBezTo>
                    <a:pt x="284" y="284"/>
                    <a:pt x="1" y="757"/>
                    <a:pt x="1" y="1292"/>
                  </a:cubicBezTo>
                  <a:cubicBezTo>
                    <a:pt x="1"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5" name="Google Shape;7575;p73"/>
          <p:cNvGrpSpPr/>
          <p:nvPr/>
        </p:nvGrpSpPr>
        <p:grpSpPr>
          <a:xfrm>
            <a:off x="6188595" y="2734774"/>
            <a:ext cx="358999" cy="358099"/>
            <a:chOff x="-53635375" y="3192625"/>
            <a:chExt cx="319025" cy="318225"/>
          </a:xfrm>
        </p:grpSpPr>
        <p:sp>
          <p:nvSpPr>
            <p:cNvPr id="7576" name="Google Shape;7576;p73"/>
            <p:cNvSpPr/>
            <p:nvPr/>
          </p:nvSpPr>
          <p:spPr>
            <a:xfrm>
              <a:off x="-53560550" y="3342275"/>
              <a:ext cx="167000" cy="151250"/>
            </a:xfrm>
            <a:custGeom>
              <a:avLst/>
              <a:gdLst/>
              <a:ahLst/>
              <a:cxnLst/>
              <a:rect l="l" t="t" r="r" b="b"/>
              <a:pathLst>
                <a:path w="6680" h="6050" extrusionOk="0">
                  <a:moveTo>
                    <a:pt x="1891" y="756"/>
                  </a:moveTo>
                  <a:cubicBezTo>
                    <a:pt x="2080" y="756"/>
                    <a:pt x="2238" y="914"/>
                    <a:pt x="2238" y="1103"/>
                  </a:cubicBezTo>
                  <a:cubicBezTo>
                    <a:pt x="2238" y="1323"/>
                    <a:pt x="2080" y="1481"/>
                    <a:pt x="1891" y="1481"/>
                  </a:cubicBezTo>
                  <a:cubicBezTo>
                    <a:pt x="1875" y="1484"/>
                    <a:pt x="1859" y="1485"/>
                    <a:pt x="1844" y="1485"/>
                  </a:cubicBezTo>
                  <a:cubicBezTo>
                    <a:pt x="1676" y="1485"/>
                    <a:pt x="1544" y="1333"/>
                    <a:pt x="1544" y="1103"/>
                  </a:cubicBezTo>
                  <a:cubicBezTo>
                    <a:pt x="1544" y="914"/>
                    <a:pt x="1702" y="756"/>
                    <a:pt x="1891" y="756"/>
                  </a:cubicBezTo>
                  <a:close/>
                  <a:moveTo>
                    <a:pt x="4884" y="788"/>
                  </a:moveTo>
                  <a:cubicBezTo>
                    <a:pt x="5073" y="788"/>
                    <a:pt x="5231" y="945"/>
                    <a:pt x="5231" y="1166"/>
                  </a:cubicBezTo>
                  <a:cubicBezTo>
                    <a:pt x="5262" y="1355"/>
                    <a:pt x="5073" y="1512"/>
                    <a:pt x="4884" y="1512"/>
                  </a:cubicBezTo>
                  <a:cubicBezTo>
                    <a:pt x="4695" y="1512"/>
                    <a:pt x="4537" y="1355"/>
                    <a:pt x="4537" y="1166"/>
                  </a:cubicBezTo>
                  <a:cubicBezTo>
                    <a:pt x="4537" y="945"/>
                    <a:pt x="4695" y="788"/>
                    <a:pt x="4884" y="788"/>
                  </a:cubicBezTo>
                  <a:close/>
                  <a:moveTo>
                    <a:pt x="4443" y="3348"/>
                  </a:moveTo>
                  <a:cubicBezTo>
                    <a:pt x="4537" y="3348"/>
                    <a:pt x="4632" y="3387"/>
                    <a:pt x="4695" y="3466"/>
                  </a:cubicBezTo>
                  <a:cubicBezTo>
                    <a:pt x="4852" y="3592"/>
                    <a:pt x="4852" y="3844"/>
                    <a:pt x="4726" y="3970"/>
                  </a:cubicBezTo>
                  <a:cubicBezTo>
                    <a:pt x="4380" y="4348"/>
                    <a:pt x="3907" y="4537"/>
                    <a:pt x="3435" y="4537"/>
                  </a:cubicBezTo>
                  <a:cubicBezTo>
                    <a:pt x="2899" y="4537"/>
                    <a:pt x="2427" y="4348"/>
                    <a:pt x="2080" y="3970"/>
                  </a:cubicBezTo>
                  <a:cubicBezTo>
                    <a:pt x="1923" y="3844"/>
                    <a:pt x="1923" y="3592"/>
                    <a:pt x="2080" y="3466"/>
                  </a:cubicBezTo>
                  <a:cubicBezTo>
                    <a:pt x="2159" y="3387"/>
                    <a:pt x="2261" y="3348"/>
                    <a:pt x="2360" y="3348"/>
                  </a:cubicBezTo>
                  <a:cubicBezTo>
                    <a:pt x="2458" y="3348"/>
                    <a:pt x="2553" y="3387"/>
                    <a:pt x="2616" y="3466"/>
                  </a:cubicBezTo>
                  <a:cubicBezTo>
                    <a:pt x="2820" y="3686"/>
                    <a:pt x="3104" y="3797"/>
                    <a:pt x="3391" y="3797"/>
                  </a:cubicBezTo>
                  <a:cubicBezTo>
                    <a:pt x="3679" y="3797"/>
                    <a:pt x="3970" y="3686"/>
                    <a:pt x="4191" y="3466"/>
                  </a:cubicBezTo>
                  <a:cubicBezTo>
                    <a:pt x="4254" y="3387"/>
                    <a:pt x="4348" y="3348"/>
                    <a:pt x="4443" y="3348"/>
                  </a:cubicBezTo>
                  <a:close/>
                  <a:moveTo>
                    <a:pt x="1" y="0"/>
                  </a:moveTo>
                  <a:lnTo>
                    <a:pt x="1" y="2678"/>
                  </a:lnTo>
                  <a:cubicBezTo>
                    <a:pt x="1" y="4537"/>
                    <a:pt x="1481" y="6049"/>
                    <a:pt x="3340" y="6049"/>
                  </a:cubicBezTo>
                  <a:cubicBezTo>
                    <a:pt x="5199" y="6049"/>
                    <a:pt x="6680" y="4537"/>
                    <a:pt x="6680" y="2678"/>
                  </a:cubicBezTo>
                  <a:lnTo>
                    <a:pt x="66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3"/>
            <p:cNvSpPr/>
            <p:nvPr/>
          </p:nvSpPr>
          <p:spPr>
            <a:xfrm>
              <a:off x="-53559750" y="3305250"/>
              <a:ext cx="168575" cy="18150"/>
            </a:xfrm>
            <a:custGeom>
              <a:avLst/>
              <a:gdLst/>
              <a:ahLst/>
              <a:cxnLst/>
              <a:rect l="l" t="t" r="r" b="b"/>
              <a:pathLst>
                <a:path w="6743" h="726" extrusionOk="0">
                  <a:moveTo>
                    <a:pt x="0" y="0"/>
                  </a:moveTo>
                  <a:lnTo>
                    <a:pt x="0" y="725"/>
                  </a:lnTo>
                  <a:lnTo>
                    <a:pt x="6742" y="725"/>
                  </a:lnTo>
                  <a:lnTo>
                    <a:pt x="67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3"/>
            <p:cNvSpPr/>
            <p:nvPr/>
          </p:nvSpPr>
          <p:spPr>
            <a:xfrm>
              <a:off x="-53635375" y="3192625"/>
              <a:ext cx="319025" cy="318225"/>
            </a:xfrm>
            <a:custGeom>
              <a:avLst/>
              <a:gdLst/>
              <a:ahLst/>
              <a:cxnLst/>
              <a:rect l="l" t="t" r="r" b="b"/>
              <a:pathLst>
                <a:path w="12761" h="12729" extrusionOk="0">
                  <a:moveTo>
                    <a:pt x="6302" y="1607"/>
                  </a:moveTo>
                  <a:cubicBezTo>
                    <a:pt x="6491" y="1607"/>
                    <a:pt x="6648" y="1765"/>
                    <a:pt x="6648" y="1985"/>
                  </a:cubicBezTo>
                  <a:lnTo>
                    <a:pt x="6648" y="2332"/>
                  </a:lnTo>
                  <a:lnTo>
                    <a:pt x="6995" y="2332"/>
                  </a:lnTo>
                  <a:cubicBezTo>
                    <a:pt x="7215" y="2332"/>
                    <a:pt x="7373" y="2489"/>
                    <a:pt x="7373" y="2678"/>
                  </a:cubicBezTo>
                  <a:cubicBezTo>
                    <a:pt x="7373" y="2867"/>
                    <a:pt x="7215" y="3056"/>
                    <a:pt x="6995" y="3056"/>
                  </a:cubicBezTo>
                  <a:lnTo>
                    <a:pt x="6648" y="3056"/>
                  </a:lnTo>
                  <a:lnTo>
                    <a:pt x="6648" y="3781"/>
                  </a:lnTo>
                  <a:lnTo>
                    <a:pt x="9988" y="3781"/>
                  </a:lnTo>
                  <a:cubicBezTo>
                    <a:pt x="10208" y="3781"/>
                    <a:pt x="10366" y="3938"/>
                    <a:pt x="10366" y="4159"/>
                  </a:cubicBezTo>
                  <a:lnTo>
                    <a:pt x="10366" y="5041"/>
                  </a:lnTo>
                  <a:lnTo>
                    <a:pt x="10366" y="5104"/>
                  </a:lnTo>
                  <a:lnTo>
                    <a:pt x="10366" y="8633"/>
                  </a:lnTo>
                  <a:cubicBezTo>
                    <a:pt x="10366" y="10859"/>
                    <a:pt x="8525" y="12711"/>
                    <a:pt x="6302" y="12728"/>
                  </a:cubicBezTo>
                  <a:lnTo>
                    <a:pt x="6302" y="12728"/>
                  </a:lnTo>
                  <a:cubicBezTo>
                    <a:pt x="4079" y="12711"/>
                    <a:pt x="2238" y="10859"/>
                    <a:pt x="2238" y="8633"/>
                  </a:cubicBezTo>
                  <a:lnTo>
                    <a:pt x="2238" y="5104"/>
                  </a:lnTo>
                  <a:lnTo>
                    <a:pt x="2238" y="5041"/>
                  </a:lnTo>
                  <a:lnTo>
                    <a:pt x="2238" y="4159"/>
                  </a:lnTo>
                  <a:cubicBezTo>
                    <a:pt x="2238" y="3938"/>
                    <a:pt x="2395" y="3781"/>
                    <a:pt x="2584" y="3781"/>
                  </a:cubicBezTo>
                  <a:lnTo>
                    <a:pt x="5955" y="3781"/>
                  </a:lnTo>
                  <a:lnTo>
                    <a:pt x="5955" y="3056"/>
                  </a:lnTo>
                  <a:lnTo>
                    <a:pt x="5577" y="3056"/>
                  </a:lnTo>
                  <a:cubicBezTo>
                    <a:pt x="5388" y="3056"/>
                    <a:pt x="5231" y="2867"/>
                    <a:pt x="5231" y="2678"/>
                  </a:cubicBezTo>
                  <a:cubicBezTo>
                    <a:pt x="5231" y="2489"/>
                    <a:pt x="5388" y="2332"/>
                    <a:pt x="5577" y="2332"/>
                  </a:cubicBezTo>
                  <a:lnTo>
                    <a:pt x="5955" y="2332"/>
                  </a:lnTo>
                  <a:lnTo>
                    <a:pt x="5955" y="1985"/>
                  </a:lnTo>
                  <a:cubicBezTo>
                    <a:pt x="5955" y="1765"/>
                    <a:pt x="6113" y="1607"/>
                    <a:pt x="6302" y="1607"/>
                  </a:cubicBezTo>
                  <a:close/>
                  <a:moveTo>
                    <a:pt x="6365" y="0"/>
                  </a:moveTo>
                  <a:cubicBezTo>
                    <a:pt x="2868" y="0"/>
                    <a:pt x="1" y="2836"/>
                    <a:pt x="1" y="6364"/>
                  </a:cubicBezTo>
                  <a:lnTo>
                    <a:pt x="1" y="12382"/>
                  </a:lnTo>
                  <a:cubicBezTo>
                    <a:pt x="1" y="12571"/>
                    <a:pt x="158" y="12728"/>
                    <a:pt x="347" y="12728"/>
                  </a:cubicBezTo>
                  <a:lnTo>
                    <a:pt x="12256" y="12728"/>
                  </a:lnTo>
                  <a:cubicBezTo>
                    <a:pt x="12445" y="12728"/>
                    <a:pt x="12603" y="12571"/>
                    <a:pt x="12603" y="12382"/>
                  </a:cubicBezTo>
                  <a:lnTo>
                    <a:pt x="12603" y="6364"/>
                  </a:lnTo>
                  <a:cubicBezTo>
                    <a:pt x="12760" y="2899"/>
                    <a:pt x="9893" y="0"/>
                    <a:pt x="63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9" name="Google Shape;7579;p73"/>
          <p:cNvGrpSpPr/>
          <p:nvPr/>
        </p:nvGrpSpPr>
        <p:grpSpPr>
          <a:xfrm>
            <a:off x="6210763" y="3205748"/>
            <a:ext cx="314662" cy="358999"/>
            <a:chOff x="-53615675" y="3584850"/>
            <a:chExt cx="279625" cy="319025"/>
          </a:xfrm>
        </p:grpSpPr>
        <p:sp>
          <p:nvSpPr>
            <p:cNvPr id="7580" name="Google Shape;7580;p73"/>
            <p:cNvSpPr/>
            <p:nvPr/>
          </p:nvSpPr>
          <p:spPr>
            <a:xfrm>
              <a:off x="-53577075" y="3584850"/>
              <a:ext cx="204800" cy="319025"/>
            </a:xfrm>
            <a:custGeom>
              <a:avLst/>
              <a:gdLst/>
              <a:ahLst/>
              <a:cxnLst/>
              <a:rect l="l" t="t" r="r" b="b"/>
              <a:pathLst>
                <a:path w="8192" h="12761" extrusionOk="0">
                  <a:moveTo>
                    <a:pt x="2552" y="6774"/>
                  </a:moveTo>
                  <a:cubicBezTo>
                    <a:pt x="2741" y="6774"/>
                    <a:pt x="2899" y="6932"/>
                    <a:pt x="2899" y="7121"/>
                  </a:cubicBezTo>
                  <a:cubicBezTo>
                    <a:pt x="2899" y="7310"/>
                    <a:pt x="2741" y="7467"/>
                    <a:pt x="2552" y="7467"/>
                  </a:cubicBezTo>
                  <a:cubicBezTo>
                    <a:pt x="2363" y="7467"/>
                    <a:pt x="2205" y="7310"/>
                    <a:pt x="2205" y="7121"/>
                  </a:cubicBezTo>
                  <a:cubicBezTo>
                    <a:pt x="2205" y="6932"/>
                    <a:pt x="2363" y="6774"/>
                    <a:pt x="2552" y="6774"/>
                  </a:cubicBezTo>
                  <a:close/>
                  <a:moveTo>
                    <a:pt x="5545" y="6774"/>
                  </a:moveTo>
                  <a:cubicBezTo>
                    <a:pt x="5734" y="6774"/>
                    <a:pt x="5892" y="6932"/>
                    <a:pt x="5892" y="7121"/>
                  </a:cubicBezTo>
                  <a:cubicBezTo>
                    <a:pt x="5892" y="7310"/>
                    <a:pt x="5734" y="7467"/>
                    <a:pt x="5545" y="7467"/>
                  </a:cubicBezTo>
                  <a:cubicBezTo>
                    <a:pt x="5356" y="7467"/>
                    <a:pt x="5198" y="7310"/>
                    <a:pt x="5198" y="7121"/>
                  </a:cubicBezTo>
                  <a:cubicBezTo>
                    <a:pt x="5198" y="6932"/>
                    <a:pt x="5356" y="6774"/>
                    <a:pt x="5545" y="6774"/>
                  </a:cubicBezTo>
                  <a:close/>
                  <a:moveTo>
                    <a:pt x="5104" y="9302"/>
                  </a:moveTo>
                  <a:cubicBezTo>
                    <a:pt x="5198" y="9302"/>
                    <a:pt x="5293" y="9342"/>
                    <a:pt x="5356" y="9421"/>
                  </a:cubicBezTo>
                  <a:cubicBezTo>
                    <a:pt x="5513" y="9578"/>
                    <a:pt x="5513" y="9799"/>
                    <a:pt x="5387" y="9925"/>
                  </a:cubicBezTo>
                  <a:cubicBezTo>
                    <a:pt x="5041" y="10271"/>
                    <a:pt x="4568" y="10460"/>
                    <a:pt x="4096" y="10460"/>
                  </a:cubicBezTo>
                  <a:cubicBezTo>
                    <a:pt x="3560" y="10460"/>
                    <a:pt x="3088" y="10271"/>
                    <a:pt x="2741" y="9925"/>
                  </a:cubicBezTo>
                  <a:cubicBezTo>
                    <a:pt x="2584" y="9767"/>
                    <a:pt x="2584" y="9515"/>
                    <a:pt x="2741" y="9421"/>
                  </a:cubicBezTo>
                  <a:cubicBezTo>
                    <a:pt x="2820" y="9342"/>
                    <a:pt x="2922" y="9302"/>
                    <a:pt x="3021" y="9302"/>
                  </a:cubicBezTo>
                  <a:cubicBezTo>
                    <a:pt x="3119" y="9302"/>
                    <a:pt x="3214" y="9342"/>
                    <a:pt x="3277" y="9421"/>
                  </a:cubicBezTo>
                  <a:cubicBezTo>
                    <a:pt x="3481" y="9625"/>
                    <a:pt x="3765" y="9728"/>
                    <a:pt x="4052" y="9728"/>
                  </a:cubicBezTo>
                  <a:cubicBezTo>
                    <a:pt x="4340" y="9728"/>
                    <a:pt x="4631" y="9625"/>
                    <a:pt x="4852" y="9421"/>
                  </a:cubicBezTo>
                  <a:cubicBezTo>
                    <a:pt x="4915" y="9342"/>
                    <a:pt x="5009" y="9302"/>
                    <a:pt x="5104" y="9302"/>
                  </a:cubicBezTo>
                  <a:close/>
                  <a:moveTo>
                    <a:pt x="5577" y="1"/>
                  </a:moveTo>
                  <a:cubicBezTo>
                    <a:pt x="4568" y="1"/>
                    <a:pt x="3749" y="820"/>
                    <a:pt x="3749" y="1859"/>
                  </a:cubicBezTo>
                  <a:lnTo>
                    <a:pt x="3749" y="3025"/>
                  </a:lnTo>
                  <a:cubicBezTo>
                    <a:pt x="1638" y="3214"/>
                    <a:pt x="0" y="4947"/>
                    <a:pt x="0" y="7121"/>
                  </a:cubicBezTo>
                  <a:lnTo>
                    <a:pt x="0" y="9358"/>
                  </a:lnTo>
                  <a:cubicBezTo>
                    <a:pt x="0" y="11216"/>
                    <a:pt x="1481" y="12760"/>
                    <a:pt x="3340" y="12760"/>
                  </a:cubicBezTo>
                  <a:lnTo>
                    <a:pt x="4852" y="12760"/>
                  </a:lnTo>
                  <a:cubicBezTo>
                    <a:pt x="6679" y="12760"/>
                    <a:pt x="8191" y="11216"/>
                    <a:pt x="8191" y="9358"/>
                  </a:cubicBezTo>
                  <a:lnTo>
                    <a:pt x="8191" y="7121"/>
                  </a:lnTo>
                  <a:cubicBezTo>
                    <a:pt x="8128" y="5010"/>
                    <a:pt x="6522" y="3214"/>
                    <a:pt x="4442" y="3025"/>
                  </a:cubicBezTo>
                  <a:lnTo>
                    <a:pt x="4442" y="1859"/>
                  </a:lnTo>
                  <a:cubicBezTo>
                    <a:pt x="4442" y="1229"/>
                    <a:pt x="4946" y="757"/>
                    <a:pt x="5545" y="757"/>
                  </a:cubicBezTo>
                  <a:cubicBezTo>
                    <a:pt x="6144" y="757"/>
                    <a:pt x="6648" y="1261"/>
                    <a:pt x="6648" y="1859"/>
                  </a:cubicBezTo>
                  <a:cubicBezTo>
                    <a:pt x="6648" y="2049"/>
                    <a:pt x="6490" y="2206"/>
                    <a:pt x="6301" y="2206"/>
                  </a:cubicBezTo>
                  <a:cubicBezTo>
                    <a:pt x="6081" y="2206"/>
                    <a:pt x="5955" y="2049"/>
                    <a:pt x="5955" y="1859"/>
                  </a:cubicBezTo>
                  <a:cubicBezTo>
                    <a:pt x="5955" y="1639"/>
                    <a:pt x="5797" y="1481"/>
                    <a:pt x="5577" y="1481"/>
                  </a:cubicBezTo>
                  <a:cubicBezTo>
                    <a:pt x="5387" y="1481"/>
                    <a:pt x="5230" y="1639"/>
                    <a:pt x="5230" y="1859"/>
                  </a:cubicBezTo>
                  <a:cubicBezTo>
                    <a:pt x="5230" y="2490"/>
                    <a:pt x="5734" y="2962"/>
                    <a:pt x="6333" y="2962"/>
                  </a:cubicBezTo>
                  <a:cubicBezTo>
                    <a:pt x="6963" y="2962"/>
                    <a:pt x="7435" y="2427"/>
                    <a:pt x="7435" y="1859"/>
                  </a:cubicBezTo>
                  <a:cubicBezTo>
                    <a:pt x="7435" y="820"/>
                    <a:pt x="661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73"/>
            <p:cNvSpPr/>
            <p:nvPr/>
          </p:nvSpPr>
          <p:spPr>
            <a:xfrm>
              <a:off x="-53615675" y="3739225"/>
              <a:ext cx="20500" cy="65400"/>
            </a:xfrm>
            <a:custGeom>
              <a:avLst/>
              <a:gdLst/>
              <a:ahLst/>
              <a:cxnLst/>
              <a:rect l="l" t="t" r="r" b="b"/>
              <a:pathLst>
                <a:path w="820" h="2616" extrusionOk="0">
                  <a:moveTo>
                    <a:pt x="820" y="1"/>
                  </a:moveTo>
                  <a:cubicBezTo>
                    <a:pt x="347" y="253"/>
                    <a:pt x="0" y="694"/>
                    <a:pt x="0" y="1292"/>
                  </a:cubicBezTo>
                  <a:cubicBezTo>
                    <a:pt x="0" y="1859"/>
                    <a:pt x="315" y="2332"/>
                    <a:pt x="757" y="2616"/>
                  </a:cubicBezTo>
                  <a:lnTo>
                    <a:pt x="757" y="946"/>
                  </a:lnTo>
                  <a:cubicBezTo>
                    <a:pt x="757" y="631"/>
                    <a:pt x="788" y="284"/>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3"/>
            <p:cNvSpPr/>
            <p:nvPr/>
          </p:nvSpPr>
          <p:spPr>
            <a:xfrm>
              <a:off x="-53356550" y="3738450"/>
              <a:ext cx="20500" cy="64600"/>
            </a:xfrm>
            <a:custGeom>
              <a:avLst/>
              <a:gdLst/>
              <a:ahLst/>
              <a:cxnLst/>
              <a:rect l="l" t="t" r="r" b="b"/>
              <a:pathLst>
                <a:path w="820" h="2584" extrusionOk="0">
                  <a:moveTo>
                    <a:pt x="1" y="0"/>
                  </a:moveTo>
                  <a:cubicBezTo>
                    <a:pt x="64" y="315"/>
                    <a:pt x="64" y="630"/>
                    <a:pt x="64" y="945"/>
                  </a:cubicBezTo>
                  <a:lnTo>
                    <a:pt x="64" y="2584"/>
                  </a:lnTo>
                  <a:cubicBezTo>
                    <a:pt x="505" y="2300"/>
                    <a:pt x="820" y="1859"/>
                    <a:pt x="820" y="1292"/>
                  </a:cubicBezTo>
                  <a:cubicBezTo>
                    <a:pt x="820" y="725"/>
                    <a:pt x="505"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83" name="Google Shape;7583;p73"/>
          <p:cNvGrpSpPr/>
          <p:nvPr/>
        </p:nvGrpSpPr>
        <p:grpSpPr>
          <a:xfrm>
            <a:off x="6188609" y="3668674"/>
            <a:ext cx="358971" cy="357874"/>
            <a:chOff x="-53634575" y="3976500"/>
            <a:chExt cx="319000" cy="318025"/>
          </a:xfrm>
        </p:grpSpPr>
        <p:sp>
          <p:nvSpPr>
            <p:cNvPr id="7584" name="Google Shape;7584;p73"/>
            <p:cNvSpPr/>
            <p:nvPr/>
          </p:nvSpPr>
          <p:spPr>
            <a:xfrm>
              <a:off x="-53634575" y="3976500"/>
              <a:ext cx="319000" cy="93550"/>
            </a:xfrm>
            <a:custGeom>
              <a:avLst/>
              <a:gdLst/>
              <a:ahLst/>
              <a:cxnLst/>
              <a:rect l="l" t="t" r="r" b="b"/>
              <a:pathLst>
                <a:path w="12760" h="3742" extrusionOk="0">
                  <a:moveTo>
                    <a:pt x="6372" y="0"/>
                  </a:moveTo>
                  <a:cubicBezTo>
                    <a:pt x="6317" y="0"/>
                    <a:pt x="6270" y="8"/>
                    <a:pt x="6238" y="24"/>
                  </a:cubicBezTo>
                  <a:lnTo>
                    <a:pt x="252" y="3017"/>
                  </a:lnTo>
                  <a:cubicBezTo>
                    <a:pt x="95" y="3112"/>
                    <a:pt x="0" y="3269"/>
                    <a:pt x="32" y="3458"/>
                  </a:cubicBezTo>
                  <a:cubicBezTo>
                    <a:pt x="95" y="3616"/>
                    <a:pt x="252" y="3742"/>
                    <a:pt x="410" y="3742"/>
                  </a:cubicBezTo>
                  <a:lnTo>
                    <a:pt x="12382" y="3742"/>
                  </a:lnTo>
                  <a:cubicBezTo>
                    <a:pt x="12539" y="3742"/>
                    <a:pt x="12697" y="3616"/>
                    <a:pt x="12728" y="3458"/>
                  </a:cubicBezTo>
                  <a:cubicBezTo>
                    <a:pt x="12760" y="3269"/>
                    <a:pt x="12697" y="3112"/>
                    <a:pt x="12539" y="3017"/>
                  </a:cubicBezTo>
                  <a:lnTo>
                    <a:pt x="6553" y="24"/>
                  </a:lnTo>
                  <a:cubicBezTo>
                    <a:pt x="6490" y="8"/>
                    <a:pt x="6427" y="0"/>
                    <a:pt x="6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73"/>
            <p:cNvSpPr/>
            <p:nvPr/>
          </p:nvSpPr>
          <p:spPr>
            <a:xfrm>
              <a:off x="-53614900" y="4163750"/>
              <a:ext cx="140225" cy="130775"/>
            </a:xfrm>
            <a:custGeom>
              <a:avLst/>
              <a:gdLst/>
              <a:ahLst/>
              <a:cxnLst/>
              <a:rect l="l" t="t" r="r" b="b"/>
              <a:pathLst>
                <a:path w="5609" h="5231" extrusionOk="0">
                  <a:moveTo>
                    <a:pt x="1" y="1"/>
                  </a:moveTo>
                  <a:lnTo>
                    <a:pt x="1" y="4884"/>
                  </a:lnTo>
                  <a:cubicBezTo>
                    <a:pt x="1" y="5073"/>
                    <a:pt x="158" y="5231"/>
                    <a:pt x="347" y="5231"/>
                  </a:cubicBezTo>
                  <a:lnTo>
                    <a:pt x="5488" y="5231"/>
                  </a:lnTo>
                  <a:cubicBezTo>
                    <a:pt x="3370" y="5200"/>
                    <a:pt x="1668" y="3553"/>
                    <a:pt x="1513" y="1481"/>
                  </a:cubicBezTo>
                  <a:cubicBezTo>
                    <a:pt x="662" y="1481"/>
                    <a:pt x="1" y="820"/>
                    <a:pt x="1" y="1"/>
                  </a:cubicBezTo>
                  <a:close/>
                  <a:moveTo>
                    <a:pt x="5488" y="5231"/>
                  </a:moveTo>
                  <a:cubicBezTo>
                    <a:pt x="5508" y="5231"/>
                    <a:pt x="5528" y="5231"/>
                    <a:pt x="5548" y="5231"/>
                  </a:cubicBezTo>
                  <a:cubicBezTo>
                    <a:pt x="5568" y="5231"/>
                    <a:pt x="5589" y="5231"/>
                    <a:pt x="5609" y="523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73"/>
            <p:cNvSpPr/>
            <p:nvPr/>
          </p:nvSpPr>
          <p:spPr>
            <a:xfrm>
              <a:off x="-53616475" y="4088925"/>
              <a:ext cx="126050" cy="74850"/>
            </a:xfrm>
            <a:custGeom>
              <a:avLst/>
              <a:gdLst/>
              <a:ahLst/>
              <a:cxnLst/>
              <a:rect l="l" t="t" r="r" b="b"/>
              <a:pathLst>
                <a:path w="5042" h="2994" extrusionOk="0">
                  <a:moveTo>
                    <a:pt x="1" y="1"/>
                  </a:moveTo>
                  <a:lnTo>
                    <a:pt x="1" y="2994"/>
                  </a:lnTo>
                  <a:cubicBezTo>
                    <a:pt x="32" y="2175"/>
                    <a:pt x="694" y="1481"/>
                    <a:pt x="1513" y="1481"/>
                  </a:cubicBezTo>
                  <a:lnTo>
                    <a:pt x="2521" y="1481"/>
                  </a:lnTo>
                  <a:cubicBezTo>
                    <a:pt x="3561" y="1481"/>
                    <a:pt x="4569" y="914"/>
                    <a:pt x="50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73"/>
            <p:cNvSpPr/>
            <p:nvPr/>
          </p:nvSpPr>
          <p:spPr>
            <a:xfrm>
              <a:off x="-53475475" y="4163750"/>
              <a:ext cx="139425" cy="130775"/>
            </a:xfrm>
            <a:custGeom>
              <a:avLst/>
              <a:gdLst/>
              <a:ahLst/>
              <a:cxnLst/>
              <a:rect l="l" t="t" r="r" b="b"/>
              <a:pathLst>
                <a:path w="5577" h="5231" extrusionOk="0">
                  <a:moveTo>
                    <a:pt x="5577" y="1"/>
                  </a:moveTo>
                  <a:cubicBezTo>
                    <a:pt x="5577" y="820"/>
                    <a:pt x="4915" y="1481"/>
                    <a:pt x="4064" y="1481"/>
                  </a:cubicBezTo>
                  <a:cubicBezTo>
                    <a:pt x="3875" y="3592"/>
                    <a:pt x="2111" y="5231"/>
                    <a:pt x="0" y="5231"/>
                  </a:cubicBezTo>
                  <a:lnTo>
                    <a:pt x="5230" y="5231"/>
                  </a:lnTo>
                  <a:cubicBezTo>
                    <a:pt x="5419" y="5231"/>
                    <a:pt x="5577" y="5073"/>
                    <a:pt x="5577" y="4884"/>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73"/>
            <p:cNvSpPr/>
            <p:nvPr/>
          </p:nvSpPr>
          <p:spPr>
            <a:xfrm>
              <a:off x="-53559750" y="4100750"/>
              <a:ext cx="167775" cy="174875"/>
            </a:xfrm>
            <a:custGeom>
              <a:avLst/>
              <a:gdLst/>
              <a:ahLst/>
              <a:cxnLst/>
              <a:rect l="l" t="t" r="r" b="b"/>
              <a:pathLst>
                <a:path w="6711" h="6995" extrusionOk="0">
                  <a:moveTo>
                    <a:pt x="1859" y="2521"/>
                  </a:moveTo>
                  <a:cubicBezTo>
                    <a:pt x="2048" y="2521"/>
                    <a:pt x="2206" y="2678"/>
                    <a:pt x="2206" y="2867"/>
                  </a:cubicBezTo>
                  <a:cubicBezTo>
                    <a:pt x="2206" y="3056"/>
                    <a:pt x="2048" y="3214"/>
                    <a:pt x="1859" y="3214"/>
                  </a:cubicBezTo>
                  <a:cubicBezTo>
                    <a:pt x="1670" y="3214"/>
                    <a:pt x="1512" y="3056"/>
                    <a:pt x="1512" y="2867"/>
                  </a:cubicBezTo>
                  <a:cubicBezTo>
                    <a:pt x="1512" y="2710"/>
                    <a:pt x="1670" y="2521"/>
                    <a:pt x="1859" y="2521"/>
                  </a:cubicBezTo>
                  <a:close/>
                  <a:moveTo>
                    <a:pt x="4852" y="2521"/>
                  </a:moveTo>
                  <a:cubicBezTo>
                    <a:pt x="5041" y="2521"/>
                    <a:pt x="5199" y="2678"/>
                    <a:pt x="5199" y="2867"/>
                  </a:cubicBezTo>
                  <a:cubicBezTo>
                    <a:pt x="5199" y="3056"/>
                    <a:pt x="5041" y="3214"/>
                    <a:pt x="4852" y="3214"/>
                  </a:cubicBezTo>
                  <a:cubicBezTo>
                    <a:pt x="4663" y="3214"/>
                    <a:pt x="4505" y="3056"/>
                    <a:pt x="4505" y="2867"/>
                  </a:cubicBezTo>
                  <a:cubicBezTo>
                    <a:pt x="4505" y="2710"/>
                    <a:pt x="4663" y="2521"/>
                    <a:pt x="4852" y="2521"/>
                  </a:cubicBezTo>
                  <a:close/>
                  <a:moveTo>
                    <a:pt x="4407" y="4324"/>
                  </a:moveTo>
                  <a:cubicBezTo>
                    <a:pt x="4505" y="4324"/>
                    <a:pt x="4600" y="4364"/>
                    <a:pt x="4663" y="4443"/>
                  </a:cubicBezTo>
                  <a:cubicBezTo>
                    <a:pt x="4820" y="4600"/>
                    <a:pt x="4820" y="4852"/>
                    <a:pt x="4663" y="4947"/>
                  </a:cubicBezTo>
                  <a:cubicBezTo>
                    <a:pt x="4285" y="5325"/>
                    <a:pt x="3812" y="5514"/>
                    <a:pt x="3340" y="5514"/>
                  </a:cubicBezTo>
                  <a:cubicBezTo>
                    <a:pt x="2836" y="5514"/>
                    <a:pt x="2363" y="5325"/>
                    <a:pt x="2017" y="4947"/>
                  </a:cubicBezTo>
                  <a:cubicBezTo>
                    <a:pt x="1859" y="4789"/>
                    <a:pt x="1859" y="4569"/>
                    <a:pt x="2017" y="4443"/>
                  </a:cubicBezTo>
                  <a:cubicBezTo>
                    <a:pt x="2095" y="4380"/>
                    <a:pt x="2190" y="4348"/>
                    <a:pt x="2284" y="4348"/>
                  </a:cubicBezTo>
                  <a:cubicBezTo>
                    <a:pt x="2379" y="4348"/>
                    <a:pt x="2473" y="4380"/>
                    <a:pt x="2552" y="4443"/>
                  </a:cubicBezTo>
                  <a:cubicBezTo>
                    <a:pt x="2773" y="4663"/>
                    <a:pt x="3064" y="4773"/>
                    <a:pt x="3352" y="4773"/>
                  </a:cubicBezTo>
                  <a:cubicBezTo>
                    <a:pt x="3639" y="4773"/>
                    <a:pt x="3923" y="4663"/>
                    <a:pt x="4127" y="4443"/>
                  </a:cubicBezTo>
                  <a:cubicBezTo>
                    <a:pt x="4206" y="4364"/>
                    <a:pt x="4309" y="4324"/>
                    <a:pt x="4407" y="4324"/>
                  </a:cubicBezTo>
                  <a:close/>
                  <a:moveTo>
                    <a:pt x="3340" y="0"/>
                  </a:moveTo>
                  <a:cubicBezTo>
                    <a:pt x="2678" y="1072"/>
                    <a:pt x="1544" y="1765"/>
                    <a:pt x="252" y="1765"/>
                  </a:cubicBezTo>
                  <a:lnTo>
                    <a:pt x="0" y="1765"/>
                  </a:lnTo>
                  <a:lnTo>
                    <a:pt x="0" y="3623"/>
                  </a:lnTo>
                  <a:cubicBezTo>
                    <a:pt x="0" y="5482"/>
                    <a:pt x="1512" y="6994"/>
                    <a:pt x="3340" y="6994"/>
                  </a:cubicBezTo>
                  <a:cubicBezTo>
                    <a:pt x="5199" y="6994"/>
                    <a:pt x="6711" y="5482"/>
                    <a:pt x="6711" y="3623"/>
                  </a:cubicBezTo>
                  <a:lnTo>
                    <a:pt x="6711" y="1765"/>
                  </a:lnTo>
                  <a:lnTo>
                    <a:pt x="6459" y="1765"/>
                  </a:lnTo>
                  <a:cubicBezTo>
                    <a:pt x="5167" y="1765"/>
                    <a:pt x="4033" y="1103"/>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73"/>
            <p:cNvSpPr/>
            <p:nvPr/>
          </p:nvSpPr>
          <p:spPr>
            <a:xfrm>
              <a:off x="-53373875" y="4144850"/>
              <a:ext cx="18925" cy="37825"/>
            </a:xfrm>
            <a:custGeom>
              <a:avLst/>
              <a:gdLst/>
              <a:ahLst/>
              <a:cxnLst/>
              <a:rect l="l" t="t" r="r" b="b"/>
              <a:pathLst>
                <a:path w="757" h="1513" extrusionOk="0">
                  <a:moveTo>
                    <a:pt x="0" y="1"/>
                  </a:moveTo>
                  <a:lnTo>
                    <a:pt x="0" y="1513"/>
                  </a:lnTo>
                  <a:cubicBezTo>
                    <a:pt x="410" y="1513"/>
                    <a:pt x="757" y="1135"/>
                    <a:pt x="757" y="757"/>
                  </a:cubicBezTo>
                  <a:cubicBezTo>
                    <a:pt x="757" y="347"/>
                    <a:pt x="441" y="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3"/>
            <p:cNvSpPr/>
            <p:nvPr/>
          </p:nvSpPr>
          <p:spPr>
            <a:xfrm>
              <a:off x="-53596775" y="4144850"/>
              <a:ext cx="18125" cy="37825"/>
            </a:xfrm>
            <a:custGeom>
              <a:avLst/>
              <a:gdLst/>
              <a:ahLst/>
              <a:cxnLst/>
              <a:rect l="l" t="t" r="r" b="b"/>
              <a:pathLst>
                <a:path w="725" h="1513" extrusionOk="0">
                  <a:moveTo>
                    <a:pt x="725" y="1"/>
                  </a:moveTo>
                  <a:cubicBezTo>
                    <a:pt x="347" y="1"/>
                    <a:pt x="1" y="347"/>
                    <a:pt x="1" y="757"/>
                  </a:cubicBezTo>
                  <a:cubicBezTo>
                    <a:pt x="1" y="1135"/>
                    <a:pt x="347" y="1513"/>
                    <a:pt x="725" y="151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73"/>
            <p:cNvSpPr/>
            <p:nvPr/>
          </p:nvSpPr>
          <p:spPr>
            <a:xfrm>
              <a:off x="-53461300" y="4088925"/>
              <a:ext cx="125250" cy="74850"/>
            </a:xfrm>
            <a:custGeom>
              <a:avLst/>
              <a:gdLst/>
              <a:ahLst/>
              <a:cxnLst/>
              <a:rect l="l" t="t" r="r" b="b"/>
              <a:pathLst>
                <a:path w="5010" h="2994" extrusionOk="0">
                  <a:moveTo>
                    <a:pt x="0" y="1"/>
                  </a:moveTo>
                  <a:cubicBezTo>
                    <a:pt x="504" y="914"/>
                    <a:pt x="1450" y="1481"/>
                    <a:pt x="2521" y="1481"/>
                  </a:cubicBezTo>
                  <a:lnTo>
                    <a:pt x="3497" y="1481"/>
                  </a:lnTo>
                  <a:cubicBezTo>
                    <a:pt x="4348" y="1481"/>
                    <a:pt x="5010" y="2175"/>
                    <a:pt x="5010" y="2994"/>
                  </a:cubicBezTo>
                  <a:lnTo>
                    <a:pt x="501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92" name="Google Shape;7592;p73"/>
          <p:cNvGrpSpPr/>
          <p:nvPr/>
        </p:nvGrpSpPr>
        <p:grpSpPr>
          <a:xfrm>
            <a:off x="7983413" y="3211628"/>
            <a:ext cx="314662" cy="358436"/>
            <a:chOff x="-52023900" y="3590075"/>
            <a:chExt cx="279625" cy="318525"/>
          </a:xfrm>
        </p:grpSpPr>
        <p:sp>
          <p:nvSpPr>
            <p:cNvPr id="7593" name="Google Shape;7593;p73"/>
            <p:cNvSpPr/>
            <p:nvPr/>
          </p:nvSpPr>
          <p:spPr>
            <a:xfrm>
              <a:off x="-52005000" y="3611625"/>
              <a:ext cx="92175" cy="92175"/>
            </a:xfrm>
            <a:custGeom>
              <a:avLst/>
              <a:gdLst/>
              <a:ahLst/>
              <a:cxnLst/>
              <a:rect l="l" t="t" r="r" b="b"/>
              <a:pathLst>
                <a:path w="3687" h="3687" extrusionOk="0">
                  <a:moveTo>
                    <a:pt x="1104" y="1"/>
                  </a:moveTo>
                  <a:cubicBezTo>
                    <a:pt x="474" y="1"/>
                    <a:pt x="1" y="505"/>
                    <a:pt x="1" y="1104"/>
                  </a:cubicBezTo>
                  <a:cubicBezTo>
                    <a:pt x="1" y="1419"/>
                    <a:pt x="127" y="1576"/>
                    <a:pt x="285" y="1828"/>
                  </a:cubicBezTo>
                  <a:cubicBezTo>
                    <a:pt x="127" y="2112"/>
                    <a:pt x="1" y="2269"/>
                    <a:pt x="1" y="2584"/>
                  </a:cubicBezTo>
                  <a:cubicBezTo>
                    <a:pt x="1" y="3214"/>
                    <a:pt x="505" y="3687"/>
                    <a:pt x="1104" y="3687"/>
                  </a:cubicBezTo>
                  <a:cubicBezTo>
                    <a:pt x="1734" y="3655"/>
                    <a:pt x="2238" y="3183"/>
                    <a:pt x="2238" y="2553"/>
                  </a:cubicBezTo>
                  <a:lnTo>
                    <a:pt x="2238" y="2206"/>
                  </a:lnTo>
                  <a:lnTo>
                    <a:pt x="2584" y="2206"/>
                  </a:lnTo>
                  <a:cubicBezTo>
                    <a:pt x="3214" y="2206"/>
                    <a:pt x="3687" y="1671"/>
                    <a:pt x="3687" y="1104"/>
                  </a:cubicBezTo>
                  <a:cubicBezTo>
                    <a:pt x="3687" y="505"/>
                    <a:pt x="3183" y="1"/>
                    <a:pt x="2584" y="1"/>
                  </a:cubicBezTo>
                  <a:cubicBezTo>
                    <a:pt x="2269" y="1"/>
                    <a:pt x="2112" y="95"/>
                    <a:pt x="1860" y="253"/>
                  </a:cubicBezTo>
                  <a:cubicBezTo>
                    <a:pt x="1576" y="95"/>
                    <a:pt x="1419"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73"/>
            <p:cNvSpPr/>
            <p:nvPr/>
          </p:nvSpPr>
          <p:spPr>
            <a:xfrm>
              <a:off x="-51894725" y="3614000"/>
              <a:ext cx="121325" cy="106350"/>
            </a:xfrm>
            <a:custGeom>
              <a:avLst/>
              <a:gdLst/>
              <a:ahLst/>
              <a:cxnLst/>
              <a:rect l="l" t="t" r="r" b="b"/>
              <a:pathLst>
                <a:path w="4853" h="4254" extrusionOk="0">
                  <a:moveTo>
                    <a:pt x="1576" y="0"/>
                  </a:moveTo>
                  <a:lnTo>
                    <a:pt x="1" y="441"/>
                  </a:lnTo>
                  <a:cubicBezTo>
                    <a:pt x="32" y="567"/>
                    <a:pt x="32" y="725"/>
                    <a:pt x="64" y="851"/>
                  </a:cubicBezTo>
                  <a:lnTo>
                    <a:pt x="64" y="914"/>
                  </a:lnTo>
                  <a:cubicBezTo>
                    <a:pt x="473" y="2836"/>
                    <a:pt x="2206" y="4254"/>
                    <a:pt x="4159" y="4254"/>
                  </a:cubicBezTo>
                  <a:lnTo>
                    <a:pt x="4600" y="4254"/>
                  </a:lnTo>
                  <a:lnTo>
                    <a:pt x="4852" y="2678"/>
                  </a:lnTo>
                  <a:lnTo>
                    <a:pt x="4852" y="2678"/>
                  </a:lnTo>
                  <a:cubicBezTo>
                    <a:pt x="4632" y="2741"/>
                    <a:pt x="4411" y="2773"/>
                    <a:pt x="4159" y="2773"/>
                  </a:cubicBezTo>
                  <a:cubicBezTo>
                    <a:pt x="4131" y="2774"/>
                    <a:pt x="4103" y="2774"/>
                    <a:pt x="4076" y="2774"/>
                  </a:cubicBezTo>
                  <a:cubicBezTo>
                    <a:pt x="3164" y="2774"/>
                    <a:pt x="2350" y="2276"/>
                    <a:pt x="1891" y="1481"/>
                  </a:cubicBezTo>
                  <a:cubicBezTo>
                    <a:pt x="1639" y="1009"/>
                    <a:pt x="1544" y="536"/>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73"/>
            <p:cNvSpPr/>
            <p:nvPr/>
          </p:nvSpPr>
          <p:spPr>
            <a:xfrm>
              <a:off x="-51838000" y="3590075"/>
              <a:ext cx="76400" cy="74350"/>
            </a:xfrm>
            <a:custGeom>
              <a:avLst/>
              <a:gdLst/>
              <a:ahLst/>
              <a:cxnLst/>
              <a:rect l="l" t="t" r="r" b="b"/>
              <a:pathLst>
                <a:path w="3056" h="2974" extrusionOk="0">
                  <a:moveTo>
                    <a:pt x="2615" y="0"/>
                  </a:moveTo>
                  <a:cubicBezTo>
                    <a:pt x="2583" y="0"/>
                    <a:pt x="2552" y="4"/>
                    <a:pt x="2520" y="12"/>
                  </a:cubicBezTo>
                  <a:lnTo>
                    <a:pt x="95" y="737"/>
                  </a:lnTo>
                  <a:cubicBezTo>
                    <a:pt x="0" y="1209"/>
                    <a:pt x="63" y="1650"/>
                    <a:pt x="284" y="2029"/>
                  </a:cubicBezTo>
                  <a:cubicBezTo>
                    <a:pt x="599" y="2627"/>
                    <a:pt x="1229" y="2974"/>
                    <a:pt x="1890" y="2974"/>
                  </a:cubicBezTo>
                  <a:cubicBezTo>
                    <a:pt x="2174" y="2974"/>
                    <a:pt x="2457" y="2911"/>
                    <a:pt x="2678" y="2785"/>
                  </a:cubicBezTo>
                  <a:lnTo>
                    <a:pt x="3056" y="422"/>
                  </a:lnTo>
                  <a:cubicBezTo>
                    <a:pt x="3056" y="296"/>
                    <a:pt x="2993" y="170"/>
                    <a:pt x="2930" y="107"/>
                  </a:cubicBezTo>
                  <a:cubicBezTo>
                    <a:pt x="2812" y="36"/>
                    <a:pt x="2711"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73"/>
            <p:cNvSpPr/>
            <p:nvPr/>
          </p:nvSpPr>
          <p:spPr>
            <a:xfrm>
              <a:off x="-51988450" y="3666775"/>
              <a:ext cx="204800" cy="241825"/>
            </a:xfrm>
            <a:custGeom>
              <a:avLst/>
              <a:gdLst/>
              <a:ahLst/>
              <a:cxnLst/>
              <a:rect l="l" t="t" r="r" b="b"/>
              <a:pathLst>
                <a:path w="8192" h="9673" extrusionOk="0">
                  <a:moveTo>
                    <a:pt x="2678" y="3718"/>
                  </a:moveTo>
                  <a:cubicBezTo>
                    <a:pt x="2868" y="3718"/>
                    <a:pt x="3025" y="3875"/>
                    <a:pt x="3025" y="4096"/>
                  </a:cubicBezTo>
                  <a:cubicBezTo>
                    <a:pt x="3025" y="4285"/>
                    <a:pt x="2868" y="4442"/>
                    <a:pt x="2678" y="4442"/>
                  </a:cubicBezTo>
                  <a:cubicBezTo>
                    <a:pt x="2489" y="4442"/>
                    <a:pt x="2332" y="4285"/>
                    <a:pt x="2332" y="4096"/>
                  </a:cubicBezTo>
                  <a:cubicBezTo>
                    <a:pt x="2332" y="3875"/>
                    <a:pt x="2489" y="3718"/>
                    <a:pt x="2678" y="3718"/>
                  </a:cubicBezTo>
                  <a:close/>
                  <a:moveTo>
                    <a:pt x="5671" y="3781"/>
                  </a:moveTo>
                  <a:cubicBezTo>
                    <a:pt x="5860" y="3781"/>
                    <a:pt x="6018" y="3938"/>
                    <a:pt x="6018" y="4127"/>
                  </a:cubicBezTo>
                  <a:cubicBezTo>
                    <a:pt x="6018" y="4316"/>
                    <a:pt x="5860" y="4474"/>
                    <a:pt x="5671" y="4474"/>
                  </a:cubicBezTo>
                  <a:cubicBezTo>
                    <a:pt x="5482" y="4474"/>
                    <a:pt x="5325" y="4316"/>
                    <a:pt x="5325" y="4127"/>
                  </a:cubicBezTo>
                  <a:cubicBezTo>
                    <a:pt x="5325" y="3938"/>
                    <a:pt x="5482" y="3781"/>
                    <a:pt x="5671" y="3781"/>
                  </a:cubicBezTo>
                  <a:close/>
                  <a:moveTo>
                    <a:pt x="4191" y="4474"/>
                  </a:moveTo>
                  <a:cubicBezTo>
                    <a:pt x="4821" y="4474"/>
                    <a:pt x="5293" y="4978"/>
                    <a:pt x="5293" y="5577"/>
                  </a:cubicBezTo>
                  <a:cubicBezTo>
                    <a:pt x="5293" y="6207"/>
                    <a:pt x="4758" y="6679"/>
                    <a:pt x="4191" y="6679"/>
                  </a:cubicBezTo>
                  <a:cubicBezTo>
                    <a:pt x="3561" y="6679"/>
                    <a:pt x="3088" y="6175"/>
                    <a:pt x="3088" y="5577"/>
                  </a:cubicBezTo>
                  <a:cubicBezTo>
                    <a:pt x="3088" y="4946"/>
                    <a:pt x="3561" y="4474"/>
                    <a:pt x="4191" y="4474"/>
                  </a:cubicBezTo>
                  <a:close/>
                  <a:moveTo>
                    <a:pt x="5195" y="7034"/>
                  </a:moveTo>
                  <a:cubicBezTo>
                    <a:pt x="5293" y="7034"/>
                    <a:pt x="5388" y="7073"/>
                    <a:pt x="5451" y="7152"/>
                  </a:cubicBezTo>
                  <a:cubicBezTo>
                    <a:pt x="5640" y="7278"/>
                    <a:pt x="5640" y="7498"/>
                    <a:pt x="5482" y="7656"/>
                  </a:cubicBezTo>
                  <a:cubicBezTo>
                    <a:pt x="5136" y="8002"/>
                    <a:pt x="4663" y="8223"/>
                    <a:pt x="4128" y="8223"/>
                  </a:cubicBezTo>
                  <a:cubicBezTo>
                    <a:pt x="3624" y="8223"/>
                    <a:pt x="3151" y="8002"/>
                    <a:pt x="2836" y="7656"/>
                  </a:cubicBezTo>
                  <a:cubicBezTo>
                    <a:pt x="2678" y="7498"/>
                    <a:pt x="2678" y="7278"/>
                    <a:pt x="2836" y="7152"/>
                  </a:cubicBezTo>
                  <a:cubicBezTo>
                    <a:pt x="2915" y="7073"/>
                    <a:pt x="3017" y="7034"/>
                    <a:pt x="3112" y="7034"/>
                  </a:cubicBezTo>
                  <a:cubicBezTo>
                    <a:pt x="3206" y="7034"/>
                    <a:pt x="3293" y="7073"/>
                    <a:pt x="3340" y="7152"/>
                  </a:cubicBezTo>
                  <a:cubicBezTo>
                    <a:pt x="3561" y="7372"/>
                    <a:pt x="3852" y="7483"/>
                    <a:pt x="4140" y="7483"/>
                  </a:cubicBezTo>
                  <a:cubicBezTo>
                    <a:pt x="4427" y="7483"/>
                    <a:pt x="4711" y="7372"/>
                    <a:pt x="4915" y="7152"/>
                  </a:cubicBezTo>
                  <a:cubicBezTo>
                    <a:pt x="4994" y="7073"/>
                    <a:pt x="5097" y="7034"/>
                    <a:pt x="5195" y="7034"/>
                  </a:cubicBezTo>
                  <a:close/>
                  <a:moveTo>
                    <a:pt x="3403" y="0"/>
                  </a:moveTo>
                  <a:cubicBezTo>
                    <a:pt x="3120" y="347"/>
                    <a:pt x="2710" y="567"/>
                    <a:pt x="2237" y="693"/>
                  </a:cubicBezTo>
                  <a:cubicBezTo>
                    <a:pt x="2080" y="1575"/>
                    <a:pt x="1355" y="2237"/>
                    <a:pt x="410" y="2237"/>
                  </a:cubicBezTo>
                  <a:cubicBezTo>
                    <a:pt x="284" y="2237"/>
                    <a:pt x="158" y="2237"/>
                    <a:pt x="32" y="2174"/>
                  </a:cubicBezTo>
                  <a:cubicBezTo>
                    <a:pt x="32" y="2300"/>
                    <a:pt x="1" y="2458"/>
                    <a:pt x="1" y="2584"/>
                  </a:cubicBezTo>
                  <a:lnTo>
                    <a:pt x="1" y="5577"/>
                  </a:lnTo>
                  <a:cubicBezTo>
                    <a:pt x="1" y="7813"/>
                    <a:pt x="1859" y="9672"/>
                    <a:pt x="4096" y="9672"/>
                  </a:cubicBezTo>
                  <a:cubicBezTo>
                    <a:pt x="6333" y="9672"/>
                    <a:pt x="8192" y="7813"/>
                    <a:pt x="8192" y="5577"/>
                  </a:cubicBezTo>
                  <a:lnTo>
                    <a:pt x="8192" y="2930"/>
                  </a:lnTo>
                  <a:lnTo>
                    <a:pt x="7845" y="2930"/>
                  </a:lnTo>
                  <a:cubicBezTo>
                    <a:pt x="5924" y="2930"/>
                    <a:pt x="4191" y="1764"/>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73"/>
            <p:cNvSpPr/>
            <p:nvPr/>
          </p:nvSpPr>
          <p:spPr>
            <a:xfrm>
              <a:off x="-51893150" y="3797500"/>
              <a:ext cx="18150" cy="17375"/>
            </a:xfrm>
            <a:custGeom>
              <a:avLst/>
              <a:gdLst/>
              <a:ahLst/>
              <a:cxnLst/>
              <a:rect l="l" t="t" r="r" b="b"/>
              <a:pathLst>
                <a:path w="726" h="695" extrusionOk="0">
                  <a:moveTo>
                    <a:pt x="379" y="1"/>
                  </a:moveTo>
                  <a:cubicBezTo>
                    <a:pt x="190" y="1"/>
                    <a:pt x="1" y="159"/>
                    <a:pt x="1" y="348"/>
                  </a:cubicBezTo>
                  <a:cubicBezTo>
                    <a:pt x="1" y="537"/>
                    <a:pt x="190" y="694"/>
                    <a:pt x="379" y="694"/>
                  </a:cubicBezTo>
                  <a:cubicBezTo>
                    <a:pt x="568" y="694"/>
                    <a:pt x="725" y="537"/>
                    <a:pt x="725" y="348"/>
                  </a:cubicBezTo>
                  <a:cubicBezTo>
                    <a:pt x="725" y="159"/>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73"/>
            <p:cNvSpPr/>
            <p:nvPr/>
          </p:nvSpPr>
          <p:spPr>
            <a:xfrm>
              <a:off x="-51763200"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73"/>
            <p:cNvSpPr/>
            <p:nvPr/>
          </p:nvSpPr>
          <p:spPr>
            <a:xfrm>
              <a:off x="-52023900" y="374632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0" name="Google Shape;7600;p73"/>
          <p:cNvGrpSpPr/>
          <p:nvPr/>
        </p:nvGrpSpPr>
        <p:grpSpPr>
          <a:xfrm>
            <a:off x="5746654" y="1380146"/>
            <a:ext cx="358971" cy="358971"/>
            <a:chOff x="-57173375" y="3198925"/>
            <a:chExt cx="319000" cy="319000"/>
          </a:xfrm>
        </p:grpSpPr>
        <p:sp>
          <p:nvSpPr>
            <p:cNvPr id="7601" name="Google Shape;7601;p73"/>
            <p:cNvSpPr/>
            <p:nvPr/>
          </p:nvSpPr>
          <p:spPr>
            <a:xfrm>
              <a:off x="-57120600" y="3237525"/>
              <a:ext cx="204800" cy="92825"/>
            </a:xfrm>
            <a:custGeom>
              <a:avLst/>
              <a:gdLst/>
              <a:ahLst/>
              <a:cxnLst/>
              <a:rect l="l" t="t" r="r" b="b"/>
              <a:pathLst>
                <a:path w="8192" h="3713" extrusionOk="0">
                  <a:moveTo>
                    <a:pt x="4096" y="0"/>
                  </a:moveTo>
                  <a:cubicBezTo>
                    <a:pt x="1954" y="0"/>
                    <a:pt x="189" y="1607"/>
                    <a:pt x="0" y="3686"/>
                  </a:cubicBezTo>
                  <a:cubicBezTo>
                    <a:pt x="81" y="3690"/>
                    <a:pt x="163" y="3692"/>
                    <a:pt x="245" y="3692"/>
                  </a:cubicBezTo>
                  <a:cubicBezTo>
                    <a:pt x="868" y="3692"/>
                    <a:pt x="1523" y="3579"/>
                    <a:pt x="2080" y="3245"/>
                  </a:cubicBezTo>
                  <a:cubicBezTo>
                    <a:pt x="2111" y="3182"/>
                    <a:pt x="2174" y="3056"/>
                    <a:pt x="2206" y="2993"/>
                  </a:cubicBezTo>
                  <a:cubicBezTo>
                    <a:pt x="2017" y="2615"/>
                    <a:pt x="1954" y="2237"/>
                    <a:pt x="2206" y="1890"/>
                  </a:cubicBezTo>
                  <a:cubicBezTo>
                    <a:pt x="2395" y="1512"/>
                    <a:pt x="2741" y="1323"/>
                    <a:pt x="3151" y="1323"/>
                  </a:cubicBezTo>
                  <a:cubicBezTo>
                    <a:pt x="3340" y="977"/>
                    <a:pt x="3686" y="725"/>
                    <a:pt x="4096" y="725"/>
                  </a:cubicBezTo>
                  <a:cubicBezTo>
                    <a:pt x="4474" y="725"/>
                    <a:pt x="4884" y="977"/>
                    <a:pt x="5041" y="1323"/>
                  </a:cubicBezTo>
                  <a:cubicBezTo>
                    <a:pt x="5419" y="1323"/>
                    <a:pt x="5829" y="1512"/>
                    <a:pt x="6018" y="1890"/>
                  </a:cubicBezTo>
                  <a:cubicBezTo>
                    <a:pt x="6207" y="2237"/>
                    <a:pt x="6207" y="2678"/>
                    <a:pt x="6018" y="2993"/>
                  </a:cubicBezTo>
                  <a:cubicBezTo>
                    <a:pt x="6049" y="3056"/>
                    <a:pt x="6112" y="3182"/>
                    <a:pt x="6144" y="3245"/>
                  </a:cubicBezTo>
                  <a:cubicBezTo>
                    <a:pt x="6654" y="3551"/>
                    <a:pt x="7206" y="3713"/>
                    <a:pt x="7783" y="3713"/>
                  </a:cubicBezTo>
                  <a:cubicBezTo>
                    <a:pt x="7918" y="3713"/>
                    <a:pt x="8054" y="3704"/>
                    <a:pt x="8192" y="3686"/>
                  </a:cubicBezTo>
                  <a:cubicBezTo>
                    <a:pt x="8003" y="1607"/>
                    <a:pt x="6207"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73"/>
            <p:cNvSpPr/>
            <p:nvPr/>
          </p:nvSpPr>
          <p:spPr>
            <a:xfrm>
              <a:off x="-57053650" y="3273750"/>
              <a:ext cx="70100" cy="74850"/>
            </a:xfrm>
            <a:custGeom>
              <a:avLst/>
              <a:gdLst/>
              <a:ahLst/>
              <a:cxnLst/>
              <a:rect l="l" t="t" r="r" b="b"/>
              <a:pathLst>
                <a:path w="2804" h="2994" extrusionOk="0">
                  <a:moveTo>
                    <a:pt x="1418" y="1166"/>
                  </a:moveTo>
                  <a:cubicBezTo>
                    <a:pt x="1607" y="1166"/>
                    <a:pt x="1765" y="1323"/>
                    <a:pt x="1765" y="1544"/>
                  </a:cubicBezTo>
                  <a:cubicBezTo>
                    <a:pt x="1765" y="1733"/>
                    <a:pt x="1638" y="1891"/>
                    <a:pt x="1418" y="1891"/>
                  </a:cubicBezTo>
                  <a:cubicBezTo>
                    <a:pt x="1229" y="1891"/>
                    <a:pt x="1071" y="1733"/>
                    <a:pt x="1071" y="1544"/>
                  </a:cubicBezTo>
                  <a:cubicBezTo>
                    <a:pt x="1071" y="1323"/>
                    <a:pt x="1229" y="1166"/>
                    <a:pt x="1418" y="1166"/>
                  </a:cubicBezTo>
                  <a:close/>
                  <a:moveTo>
                    <a:pt x="1418" y="0"/>
                  </a:moveTo>
                  <a:cubicBezTo>
                    <a:pt x="1260" y="0"/>
                    <a:pt x="1103" y="126"/>
                    <a:pt x="1071" y="315"/>
                  </a:cubicBezTo>
                  <a:cubicBezTo>
                    <a:pt x="1019" y="497"/>
                    <a:pt x="860" y="615"/>
                    <a:pt x="664" y="615"/>
                  </a:cubicBezTo>
                  <a:cubicBezTo>
                    <a:pt x="623" y="615"/>
                    <a:pt x="580" y="610"/>
                    <a:pt x="536" y="599"/>
                  </a:cubicBezTo>
                  <a:cubicBezTo>
                    <a:pt x="492" y="573"/>
                    <a:pt x="447" y="561"/>
                    <a:pt x="402" y="561"/>
                  </a:cubicBezTo>
                  <a:cubicBezTo>
                    <a:pt x="284" y="561"/>
                    <a:pt x="172" y="642"/>
                    <a:pt x="126" y="756"/>
                  </a:cubicBezTo>
                  <a:cubicBezTo>
                    <a:pt x="32" y="914"/>
                    <a:pt x="63" y="1103"/>
                    <a:pt x="189" y="1197"/>
                  </a:cubicBezTo>
                  <a:cubicBezTo>
                    <a:pt x="347" y="1387"/>
                    <a:pt x="347" y="1639"/>
                    <a:pt x="189" y="1765"/>
                  </a:cubicBezTo>
                  <a:cubicBezTo>
                    <a:pt x="32" y="1891"/>
                    <a:pt x="0" y="2080"/>
                    <a:pt x="126" y="2237"/>
                  </a:cubicBezTo>
                  <a:cubicBezTo>
                    <a:pt x="175" y="2359"/>
                    <a:pt x="300" y="2406"/>
                    <a:pt x="427" y="2406"/>
                  </a:cubicBezTo>
                  <a:cubicBezTo>
                    <a:pt x="463" y="2406"/>
                    <a:pt x="500" y="2402"/>
                    <a:pt x="536" y="2395"/>
                  </a:cubicBezTo>
                  <a:cubicBezTo>
                    <a:pt x="580" y="2382"/>
                    <a:pt x="624" y="2376"/>
                    <a:pt x="667" y="2376"/>
                  </a:cubicBezTo>
                  <a:cubicBezTo>
                    <a:pt x="840" y="2376"/>
                    <a:pt x="996" y="2477"/>
                    <a:pt x="1071" y="2678"/>
                  </a:cubicBezTo>
                  <a:cubicBezTo>
                    <a:pt x="1103" y="2867"/>
                    <a:pt x="1260" y="2993"/>
                    <a:pt x="1418" y="2993"/>
                  </a:cubicBezTo>
                  <a:cubicBezTo>
                    <a:pt x="1575" y="2993"/>
                    <a:pt x="1733" y="2867"/>
                    <a:pt x="1765" y="2678"/>
                  </a:cubicBezTo>
                  <a:cubicBezTo>
                    <a:pt x="1789" y="2483"/>
                    <a:pt x="1946" y="2363"/>
                    <a:pt x="2118" y="2363"/>
                  </a:cubicBezTo>
                  <a:cubicBezTo>
                    <a:pt x="2168" y="2363"/>
                    <a:pt x="2219" y="2373"/>
                    <a:pt x="2269" y="2395"/>
                  </a:cubicBezTo>
                  <a:cubicBezTo>
                    <a:pt x="2309" y="2411"/>
                    <a:pt x="2354" y="2419"/>
                    <a:pt x="2399" y="2419"/>
                  </a:cubicBezTo>
                  <a:cubicBezTo>
                    <a:pt x="2530" y="2419"/>
                    <a:pt x="2663" y="2354"/>
                    <a:pt x="2710" y="2237"/>
                  </a:cubicBezTo>
                  <a:cubicBezTo>
                    <a:pt x="2804" y="2080"/>
                    <a:pt x="2741" y="1891"/>
                    <a:pt x="2647" y="1765"/>
                  </a:cubicBezTo>
                  <a:cubicBezTo>
                    <a:pt x="2489" y="1607"/>
                    <a:pt x="2489" y="1323"/>
                    <a:pt x="2647" y="1197"/>
                  </a:cubicBezTo>
                  <a:cubicBezTo>
                    <a:pt x="2804" y="1103"/>
                    <a:pt x="2804" y="914"/>
                    <a:pt x="2710" y="756"/>
                  </a:cubicBezTo>
                  <a:cubicBezTo>
                    <a:pt x="2663" y="640"/>
                    <a:pt x="2530" y="575"/>
                    <a:pt x="2399" y="575"/>
                  </a:cubicBezTo>
                  <a:cubicBezTo>
                    <a:pt x="2354" y="575"/>
                    <a:pt x="2309" y="583"/>
                    <a:pt x="2269" y="599"/>
                  </a:cubicBezTo>
                  <a:cubicBezTo>
                    <a:pt x="2235" y="609"/>
                    <a:pt x="2202" y="613"/>
                    <a:pt x="2170" y="613"/>
                  </a:cubicBezTo>
                  <a:cubicBezTo>
                    <a:pt x="1992" y="613"/>
                    <a:pt x="1845" y="475"/>
                    <a:pt x="1765" y="315"/>
                  </a:cubicBezTo>
                  <a:cubicBezTo>
                    <a:pt x="1733" y="126"/>
                    <a:pt x="157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73"/>
            <p:cNvSpPr/>
            <p:nvPr/>
          </p:nvSpPr>
          <p:spPr>
            <a:xfrm>
              <a:off x="-57058375" y="3198925"/>
              <a:ext cx="82700" cy="26800"/>
            </a:xfrm>
            <a:custGeom>
              <a:avLst/>
              <a:gdLst/>
              <a:ahLst/>
              <a:cxnLst/>
              <a:rect l="l" t="t" r="r" b="b"/>
              <a:pathLst>
                <a:path w="3308" h="1072" extrusionOk="0">
                  <a:moveTo>
                    <a:pt x="1638" y="0"/>
                  </a:moveTo>
                  <a:cubicBezTo>
                    <a:pt x="882" y="0"/>
                    <a:pt x="252" y="441"/>
                    <a:pt x="0" y="1071"/>
                  </a:cubicBezTo>
                  <a:cubicBezTo>
                    <a:pt x="504" y="851"/>
                    <a:pt x="1040" y="756"/>
                    <a:pt x="1638" y="756"/>
                  </a:cubicBezTo>
                  <a:cubicBezTo>
                    <a:pt x="2206" y="756"/>
                    <a:pt x="2773" y="851"/>
                    <a:pt x="3308" y="1071"/>
                  </a:cubicBezTo>
                  <a:cubicBezTo>
                    <a:pt x="2993" y="441"/>
                    <a:pt x="2363" y="0"/>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73"/>
            <p:cNvSpPr/>
            <p:nvPr/>
          </p:nvSpPr>
          <p:spPr>
            <a:xfrm>
              <a:off x="-57173375" y="3338325"/>
              <a:ext cx="319000" cy="179600"/>
            </a:xfrm>
            <a:custGeom>
              <a:avLst/>
              <a:gdLst/>
              <a:ahLst/>
              <a:cxnLst/>
              <a:rect l="l" t="t" r="r" b="b"/>
              <a:pathLst>
                <a:path w="12760" h="7184" extrusionOk="0">
                  <a:moveTo>
                    <a:pt x="4695" y="1198"/>
                  </a:moveTo>
                  <a:cubicBezTo>
                    <a:pt x="4915" y="1198"/>
                    <a:pt x="5073" y="1355"/>
                    <a:pt x="5073" y="1544"/>
                  </a:cubicBezTo>
                  <a:cubicBezTo>
                    <a:pt x="5073" y="1733"/>
                    <a:pt x="4915" y="1891"/>
                    <a:pt x="4695" y="1891"/>
                  </a:cubicBezTo>
                  <a:cubicBezTo>
                    <a:pt x="4506" y="1891"/>
                    <a:pt x="4348" y="1733"/>
                    <a:pt x="4348" y="1544"/>
                  </a:cubicBezTo>
                  <a:cubicBezTo>
                    <a:pt x="4348" y="1355"/>
                    <a:pt x="4506" y="1198"/>
                    <a:pt x="4695" y="1198"/>
                  </a:cubicBezTo>
                  <a:close/>
                  <a:moveTo>
                    <a:pt x="7688" y="1198"/>
                  </a:moveTo>
                  <a:cubicBezTo>
                    <a:pt x="7908" y="1198"/>
                    <a:pt x="8066" y="1355"/>
                    <a:pt x="8066" y="1544"/>
                  </a:cubicBezTo>
                  <a:cubicBezTo>
                    <a:pt x="8066" y="1733"/>
                    <a:pt x="7940" y="1891"/>
                    <a:pt x="7688" y="1891"/>
                  </a:cubicBezTo>
                  <a:cubicBezTo>
                    <a:pt x="7499" y="1891"/>
                    <a:pt x="7341" y="1733"/>
                    <a:pt x="7341" y="1544"/>
                  </a:cubicBezTo>
                  <a:cubicBezTo>
                    <a:pt x="7341" y="1355"/>
                    <a:pt x="7499" y="1198"/>
                    <a:pt x="7688" y="1198"/>
                  </a:cubicBezTo>
                  <a:close/>
                  <a:moveTo>
                    <a:pt x="946" y="2805"/>
                  </a:moveTo>
                  <a:cubicBezTo>
                    <a:pt x="1198" y="3151"/>
                    <a:pt x="1639" y="3403"/>
                    <a:pt x="2111" y="3403"/>
                  </a:cubicBezTo>
                  <a:cubicBezTo>
                    <a:pt x="2111" y="3844"/>
                    <a:pt x="1765" y="4128"/>
                    <a:pt x="1355" y="4128"/>
                  </a:cubicBezTo>
                  <a:cubicBezTo>
                    <a:pt x="977" y="4128"/>
                    <a:pt x="631" y="3781"/>
                    <a:pt x="631" y="3403"/>
                  </a:cubicBezTo>
                  <a:cubicBezTo>
                    <a:pt x="631" y="3151"/>
                    <a:pt x="725" y="2931"/>
                    <a:pt x="946" y="2805"/>
                  </a:cubicBezTo>
                  <a:close/>
                  <a:moveTo>
                    <a:pt x="11531" y="2805"/>
                  </a:moveTo>
                  <a:cubicBezTo>
                    <a:pt x="11720" y="2931"/>
                    <a:pt x="11846" y="3151"/>
                    <a:pt x="11846" y="3403"/>
                  </a:cubicBezTo>
                  <a:cubicBezTo>
                    <a:pt x="11846" y="3844"/>
                    <a:pt x="11531" y="4128"/>
                    <a:pt x="11090" y="4128"/>
                  </a:cubicBezTo>
                  <a:cubicBezTo>
                    <a:pt x="10681" y="4128"/>
                    <a:pt x="10334" y="3781"/>
                    <a:pt x="10334" y="3403"/>
                  </a:cubicBezTo>
                  <a:cubicBezTo>
                    <a:pt x="10807" y="3403"/>
                    <a:pt x="11248" y="3151"/>
                    <a:pt x="11531" y="2805"/>
                  </a:cubicBezTo>
                  <a:close/>
                  <a:moveTo>
                    <a:pt x="7302" y="3718"/>
                  </a:moveTo>
                  <a:cubicBezTo>
                    <a:pt x="7396" y="3718"/>
                    <a:pt x="7483" y="3750"/>
                    <a:pt x="7530" y="3813"/>
                  </a:cubicBezTo>
                  <a:cubicBezTo>
                    <a:pt x="7688" y="3939"/>
                    <a:pt x="7688" y="4191"/>
                    <a:pt x="7530" y="4348"/>
                  </a:cubicBezTo>
                  <a:cubicBezTo>
                    <a:pt x="7184" y="4695"/>
                    <a:pt x="6711" y="4884"/>
                    <a:pt x="6238" y="4884"/>
                  </a:cubicBezTo>
                  <a:cubicBezTo>
                    <a:pt x="5766" y="4884"/>
                    <a:pt x="5262" y="4695"/>
                    <a:pt x="4947" y="4348"/>
                  </a:cubicBezTo>
                  <a:cubicBezTo>
                    <a:pt x="4789" y="4191"/>
                    <a:pt x="4789" y="3939"/>
                    <a:pt x="4947" y="3813"/>
                  </a:cubicBezTo>
                  <a:cubicBezTo>
                    <a:pt x="5026" y="3750"/>
                    <a:pt x="5120" y="3718"/>
                    <a:pt x="5211" y="3718"/>
                  </a:cubicBezTo>
                  <a:cubicBezTo>
                    <a:pt x="5301" y="3718"/>
                    <a:pt x="5388" y="3750"/>
                    <a:pt x="5451" y="3813"/>
                  </a:cubicBezTo>
                  <a:cubicBezTo>
                    <a:pt x="5671" y="4033"/>
                    <a:pt x="5955" y="4144"/>
                    <a:pt x="6238" y="4144"/>
                  </a:cubicBezTo>
                  <a:cubicBezTo>
                    <a:pt x="6522" y="4144"/>
                    <a:pt x="6806" y="4033"/>
                    <a:pt x="7026" y="3813"/>
                  </a:cubicBezTo>
                  <a:cubicBezTo>
                    <a:pt x="7105" y="3750"/>
                    <a:pt x="7207" y="3718"/>
                    <a:pt x="7302" y="3718"/>
                  </a:cubicBezTo>
                  <a:close/>
                  <a:moveTo>
                    <a:pt x="4317" y="1"/>
                  </a:moveTo>
                  <a:cubicBezTo>
                    <a:pt x="3781" y="284"/>
                    <a:pt x="3119" y="410"/>
                    <a:pt x="2552" y="410"/>
                  </a:cubicBezTo>
                  <a:cubicBezTo>
                    <a:pt x="2426" y="410"/>
                    <a:pt x="2300" y="410"/>
                    <a:pt x="2206" y="379"/>
                  </a:cubicBezTo>
                  <a:lnTo>
                    <a:pt x="2206" y="410"/>
                  </a:lnTo>
                  <a:cubicBezTo>
                    <a:pt x="1355" y="410"/>
                    <a:pt x="694" y="1072"/>
                    <a:pt x="694" y="1891"/>
                  </a:cubicBezTo>
                  <a:cubicBezTo>
                    <a:pt x="694" y="1985"/>
                    <a:pt x="694" y="2017"/>
                    <a:pt x="725" y="2112"/>
                  </a:cubicBezTo>
                  <a:cubicBezTo>
                    <a:pt x="253" y="2364"/>
                    <a:pt x="0" y="2836"/>
                    <a:pt x="0" y="3403"/>
                  </a:cubicBezTo>
                  <a:cubicBezTo>
                    <a:pt x="0" y="4222"/>
                    <a:pt x="662" y="4884"/>
                    <a:pt x="1481" y="4884"/>
                  </a:cubicBezTo>
                  <a:cubicBezTo>
                    <a:pt x="1891" y="4884"/>
                    <a:pt x="2237" y="4726"/>
                    <a:pt x="2521" y="4506"/>
                  </a:cubicBezTo>
                  <a:cubicBezTo>
                    <a:pt x="3088" y="6050"/>
                    <a:pt x="4632" y="7184"/>
                    <a:pt x="6364" y="7184"/>
                  </a:cubicBezTo>
                  <a:cubicBezTo>
                    <a:pt x="8097" y="7184"/>
                    <a:pt x="9641" y="6050"/>
                    <a:pt x="10240" y="4506"/>
                  </a:cubicBezTo>
                  <a:cubicBezTo>
                    <a:pt x="10492" y="4726"/>
                    <a:pt x="10870" y="4884"/>
                    <a:pt x="11248" y="4884"/>
                  </a:cubicBezTo>
                  <a:cubicBezTo>
                    <a:pt x="12067" y="4884"/>
                    <a:pt x="12760" y="4222"/>
                    <a:pt x="12760" y="3403"/>
                  </a:cubicBezTo>
                  <a:cubicBezTo>
                    <a:pt x="12571" y="2836"/>
                    <a:pt x="12256" y="2364"/>
                    <a:pt x="11846" y="2112"/>
                  </a:cubicBezTo>
                  <a:lnTo>
                    <a:pt x="11846" y="1891"/>
                  </a:lnTo>
                  <a:cubicBezTo>
                    <a:pt x="11846" y="1072"/>
                    <a:pt x="11153" y="410"/>
                    <a:pt x="10334" y="410"/>
                  </a:cubicBezTo>
                  <a:lnTo>
                    <a:pt x="10334" y="379"/>
                  </a:lnTo>
                  <a:cubicBezTo>
                    <a:pt x="10208" y="379"/>
                    <a:pt x="10114" y="410"/>
                    <a:pt x="9988" y="410"/>
                  </a:cubicBezTo>
                  <a:cubicBezTo>
                    <a:pt x="9357" y="410"/>
                    <a:pt x="8727" y="253"/>
                    <a:pt x="8160" y="1"/>
                  </a:cubicBezTo>
                  <a:lnTo>
                    <a:pt x="8160" y="32"/>
                  </a:lnTo>
                  <a:cubicBezTo>
                    <a:pt x="7971" y="410"/>
                    <a:pt x="7593" y="599"/>
                    <a:pt x="7184" y="599"/>
                  </a:cubicBezTo>
                  <a:cubicBezTo>
                    <a:pt x="6995" y="946"/>
                    <a:pt x="6648" y="1198"/>
                    <a:pt x="6238" y="1198"/>
                  </a:cubicBezTo>
                  <a:cubicBezTo>
                    <a:pt x="5860" y="1198"/>
                    <a:pt x="5451" y="946"/>
                    <a:pt x="5293" y="599"/>
                  </a:cubicBezTo>
                  <a:cubicBezTo>
                    <a:pt x="4852" y="599"/>
                    <a:pt x="4506" y="410"/>
                    <a:pt x="4317" y="32"/>
                  </a:cubicBezTo>
                  <a:lnTo>
                    <a:pt x="43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5" name="Google Shape;7605;p73"/>
          <p:cNvGrpSpPr/>
          <p:nvPr/>
        </p:nvGrpSpPr>
        <p:grpSpPr>
          <a:xfrm>
            <a:off x="5747541" y="1857587"/>
            <a:ext cx="357198" cy="314690"/>
            <a:chOff x="-57176525" y="3610050"/>
            <a:chExt cx="317425" cy="279650"/>
          </a:xfrm>
        </p:grpSpPr>
        <p:sp>
          <p:nvSpPr>
            <p:cNvPr id="7606" name="Google Shape;7606;p73"/>
            <p:cNvSpPr/>
            <p:nvPr/>
          </p:nvSpPr>
          <p:spPr>
            <a:xfrm>
              <a:off x="-57109575" y="3610050"/>
              <a:ext cx="181950" cy="56750"/>
            </a:xfrm>
            <a:custGeom>
              <a:avLst/>
              <a:gdLst/>
              <a:ahLst/>
              <a:cxnLst/>
              <a:rect l="l" t="t" r="r" b="b"/>
              <a:pathLst>
                <a:path w="7278" h="2270" extrusionOk="0">
                  <a:moveTo>
                    <a:pt x="3655" y="1"/>
                  </a:moveTo>
                  <a:cubicBezTo>
                    <a:pt x="2080" y="1"/>
                    <a:pt x="693" y="914"/>
                    <a:pt x="0" y="2269"/>
                  </a:cubicBezTo>
                  <a:lnTo>
                    <a:pt x="7278" y="2269"/>
                  </a:lnTo>
                  <a:cubicBezTo>
                    <a:pt x="6648" y="914"/>
                    <a:pt x="5262" y="1"/>
                    <a:pt x="36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73"/>
            <p:cNvSpPr/>
            <p:nvPr/>
          </p:nvSpPr>
          <p:spPr>
            <a:xfrm>
              <a:off x="-57120600" y="3684100"/>
              <a:ext cx="88225" cy="36375"/>
            </a:xfrm>
            <a:custGeom>
              <a:avLst/>
              <a:gdLst/>
              <a:ahLst/>
              <a:cxnLst/>
              <a:rect l="l" t="t" r="r" b="b"/>
              <a:pathLst>
                <a:path w="3529" h="1455" extrusionOk="0">
                  <a:moveTo>
                    <a:pt x="158" y="0"/>
                  </a:moveTo>
                  <a:cubicBezTo>
                    <a:pt x="32" y="347"/>
                    <a:pt x="0" y="756"/>
                    <a:pt x="0" y="1103"/>
                  </a:cubicBezTo>
                  <a:lnTo>
                    <a:pt x="0" y="1450"/>
                  </a:lnTo>
                  <a:lnTo>
                    <a:pt x="977" y="1450"/>
                  </a:lnTo>
                  <a:cubicBezTo>
                    <a:pt x="1030" y="1453"/>
                    <a:pt x="1083" y="1454"/>
                    <a:pt x="1135" y="1454"/>
                  </a:cubicBezTo>
                  <a:cubicBezTo>
                    <a:pt x="2170" y="1454"/>
                    <a:pt x="3049" y="87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73"/>
            <p:cNvSpPr/>
            <p:nvPr/>
          </p:nvSpPr>
          <p:spPr>
            <a:xfrm>
              <a:off x="-57176525" y="3747100"/>
              <a:ext cx="28375" cy="67775"/>
            </a:xfrm>
            <a:custGeom>
              <a:avLst/>
              <a:gdLst/>
              <a:ahLst/>
              <a:cxnLst/>
              <a:rect l="l" t="t" r="r" b="b"/>
              <a:pathLst>
                <a:path w="1135" h="2711" extrusionOk="0">
                  <a:moveTo>
                    <a:pt x="1135" y="1"/>
                  </a:moveTo>
                  <a:lnTo>
                    <a:pt x="1135" y="1"/>
                  </a:lnTo>
                  <a:cubicBezTo>
                    <a:pt x="473" y="379"/>
                    <a:pt x="0" y="1135"/>
                    <a:pt x="0" y="1954"/>
                  </a:cubicBezTo>
                  <a:lnTo>
                    <a:pt x="0" y="2521"/>
                  </a:lnTo>
                  <a:cubicBezTo>
                    <a:pt x="0" y="2647"/>
                    <a:pt x="63" y="2710"/>
                    <a:pt x="189" y="2710"/>
                  </a:cubicBezTo>
                  <a:cubicBezTo>
                    <a:pt x="410" y="2679"/>
                    <a:pt x="662" y="2647"/>
                    <a:pt x="883" y="2521"/>
                  </a:cubicBezTo>
                  <a:cubicBezTo>
                    <a:pt x="788" y="2206"/>
                    <a:pt x="757" y="1891"/>
                    <a:pt x="757" y="1576"/>
                  </a:cubicBezTo>
                  <a:cubicBezTo>
                    <a:pt x="757" y="946"/>
                    <a:pt x="946" y="442"/>
                    <a:pt x="11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73"/>
            <p:cNvSpPr/>
            <p:nvPr/>
          </p:nvSpPr>
          <p:spPr>
            <a:xfrm>
              <a:off x="-57139500" y="3743175"/>
              <a:ext cx="37825" cy="89025"/>
            </a:xfrm>
            <a:custGeom>
              <a:avLst/>
              <a:gdLst/>
              <a:ahLst/>
              <a:cxnLst/>
              <a:rect l="l" t="t" r="r" b="b"/>
              <a:pathLst>
                <a:path w="1513" h="3561" extrusionOk="0">
                  <a:moveTo>
                    <a:pt x="744" y="0"/>
                  </a:moveTo>
                  <a:cubicBezTo>
                    <a:pt x="685" y="0"/>
                    <a:pt x="630" y="32"/>
                    <a:pt x="599" y="95"/>
                  </a:cubicBezTo>
                  <a:cubicBezTo>
                    <a:pt x="347" y="410"/>
                    <a:pt x="0" y="1008"/>
                    <a:pt x="0" y="1764"/>
                  </a:cubicBezTo>
                  <a:cubicBezTo>
                    <a:pt x="0" y="2363"/>
                    <a:pt x="284" y="2993"/>
                    <a:pt x="599" y="3466"/>
                  </a:cubicBezTo>
                  <a:cubicBezTo>
                    <a:pt x="630" y="3529"/>
                    <a:pt x="685" y="3560"/>
                    <a:pt x="744" y="3560"/>
                  </a:cubicBezTo>
                  <a:cubicBezTo>
                    <a:pt x="804" y="3560"/>
                    <a:pt x="867" y="3529"/>
                    <a:pt x="914" y="3466"/>
                  </a:cubicBezTo>
                  <a:cubicBezTo>
                    <a:pt x="1260" y="2962"/>
                    <a:pt x="1512" y="2395"/>
                    <a:pt x="1512" y="1764"/>
                  </a:cubicBezTo>
                  <a:cubicBezTo>
                    <a:pt x="1512" y="1040"/>
                    <a:pt x="1134" y="410"/>
                    <a:pt x="914" y="95"/>
                  </a:cubicBezTo>
                  <a:cubicBezTo>
                    <a:pt x="867" y="32"/>
                    <a:pt x="80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3"/>
            <p:cNvSpPr/>
            <p:nvPr/>
          </p:nvSpPr>
          <p:spPr>
            <a:xfrm>
              <a:off x="-57104075" y="3684875"/>
              <a:ext cx="244975" cy="204825"/>
            </a:xfrm>
            <a:custGeom>
              <a:avLst/>
              <a:gdLst/>
              <a:ahLst/>
              <a:cxnLst/>
              <a:rect l="l" t="t" r="r" b="b"/>
              <a:pathLst>
                <a:path w="9799" h="8193" extrusionOk="0">
                  <a:moveTo>
                    <a:pt x="1923" y="2269"/>
                  </a:moveTo>
                  <a:cubicBezTo>
                    <a:pt x="2143" y="2269"/>
                    <a:pt x="2301" y="2427"/>
                    <a:pt x="2301" y="2616"/>
                  </a:cubicBezTo>
                  <a:cubicBezTo>
                    <a:pt x="2301" y="2805"/>
                    <a:pt x="2143" y="2962"/>
                    <a:pt x="1923" y="2962"/>
                  </a:cubicBezTo>
                  <a:cubicBezTo>
                    <a:pt x="1734" y="2962"/>
                    <a:pt x="1576" y="2805"/>
                    <a:pt x="1576" y="2616"/>
                  </a:cubicBezTo>
                  <a:cubicBezTo>
                    <a:pt x="1576" y="2427"/>
                    <a:pt x="1734" y="2269"/>
                    <a:pt x="1923" y="2269"/>
                  </a:cubicBezTo>
                  <a:close/>
                  <a:moveTo>
                    <a:pt x="4916" y="2269"/>
                  </a:moveTo>
                  <a:cubicBezTo>
                    <a:pt x="5136" y="2269"/>
                    <a:pt x="5294" y="2427"/>
                    <a:pt x="5294" y="2616"/>
                  </a:cubicBezTo>
                  <a:cubicBezTo>
                    <a:pt x="5325" y="2805"/>
                    <a:pt x="5168" y="2962"/>
                    <a:pt x="4916" y="2962"/>
                  </a:cubicBezTo>
                  <a:cubicBezTo>
                    <a:pt x="4727" y="2962"/>
                    <a:pt x="4569" y="2805"/>
                    <a:pt x="4569" y="2616"/>
                  </a:cubicBezTo>
                  <a:cubicBezTo>
                    <a:pt x="4569" y="2427"/>
                    <a:pt x="4727" y="2269"/>
                    <a:pt x="4916" y="2269"/>
                  </a:cubicBezTo>
                  <a:close/>
                  <a:moveTo>
                    <a:pt x="8759" y="3876"/>
                  </a:moveTo>
                  <a:cubicBezTo>
                    <a:pt x="8948" y="4002"/>
                    <a:pt x="9074" y="4222"/>
                    <a:pt x="9074" y="4474"/>
                  </a:cubicBezTo>
                  <a:cubicBezTo>
                    <a:pt x="9074" y="4853"/>
                    <a:pt x="8759" y="5199"/>
                    <a:pt x="8318" y="5199"/>
                  </a:cubicBezTo>
                  <a:cubicBezTo>
                    <a:pt x="7909" y="5199"/>
                    <a:pt x="7531" y="4853"/>
                    <a:pt x="7531" y="4474"/>
                  </a:cubicBezTo>
                  <a:cubicBezTo>
                    <a:pt x="8003" y="4474"/>
                    <a:pt x="8476" y="4222"/>
                    <a:pt x="8759" y="3876"/>
                  </a:cubicBezTo>
                  <a:close/>
                  <a:moveTo>
                    <a:pt x="4530" y="4766"/>
                  </a:moveTo>
                  <a:cubicBezTo>
                    <a:pt x="4624" y="4766"/>
                    <a:pt x="4711" y="4805"/>
                    <a:pt x="4758" y="4884"/>
                  </a:cubicBezTo>
                  <a:cubicBezTo>
                    <a:pt x="4916" y="5010"/>
                    <a:pt x="4916" y="5231"/>
                    <a:pt x="4758" y="5420"/>
                  </a:cubicBezTo>
                  <a:cubicBezTo>
                    <a:pt x="4412" y="5766"/>
                    <a:pt x="3939" y="5955"/>
                    <a:pt x="3466" y="5955"/>
                  </a:cubicBezTo>
                  <a:cubicBezTo>
                    <a:pt x="2994" y="5955"/>
                    <a:pt x="2490" y="5766"/>
                    <a:pt x="2175" y="5420"/>
                  </a:cubicBezTo>
                  <a:cubicBezTo>
                    <a:pt x="2017" y="5262"/>
                    <a:pt x="2017" y="5010"/>
                    <a:pt x="2175" y="4884"/>
                  </a:cubicBezTo>
                  <a:cubicBezTo>
                    <a:pt x="2254" y="4805"/>
                    <a:pt x="2348" y="4766"/>
                    <a:pt x="2439" y="4766"/>
                  </a:cubicBezTo>
                  <a:cubicBezTo>
                    <a:pt x="2529" y="4766"/>
                    <a:pt x="2616" y="4805"/>
                    <a:pt x="2679" y="4884"/>
                  </a:cubicBezTo>
                  <a:cubicBezTo>
                    <a:pt x="2899" y="5105"/>
                    <a:pt x="3183" y="5215"/>
                    <a:pt x="3466" y="5215"/>
                  </a:cubicBezTo>
                  <a:cubicBezTo>
                    <a:pt x="3750" y="5215"/>
                    <a:pt x="4034" y="5105"/>
                    <a:pt x="4254" y="4884"/>
                  </a:cubicBezTo>
                  <a:cubicBezTo>
                    <a:pt x="4333" y="4805"/>
                    <a:pt x="4435" y="4766"/>
                    <a:pt x="4530" y="4766"/>
                  </a:cubicBezTo>
                  <a:close/>
                  <a:moveTo>
                    <a:pt x="3687" y="1"/>
                  </a:moveTo>
                  <a:cubicBezTo>
                    <a:pt x="3120" y="1356"/>
                    <a:pt x="1797" y="2269"/>
                    <a:pt x="316" y="2269"/>
                  </a:cubicBezTo>
                  <a:lnTo>
                    <a:pt x="253" y="2269"/>
                  </a:lnTo>
                  <a:cubicBezTo>
                    <a:pt x="536" y="2679"/>
                    <a:pt x="852" y="3372"/>
                    <a:pt x="852" y="4096"/>
                  </a:cubicBezTo>
                  <a:cubicBezTo>
                    <a:pt x="852" y="5168"/>
                    <a:pt x="253" y="5987"/>
                    <a:pt x="1" y="6302"/>
                  </a:cubicBezTo>
                  <a:cubicBezTo>
                    <a:pt x="757" y="7467"/>
                    <a:pt x="2017" y="8192"/>
                    <a:pt x="3435" y="8192"/>
                  </a:cubicBezTo>
                  <a:cubicBezTo>
                    <a:pt x="5168" y="8192"/>
                    <a:pt x="6648" y="7089"/>
                    <a:pt x="7247" y="5577"/>
                  </a:cubicBezTo>
                  <a:cubicBezTo>
                    <a:pt x="7531" y="5798"/>
                    <a:pt x="7877" y="5955"/>
                    <a:pt x="8287" y="5955"/>
                  </a:cubicBezTo>
                  <a:cubicBezTo>
                    <a:pt x="9106" y="5955"/>
                    <a:pt x="9767" y="5294"/>
                    <a:pt x="9767" y="4474"/>
                  </a:cubicBezTo>
                  <a:cubicBezTo>
                    <a:pt x="9799" y="3907"/>
                    <a:pt x="9484" y="3435"/>
                    <a:pt x="9074" y="3151"/>
                  </a:cubicBezTo>
                  <a:lnTo>
                    <a:pt x="9074" y="2962"/>
                  </a:lnTo>
                  <a:cubicBezTo>
                    <a:pt x="9074" y="2143"/>
                    <a:pt x="8350" y="1482"/>
                    <a:pt x="7531" y="1482"/>
                  </a:cubicBezTo>
                  <a:lnTo>
                    <a:pt x="7531" y="1103"/>
                  </a:lnTo>
                  <a:cubicBezTo>
                    <a:pt x="7531" y="725"/>
                    <a:pt x="7499" y="379"/>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1" name="Google Shape;7611;p73"/>
          <p:cNvGrpSpPr/>
          <p:nvPr/>
        </p:nvGrpSpPr>
        <p:grpSpPr>
          <a:xfrm>
            <a:off x="7957995" y="1380146"/>
            <a:ext cx="358099" cy="356326"/>
            <a:chOff x="-55202750" y="3198925"/>
            <a:chExt cx="318225" cy="316650"/>
          </a:xfrm>
        </p:grpSpPr>
        <p:sp>
          <p:nvSpPr>
            <p:cNvPr id="7612" name="Google Shape;7612;p73"/>
            <p:cNvSpPr/>
            <p:nvPr/>
          </p:nvSpPr>
          <p:spPr>
            <a:xfrm>
              <a:off x="-55130275" y="3293425"/>
              <a:ext cx="167775" cy="168575"/>
            </a:xfrm>
            <a:custGeom>
              <a:avLst/>
              <a:gdLst/>
              <a:ahLst/>
              <a:cxnLst/>
              <a:rect l="l" t="t" r="r" b="b"/>
              <a:pathLst>
                <a:path w="6711" h="6743" extrusionOk="0">
                  <a:moveTo>
                    <a:pt x="1891" y="2238"/>
                  </a:moveTo>
                  <a:cubicBezTo>
                    <a:pt x="2111" y="2238"/>
                    <a:pt x="2269" y="2395"/>
                    <a:pt x="2269" y="2584"/>
                  </a:cubicBezTo>
                  <a:cubicBezTo>
                    <a:pt x="2269" y="2805"/>
                    <a:pt x="2111" y="2962"/>
                    <a:pt x="1891" y="2962"/>
                  </a:cubicBezTo>
                  <a:cubicBezTo>
                    <a:pt x="1702" y="2962"/>
                    <a:pt x="1544" y="2836"/>
                    <a:pt x="1544" y="2584"/>
                  </a:cubicBezTo>
                  <a:cubicBezTo>
                    <a:pt x="1544" y="2395"/>
                    <a:pt x="1702" y="2238"/>
                    <a:pt x="1891" y="2238"/>
                  </a:cubicBezTo>
                  <a:close/>
                  <a:moveTo>
                    <a:pt x="4884" y="2269"/>
                  </a:moveTo>
                  <a:cubicBezTo>
                    <a:pt x="5104" y="2269"/>
                    <a:pt x="5262" y="2427"/>
                    <a:pt x="5262" y="2647"/>
                  </a:cubicBezTo>
                  <a:cubicBezTo>
                    <a:pt x="5262" y="2836"/>
                    <a:pt x="5104" y="2994"/>
                    <a:pt x="4884" y="2994"/>
                  </a:cubicBezTo>
                  <a:cubicBezTo>
                    <a:pt x="4695" y="2994"/>
                    <a:pt x="4537" y="2836"/>
                    <a:pt x="4537" y="2647"/>
                  </a:cubicBezTo>
                  <a:cubicBezTo>
                    <a:pt x="4537" y="2427"/>
                    <a:pt x="4695" y="2269"/>
                    <a:pt x="4884" y="2269"/>
                  </a:cubicBezTo>
                  <a:close/>
                  <a:moveTo>
                    <a:pt x="4454" y="4798"/>
                  </a:moveTo>
                  <a:cubicBezTo>
                    <a:pt x="4545" y="4798"/>
                    <a:pt x="4632" y="4837"/>
                    <a:pt x="4695" y="4916"/>
                  </a:cubicBezTo>
                  <a:cubicBezTo>
                    <a:pt x="4852" y="5042"/>
                    <a:pt x="4852" y="5262"/>
                    <a:pt x="4726" y="5420"/>
                  </a:cubicBezTo>
                  <a:cubicBezTo>
                    <a:pt x="4380" y="5798"/>
                    <a:pt x="3907" y="5987"/>
                    <a:pt x="3403" y="5987"/>
                  </a:cubicBezTo>
                  <a:cubicBezTo>
                    <a:pt x="2899" y="5987"/>
                    <a:pt x="2426" y="5798"/>
                    <a:pt x="2111" y="5420"/>
                  </a:cubicBezTo>
                  <a:cubicBezTo>
                    <a:pt x="1954" y="5262"/>
                    <a:pt x="1954" y="5042"/>
                    <a:pt x="2111" y="4916"/>
                  </a:cubicBezTo>
                  <a:cubicBezTo>
                    <a:pt x="2190" y="4837"/>
                    <a:pt x="2284" y="4798"/>
                    <a:pt x="2375" y="4798"/>
                  </a:cubicBezTo>
                  <a:cubicBezTo>
                    <a:pt x="2466" y="4798"/>
                    <a:pt x="2552" y="4837"/>
                    <a:pt x="2615" y="4916"/>
                  </a:cubicBezTo>
                  <a:cubicBezTo>
                    <a:pt x="2836" y="5136"/>
                    <a:pt x="3119" y="5246"/>
                    <a:pt x="3403" y="5246"/>
                  </a:cubicBezTo>
                  <a:cubicBezTo>
                    <a:pt x="3686" y="5246"/>
                    <a:pt x="3970" y="5136"/>
                    <a:pt x="4191" y="4916"/>
                  </a:cubicBezTo>
                  <a:cubicBezTo>
                    <a:pt x="4269" y="4837"/>
                    <a:pt x="4364" y="4798"/>
                    <a:pt x="4454" y="4798"/>
                  </a:cubicBezTo>
                  <a:close/>
                  <a:moveTo>
                    <a:pt x="3403" y="1"/>
                  </a:moveTo>
                  <a:cubicBezTo>
                    <a:pt x="2773" y="1261"/>
                    <a:pt x="1513" y="2112"/>
                    <a:pt x="63" y="2238"/>
                  </a:cubicBezTo>
                  <a:cubicBezTo>
                    <a:pt x="63" y="2364"/>
                    <a:pt x="0" y="2521"/>
                    <a:pt x="0" y="2647"/>
                  </a:cubicBezTo>
                  <a:lnTo>
                    <a:pt x="0" y="4128"/>
                  </a:lnTo>
                  <a:cubicBezTo>
                    <a:pt x="0" y="5577"/>
                    <a:pt x="1198" y="6743"/>
                    <a:pt x="2615" y="6743"/>
                  </a:cubicBezTo>
                  <a:lnTo>
                    <a:pt x="4096" y="6743"/>
                  </a:lnTo>
                  <a:cubicBezTo>
                    <a:pt x="5577" y="6743"/>
                    <a:pt x="6711" y="5546"/>
                    <a:pt x="6711" y="4128"/>
                  </a:cubicBezTo>
                  <a:lnTo>
                    <a:pt x="6711" y="2647"/>
                  </a:lnTo>
                  <a:cubicBezTo>
                    <a:pt x="6711" y="2521"/>
                    <a:pt x="6711" y="2364"/>
                    <a:pt x="6679" y="2238"/>
                  </a:cubicBezTo>
                  <a:cubicBezTo>
                    <a:pt x="5293" y="2112"/>
                    <a:pt x="4033" y="1261"/>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3"/>
            <p:cNvSpPr/>
            <p:nvPr/>
          </p:nvSpPr>
          <p:spPr>
            <a:xfrm>
              <a:off x="-55202750" y="3198925"/>
              <a:ext cx="318225" cy="316650"/>
            </a:xfrm>
            <a:custGeom>
              <a:avLst/>
              <a:gdLst/>
              <a:ahLst/>
              <a:cxnLst/>
              <a:rect l="l" t="t" r="r" b="b"/>
              <a:pathLst>
                <a:path w="12729" h="12666" extrusionOk="0">
                  <a:moveTo>
                    <a:pt x="6302" y="2221"/>
                  </a:moveTo>
                  <a:cubicBezTo>
                    <a:pt x="6459" y="2221"/>
                    <a:pt x="6617" y="2300"/>
                    <a:pt x="6648" y="2458"/>
                  </a:cubicBezTo>
                  <a:lnTo>
                    <a:pt x="6680" y="2615"/>
                  </a:lnTo>
                  <a:cubicBezTo>
                    <a:pt x="7058" y="4127"/>
                    <a:pt x="8381" y="5230"/>
                    <a:pt x="9956" y="5230"/>
                  </a:cubicBezTo>
                  <a:cubicBezTo>
                    <a:pt x="10145" y="5230"/>
                    <a:pt x="10272" y="5356"/>
                    <a:pt x="10303" y="5545"/>
                  </a:cubicBezTo>
                  <a:cubicBezTo>
                    <a:pt x="10366" y="5829"/>
                    <a:pt x="10398" y="6112"/>
                    <a:pt x="10398" y="6364"/>
                  </a:cubicBezTo>
                  <a:lnTo>
                    <a:pt x="10398" y="7877"/>
                  </a:lnTo>
                  <a:cubicBezTo>
                    <a:pt x="10398" y="9704"/>
                    <a:pt x="8885" y="11216"/>
                    <a:pt x="7058" y="11216"/>
                  </a:cubicBezTo>
                  <a:lnTo>
                    <a:pt x="5546" y="11216"/>
                  </a:lnTo>
                  <a:cubicBezTo>
                    <a:pt x="3687" y="11216"/>
                    <a:pt x="2206" y="9704"/>
                    <a:pt x="2206" y="7877"/>
                  </a:cubicBezTo>
                  <a:lnTo>
                    <a:pt x="2206" y="6364"/>
                  </a:lnTo>
                  <a:cubicBezTo>
                    <a:pt x="2206" y="6112"/>
                    <a:pt x="2238" y="5829"/>
                    <a:pt x="2269" y="5545"/>
                  </a:cubicBezTo>
                  <a:cubicBezTo>
                    <a:pt x="2332" y="5388"/>
                    <a:pt x="2490" y="5230"/>
                    <a:pt x="2647" y="5230"/>
                  </a:cubicBezTo>
                  <a:cubicBezTo>
                    <a:pt x="4160" y="5230"/>
                    <a:pt x="5514" y="4127"/>
                    <a:pt x="5892" y="2615"/>
                  </a:cubicBezTo>
                  <a:lnTo>
                    <a:pt x="5955" y="2458"/>
                  </a:lnTo>
                  <a:cubicBezTo>
                    <a:pt x="5987" y="2300"/>
                    <a:pt x="6144" y="2221"/>
                    <a:pt x="6302" y="2221"/>
                  </a:cubicBezTo>
                  <a:close/>
                  <a:moveTo>
                    <a:pt x="6333" y="0"/>
                  </a:moveTo>
                  <a:cubicBezTo>
                    <a:pt x="3529" y="0"/>
                    <a:pt x="1135" y="2111"/>
                    <a:pt x="789" y="4884"/>
                  </a:cubicBezTo>
                  <a:cubicBezTo>
                    <a:pt x="284" y="5230"/>
                    <a:pt x="1" y="5797"/>
                    <a:pt x="1" y="6427"/>
                  </a:cubicBezTo>
                  <a:cubicBezTo>
                    <a:pt x="1" y="6805"/>
                    <a:pt x="127" y="7215"/>
                    <a:pt x="379" y="7530"/>
                  </a:cubicBezTo>
                  <a:cubicBezTo>
                    <a:pt x="158" y="7845"/>
                    <a:pt x="1" y="8223"/>
                    <a:pt x="1" y="8633"/>
                  </a:cubicBezTo>
                  <a:cubicBezTo>
                    <a:pt x="1" y="9011"/>
                    <a:pt x="127" y="9420"/>
                    <a:pt x="379" y="9735"/>
                  </a:cubicBezTo>
                  <a:cubicBezTo>
                    <a:pt x="158" y="10050"/>
                    <a:pt x="1" y="10428"/>
                    <a:pt x="1" y="10838"/>
                  </a:cubicBezTo>
                  <a:cubicBezTo>
                    <a:pt x="1" y="11846"/>
                    <a:pt x="852" y="12665"/>
                    <a:pt x="1891" y="12665"/>
                  </a:cubicBezTo>
                  <a:lnTo>
                    <a:pt x="10839" y="12665"/>
                  </a:lnTo>
                  <a:cubicBezTo>
                    <a:pt x="11847" y="12665"/>
                    <a:pt x="12729" y="11846"/>
                    <a:pt x="12729" y="10838"/>
                  </a:cubicBezTo>
                  <a:cubicBezTo>
                    <a:pt x="12729" y="10428"/>
                    <a:pt x="12603" y="10050"/>
                    <a:pt x="12319" y="9735"/>
                  </a:cubicBezTo>
                  <a:cubicBezTo>
                    <a:pt x="12571" y="9420"/>
                    <a:pt x="12729" y="9011"/>
                    <a:pt x="12729" y="8633"/>
                  </a:cubicBezTo>
                  <a:cubicBezTo>
                    <a:pt x="12666" y="8223"/>
                    <a:pt x="12508" y="7845"/>
                    <a:pt x="12288" y="7530"/>
                  </a:cubicBezTo>
                  <a:cubicBezTo>
                    <a:pt x="12508" y="7215"/>
                    <a:pt x="12666" y="6805"/>
                    <a:pt x="12666" y="6427"/>
                  </a:cubicBezTo>
                  <a:cubicBezTo>
                    <a:pt x="12666" y="5829"/>
                    <a:pt x="12351" y="5230"/>
                    <a:pt x="11878" y="4884"/>
                  </a:cubicBezTo>
                  <a:cubicBezTo>
                    <a:pt x="11500" y="2111"/>
                    <a:pt x="9137"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4" name="Google Shape;7614;p73"/>
          <p:cNvGrpSpPr/>
          <p:nvPr/>
        </p:nvGrpSpPr>
        <p:grpSpPr>
          <a:xfrm>
            <a:off x="7968629" y="1835446"/>
            <a:ext cx="336830" cy="358099"/>
            <a:chOff x="-55194875" y="3590375"/>
            <a:chExt cx="299325" cy="318225"/>
          </a:xfrm>
        </p:grpSpPr>
        <p:sp>
          <p:nvSpPr>
            <p:cNvPr id="7615" name="Google Shape;7615;p73"/>
            <p:cNvSpPr/>
            <p:nvPr/>
          </p:nvSpPr>
          <p:spPr>
            <a:xfrm>
              <a:off x="-55194875" y="3667550"/>
              <a:ext cx="37050" cy="241050"/>
            </a:xfrm>
            <a:custGeom>
              <a:avLst/>
              <a:gdLst/>
              <a:ahLst/>
              <a:cxnLst/>
              <a:rect l="l" t="t" r="r" b="b"/>
              <a:pathLst>
                <a:path w="1482" h="9642" extrusionOk="0">
                  <a:moveTo>
                    <a:pt x="1482" y="1"/>
                  </a:moveTo>
                  <a:cubicBezTo>
                    <a:pt x="537" y="977"/>
                    <a:pt x="1" y="2301"/>
                    <a:pt x="1" y="3687"/>
                  </a:cubicBezTo>
                  <a:lnTo>
                    <a:pt x="1" y="9295"/>
                  </a:lnTo>
                  <a:lnTo>
                    <a:pt x="32" y="9295"/>
                  </a:lnTo>
                  <a:cubicBezTo>
                    <a:pt x="32" y="9484"/>
                    <a:pt x="190" y="9641"/>
                    <a:pt x="379" y="9641"/>
                  </a:cubicBezTo>
                  <a:lnTo>
                    <a:pt x="1482" y="9641"/>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73"/>
            <p:cNvSpPr/>
            <p:nvPr/>
          </p:nvSpPr>
          <p:spPr>
            <a:xfrm>
              <a:off x="-55065700" y="3643925"/>
              <a:ext cx="132350" cy="40200"/>
            </a:xfrm>
            <a:custGeom>
              <a:avLst/>
              <a:gdLst/>
              <a:ahLst/>
              <a:cxnLst/>
              <a:rect l="l" t="t" r="r" b="b"/>
              <a:pathLst>
                <a:path w="5294" h="1608" extrusionOk="0">
                  <a:moveTo>
                    <a:pt x="5294" y="1"/>
                  </a:moveTo>
                  <a:lnTo>
                    <a:pt x="1" y="1607"/>
                  </a:lnTo>
                  <a:lnTo>
                    <a:pt x="5294" y="1607"/>
                  </a:lnTo>
                  <a:lnTo>
                    <a:pt x="5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73"/>
            <p:cNvSpPr/>
            <p:nvPr/>
          </p:nvSpPr>
          <p:spPr>
            <a:xfrm>
              <a:off x="-55138950" y="3703000"/>
              <a:ext cx="204800" cy="168575"/>
            </a:xfrm>
            <a:custGeom>
              <a:avLst/>
              <a:gdLst/>
              <a:ahLst/>
              <a:cxnLst/>
              <a:rect l="l" t="t" r="r" b="b"/>
              <a:pathLst>
                <a:path w="8192" h="6743" extrusionOk="0">
                  <a:moveTo>
                    <a:pt x="2647" y="757"/>
                  </a:moveTo>
                  <a:cubicBezTo>
                    <a:pt x="2836" y="757"/>
                    <a:pt x="2994" y="914"/>
                    <a:pt x="2994" y="1103"/>
                  </a:cubicBezTo>
                  <a:cubicBezTo>
                    <a:pt x="2994" y="1292"/>
                    <a:pt x="2836" y="1450"/>
                    <a:pt x="2647" y="1450"/>
                  </a:cubicBezTo>
                  <a:cubicBezTo>
                    <a:pt x="2458" y="1450"/>
                    <a:pt x="2301" y="1292"/>
                    <a:pt x="2301" y="1103"/>
                  </a:cubicBezTo>
                  <a:cubicBezTo>
                    <a:pt x="2301" y="914"/>
                    <a:pt x="2395" y="757"/>
                    <a:pt x="2647" y="757"/>
                  </a:cubicBezTo>
                  <a:close/>
                  <a:moveTo>
                    <a:pt x="5609" y="757"/>
                  </a:moveTo>
                  <a:cubicBezTo>
                    <a:pt x="5798" y="757"/>
                    <a:pt x="5955" y="914"/>
                    <a:pt x="5955" y="1103"/>
                  </a:cubicBezTo>
                  <a:cubicBezTo>
                    <a:pt x="5955" y="1292"/>
                    <a:pt x="5798" y="1450"/>
                    <a:pt x="5609" y="1450"/>
                  </a:cubicBezTo>
                  <a:cubicBezTo>
                    <a:pt x="5388" y="1450"/>
                    <a:pt x="5231" y="1292"/>
                    <a:pt x="5231" y="1103"/>
                  </a:cubicBezTo>
                  <a:cubicBezTo>
                    <a:pt x="5231" y="914"/>
                    <a:pt x="5388" y="757"/>
                    <a:pt x="5609" y="757"/>
                  </a:cubicBezTo>
                  <a:close/>
                  <a:moveTo>
                    <a:pt x="5195" y="3316"/>
                  </a:moveTo>
                  <a:cubicBezTo>
                    <a:pt x="5294" y="3316"/>
                    <a:pt x="5388" y="3356"/>
                    <a:pt x="5451" y="3434"/>
                  </a:cubicBezTo>
                  <a:cubicBezTo>
                    <a:pt x="5609" y="3592"/>
                    <a:pt x="5609" y="3812"/>
                    <a:pt x="5451" y="3939"/>
                  </a:cubicBezTo>
                  <a:cubicBezTo>
                    <a:pt x="5105" y="4285"/>
                    <a:pt x="4601" y="4474"/>
                    <a:pt x="4096" y="4474"/>
                  </a:cubicBezTo>
                  <a:cubicBezTo>
                    <a:pt x="3592" y="4474"/>
                    <a:pt x="3120" y="4285"/>
                    <a:pt x="2805" y="3939"/>
                  </a:cubicBezTo>
                  <a:cubicBezTo>
                    <a:pt x="2647" y="3781"/>
                    <a:pt x="2647" y="3529"/>
                    <a:pt x="2805" y="3434"/>
                  </a:cubicBezTo>
                  <a:cubicBezTo>
                    <a:pt x="2883" y="3356"/>
                    <a:pt x="2978" y="3316"/>
                    <a:pt x="3073" y="3316"/>
                  </a:cubicBezTo>
                  <a:cubicBezTo>
                    <a:pt x="3167" y="3316"/>
                    <a:pt x="3262" y="3356"/>
                    <a:pt x="3340" y="3434"/>
                  </a:cubicBezTo>
                  <a:cubicBezTo>
                    <a:pt x="3561" y="3639"/>
                    <a:pt x="3852" y="3742"/>
                    <a:pt x="4140" y="3742"/>
                  </a:cubicBezTo>
                  <a:cubicBezTo>
                    <a:pt x="4427" y="3742"/>
                    <a:pt x="4711" y="3639"/>
                    <a:pt x="4916" y="3434"/>
                  </a:cubicBezTo>
                  <a:cubicBezTo>
                    <a:pt x="4994" y="3356"/>
                    <a:pt x="5097" y="3316"/>
                    <a:pt x="5195" y="3316"/>
                  </a:cubicBezTo>
                  <a:close/>
                  <a:moveTo>
                    <a:pt x="1" y="0"/>
                  </a:moveTo>
                  <a:lnTo>
                    <a:pt x="1" y="2584"/>
                  </a:lnTo>
                  <a:cubicBezTo>
                    <a:pt x="1" y="4852"/>
                    <a:pt x="1860" y="6742"/>
                    <a:pt x="4096" y="6742"/>
                  </a:cubicBezTo>
                  <a:cubicBezTo>
                    <a:pt x="6333" y="6742"/>
                    <a:pt x="8192" y="4884"/>
                    <a:pt x="8192" y="2584"/>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3"/>
            <p:cNvSpPr/>
            <p:nvPr/>
          </p:nvSpPr>
          <p:spPr>
            <a:xfrm>
              <a:off x="-55138950" y="3590375"/>
              <a:ext cx="204025" cy="92950"/>
            </a:xfrm>
            <a:custGeom>
              <a:avLst/>
              <a:gdLst/>
              <a:ahLst/>
              <a:cxnLst/>
              <a:rect l="l" t="t" r="r" b="b"/>
              <a:pathLst>
                <a:path w="8161" h="3718" extrusionOk="0">
                  <a:moveTo>
                    <a:pt x="1860" y="0"/>
                  </a:moveTo>
                  <a:cubicBezTo>
                    <a:pt x="820" y="0"/>
                    <a:pt x="1" y="851"/>
                    <a:pt x="1" y="1859"/>
                  </a:cubicBezTo>
                  <a:lnTo>
                    <a:pt x="1" y="3718"/>
                  </a:lnTo>
                  <a:lnTo>
                    <a:pt x="316" y="3718"/>
                  </a:lnTo>
                  <a:lnTo>
                    <a:pt x="8161" y="1386"/>
                  </a:lnTo>
                  <a:cubicBezTo>
                    <a:pt x="7972" y="599"/>
                    <a:pt x="7215"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73"/>
            <p:cNvSpPr/>
            <p:nvPr/>
          </p:nvSpPr>
          <p:spPr>
            <a:xfrm>
              <a:off x="-54914475" y="3688825"/>
              <a:ext cx="18925" cy="64600"/>
            </a:xfrm>
            <a:custGeom>
              <a:avLst/>
              <a:gdLst/>
              <a:ahLst/>
              <a:cxnLst/>
              <a:rect l="l" t="t" r="r" b="b"/>
              <a:pathLst>
                <a:path w="757" h="2584" extrusionOk="0">
                  <a:moveTo>
                    <a:pt x="1" y="0"/>
                  </a:moveTo>
                  <a:lnTo>
                    <a:pt x="1" y="2584"/>
                  </a:lnTo>
                  <a:cubicBezTo>
                    <a:pt x="442" y="2300"/>
                    <a:pt x="757" y="1828"/>
                    <a:pt x="757" y="1261"/>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0" name="Google Shape;7620;p73"/>
          <p:cNvGrpSpPr/>
          <p:nvPr/>
        </p:nvGrpSpPr>
        <p:grpSpPr>
          <a:xfrm>
            <a:off x="7973247" y="2277717"/>
            <a:ext cx="357198" cy="357198"/>
            <a:chOff x="-55203525" y="3983400"/>
            <a:chExt cx="317425" cy="317425"/>
          </a:xfrm>
        </p:grpSpPr>
        <p:sp>
          <p:nvSpPr>
            <p:cNvPr id="7621" name="Google Shape;7621;p73"/>
            <p:cNvSpPr/>
            <p:nvPr/>
          </p:nvSpPr>
          <p:spPr>
            <a:xfrm>
              <a:off x="-55147600" y="4094450"/>
              <a:ext cx="204800" cy="206375"/>
            </a:xfrm>
            <a:custGeom>
              <a:avLst/>
              <a:gdLst/>
              <a:ahLst/>
              <a:cxnLst/>
              <a:rect l="l" t="t" r="r" b="b"/>
              <a:pathLst>
                <a:path w="8192" h="8255" extrusionOk="0">
                  <a:moveTo>
                    <a:pt x="2584" y="2269"/>
                  </a:moveTo>
                  <a:cubicBezTo>
                    <a:pt x="2804" y="2269"/>
                    <a:pt x="2962" y="2426"/>
                    <a:pt x="2962" y="2615"/>
                  </a:cubicBezTo>
                  <a:cubicBezTo>
                    <a:pt x="2962" y="2804"/>
                    <a:pt x="2804" y="2962"/>
                    <a:pt x="2584" y="2962"/>
                  </a:cubicBezTo>
                  <a:cubicBezTo>
                    <a:pt x="2395" y="2962"/>
                    <a:pt x="2237" y="2836"/>
                    <a:pt x="2237" y="2615"/>
                  </a:cubicBezTo>
                  <a:cubicBezTo>
                    <a:pt x="2237" y="2426"/>
                    <a:pt x="2395" y="2269"/>
                    <a:pt x="2584" y="2269"/>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47" y="4828"/>
                  </a:moveTo>
                  <a:cubicBezTo>
                    <a:pt x="5238" y="4828"/>
                    <a:pt x="5325" y="4868"/>
                    <a:pt x="5388" y="4947"/>
                  </a:cubicBezTo>
                  <a:cubicBezTo>
                    <a:pt x="5545" y="5041"/>
                    <a:pt x="5545" y="5293"/>
                    <a:pt x="5419" y="5451"/>
                  </a:cubicBezTo>
                  <a:cubicBezTo>
                    <a:pt x="5073" y="5797"/>
                    <a:pt x="4600" y="5986"/>
                    <a:pt x="4096" y="5986"/>
                  </a:cubicBezTo>
                  <a:cubicBezTo>
                    <a:pt x="3592" y="5986"/>
                    <a:pt x="3119" y="5797"/>
                    <a:pt x="2804" y="5451"/>
                  </a:cubicBezTo>
                  <a:cubicBezTo>
                    <a:pt x="2647" y="5293"/>
                    <a:pt x="2647" y="5041"/>
                    <a:pt x="2804" y="4947"/>
                  </a:cubicBezTo>
                  <a:cubicBezTo>
                    <a:pt x="2883" y="4868"/>
                    <a:pt x="2977" y="4828"/>
                    <a:pt x="3068" y="4828"/>
                  </a:cubicBezTo>
                  <a:cubicBezTo>
                    <a:pt x="3159" y="4828"/>
                    <a:pt x="3245" y="4868"/>
                    <a:pt x="3308" y="4947"/>
                  </a:cubicBezTo>
                  <a:cubicBezTo>
                    <a:pt x="3529" y="5151"/>
                    <a:pt x="3812" y="5254"/>
                    <a:pt x="4096" y="5254"/>
                  </a:cubicBezTo>
                  <a:cubicBezTo>
                    <a:pt x="4379" y="5254"/>
                    <a:pt x="4663" y="5151"/>
                    <a:pt x="4884" y="4947"/>
                  </a:cubicBezTo>
                  <a:cubicBezTo>
                    <a:pt x="4962" y="4868"/>
                    <a:pt x="5057" y="4828"/>
                    <a:pt x="5147" y="4828"/>
                  </a:cubicBezTo>
                  <a:close/>
                  <a:moveTo>
                    <a:pt x="2584" y="0"/>
                  </a:moveTo>
                  <a:cubicBezTo>
                    <a:pt x="1134" y="0"/>
                    <a:pt x="0" y="1197"/>
                    <a:pt x="0" y="2615"/>
                  </a:cubicBezTo>
                  <a:lnTo>
                    <a:pt x="0" y="4096"/>
                  </a:lnTo>
                  <a:cubicBezTo>
                    <a:pt x="0" y="4379"/>
                    <a:pt x="32" y="4695"/>
                    <a:pt x="63" y="4947"/>
                  </a:cubicBezTo>
                  <a:cubicBezTo>
                    <a:pt x="473" y="6837"/>
                    <a:pt x="2174" y="8255"/>
                    <a:pt x="4096" y="8255"/>
                  </a:cubicBezTo>
                  <a:cubicBezTo>
                    <a:pt x="6018" y="8255"/>
                    <a:pt x="7719" y="6837"/>
                    <a:pt x="8097" y="4947"/>
                  </a:cubicBezTo>
                  <a:cubicBezTo>
                    <a:pt x="8160" y="4695"/>
                    <a:pt x="8192" y="4411"/>
                    <a:pt x="8192" y="4096"/>
                  </a:cubicBezTo>
                  <a:lnTo>
                    <a:pt x="8192" y="2615"/>
                  </a:lnTo>
                  <a:cubicBezTo>
                    <a:pt x="8192" y="1197"/>
                    <a:pt x="7057" y="0"/>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73"/>
            <p:cNvSpPr/>
            <p:nvPr/>
          </p:nvSpPr>
          <p:spPr>
            <a:xfrm>
              <a:off x="-55203525" y="4027500"/>
              <a:ext cx="317425" cy="196925"/>
            </a:xfrm>
            <a:custGeom>
              <a:avLst/>
              <a:gdLst/>
              <a:ahLst/>
              <a:cxnLst/>
              <a:rect l="l" t="t" r="r" b="b"/>
              <a:pathLst>
                <a:path w="12697" h="7877" extrusionOk="0">
                  <a:moveTo>
                    <a:pt x="4443" y="0"/>
                  </a:moveTo>
                  <a:cubicBezTo>
                    <a:pt x="1828" y="851"/>
                    <a:pt x="0" y="3277"/>
                    <a:pt x="0" y="6049"/>
                  </a:cubicBezTo>
                  <a:cubicBezTo>
                    <a:pt x="0" y="6994"/>
                    <a:pt x="725" y="7782"/>
                    <a:pt x="1639" y="7877"/>
                  </a:cubicBezTo>
                  <a:cubicBezTo>
                    <a:pt x="1639" y="7845"/>
                    <a:pt x="1607" y="7814"/>
                    <a:pt x="1607" y="7782"/>
                  </a:cubicBezTo>
                  <a:cubicBezTo>
                    <a:pt x="1513" y="7499"/>
                    <a:pt x="1513" y="7120"/>
                    <a:pt x="1513" y="6774"/>
                  </a:cubicBezTo>
                  <a:lnTo>
                    <a:pt x="1513" y="5293"/>
                  </a:lnTo>
                  <a:cubicBezTo>
                    <a:pt x="1513" y="3434"/>
                    <a:pt x="3025" y="1922"/>
                    <a:pt x="4884" y="1922"/>
                  </a:cubicBezTo>
                  <a:lnTo>
                    <a:pt x="7877" y="1922"/>
                  </a:lnTo>
                  <a:cubicBezTo>
                    <a:pt x="9704" y="1922"/>
                    <a:pt x="11216" y="3434"/>
                    <a:pt x="11216" y="5293"/>
                  </a:cubicBezTo>
                  <a:lnTo>
                    <a:pt x="11216" y="6774"/>
                  </a:lnTo>
                  <a:cubicBezTo>
                    <a:pt x="11216" y="7120"/>
                    <a:pt x="11185" y="7436"/>
                    <a:pt x="11090" y="7782"/>
                  </a:cubicBezTo>
                  <a:cubicBezTo>
                    <a:pt x="11090" y="7814"/>
                    <a:pt x="11059" y="7845"/>
                    <a:pt x="11059" y="7877"/>
                  </a:cubicBezTo>
                  <a:cubicBezTo>
                    <a:pt x="11972" y="7782"/>
                    <a:pt x="12697" y="6994"/>
                    <a:pt x="12697" y="6049"/>
                  </a:cubicBezTo>
                  <a:cubicBezTo>
                    <a:pt x="12697" y="3277"/>
                    <a:pt x="10870" y="851"/>
                    <a:pt x="8255" y="0"/>
                  </a:cubicBezTo>
                  <a:cubicBezTo>
                    <a:pt x="8223" y="189"/>
                    <a:pt x="8129" y="441"/>
                    <a:pt x="8034" y="599"/>
                  </a:cubicBezTo>
                  <a:cubicBezTo>
                    <a:pt x="7751" y="977"/>
                    <a:pt x="7310" y="1229"/>
                    <a:pt x="6805" y="1229"/>
                  </a:cubicBezTo>
                  <a:lnTo>
                    <a:pt x="5892" y="1229"/>
                  </a:lnTo>
                  <a:cubicBezTo>
                    <a:pt x="5419" y="1229"/>
                    <a:pt x="4947" y="977"/>
                    <a:pt x="4663" y="599"/>
                  </a:cubicBezTo>
                  <a:cubicBezTo>
                    <a:pt x="4569" y="410"/>
                    <a:pt x="4474" y="189"/>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73"/>
            <p:cNvSpPr/>
            <p:nvPr/>
          </p:nvSpPr>
          <p:spPr>
            <a:xfrm>
              <a:off x="-55128700" y="3983400"/>
              <a:ext cx="166200" cy="54350"/>
            </a:xfrm>
            <a:custGeom>
              <a:avLst/>
              <a:gdLst/>
              <a:ahLst/>
              <a:cxnLst/>
              <a:rect l="l" t="t" r="r" b="b"/>
              <a:pathLst>
                <a:path w="6648" h="2174" extrusionOk="0">
                  <a:moveTo>
                    <a:pt x="3088" y="0"/>
                  </a:moveTo>
                  <a:cubicBezTo>
                    <a:pt x="2836" y="0"/>
                    <a:pt x="2584" y="158"/>
                    <a:pt x="2458" y="347"/>
                  </a:cubicBezTo>
                  <a:lnTo>
                    <a:pt x="347" y="347"/>
                  </a:lnTo>
                  <a:cubicBezTo>
                    <a:pt x="158" y="347"/>
                    <a:pt x="0" y="504"/>
                    <a:pt x="0" y="725"/>
                  </a:cubicBezTo>
                  <a:cubicBezTo>
                    <a:pt x="0" y="914"/>
                    <a:pt x="158" y="1071"/>
                    <a:pt x="347" y="1071"/>
                  </a:cubicBezTo>
                  <a:lnTo>
                    <a:pt x="2206" y="1071"/>
                  </a:lnTo>
                  <a:lnTo>
                    <a:pt x="2143" y="1197"/>
                  </a:lnTo>
                  <a:cubicBezTo>
                    <a:pt x="1985" y="1670"/>
                    <a:pt x="2363" y="2174"/>
                    <a:pt x="2867" y="2174"/>
                  </a:cubicBezTo>
                  <a:lnTo>
                    <a:pt x="3781" y="2174"/>
                  </a:lnTo>
                  <a:cubicBezTo>
                    <a:pt x="4285" y="2174"/>
                    <a:pt x="4632" y="1670"/>
                    <a:pt x="4474" y="1197"/>
                  </a:cubicBezTo>
                  <a:lnTo>
                    <a:pt x="4443" y="1071"/>
                  </a:lnTo>
                  <a:lnTo>
                    <a:pt x="6301" y="1071"/>
                  </a:lnTo>
                  <a:cubicBezTo>
                    <a:pt x="6490" y="1071"/>
                    <a:pt x="6648" y="914"/>
                    <a:pt x="6648" y="725"/>
                  </a:cubicBezTo>
                  <a:cubicBezTo>
                    <a:pt x="6648" y="504"/>
                    <a:pt x="6490" y="347"/>
                    <a:pt x="6301" y="347"/>
                  </a:cubicBezTo>
                  <a:lnTo>
                    <a:pt x="4159" y="347"/>
                  </a:lnTo>
                  <a:cubicBezTo>
                    <a:pt x="4033" y="126"/>
                    <a:pt x="3812"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4" name="Google Shape;7624;p73"/>
          <p:cNvGrpSpPr/>
          <p:nvPr/>
        </p:nvGrpSpPr>
        <p:grpSpPr>
          <a:xfrm>
            <a:off x="6639727" y="2734774"/>
            <a:ext cx="335930" cy="358971"/>
            <a:chOff x="-53232900" y="3192625"/>
            <a:chExt cx="298525" cy="319000"/>
          </a:xfrm>
        </p:grpSpPr>
        <p:sp>
          <p:nvSpPr>
            <p:cNvPr id="7625" name="Google Shape;7625;p73"/>
            <p:cNvSpPr/>
            <p:nvPr/>
          </p:nvSpPr>
          <p:spPr>
            <a:xfrm>
              <a:off x="-52972975" y="3315500"/>
              <a:ext cx="37825" cy="55925"/>
            </a:xfrm>
            <a:custGeom>
              <a:avLst/>
              <a:gdLst/>
              <a:ahLst/>
              <a:cxnLst/>
              <a:rect l="l" t="t" r="r" b="b"/>
              <a:pathLst>
                <a:path w="1513" h="2237" extrusionOk="0">
                  <a:moveTo>
                    <a:pt x="0" y="0"/>
                  </a:moveTo>
                  <a:lnTo>
                    <a:pt x="0" y="2048"/>
                  </a:lnTo>
                  <a:cubicBezTo>
                    <a:pt x="252" y="2142"/>
                    <a:pt x="505" y="2237"/>
                    <a:pt x="788" y="2237"/>
                  </a:cubicBezTo>
                  <a:lnTo>
                    <a:pt x="1135" y="2237"/>
                  </a:lnTo>
                  <a:cubicBezTo>
                    <a:pt x="1355" y="2237"/>
                    <a:pt x="1513" y="2079"/>
                    <a:pt x="1513" y="1859"/>
                  </a:cubicBezTo>
                  <a:lnTo>
                    <a:pt x="1513" y="1512"/>
                  </a:lnTo>
                  <a:cubicBezTo>
                    <a:pt x="1513" y="693"/>
                    <a:pt x="820"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73"/>
            <p:cNvSpPr/>
            <p:nvPr/>
          </p:nvSpPr>
          <p:spPr>
            <a:xfrm>
              <a:off x="-52978500" y="3259575"/>
              <a:ext cx="44125" cy="55950"/>
            </a:xfrm>
            <a:custGeom>
              <a:avLst/>
              <a:gdLst/>
              <a:ahLst/>
              <a:cxnLst/>
              <a:rect l="l" t="t" r="r" b="b"/>
              <a:pathLst>
                <a:path w="1765" h="2238" extrusionOk="0">
                  <a:moveTo>
                    <a:pt x="1041" y="0"/>
                  </a:moveTo>
                  <a:cubicBezTo>
                    <a:pt x="663" y="0"/>
                    <a:pt x="253" y="158"/>
                    <a:pt x="1" y="441"/>
                  </a:cubicBezTo>
                  <a:cubicBezTo>
                    <a:pt x="190" y="977"/>
                    <a:pt x="316" y="1607"/>
                    <a:pt x="316" y="2237"/>
                  </a:cubicBezTo>
                  <a:cubicBezTo>
                    <a:pt x="1104" y="2206"/>
                    <a:pt x="1765" y="1544"/>
                    <a:pt x="1765" y="725"/>
                  </a:cubicBezTo>
                  <a:lnTo>
                    <a:pt x="1765" y="378"/>
                  </a:lnTo>
                  <a:cubicBezTo>
                    <a:pt x="1765"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73"/>
            <p:cNvSpPr/>
            <p:nvPr/>
          </p:nvSpPr>
          <p:spPr>
            <a:xfrm>
              <a:off x="-53232900" y="3324950"/>
              <a:ext cx="242625" cy="55925"/>
            </a:xfrm>
            <a:custGeom>
              <a:avLst/>
              <a:gdLst/>
              <a:ahLst/>
              <a:cxnLst/>
              <a:rect l="l" t="t" r="r" b="b"/>
              <a:pathLst>
                <a:path w="9705" h="2237" extrusionOk="0">
                  <a:moveTo>
                    <a:pt x="3340" y="756"/>
                  </a:moveTo>
                  <a:cubicBezTo>
                    <a:pt x="3561" y="756"/>
                    <a:pt x="3718" y="914"/>
                    <a:pt x="3718" y="1103"/>
                  </a:cubicBezTo>
                  <a:cubicBezTo>
                    <a:pt x="3718" y="1292"/>
                    <a:pt x="3561" y="1449"/>
                    <a:pt x="3340" y="1449"/>
                  </a:cubicBezTo>
                  <a:cubicBezTo>
                    <a:pt x="3151" y="1449"/>
                    <a:pt x="2994" y="1292"/>
                    <a:pt x="2994" y="1103"/>
                  </a:cubicBezTo>
                  <a:cubicBezTo>
                    <a:pt x="2962" y="914"/>
                    <a:pt x="3151" y="756"/>
                    <a:pt x="3340" y="756"/>
                  </a:cubicBezTo>
                  <a:close/>
                  <a:moveTo>
                    <a:pt x="6333" y="756"/>
                  </a:moveTo>
                  <a:cubicBezTo>
                    <a:pt x="6554" y="756"/>
                    <a:pt x="6711" y="914"/>
                    <a:pt x="6711" y="1103"/>
                  </a:cubicBezTo>
                  <a:cubicBezTo>
                    <a:pt x="6711" y="1292"/>
                    <a:pt x="6554" y="1449"/>
                    <a:pt x="6333" y="1449"/>
                  </a:cubicBezTo>
                  <a:cubicBezTo>
                    <a:pt x="6144" y="1449"/>
                    <a:pt x="5987" y="1292"/>
                    <a:pt x="5987" y="1103"/>
                  </a:cubicBezTo>
                  <a:cubicBezTo>
                    <a:pt x="5955" y="914"/>
                    <a:pt x="6113" y="756"/>
                    <a:pt x="6333" y="756"/>
                  </a:cubicBezTo>
                  <a:close/>
                  <a:moveTo>
                    <a:pt x="1" y="0"/>
                  </a:moveTo>
                  <a:lnTo>
                    <a:pt x="1" y="2237"/>
                  </a:lnTo>
                  <a:lnTo>
                    <a:pt x="9704" y="2237"/>
                  </a:lnTo>
                  <a:lnTo>
                    <a:pt x="97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73"/>
            <p:cNvSpPr/>
            <p:nvPr/>
          </p:nvSpPr>
          <p:spPr>
            <a:xfrm>
              <a:off x="-53232100" y="3399775"/>
              <a:ext cx="241825" cy="111850"/>
            </a:xfrm>
            <a:custGeom>
              <a:avLst/>
              <a:gdLst/>
              <a:ahLst/>
              <a:cxnLst/>
              <a:rect l="l" t="t" r="r" b="b"/>
              <a:pathLst>
                <a:path w="9673" h="4474" extrusionOk="0">
                  <a:moveTo>
                    <a:pt x="0" y="0"/>
                  </a:moveTo>
                  <a:cubicBezTo>
                    <a:pt x="158" y="2457"/>
                    <a:pt x="2269" y="4474"/>
                    <a:pt x="4821" y="4474"/>
                  </a:cubicBezTo>
                  <a:cubicBezTo>
                    <a:pt x="7372" y="4474"/>
                    <a:pt x="9452" y="2457"/>
                    <a:pt x="96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73"/>
            <p:cNvSpPr/>
            <p:nvPr/>
          </p:nvSpPr>
          <p:spPr>
            <a:xfrm>
              <a:off x="-53134450" y="3287125"/>
              <a:ext cx="44125" cy="18925"/>
            </a:xfrm>
            <a:custGeom>
              <a:avLst/>
              <a:gdLst/>
              <a:ahLst/>
              <a:cxnLst/>
              <a:rect l="l" t="t" r="r" b="b"/>
              <a:pathLst>
                <a:path w="1765" h="757" extrusionOk="0">
                  <a:moveTo>
                    <a:pt x="1" y="1"/>
                  </a:moveTo>
                  <a:lnTo>
                    <a:pt x="410" y="757"/>
                  </a:lnTo>
                  <a:lnTo>
                    <a:pt x="1419" y="757"/>
                  </a:lnTo>
                  <a:lnTo>
                    <a:pt x="17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73"/>
            <p:cNvSpPr/>
            <p:nvPr/>
          </p:nvSpPr>
          <p:spPr>
            <a:xfrm>
              <a:off x="-53232900" y="3287125"/>
              <a:ext cx="86675" cy="18925"/>
            </a:xfrm>
            <a:custGeom>
              <a:avLst/>
              <a:gdLst/>
              <a:ahLst/>
              <a:cxnLst/>
              <a:rect l="l" t="t" r="r" b="b"/>
              <a:pathLst>
                <a:path w="3467" h="757" extrusionOk="0">
                  <a:moveTo>
                    <a:pt x="127" y="1"/>
                  </a:moveTo>
                  <a:cubicBezTo>
                    <a:pt x="95" y="253"/>
                    <a:pt x="32" y="473"/>
                    <a:pt x="1" y="757"/>
                  </a:cubicBezTo>
                  <a:lnTo>
                    <a:pt x="3466" y="757"/>
                  </a:lnTo>
                  <a:lnTo>
                    <a:pt x="31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73"/>
            <p:cNvSpPr/>
            <p:nvPr/>
          </p:nvSpPr>
          <p:spPr>
            <a:xfrm>
              <a:off x="-53078525" y="3287125"/>
              <a:ext cx="86675" cy="18925"/>
            </a:xfrm>
            <a:custGeom>
              <a:avLst/>
              <a:gdLst/>
              <a:ahLst/>
              <a:cxnLst/>
              <a:rect l="l" t="t" r="r" b="b"/>
              <a:pathLst>
                <a:path w="3467" h="757" extrusionOk="0">
                  <a:moveTo>
                    <a:pt x="379" y="1"/>
                  </a:moveTo>
                  <a:lnTo>
                    <a:pt x="1" y="757"/>
                  </a:lnTo>
                  <a:lnTo>
                    <a:pt x="3466" y="757"/>
                  </a:lnTo>
                  <a:cubicBezTo>
                    <a:pt x="3466" y="536"/>
                    <a:pt x="3435" y="253"/>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73"/>
            <p:cNvSpPr/>
            <p:nvPr/>
          </p:nvSpPr>
          <p:spPr>
            <a:xfrm>
              <a:off x="-53224225" y="3192625"/>
              <a:ext cx="223700" cy="74850"/>
            </a:xfrm>
            <a:custGeom>
              <a:avLst/>
              <a:gdLst/>
              <a:ahLst/>
              <a:cxnLst/>
              <a:rect l="l" t="t" r="r" b="b"/>
              <a:pathLst>
                <a:path w="8948" h="2994" extrusionOk="0">
                  <a:moveTo>
                    <a:pt x="4506" y="0"/>
                  </a:moveTo>
                  <a:cubicBezTo>
                    <a:pt x="2489" y="0"/>
                    <a:pt x="756" y="1260"/>
                    <a:pt x="0" y="2993"/>
                  </a:cubicBezTo>
                  <a:lnTo>
                    <a:pt x="8948" y="2993"/>
                  </a:lnTo>
                  <a:cubicBezTo>
                    <a:pt x="8255" y="1260"/>
                    <a:pt x="6522"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3" name="Google Shape;7633;p73"/>
          <p:cNvGrpSpPr/>
          <p:nvPr/>
        </p:nvGrpSpPr>
        <p:grpSpPr>
          <a:xfrm>
            <a:off x="6629093" y="3205748"/>
            <a:ext cx="357198" cy="356326"/>
            <a:chOff x="-53242350" y="3584850"/>
            <a:chExt cx="317425" cy="316650"/>
          </a:xfrm>
        </p:grpSpPr>
        <p:sp>
          <p:nvSpPr>
            <p:cNvPr id="7634" name="Google Shape;7634;p73"/>
            <p:cNvSpPr/>
            <p:nvPr/>
          </p:nvSpPr>
          <p:spPr>
            <a:xfrm>
              <a:off x="-53202975" y="3584850"/>
              <a:ext cx="237900" cy="98475"/>
            </a:xfrm>
            <a:custGeom>
              <a:avLst/>
              <a:gdLst/>
              <a:ahLst/>
              <a:cxnLst/>
              <a:rect l="l" t="t" r="r" b="b"/>
              <a:pathLst>
                <a:path w="9516" h="3939" extrusionOk="0">
                  <a:moveTo>
                    <a:pt x="4758" y="1"/>
                  </a:moveTo>
                  <a:cubicBezTo>
                    <a:pt x="2395" y="1"/>
                    <a:pt x="411" y="1702"/>
                    <a:pt x="1" y="3939"/>
                  </a:cubicBezTo>
                  <a:cubicBezTo>
                    <a:pt x="190" y="3781"/>
                    <a:pt x="474" y="3687"/>
                    <a:pt x="694" y="3655"/>
                  </a:cubicBezTo>
                  <a:cubicBezTo>
                    <a:pt x="2033" y="3435"/>
                    <a:pt x="3396" y="3324"/>
                    <a:pt x="4758" y="3324"/>
                  </a:cubicBezTo>
                  <a:cubicBezTo>
                    <a:pt x="6121" y="3324"/>
                    <a:pt x="7483" y="3435"/>
                    <a:pt x="8822" y="3655"/>
                  </a:cubicBezTo>
                  <a:cubicBezTo>
                    <a:pt x="9074" y="3687"/>
                    <a:pt x="9326" y="3813"/>
                    <a:pt x="9515" y="3939"/>
                  </a:cubicBezTo>
                  <a:cubicBezTo>
                    <a:pt x="9074" y="1702"/>
                    <a:pt x="7121"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3"/>
            <p:cNvSpPr/>
            <p:nvPr/>
          </p:nvSpPr>
          <p:spPr>
            <a:xfrm>
              <a:off x="-53242350" y="3711650"/>
              <a:ext cx="80350" cy="155975"/>
            </a:xfrm>
            <a:custGeom>
              <a:avLst/>
              <a:gdLst/>
              <a:ahLst/>
              <a:cxnLst/>
              <a:rect l="l" t="t" r="r" b="b"/>
              <a:pathLst>
                <a:path w="3214" h="6239" extrusionOk="0">
                  <a:moveTo>
                    <a:pt x="820" y="1"/>
                  </a:moveTo>
                  <a:cubicBezTo>
                    <a:pt x="316" y="442"/>
                    <a:pt x="1" y="1041"/>
                    <a:pt x="1" y="1734"/>
                  </a:cubicBezTo>
                  <a:cubicBezTo>
                    <a:pt x="1" y="2395"/>
                    <a:pt x="316" y="2994"/>
                    <a:pt x="788" y="3403"/>
                  </a:cubicBezTo>
                  <a:lnTo>
                    <a:pt x="788" y="5136"/>
                  </a:lnTo>
                  <a:cubicBezTo>
                    <a:pt x="788" y="5766"/>
                    <a:pt x="1292" y="6239"/>
                    <a:pt x="1891" y="6239"/>
                  </a:cubicBezTo>
                  <a:lnTo>
                    <a:pt x="3214" y="6239"/>
                  </a:lnTo>
                  <a:cubicBezTo>
                    <a:pt x="3057" y="6081"/>
                    <a:pt x="2742" y="5609"/>
                    <a:pt x="2679" y="5451"/>
                  </a:cubicBezTo>
                  <a:lnTo>
                    <a:pt x="1828" y="5451"/>
                  </a:lnTo>
                  <a:cubicBezTo>
                    <a:pt x="1639" y="5451"/>
                    <a:pt x="1481" y="5294"/>
                    <a:pt x="1481" y="5073"/>
                  </a:cubicBezTo>
                  <a:lnTo>
                    <a:pt x="1481" y="2805"/>
                  </a:lnTo>
                  <a:cubicBezTo>
                    <a:pt x="1103" y="2490"/>
                    <a:pt x="820" y="2049"/>
                    <a:pt x="788" y="1545"/>
                  </a:cubicBezTo>
                  <a:cubicBezTo>
                    <a:pt x="788" y="1513"/>
                    <a:pt x="725" y="1419"/>
                    <a:pt x="725" y="1356"/>
                  </a:cubicBezTo>
                  <a:lnTo>
                    <a:pt x="725" y="411"/>
                  </a:lnTo>
                  <a:cubicBezTo>
                    <a:pt x="725" y="348"/>
                    <a:pt x="788" y="158"/>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3"/>
            <p:cNvSpPr/>
            <p:nvPr/>
          </p:nvSpPr>
          <p:spPr>
            <a:xfrm>
              <a:off x="-53206125" y="3686850"/>
              <a:ext cx="243400" cy="84700"/>
            </a:xfrm>
            <a:custGeom>
              <a:avLst/>
              <a:gdLst/>
              <a:ahLst/>
              <a:cxnLst/>
              <a:rect l="l" t="t" r="r" b="b"/>
              <a:pathLst>
                <a:path w="9736" h="3388" extrusionOk="0">
                  <a:moveTo>
                    <a:pt x="4857" y="1"/>
                  </a:moveTo>
                  <a:cubicBezTo>
                    <a:pt x="3545" y="1"/>
                    <a:pt x="2238" y="111"/>
                    <a:pt x="946" y="331"/>
                  </a:cubicBezTo>
                  <a:cubicBezTo>
                    <a:pt x="442" y="394"/>
                    <a:pt x="1" y="867"/>
                    <a:pt x="1" y="1434"/>
                  </a:cubicBezTo>
                  <a:lnTo>
                    <a:pt x="1" y="2285"/>
                  </a:lnTo>
                  <a:cubicBezTo>
                    <a:pt x="1" y="2915"/>
                    <a:pt x="505" y="3387"/>
                    <a:pt x="1104" y="3387"/>
                  </a:cubicBezTo>
                  <a:lnTo>
                    <a:pt x="3782" y="3387"/>
                  </a:lnTo>
                  <a:cubicBezTo>
                    <a:pt x="3876" y="3387"/>
                    <a:pt x="3971" y="3356"/>
                    <a:pt x="4065" y="3261"/>
                  </a:cubicBezTo>
                  <a:lnTo>
                    <a:pt x="4569" y="2757"/>
                  </a:lnTo>
                  <a:cubicBezTo>
                    <a:pt x="4648" y="2678"/>
                    <a:pt x="4750" y="2639"/>
                    <a:pt x="4845" y="2639"/>
                  </a:cubicBezTo>
                  <a:cubicBezTo>
                    <a:pt x="4939" y="2639"/>
                    <a:pt x="5026" y="2678"/>
                    <a:pt x="5073" y="2757"/>
                  </a:cubicBezTo>
                  <a:lnTo>
                    <a:pt x="5609" y="3261"/>
                  </a:lnTo>
                  <a:cubicBezTo>
                    <a:pt x="5672" y="3356"/>
                    <a:pt x="5766" y="3387"/>
                    <a:pt x="5861" y="3387"/>
                  </a:cubicBezTo>
                  <a:lnTo>
                    <a:pt x="8539" y="3387"/>
                  </a:lnTo>
                  <a:cubicBezTo>
                    <a:pt x="9169" y="3387"/>
                    <a:pt x="9641" y="2883"/>
                    <a:pt x="9641" y="2285"/>
                  </a:cubicBezTo>
                  <a:lnTo>
                    <a:pt x="9641" y="1434"/>
                  </a:lnTo>
                  <a:lnTo>
                    <a:pt x="9736" y="1434"/>
                  </a:lnTo>
                  <a:cubicBezTo>
                    <a:pt x="9736" y="867"/>
                    <a:pt x="9295" y="394"/>
                    <a:pt x="8791" y="331"/>
                  </a:cubicBezTo>
                  <a:cubicBezTo>
                    <a:pt x="7483" y="111"/>
                    <a:pt x="6168" y="1"/>
                    <a:pt x="48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3"/>
            <p:cNvSpPr/>
            <p:nvPr/>
          </p:nvSpPr>
          <p:spPr>
            <a:xfrm>
              <a:off x="-53186425" y="3775450"/>
              <a:ext cx="205600" cy="126050"/>
            </a:xfrm>
            <a:custGeom>
              <a:avLst/>
              <a:gdLst/>
              <a:ahLst/>
              <a:cxnLst/>
              <a:rect l="l" t="t" r="r" b="b"/>
              <a:pathLst>
                <a:path w="8224" h="5042" extrusionOk="0">
                  <a:moveTo>
                    <a:pt x="5148" y="1710"/>
                  </a:moveTo>
                  <a:cubicBezTo>
                    <a:pt x="5238" y="1710"/>
                    <a:pt x="5325" y="1749"/>
                    <a:pt x="5388" y="1828"/>
                  </a:cubicBezTo>
                  <a:cubicBezTo>
                    <a:pt x="5545" y="1954"/>
                    <a:pt x="5545" y="2175"/>
                    <a:pt x="5419" y="2332"/>
                  </a:cubicBezTo>
                  <a:cubicBezTo>
                    <a:pt x="5073" y="2679"/>
                    <a:pt x="4600" y="2868"/>
                    <a:pt x="4128" y="2868"/>
                  </a:cubicBezTo>
                  <a:cubicBezTo>
                    <a:pt x="3624" y="2868"/>
                    <a:pt x="3151" y="2679"/>
                    <a:pt x="2805" y="2332"/>
                  </a:cubicBezTo>
                  <a:cubicBezTo>
                    <a:pt x="2647" y="2175"/>
                    <a:pt x="2647" y="1954"/>
                    <a:pt x="2805" y="1828"/>
                  </a:cubicBezTo>
                  <a:cubicBezTo>
                    <a:pt x="2883" y="1749"/>
                    <a:pt x="2978" y="1710"/>
                    <a:pt x="3068" y="1710"/>
                  </a:cubicBezTo>
                  <a:cubicBezTo>
                    <a:pt x="3159" y="1710"/>
                    <a:pt x="3246" y="1749"/>
                    <a:pt x="3309" y="1828"/>
                  </a:cubicBezTo>
                  <a:cubicBezTo>
                    <a:pt x="3529" y="2049"/>
                    <a:pt x="3813" y="2159"/>
                    <a:pt x="4096" y="2159"/>
                  </a:cubicBezTo>
                  <a:cubicBezTo>
                    <a:pt x="4380" y="2159"/>
                    <a:pt x="4663" y="2049"/>
                    <a:pt x="4884" y="1828"/>
                  </a:cubicBezTo>
                  <a:cubicBezTo>
                    <a:pt x="4963" y="1749"/>
                    <a:pt x="5057" y="1710"/>
                    <a:pt x="5148" y="1710"/>
                  </a:cubicBezTo>
                  <a:close/>
                  <a:moveTo>
                    <a:pt x="4096" y="1"/>
                  </a:moveTo>
                  <a:lnTo>
                    <a:pt x="3813" y="284"/>
                  </a:lnTo>
                  <a:cubicBezTo>
                    <a:pt x="3624" y="473"/>
                    <a:pt x="3309" y="599"/>
                    <a:pt x="3025" y="599"/>
                  </a:cubicBezTo>
                  <a:lnTo>
                    <a:pt x="1" y="599"/>
                  </a:lnTo>
                  <a:lnTo>
                    <a:pt x="1" y="1009"/>
                  </a:lnTo>
                  <a:cubicBezTo>
                    <a:pt x="1" y="1671"/>
                    <a:pt x="158" y="2301"/>
                    <a:pt x="473" y="2836"/>
                  </a:cubicBezTo>
                  <a:lnTo>
                    <a:pt x="2647" y="2836"/>
                  </a:lnTo>
                  <a:cubicBezTo>
                    <a:pt x="2836" y="2836"/>
                    <a:pt x="2994" y="2994"/>
                    <a:pt x="2994" y="3183"/>
                  </a:cubicBezTo>
                  <a:cubicBezTo>
                    <a:pt x="2994" y="3403"/>
                    <a:pt x="2836" y="3561"/>
                    <a:pt x="2647" y="3561"/>
                  </a:cubicBezTo>
                  <a:lnTo>
                    <a:pt x="977" y="3561"/>
                  </a:lnTo>
                  <a:cubicBezTo>
                    <a:pt x="1733" y="4506"/>
                    <a:pt x="2962" y="5042"/>
                    <a:pt x="4128" y="5042"/>
                  </a:cubicBezTo>
                  <a:cubicBezTo>
                    <a:pt x="6428" y="5042"/>
                    <a:pt x="8223" y="3151"/>
                    <a:pt x="8223" y="946"/>
                  </a:cubicBezTo>
                  <a:lnTo>
                    <a:pt x="8223" y="568"/>
                  </a:lnTo>
                  <a:lnTo>
                    <a:pt x="5199" y="568"/>
                  </a:lnTo>
                  <a:cubicBezTo>
                    <a:pt x="5163" y="571"/>
                    <a:pt x="5128" y="573"/>
                    <a:pt x="5094" y="573"/>
                  </a:cubicBezTo>
                  <a:cubicBezTo>
                    <a:pt x="4795" y="573"/>
                    <a:pt x="4549" y="454"/>
                    <a:pt x="4380" y="284"/>
                  </a:cubicBezTo>
                  <a:lnTo>
                    <a:pt x="40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8" name="Google Shape;7638;p73"/>
            <p:cNvSpPr/>
            <p:nvPr/>
          </p:nvSpPr>
          <p:spPr>
            <a:xfrm>
              <a:off x="-52962725" y="3710875"/>
              <a:ext cx="37800" cy="95325"/>
            </a:xfrm>
            <a:custGeom>
              <a:avLst/>
              <a:gdLst/>
              <a:ahLst/>
              <a:cxnLst/>
              <a:rect l="l" t="t" r="r" b="b"/>
              <a:pathLst>
                <a:path w="1512" h="3813" extrusionOk="0">
                  <a:moveTo>
                    <a:pt x="662" y="0"/>
                  </a:moveTo>
                  <a:lnTo>
                    <a:pt x="662" y="0"/>
                  </a:lnTo>
                  <a:cubicBezTo>
                    <a:pt x="693" y="158"/>
                    <a:pt x="725" y="347"/>
                    <a:pt x="725" y="379"/>
                  </a:cubicBezTo>
                  <a:lnTo>
                    <a:pt x="725" y="1387"/>
                  </a:lnTo>
                  <a:cubicBezTo>
                    <a:pt x="725" y="1481"/>
                    <a:pt x="725" y="1513"/>
                    <a:pt x="693" y="1576"/>
                  </a:cubicBezTo>
                  <a:cubicBezTo>
                    <a:pt x="662" y="2080"/>
                    <a:pt x="378" y="2552"/>
                    <a:pt x="0" y="2836"/>
                  </a:cubicBezTo>
                  <a:lnTo>
                    <a:pt x="0" y="3561"/>
                  </a:lnTo>
                  <a:lnTo>
                    <a:pt x="0" y="3813"/>
                  </a:lnTo>
                  <a:cubicBezTo>
                    <a:pt x="851" y="3497"/>
                    <a:pt x="1512" y="2678"/>
                    <a:pt x="1512" y="1733"/>
                  </a:cubicBezTo>
                  <a:cubicBezTo>
                    <a:pt x="1512" y="1009"/>
                    <a:pt x="1166" y="379"/>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9" name="Google Shape;7639;p73"/>
          <p:cNvGrpSpPr/>
          <p:nvPr/>
        </p:nvGrpSpPr>
        <p:grpSpPr>
          <a:xfrm>
            <a:off x="6650362" y="3668449"/>
            <a:ext cx="314662" cy="358999"/>
            <a:chOff x="-53224225" y="3976300"/>
            <a:chExt cx="279625" cy="319025"/>
          </a:xfrm>
        </p:grpSpPr>
        <p:sp>
          <p:nvSpPr>
            <p:cNvPr id="7640" name="Google Shape;7640;p73"/>
            <p:cNvSpPr/>
            <p:nvPr/>
          </p:nvSpPr>
          <p:spPr>
            <a:xfrm>
              <a:off x="-53224225" y="4132250"/>
              <a:ext cx="18925" cy="63825"/>
            </a:xfrm>
            <a:custGeom>
              <a:avLst/>
              <a:gdLst/>
              <a:ahLst/>
              <a:cxnLst/>
              <a:rect l="l" t="t" r="r" b="b"/>
              <a:pathLst>
                <a:path w="757" h="2553" extrusionOk="0">
                  <a:moveTo>
                    <a:pt x="756" y="1"/>
                  </a:moveTo>
                  <a:cubicBezTo>
                    <a:pt x="315" y="284"/>
                    <a:pt x="0" y="757"/>
                    <a:pt x="0" y="1292"/>
                  </a:cubicBezTo>
                  <a:cubicBezTo>
                    <a:pt x="0" y="1796"/>
                    <a:pt x="315" y="2269"/>
                    <a:pt x="756" y="2552"/>
                  </a:cubicBezTo>
                  <a:lnTo>
                    <a:pt x="756" y="2395"/>
                  </a:lnTo>
                  <a:lnTo>
                    <a:pt x="7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3"/>
            <p:cNvSpPr/>
            <p:nvPr/>
          </p:nvSpPr>
          <p:spPr>
            <a:xfrm>
              <a:off x="-53185625" y="4014900"/>
              <a:ext cx="204800" cy="117375"/>
            </a:xfrm>
            <a:custGeom>
              <a:avLst/>
              <a:gdLst/>
              <a:ahLst/>
              <a:cxnLst/>
              <a:rect l="l" t="t" r="r" b="b"/>
              <a:pathLst>
                <a:path w="8192" h="4695" extrusionOk="0">
                  <a:moveTo>
                    <a:pt x="4096" y="0"/>
                  </a:moveTo>
                  <a:cubicBezTo>
                    <a:pt x="1859" y="0"/>
                    <a:pt x="0" y="1859"/>
                    <a:pt x="0" y="4096"/>
                  </a:cubicBezTo>
                  <a:lnTo>
                    <a:pt x="0" y="4695"/>
                  </a:lnTo>
                  <a:lnTo>
                    <a:pt x="1638" y="3088"/>
                  </a:lnTo>
                  <a:cubicBezTo>
                    <a:pt x="1675" y="3014"/>
                    <a:pt x="1755" y="2983"/>
                    <a:pt x="1847" y="2983"/>
                  </a:cubicBezTo>
                  <a:cubicBezTo>
                    <a:pt x="1912" y="2983"/>
                    <a:pt x="1983" y="2999"/>
                    <a:pt x="2048" y="3025"/>
                  </a:cubicBezTo>
                  <a:cubicBezTo>
                    <a:pt x="2662" y="3450"/>
                    <a:pt x="3371" y="3663"/>
                    <a:pt x="4080" y="3663"/>
                  </a:cubicBezTo>
                  <a:cubicBezTo>
                    <a:pt x="4789" y="3663"/>
                    <a:pt x="5498" y="3450"/>
                    <a:pt x="6112" y="3025"/>
                  </a:cubicBezTo>
                  <a:cubicBezTo>
                    <a:pt x="6174" y="2987"/>
                    <a:pt x="6241" y="2970"/>
                    <a:pt x="6307" y="2970"/>
                  </a:cubicBezTo>
                  <a:cubicBezTo>
                    <a:pt x="6409" y="2970"/>
                    <a:pt x="6508" y="3011"/>
                    <a:pt x="6585" y="3088"/>
                  </a:cubicBezTo>
                  <a:lnTo>
                    <a:pt x="8191" y="4695"/>
                  </a:lnTo>
                  <a:lnTo>
                    <a:pt x="8191" y="4096"/>
                  </a:lnTo>
                  <a:cubicBezTo>
                    <a:pt x="8191" y="1859"/>
                    <a:pt x="633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3"/>
            <p:cNvSpPr/>
            <p:nvPr/>
          </p:nvSpPr>
          <p:spPr>
            <a:xfrm>
              <a:off x="-53187200" y="4110200"/>
              <a:ext cx="205575" cy="185125"/>
            </a:xfrm>
            <a:custGeom>
              <a:avLst/>
              <a:gdLst/>
              <a:ahLst/>
              <a:cxnLst/>
              <a:rect l="l" t="t" r="r" b="b"/>
              <a:pathLst>
                <a:path w="8223" h="7405" extrusionOk="0">
                  <a:moveTo>
                    <a:pt x="2615" y="1418"/>
                  </a:moveTo>
                  <a:cubicBezTo>
                    <a:pt x="2836" y="1418"/>
                    <a:pt x="2993" y="1576"/>
                    <a:pt x="2993" y="1796"/>
                  </a:cubicBezTo>
                  <a:cubicBezTo>
                    <a:pt x="2993" y="1985"/>
                    <a:pt x="2836" y="2143"/>
                    <a:pt x="2615" y="2143"/>
                  </a:cubicBezTo>
                  <a:cubicBezTo>
                    <a:pt x="2426" y="2143"/>
                    <a:pt x="2268" y="1985"/>
                    <a:pt x="2268" y="1796"/>
                  </a:cubicBezTo>
                  <a:cubicBezTo>
                    <a:pt x="2268" y="1576"/>
                    <a:pt x="2426" y="1418"/>
                    <a:pt x="2615" y="1418"/>
                  </a:cubicBezTo>
                  <a:close/>
                  <a:moveTo>
                    <a:pt x="5608" y="1418"/>
                  </a:moveTo>
                  <a:cubicBezTo>
                    <a:pt x="5829" y="1418"/>
                    <a:pt x="5986" y="1576"/>
                    <a:pt x="5986" y="1796"/>
                  </a:cubicBezTo>
                  <a:cubicBezTo>
                    <a:pt x="5986" y="1985"/>
                    <a:pt x="5829" y="2143"/>
                    <a:pt x="5608" y="2143"/>
                  </a:cubicBezTo>
                  <a:cubicBezTo>
                    <a:pt x="5419" y="2143"/>
                    <a:pt x="5261" y="1985"/>
                    <a:pt x="5261" y="1796"/>
                  </a:cubicBezTo>
                  <a:cubicBezTo>
                    <a:pt x="5261" y="1576"/>
                    <a:pt x="5419" y="1418"/>
                    <a:pt x="5608" y="1418"/>
                  </a:cubicBezTo>
                  <a:close/>
                  <a:moveTo>
                    <a:pt x="5179" y="3978"/>
                  </a:moveTo>
                  <a:cubicBezTo>
                    <a:pt x="5269" y="3978"/>
                    <a:pt x="5356" y="4017"/>
                    <a:pt x="5419" y="4096"/>
                  </a:cubicBezTo>
                  <a:cubicBezTo>
                    <a:pt x="5576" y="4222"/>
                    <a:pt x="5576" y="4474"/>
                    <a:pt x="5450" y="4632"/>
                  </a:cubicBezTo>
                  <a:cubicBezTo>
                    <a:pt x="5104" y="4978"/>
                    <a:pt x="4631" y="5167"/>
                    <a:pt x="4159" y="5167"/>
                  </a:cubicBezTo>
                  <a:cubicBezTo>
                    <a:pt x="3655" y="5167"/>
                    <a:pt x="3182" y="4978"/>
                    <a:pt x="2836" y="4632"/>
                  </a:cubicBezTo>
                  <a:cubicBezTo>
                    <a:pt x="2678" y="4474"/>
                    <a:pt x="2678" y="4222"/>
                    <a:pt x="2836" y="4096"/>
                  </a:cubicBezTo>
                  <a:cubicBezTo>
                    <a:pt x="2914" y="4017"/>
                    <a:pt x="3009" y="3978"/>
                    <a:pt x="3099" y="3978"/>
                  </a:cubicBezTo>
                  <a:cubicBezTo>
                    <a:pt x="3190" y="3978"/>
                    <a:pt x="3277" y="4017"/>
                    <a:pt x="3340" y="4096"/>
                  </a:cubicBezTo>
                  <a:cubicBezTo>
                    <a:pt x="3560" y="4317"/>
                    <a:pt x="3844" y="4427"/>
                    <a:pt x="4127" y="4427"/>
                  </a:cubicBezTo>
                  <a:cubicBezTo>
                    <a:pt x="4411" y="4427"/>
                    <a:pt x="4694" y="4317"/>
                    <a:pt x="4915" y="4096"/>
                  </a:cubicBezTo>
                  <a:cubicBezTo>
                    <a:pt x="4994" y="4017"/>
                    <a:pt x="5088" y="3978"/>
                    <a:pt x="5179" y="3978"/>
                  </a:cubicBezTo>
                  <a:close/>
                  <a:moveTo>
                    <a:pt x="1922" y="0"/>
                  </a:moveTo>
                  <a:lnTo>
                    <a:pt x="0" y="1954"/>
                  </a:lnTo>
                  <a:lnTo>
                    <a:pt x="0" y="3277"/>
                  </a:lnTo>
                  <a:cubicBezTo>
                    <a:pt x="0" y="5514"/>
                    <a:pt x="1827" y="7404"/>
                    <a:pt x="4096" y="7404"/>
                  </a:cubicBezTo>
                  <a:cubicBezTo>
                    <a:pt x="6396" y="7404"/>
                    <a:pt x="8223" y="5514"/>
                    <a:pt x="8223" y="3277"/>
                  </a:cubicBezTo>
                  <a:lnTo>
                    <a:pt x="8223" y="1954"/>
                  </a:lnTo>
                  <a:lnTo>
                    <a:pt x="6301" y="0"/>
                  </a:lnTo>
                  <a:cubicBezTo>
                    <a:pt x="5624" y="394"/>
                    <a:pt x="4875" y="591"/>
                    <a:pt x="4123" y="591"/>
                  </a:cubicBezTo>
                  <a:cubicBezTo>
                    <a:pt x="3371" y="591"/>
                    <a:pt x="2615" y="394"/>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3"/>
            <p:cNvSpPr/>
            <p:nvPr/>
          </p:nvSpPr>
          <p:spPr>
            <a:xfrm>
              <a:off x="-53020225" y="4211800"/>
              <a:ext cx="74825" cy="83525"/>
            </a:xfrm>
            <a:custGeom>
              <a:avLst/>
              <a:gdLst/>
              <a:ahLst/>
              <a:cxnLst/>
              <a:rect l="l" t="t" r="r" b="b"/>
              <a:pathLst>
                <a:path w="2993" h="3341" extrusionOk="0">
                  <a:moveTo>
                    <a:pt x="2174" y="1"/>
                  </a:moveTo>
                  <a:cubicBezTo>
                    <a:pt x="2016" y="1387"/>
                    <a:pt x="1197" y="2615"/>
                    <a:pt x="0" y="3340"/>
                  </a:cubicBezTo>
                  <a:lnTo>
                    <a:pt x="2647" y="3340"/>
                  </a:lnTo>
                  <a:cubicBezTo>
                    <a:pt x="2836" y="3340"/>
                    <a:pt x="2993" y="3183"/>
                    <a:pt x="2993" y="2993"/>
                  </a:cubicBezTo>
                  <a:lnTo>
                    <a:pt x="2993" y="2867"/>
                  </a:lnTo>
                  <a:cubicBezTo>
                    <a:pt x="2993" y="1859"/>
                    <a:pt x="2710" y="883"/>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3"/>
            <p:cNvSpPr/>
            <p:nvPr/>
          </p:nvSpPr>
          <p:spPr>
            <a:xfrm>
              <a:off x="-53224225" y="4211025"/>
              <a:ext cx="74850" cy="83500"/>
            </a:xfrm>
            <a:custGeom>
              <a:avLst/>
              <a:gdLst/>
              <a:ahLst/>
              <a:cxnLst/>
              <a:rect l="l" t="t" r="r" b="b"/>
              <a:pathLst>
                <a:path w="2994" h="3340" extrusionOk="0">
                  <a:moveTo>
                    <a:pt x="851" y="0"/>
                  </a:moveTo>
                  <a:cubicBezTo>
                    <a:pt x="315" y="851"/>
                    <a:pt x="0" y="1796"/>
                    <a:pt x="0" y="2867"/>
                  </a:cubicBezTo>
                  <a:lnTo>
                    <a:pt x="0" y="2993"/>
                  </a:lnTo>
                  <a:cubicBezTo>
                    <a:pt x="0" y="3182"/>
                    <a:pt x="158" y="3340"/>
                    <a:pt x="378" y="3340"/>
                  </a:cubicBezTo>
                  <a:lnTo>
                    <a:pt x="2993" y="3340"/>
                  </a:lnTo>
                  <a:cubicBezTo>
                    <a:pt x="1859" y="2646"/>
                    <a:pt x="1040" y="1418"/>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73"/>
            <p:cNvSpPr/>
            <p:nvPr/>
          </p:nvSpPr>
          <p:spPr>
            <a:xfrm>
              <a:off x="-52962725" y="4131475"/>
              <a:ext cx="18125" cy="63800"/>
            </a:xfrm>
            <a:custGeom>
              <a:avLst/>
              <a:gdLst/>
              <a:ahLst/>
              <a:cxnLst/>
              <a:rect l="l" t="t" r="r" b="b"/>
              <a:pathLst>
                <a:path w="725" h="2552" extrusionOk="0">
                  <a:moveTo>
                    <a:pt x="0" y="0"/>
                  </a:moveTo>
                  <a:lnTo>
                    <a:pt x="0" y="2394"/>
                  </a:lnTo>
                  <a:lnTo>
                    <a:pt x="0" y="2552"/>
                  </a:lnTo>
                  <a:cubicBezTo>
                    <a:pt x="410" y="2300"/>
                    <a:pt x="725" y="1827"/>
                    <a:pt x="725" y="1292"/>
                  </a:cubicBezTo>
                  <a:cubicBezTo>
                    <a:pt x="725" y="725"/>
                    <a:pt x="410"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6" name="Google Shape;7646;p73"/>
            <p:cNvSpPr/>
            <p:nvPr/>
          </p:nvSpPr>
          <p:spPr>
            <a:xfrm>
              <a:off x="-53125775" y="3976300"/>
              <a:ext cx="82725" cy="26800"/>
            </a:xfrm>
            <a:custGeom>
              <a:avLst/>
              <a:gdLst/>
              <a:ahLst/>
              <a:cxnLst/>
              <a:rect l="l" t="t" r="r" b="b"/>
              <a:pathLst>
                <a:path w="3309" h="1072" extrusionOk="0">
                  <a:moveTo>
                    <a:pt x="1670" y="1"/>
                  </a:moveTo>
                  <a:cubicBezTo>
                    <a:pt x="914" y="1"/>
                    <a:pt x="284" y="442"/>
                    <a:pt x="0" y="1072"/>
                  </a:cubicBezTo>
                  <a:cubicBezTo>
                    <a:pt x="536" y="883"/>
                    <a:pt x="1072" y="757"/>
                    <a:pt x="1670" y="757"/>
                  </a:cubicBezTo>
                  <a:cubicBezTo>
                    <a:pt x="2269" y="757"/>
                    <a:pt x="2804" y="883"/>
                    <a:pt x="3308" y="1072"/>
                  </a:cubicBezTo>
                  <a:cubicBezTo>
                    <a:pt x="2993" y="442"/>
                    <a:pt x="2363"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7" name="Google Shape;7647;p73"/>
          <p:cNvGrpSpPr/>
          <p:nvPr/>
        </p:nvGrpSpPr>
        <p:grpSpPr>
          <a:xfrm>
            <a:off x="7961258" y="3676129"/>
            <a:ext cx="358971" cy="358408"/>
            <a:chOff x="-52043575" y="3983125"/>
            <a:chExt cx="319000" cy="318500"/>
          </a:xfrm>
        </p:grpSpPr>
        <p:sp>
          <p:nvSpPr>
            <p:cNvPr id="7648" name="Google Shape;7648;p73"/>
            <p:cNvSpPr/>
            <p:nvPr/>
          </p:nvSpPr>
          <p:spPr>
            <a:xfrm>
              <a:off x="-52043575" y="3983200"/>
              <a:ext cx="55150" cy="105750"/>
            </a:xfrm>
            <a:custGeom>
              <a:avLst/>
              <a:gdLst/>
              <a:ahLst/>
              <a:cxnLst/>
              <a:rect l="l" t="t" r="r" b="b"/>
              <a:pathLst>
                <a:path w="2206" h="4230" extrusionOk="0">
                  <a:moveTo>
                    <a:pt x="367" y="0"/>
                  </a:moveTo>
                  <a:cubicBezTo>
                    <a:pt x="339" y="0"/>
                    <a:pt x="311" y="3"/>
                    <a:pt x="284" y="8"/>
                  </a:cubicBezTo>
                  <a:cubicBezTo>
                    <a:pt x="126" y="40"/>
                    <a:pt x="0" y="197"/>
                    <a:pt x="0" y="355"/>
                  </a:cubicBezTo>
                  <a:lnTo>
                    <a:pt x="0" y="1867"/>
                  </a:lnTo>
                  <a:cubicBezTo>
                    <a:pt x="0" y="2875"/>
                    <a:pt x="630" y="3789"/>
                    <a:pt x="1512" y="4230"/>
                  </a:cubicBezTo>
                  <a:cubicBezTo>
                    <a:pt x="1512" y="3285"/>
                    <a:pt x="1733" y="2371"/>
                    <a:pt x="2206" y="1583"/>
                  </a:cubicBezTo>
                  <a:cubicBezTo>
                    <a:pt x="1607" y="1237"/>
                    <a:pt x="1103" y="764"/>
                    <a:pt x="725" y="166"/>
                  </a:cubicBezTo>
                  <a:cubicBezTo>
                    <a:pt x="647" y="61"/>
                    <a:pt x="503" y="0"/>
                    <a:pt x="3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73"/>
            <p:cNvSpPr/>
            <p:nvPr/>
          </p:nvSpPr>
          <p:spPr>
            <a:xfrm>
              <a:off x="-51985300" y="3983400"/>
              <a:ext cx="204800" cy="129975"/>
            </a:xfrm>
            <a:custGeom>
              <a:avLst/>
              <a:gdLst/>
              <a:ahLst/>
              <a:cxnLst/>
              <a:rect l="l" t="t" r="r" b="b"/>
              <a:pathLst>
                <a:path w="8192" h="5199" extrusionOk="0">
                  <a:moveTo>
                    <a:pt x="3718" y="0"/>
                  </a:moveTo>
                  <a:lnTo>
                    <a:pt x="3718" y="4096"/>
                  </a:lnTo>
                  <a:cubicBezTo>
                    <a:pt x="3718" y="4285"/>
                    <a:pt x="3561" y="4442"/>
                    <a:pt x="3340" y="4442"/>
                  </a:cubicBezTo>
                  <a:lnTo>
                    <a:pt x="1" y="4442"/>
                  </a:lnTo>
                  <a:lnTo>
                    <a:pt x="1" y="5198"/>
                  </a:lnTo>
                  <a:lnTo>
                    <a:pt x="8192" y="5198"/>
                  </a:lnTo>
                  <a:lnTo>
                    <a:pt x="8192" y="4442"/>
                  </a:lnTo>
                  <a:lnTo>
                    <a:pt x="4852" y="4442"/>
                  </a:lnTo>
                  <a:cubicBezTo>
                    <a:pt x="4814" y="4452"/>
                    <a:pt x="4778" y="4456"/>
                    <a:pt x="4743" y="4456"/>
                  </a:cubicBezTo>
                  <a:cubicBezTo>
                    <a:pt x="4548" y="4456"/>
                    <a:pt x="4411" y="4314"/>
                    <a:pt x="4411" y="4127"/>
                  </a:cubicBezTo>
                  <a:lnTo>
                    <a:pt x="4411" y="32"/>
                  </a:lnTo>
                  <a:cubicBezTo>
                    <a:pt x="4285" y="32"/>
                    <a:pt x="4159" y="0"/>
                    <a:pt x="40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0" name="Google Shape;7650;p73"/>
            <p:cNvSpPr/>
            <p:nvPr/>
          </p:nvSpPr>
          <p:spPr>
            <a:xfrm>
              <a:off x="-51855350" y="3987325"/>
              <a:ext cx="74075" cy="89825"/>
            </a:xfrm>
            <a:custGeom>
              <a:avLst/>
              <a:gdLst/>
              <a:ahLst/>
              <a:cxnLst/>
              <a:rect l="l" t="t" r="r" b="b"/>
              <a:pathLst>
                <a:path w="2963" h="3593" extrusionOk="0">
                  <a:moveTo>
                    <a:pt x="1" y="1"/>
                  </a:moveTo>
                  <a:lnTo>
                    <a:pt x="1" y="3592"/>
                  </a:lnTo>
                  <a:lnTo>
                    <a:pt x="2962" y="3592"/>
                  </a:lnTo>
                  <a:cubicBezTo>
                    <a:pt x="2836" y="2647"/>
                    <a:pt x="2427" y="1733"/>
                    <a:pt x="1765" y="1009"/>
                  </a:cubicBezTo>
                  <a:cubicBezTo>
                    <a:pt x="1261" y="505"/>
                    <a:pt x="66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1" name="Google Shape;7651;p73"/>
            <p:cNvSpPr/>
            <p:nvPr/>
          </p:nvSpPr>
          <p:spPr>
            <a:xfrm>
              <a:off x="-51985300" y="3987325"/>
              <a:ext cx="74050" cy="89825"/>
            </a:xfrm>
            <a:custGeom>
              <a:avLst/>
              <a:gdLst/>
              <a:ahLst/>
              <a:cxnLst/>
              <a:rect l="l" t="t" r="r" b="b"/>
              <a:pathLst>
                <a:path w="2962" h="3593" extrusionOk="0">
                  <a:moveTo>
                    <a:pt x="2962" y="1"/>
                  </a:moveTo>
                  <a:cubicBezTo>
                    <a:pt x="1324" y="473"/>
                    <a:pt x="158" y="1891"/>
                    <a:pt x="1" y="3592"/>
                  </a:cubicBezTo>
                  <a:lnTo>
                    <a:pt x="2962" y="359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3"/>
            <p:cNvSpPr/>
            <p:nvPr/>
          </p:nvSpPr>
          <p:spPr>
            <a:xfrm>
              <a:off x="-51985300" y="4190350"/>
              <a:ext cx="204800" cy="111275"/>
            </a:xfrm>
            <a:custGeom>
              <a:avLst/>
              <a:gdLst/>
              <a:ahLst/>
              <a:cxnLst/>
              <a:rect l="l" t="t" r="r" b="b"/>
              <a:pathLst>
                <a:path w="8192" h="4451" extrusionOk="0">
                  <a:moveTo>
                    <a:pt x="5069" y="1024"/>
                  </a:moveTo>
                  <a:cubicBezTo>
                    <a:pt x="5167" y="1024"/>
                    <a:pt x="5262" y="1063"/>
                    <a:pt x="5325" y="1142"/>
                  </a:cubicBezTo>
                  <a:cubicBezTo>
                    <a:pt x="5514" y="1268"/>
                    <a:pt x="5514" y="1489"/>
                    <a:pt x="5356" y="1646"/>
                  </a:cubicBezTo>
                  <a:cubicBezTo>
                    <a:pt x="5010" y="1993"/>
                    <a:pt x="4537" y="2213"/>
                    <a:pt x="4002" y="2213"/>
                  </a:cubicBezTo>
                  <a:cubicBezTo>
                    <a:pt x="3498" y="2213"/>
                    <a:pt x="3025" y="1993"/>
                    <a:pt x="2710" y="1646"/>
                  </a:cubicBezTo>
                  <a:cubicBezTo>
                    <a:pt x="2552" y="1489"/>
                    <a:pt x="2552" y="1268"/>
                    <a:pt x="2710" y="1142"/>
                  </a:cubicBezTo>
                  <a:cubicBezTo>
                    <a:pt x="2789" y="1063"/>
                    <a:pt x="2891" y="1024"/>
                    <a:pt x="2986" y="1024"/>
                  </a:cubicBezTo>
                  <a:cubicBezTo>
                    <a:pt x="3080" y="1024"/>
                    <a:pt x="3167" y="1063"/>
                    <a:pt x="3214" y="1142"/>
                  </a:cubicBezTo>
                  <a:cubicBezTo>
                    <a:pt x="3435" y="1363"/>
                    <a:pt x="3726" y="1473"/>
                    <a:pt x="4014" y="1473"/>
                  </a:cubicBezTo>
                  <a:cubicBezTo>
                    <a:pt x="4301" y="1473"/>
                    <a:pt x="4585" y="1363"/>
                    <a:pt x="4789" y="1142"/>
                  </a:cubicBezTo>
                  <a:cubicBezTo>
                    <a:pt x="4868" y="1063"/>
                    <a:pt x="4971" y="1024"/>
                    <a:pt x="5069" y="1024"/>
                  </a:cubicBezTo>
                  <a:close/>
                  <a:moveTo>
                    <a:pt x="4080" y="0"/>
                  </a:moveTo>
                  <a:cubicBezTo>
                    <a:pt x="3372" y="0"/>
                    <a:pt x="2663" y="213"/>
                    <a:pt x="2048" y="638"/>
                  </a:cubicBezTo>
                  <a:cubicBezTo>
                    <a:pt x="1954" y="669"/>
                    <a:pt x="1922" y="701"/>
                    <a:pt x="1859" y="701"/>
                  </a:cubicBezTo>
                  <a:lnTo>
                    <a:pt x="1" y="701"/>
                  </a:lnTo>
                  <a:cubicBezTo>
                    <a:pt x="190" y="2780"/>
                    <a:pt x="1922" y="4450"/>
                    <a:pt x="4096" y="4450"/>
                  </a:cubicBezTo>
                  <a:cubicBezTo>
                    <a:pt x="6207" y="4450"/>
                    <a:pt x="8003" y="2780"/>
                    <a:pt x="8192" y="701"/>
                  </a:cubicBezTo>
                  <a:lnTo>
                    <a:pt x="6333" y="701"/>
                  </a:lnTo>
                  <a:cubicBezTo>
                    <a:pt x="6207" y="701"/>
                    <a:pt x="6144" y="701"/>
                    <a:pt x="6113" y="638"/>
                  </a:cubicBezTo>
                  <a:cubicBezTo>
                    <a:pt x="5498" y="213"/>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3"/>
            <p:cNvSpPr/>
            <p:nvPr/>
          </p:nvSpPr>
          <p:spPr>
            <a:xfrm>
              <a:off x="-51985300" y="4133050"/>
              <a:ext cx="204800" cy="55925"/>
            </a:xfrm>
            <a:custGeom>
              <a:avLst/>
              <a:gdLst/>
              <a:ahLst/>
              <a:cxnLst/>
              <a:rect l="l" t="t" r="r" b="b"/>
              <a:pathLst>
                <a:path w="8192" h="2237" extrusionOk="0">
                  <a:moveTo>
                    <a:pt x="2552" y="756"/>
                  </a:moveTo>
                  <a:cubicBezTo>
                    <a:pt x="2742" y="756"/>
                    <a:pt x="2899" y="914"/>
                    <a:pt x="2899" y="1103"/>
                  </a:cubicBezTo>
                  <a:cubicBezTo>
                    <a:pt x="2899" y="1292"/>
                    <a:pt x="2742" y="1449"/>
                    <a:pt x="2552" y="1449"/>
                  </a:cubicBezTo>
                  <a:cubicBezTo>
                    <a:pt x="2363" y="1449"/>
                    <a:pt x="2206" y="1292"/>
                    <a:pt x="2206" y="1103"/>
                  </a:cubicBezTo>
                  <a:cubicBezTo>
                    <a:pt x="2206" y="914"/>
                    <a:pt x="2363" y="756"/>
                    <a:pt x="2552" y="756"/>
                  </a:cubicBezTo>
                  <a:close/>
                  <a:moveTo>
                    <a:pt x="5545" y="756"/>
                  </a:moveTo>
                  <a:cubicBezTo>
                    <a:pt x="5734" y="756"/>
                    <a:pt x="5892" y="914"/>
                    <a:pt x="5892" y="1103"/>
                  </a:cubicBezTo>
                  <a:cubicBezTo>
                    <a:pt x="5892" y="1292"/>
                    <a:pt x="5734" y="1449"/>
                    <a:pt x="5545" y="1449"/>
                  </a:cubicBezTo>
                  <a:cubicBezTo>
                    <a:pt x="5356" y="1449"/>
                    <a:pt x="5199" y="1292"/>
                    <a:pt x="5199" y="1103"/>
                  </a:cubicBezTo>
                  <a:cubicBezTo>
                    <a:pt x="5167" y="914"/>
                    <a:pt x="5356" y="756"/>
                    <a:pt x="5545" y="756"/>
                  </a:cubicBezTo>
                  <a:close/>
                  <a:moveTo>
                    <a:pt x="1" y="0"/>
                  </a:moveTo>
                  <a:lnTo>
                    <a:pt x="1" y="2237"/>
                  </a:lnTo>
                  <a:lnTo>
                    <a:pt x="1733" y="2237"/>
                  </a:lnTo>
                  <a:cubicBezTo>
                    <a:pt x="2458" y="1796"/>
                    <a:pt x="3277" y="1575"/>
                    <a:pt x="4092" y="1575"/>
                  </a:cubicBezTo>
                  <a:cubicBezTo>
                    <a:pt x="4907" y="1575"/>
                    <a:pt x="5719" y="1796"/>
                    <a:pt x="6428" y="2237"/>
                  </a:cubicBezTo>
                  <a:lnTo>
                    <a:pt x="8192" y="2237"/>
                  </a:ln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4" name="Google Shape;7654;p73"/>
            <p:cNvSpPr/>
            <p:nvPr/>
          </p:nvSpPr>
          <p:spPr>
            <a:xfrm>
              <a:off x="-51780525" y="3983125"/>
              <a:ext cx="55950" cy="105825"/>
            </a:xfrm>
            <a:custGeom>
              <a:avLst/>
              <a:gdLst/>
              <a:ahLst/>
              <a:cxnLst/>
              <a:rect l="l" t="t" r="r" b="b"/>
              <a:pathLst>
                <a:path w="2238" h="4233" extrusionOk="0">
                  <a:moveTo>
                    <a:pt x="1849" y="0"/>
                  </a:moveTo>
                  <a:cubicBezTo>
                    <a:pt x="1729" y="0"/>
                    <a:pt x="1618" y="47"/>
                    <a:pt x="1545" y="169"/>
                  </a:cubicBezTo>
                  <a:cubicBezTo>
                    <a:pt x="1135" y="767"/>
                    <a:pt x="631" y="1240"/>
                    <a:pt x="1" y="1586"/>
                  </a:cubicBezTo>
                  <a:cubicBezTo>
                    <a:pt x="473" y="2374"/>
                    <a:pt x="694" y="3288"/>
                    <a:pt x="694" y="4233"/>
                  </a:cubicBezTo>
                  <a:cubicBezTo>
                    <a:pt x="1576" y="3792"/>
                    <a:pt x="2206" y="2910"/>
                    <a:pt x="2206" y="1870"/>
                  </a:cubicBezTo>
                  <a:lnTo>
                    <a:pt x="2206" y="358"/>
                  </a:lnTo>
                  <a:cubicBezTo>
                    <a:pt x="2238" y="200"/>
                    <a:pt x="2112" y="106"/>
                    <a:pt x="1954" y="11"/>
                  </a:cubicBezTo>
                  <a:cubicBezTo>
                    <a:pt x="1919" y="4"/>
                    <a:pt x="1883" y="0"/>
                    <a:pt x="18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73"/>
            <p:cNvSpPr/>
            <p:nvPr/>
          </p:nvSpPr>
          <p:spPr>
            <a:xfrm>
              <a:off x="-52023900" y="4139350"/>
              <a:ext cx="18925" cy="63800"/>
            </a:xfrm>
            <a:custGeom>
              <a:avLst/>
              <a:gdLst/>
              <a:ahLst/>
              <a:cxnLst/>
              <a:rect l="l" t="t" r="r" b="b"/>
              <a:pathLst>
                <a:path w="757" h="2552" extrusionOk="0">
                  <a:moveTo>
                    <a:pt x="757" y="0"/>
                  </a:moveTo>
                  <a:cubicBezTo>
                    <a:pt x="316" y="221"/>
                    <a:pt x="1" y="693"/>
                    <a:pt x="1" y="1260"/>
                  </a:cubicBezTo>
                  <a:cubicBezTo>
                    <a:pt x="1" y="1796"/>
                    <a:pt x="316" y="2268"/>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3"/>
            <p:cNvSpPr/>
            <p:nvPr/>
          </p:nvSpPr>
          <p:spPr>
            <a:xfrm>
              <a:off x="-51763200" y="4139350"/>
              <a:ext cx="18925" cy="63800"/>
            </a:xfrm>
            <a:custGeom>
              <a:avLst/>
              <a:gdLst/>
              <a:ahLst/>
              <a:cxnLst/>
              <a:rect l="l" t="t" r="r" b="b"/>
              <a:pathLst>
                <a:path w="757" h="2552" extrusionOk="0">
                  <a:moveTo>
                    <a:pt x="1" y="0"/>
                  </a:moveTo>
                  <a:lnTo>
                    <a:pt x="1" y="2552"/>
                  </a:lnTo>
                  <a:cubicBezTo>
                    <a:pt x="442" y="2268"/>
                    <a:pt x="757" y="1796"/>
                    <a:pt x="757" y="1260"/>
                  </a:cubicBezTo>
                  <a:cubicBezTo>
                    <a:pt x="757" y="693"/>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7" name="Google Shape;7657;p73"/>
          <p:cNvGrpSpPr/>
          <p:nvPr/>
        </p:nvGrpSpPr>
        <p:grpSpPr>
          <a:xfrm>
            <a:off x="6215199" y="1380146"/>
            <a:ext cx="314662" cy="358971"/>
            <a:chOff x="-56766175" y="3198925"/>
            <a:chExt cx="279625" cy="319000"/>
          </a:xfrm>
        </p:grpSpPr>
        <p:sp>
          <p:nvSpPr>
            <p:cNvPr id="7658" name="Google Shape;7658;p73"/>
            <p:cNvSpPr/>
            <p:nvPr/>
          </p:nvSpPr>
          <p:spPr>
            <a:xfrm>
              <a:off x="-56766175" y="333597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158"/>
                  </a:ln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9" name="Google Shape;7659;p73"/>
            <p:cNvSpPr/>
            <p:nvPr/>
          </p:nvSpPr>
          <p:spPr>
            <a:xfrm>
              <a:off x="-56747275" y="3198925"/>
              <a:ext cx="222925" cy="93750"/>
            </a:xfrm>
            <a:custGeom>
              <a:avLst/>
              <a:gdLst/>
              <a:ahLst/>
              <a:cxnLst/>
              <a:rect l="l" t="t" r="r" b="b"/>
              <a:pathLst>
                <a:path w="8917" h="3750" extrusionOk="0">
                  <a:moveTo>
                    <a:pt x="347" y="0"/>
                  </a:moveTo>
                  <a:cubicBezTo>
                    <a:pt x="158" y="0"/>
                    <a:pt x="1" y="158"/>
                    <a:pt x="32" y="347"/>
                  </a:cubicBezTo>
                  <a:cubicBezTo>
                    <a:pt x="410" y="2269"/>
                    <a:pt x="2080" y="3749"/>
                    <a:pt x="4096" y="3749"/>
                  </a:cubicBezTo>
                  <a:lnTo>
                    <a:pt x="8917" y="3749"/>
                  </a:lnTo>
                  <a:cubicBezTo>
                    <a:pt x="8728" y="1639"/>
                    <a:pt x="6995" y="0"/>
                    <a:pt x="4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0" name="Google Shape;7660;p73"/>
            <p:cNvSpPr/>
            <p:nvPr/>
          </p:nvSpPr>
          <p:spPr>
            <a:xfrm>
              <a:off x="-56710250" y="3348575"/>
              <a:ext cx="55150" cy="55150"/>
            </a:xfrm>
            <a:custGeom>
              <a:avLst/>
              <a:gdLst/>
              <a:ahLst/>
              <a:cxnLst/>
              <a:rect l="l" t="t" r="r" b="b"/>
              <a:pathLst>
                <a:path w="2206" h="2206" extrusionOk="0">
                  <a:moveTo>
                    <a:pt x="1103" y="0"/>
                  </a:moveTo>
                  <a:cubicBezTo>
                    <a:pt x="473" y="0"/>
                    <a:pt x="0" y="504"/>
                    <a:pt x="0" y="1103"/>
                  </a:cubicBezTo>
                  <a:cubicBezTo>
                    <a:pt x="0" y="1670"/>
                    <a:pt x="504" y="2206"/>
                    <a:pt x="1103" y="2206"/>
                  </a:cubicBezTo>
                  <a:cubicBezTo>
                    <a:pt x="1733" y="2206"/>
                    <a:pt x="2206" y="1702"/>
                    <a:pt x="2206" y="1103"/>
                  </a:cubicBezTo>
                  <a:cubicBezTo>
                    <a:pt x="2206" y="504"/>
                    <a:pt x="1733"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73"/>
            <p:cNvSpPr/>
            <p:nvPr/>
          </p:nvSpPr>
          <p:spPr>
            <a:xfrm>
              <a:off x="-56597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2" name="Google Shape;7662;p73"/>
            <p:cNvSpPr/>
            <p:nvPr/>
          </p:nvSpPr>
          <p:spPr>
            <a:xfrm>
              <a:off x="-56727575" y="3376925"/>
              <a:ext cx="204800" cy="141000"/>
            </a:xfrm>
            <a:custGeom>
              <a:avLst/>
              <a:gdLst/>
              <a:ahLst/>
              <a:cxnLst/>
              <a:rect l="l" t="t" r="r" b="b"/>
              <a:pathLst>
                <a:path w="8192" h="5640" extrusionOk="0">
                  <a:moveTo>
                    <a:pt x="5104" y="2174"/>
                  </a:moveTo>
                  <a:cubicBezTo>
                    <a:pt x="5199" y="2174"/>
                    <a:pt x="5293" y="2206"/>
                    <a:pt x="5356" y="2269"/>
                  </a:cubicBezTo>
                  <a:cubicBezTo>
                    <a:pt x="5545" y="2395"/>
                    <a:pt x="5545" y="2647"/>
                    <a:pt x="5388" y="2804"/>
                  </a:cubicBezTo>
                  <a:cubicBezTo>
                    <a:pt x="5041" y="3151"/>
                    <a:pt x="4569" y="3340"/>
                    <a:pt x="4096" y="3340"/>
                  </a:cubicBezTo>
                  <a:cubicBezTo>
                    <a:pt x="3560" y="3340"/>
                    <a:pt x="3088" y="3151"/>
                    <a:pt x="2741" y="2804"/>
                  </a:cubicBezTo>
                  <a:cubicBezTo>
                    <a:pt x="2584" y="2647"/>
                    <a:pt x="2584" y="2395"/>
                    <a:pt x="2741" y="2269"/>
                  </a:cubicBezTo>
                  <a:cubicBezTo>
                    <a:pt x="2820" y="2206"/>
                    <a:pt x="2922" y="2174"/>
                    <a:pt x="3021" y="2174"/>
                  </a:cubicBezTo>
                  <a:cubicBezTo>
                    <a:pt x="3119" y="2174"/>
                    <a:pt x="3214" y="2206"/>
                    <a:pt x="3277" y="2269"/>
                  </a:cubicBezTo>
                  <a:cubicBezTo>
                    <a:pt x="3482" y="2489"/>
                    <a:pt x="3765" y="2600"/>
                    <a:pt x="4053" y="2600"/>
                  </a:cubicBezTo>
                  <a:cubicBezTo>
                    <a:pt x="4340" y="2600"/>
                    <a:pt x="4632" y="2489"/>
                    <a:pt x="4852" y="2269"/>
                  </a:cubicBezTo>
                  <a:cubicBezTo>
                    <a:pt x="4915" y="2206"/>
                    <a:pt x="5010" y="2174"/>
                    <a:pt x="5104" y="2174"/>
                  </a:cubicBezTo>
                  <a:close/>
                  <a:moveTo>
                    <a:pt x="0" y="0"/>
                  </a:moveTo>
                  <a:lnTo>
                    <a:pt x="0" y="1513"/>
                  </a:lnTo>
                  <a:cubicBezTo>
                    <a:pt x="0" y="3623"/>
                    <a:pt x="1639" y="5451"/>
                    <a:pt x="3718" y="5640"/>
                  </a:cubicBezTo>
                  <a:lnTo>
                    <a:pt x="3718" y="4537"/>
                  </a:lnTo>
                  <a:cubicBezTo>
                    <a:pt x="3718" y="4348"/>
                    <a:pt x="3875" y="4191"/>
                    <a:pt x="4096" y="4191"/>
                  </a:cubicBezTo>
                  <a:cubicBezTo>
                    <a:pt x="4285" y="4191"/>
                    <a:pt x="4442" y="4348"/>
                    <a:pt x="4442" y="4537"/>
                  </a:cubicBezTo>
                  <a:lnTo>
                    <a:pt x="4442" y="5640"/>
                  </a:lnTo>
                  <a:cubicBezTo>
                    <a:pt x="6522" y="5451"/>
                    <a:pt x="8192" y="3623"/>
                    <a:pt x="8192" y="1513"/>
                  </a:cubicBezTo>
                  <a:lnTo>
                    <a:pt x="8192" y="0"/>
                  </a:lnTo>
                  <a:cubicBezTo>
                    <a:pt x="8192" y="1009"/>
                    <a:pt x="7309" y="1859"/>
                    <a:pt x="6301" y="1859"/>
                  </a:cubicBezTo>
                  <a:cubicBezTo>
                    <a:pt x="5388" y="1859"/>
                    <a:pt x="4632" y="1229"/>
                    <a:pt x="4474" y="347"/>
                  </a:cubicBezTo>
                  <a:lnTo>
                    <a:pt x="3655" y="347"/>
                  </a:lnTo>
                  <a:cubicBezTo>
                    <a:pt x="3497" y="1229"/>
                    <a:pt x="2710" y="1859"/>
                    <a:pt x="1828" y="1859"/>
                  </a:cubicBezTo>
                  <a:cubicBezTo>
                    <a:pt x="819" y="1859"/>
                    <a:pt x="0" y="1009"/>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3"/>
            <p:cNvSpPr/>
            <p:nvPr/>
          </p:nvSpPr>
          <p:spPr>
            <a:xfrm>
              <a:off x="-56729150" y="3289500"/>
              <a:ext cx="204000" cy="87450"/>
            </a:xfrm>
            <a:custGeom>
              <a:avLst/>
              <a:gdLst/>
              <a:ahLst/>
              <a:cxnLst/>
              <a:rect l="l" t="t" r="r" b="b"/>
              <a:pathLst>
                <a:path w="8160" h="3498" extrusionOk="0">
                  <a:moveTo>
                    <a:pt x="567" y="0"/>
                  </a:moveTo>
                  <a:cubicBezTo>
                    <a:pt x="221" y="630"/>
                    <a:pt x="0" y="1292"/>
                    <a:pt x="0" y="2017"/>
                  </a:cubicBezTo>
                  <a:lnTo>
                    <a:pt x="0" y="3497"/>
                  </a:lnTo>
                  <a:cubicBezTo>
                    <a:pt x="0" y="2489"/>
                    <a:pt x="851" y="1639"/>
                    <a:pt x="1859" y="1639"/>
                  </a:cubicBezTo>
                  <a:cubicBezTo>
                    <a:pt x="2773" y="1639"/>
                    <a:pt x="3529" y="2269"/>
                    <a:pt x="3686" y="3151"/>
                  </a:cubicBezTo>
                  <a:lnTo>
                    <a:pt x="4505" y="3151"/>
                  </a:lnTo>
                  <a:cubicBezTo>
                    <a:pt x="4663" y="2269"/>
                    <a:pt x="5451" y="1639"/>
                    <a:pt x="6333" y="1639"/>
                  </a:cubicBezTo>
                  <a:cubicBezTo>
                    <a:pt x="7341" y="1639"/>
                    <a:pt x="8160" y="2489"/>
                    <a:pt x="8160" y="3497"/>
                  </a:cubicBezTo>
                  <a:lnTo>
                    <a:pt x="8160" y="914"/>
                  </a:lnTo>
                  <a:lnTo>
                    <a:pt x="3340" y="914"/>
                  </a:lnTo>
                  <a:cubicBezTo>
                    <a:pt x="2332" y="851"/>
                    <a:pt x="1355" y="536"/>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3"/>
            <p:cNvSpPr/>
            <p:nvPr/>
          </p:nvSpPr>
          <p:spPr>
            <a:xfrm>
              <a:off x="-56505475" y="3335975"/>
              <a:ext cx="18925" cy="63825"/>
            </a:xfrm>
            <a:custGeom>
              <a:avLst/>
              <a:gdLst/>
              <a:ahLst/>
              <a:cxnLst/>
              <a:rect l="l" t="t" r="r" b="b"/>
              <a:pathLst>
                <a:path w="757" h="2553" extrusionOk="0">
                  <a:moveTo>
                    <a:pt x="1" y="0"/>
                  </a:moveTo>
                  <a:lnTo>
                    <a:pt x="1" y="2552"/>
                  </a:lnTo>
                  <a:cubicBezTo>
                    <a:pt x="442" y="2269"/>
                    <a:pt x="757" y="1796"/>
                    <a:pt x="757" y="1260"/>
                  </a:cubicBezTo>
                  <a:cubicBezTo>
                    <a:pt x="757" y="693"/>
                    <a:pt x="473"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65" name="Google Shape;7665;p73"/>
          <p:cNvGrpSpPr/>
          <p:nvPr/>
        </p:nvGrpSpPr>
        <p:grpSpPr>
          <a:xfrm>
            <a:off x="6214313" y="1835446"/>
            <a:ext cx="316434" cy="358099"/>
            <a:chOff x="-56766175" y="3590375"/>
            <a:chExt cx="281200" cy="318225"/>
          </a:xfrm>
        </p:grpSpPr>
        <p:sp>
          <p:nvSpPr>
            <p:cNvPr id="7666" name="Google Shape;7666;p73"/>
            <p:cNvSpPr/>
            <p:nvPr/>
          </p:nvSpPr>
          <p:spPr>
            <a:xfrm>
              <a:off x="-56766175" y="3632900"/>
              <a:ext cx="281200" cy="275700"/>
            </a:xfrm>
            <a:custGeom>
              <a:avLst/>
              <a:gdLst/>
              <a:ahLst/>
              <a:cxnLst/>
              <a:rect l="l" t="t" r="r" b="b"/>
              <a:pathLst>
                <a:path w="11248" h="11028" extrusionOk="0">
                  <a:moveTo>
                    <a:pt x="1576" y="0"/>
                  </a:moveTo>
                  <a:cubicBezTo>
                    <a:pt x="599" y="1009"/>
                    <a:pt x="1" y="2395"/>
                    <a:pt x="1" y="3907"/>
                  </a:cubicBezTo>
                  <a:lnTo>
                    <a:pt x="1" y="10681"/>
                  </a:lnTo>
                  <a:cubicBezTo>
                    <a:pt x="1" y="10870"/>
                    <a:pt x="158" y="11027"/>
                    <a:pt x="347" y="11027"/>
                  </a:cubicBezTo>
                  <a:lnTo>
                    <a:pt x="5577" y="11027"/>
                  </a:lnTo>
                  <a:cubicBezTo>
                    <a:pt x="3340" y="11027"/>
                    <a:pt x="1481" y="9200"/>
                    <a:pt x="1481" y="6932"/>
                  </a:cubicBezTo>
                  <a:lnTo>
                    <a:pt x="1481" y="5388"/>
                  </a:lnTo>
                  <a:cubicBezTo>
                    <a:pt x="1481" y="5262"/>
                    <a:pt x="1576" y="5167"/>
                    <a:pt x="1702" y="5073"/>
                  </a:cubicBezTo>
                  <a:lnTo>
                    <a:pt x="5419" y="2836"/>
                  </a:lnTo>
                  <a:cubicBezTo>
                    <a:pt x="5482" y="2789"/>
                    <a:pt x="5553" y="2765"/>
                    <a:pt x="5624" y="2765"/>
                  </a:cubicBezTo>
                  <a:cubicBezTo>
                    <a:pt x="5695" y="2765"/>
                    <a:pt x="5766" y="2789"/>
                    <a:pt x="5829" y="2836"/>
                  </a:cubicBezTo>
                  <a:lnTo>
                    <a:pt x="9578" y="5073"/>
                  </a:lnTo>
                  <a:cubicBezTo>
                    <a:pt x="9673" y="5167"/>
                    <a:pt x="9767" y="5262"/>
                    <a:pt x="9767" y="5388"/>
                  </a:cubicBezTo>
                  <a:lnTo>
                    <a:pt x="9767" y="6932"/>
                  </a:lnTo>
                  <a:cubicBezTo>
                    <a:pt x="9767" y="9200"/>
                    <a:pt x="7908" y="11027"/>
                    <a:pt x="5671" y="11027"/>
                  </a:cubicBezTo>
                  <a:lnTo>
                    <a:pt x="10901" y="11027"/>
                  </a:lnTo>
                  <a:cubicBezTo>
                    <a:pt x="11090" y="11027"/>
                    <a:pt x="11248" y="10870"/>
                    <a:pt x="11248" y="10681"/>
                  </a:cubicBezTo>
                  <a:lnTo>
                    <a:pt x="11248" y="3907"/>
                  </a:lnTo>
                  <a:cubicBezTo>
                    <a:pt x="11185" y="2363"/>
                    <a:pt x="10586" y="977"/>
                    <a:pt x="9610" y="0"/>
                  </a:cubicBezTo>
                  <a:cubicBezTo>
                    <a:pt x="9578" y="158"/>
                    <a:pt x="9484" y="316"/>
                    <a:pt x="9358" y="473"/>
                  </a:cubicBezTo>
                  <a:cubicBezTo>
                    <a:pt x="8727" y="1418"/>
                    <a:pt x="7247" y="2048"/>
                    <a:pt x="5577" y="2048"/>
                  </a:cubicBezTo>
                  <a:cubicBezTo>
                    <a:pt x="3907" y="2048"/>
                    <a:pt x="2395" y="1418"/>
                    <a:pt x="1765" y="442"/>
                  </a:cubicBezTo>
                  <a:cubicBezTo>
                    <a:pt x="1702" y="316"/>
                    <a:pt x="1607" y="158"/>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73"/>
            <p:cNvSpPr/>
            <p:nvPr/>
          </p:nvSpPr>
          <p:spPr>
            <a:xfrm>
              <a:off x="-56709475" y="3722700"/>
              <a:ext cx="167800" cy="153600"/>
            </a:xfrm>
            <a:custGeom>
              <a:avLst/>
              <a:gdLst/>
              <a:ahLst/>
              <a:cxnLst/>
              <a:rect l="l" t="t" r="r" b="b"/>
              <a:pathLst>
                <a:path w="6712" h="6144" extrusionOk="0">
                  <a:moveTo>
                    <a:pt x="1828" y="1449"/>
                  </a:moveTo>
                  <a:cubicBezTo>
                    <a:pt x="2017" y="1449"/>
                    <a:pt x="2175" y="1607"/>
                    <a:pt x="2175" y="1796"/>
                  </a:cubicBezTo>
                  <a:cubicBezTo>
                    <a:pt x="2206" y="2016"/>
                    <a:pt x="2049" y="2142"/>
                    <a:pt x="1828" y="2142"/>
                  </a:cubicBezTo>
                  <a:cubicBezTo>
                    <a:pt x="1639" y="2142"/>
                    <a:pt x="1482" y="2016"/>
                    <a:pt x="1482" y="1796"/>
                  </a:cubicBezTo>
                  <a:cubicBezTo>
                    <a:pt x="1482" y="1607"/>
                    <a:pt x="1639" y="1449"/>
                    <a:pt x="1828" y="1449"/>
                  </a:cubicBezTo>
                  <a:close/>
                  <a:moveTo>
                    <a:pt x="4821" y="1449"/>
                  </a:moveTo>
                  <a:cubicBezTo>
                    <a:pt x="5010" y="1449"/>
                    <a:pt x="5168" y="1607"/>
                    <a:pt x="5168" y="1796"/>
                  </a:cubicBezTo>
                  <a:cubicBezTo>
                    <a:pt x="5199" y="2016"/>
                    <a:pt x="5010" y="2142"/>
                    <a:pt x="4821" y="2142"/>
                  </a:cubicBezTo>
                  <a:cubicBezTo>
                    <a:pt x="4632" y="2142"/>
                    <a:pt x="4475" y="2016"/>
                    <a:pt x="4475" y="1796"/>
                  </a:cubicBezTo>
                  <a:cubicBezTo>
                    <a:pt x="4475" y="1607"/>
                    <a:pt x="4632" y="1449"/>
                    <a:pt x="4821" y="1449"/>
                  </a:cubicBezTo>
                  <a:close/>
                  <a:moveTo>
                    <a:pt x="3372" y="0"/>
                  </a:moveTo>
                  <a:lnTo>
                    <a:pt x="1" y="2016"/>
                  </a:lnTo>
                  <a:lnTo>
                    <a:pt x="1" y="3340"/>
                  </a:lnTo>
                  <a:cubicBezTo>
                    <a:pt x="1" y="4474"/>
                    <a:pt x="599" y="5545"/>
                    <a:pt x="1513" y="6143"/>
                  </a:cubicBezTo>
                  <a:lnTo>
                    <a:pt x="1513" y="4411"/>
                  </a:lnTo>
                  <a:cubicBezTo>
                    <a:pt x="1513" y="4253"/>
                    <a:pt x="1576" y="4127"/>
                    <a:pt x="1702" y="4096"/>
                  </a:cubicBezTo>
                  <a:cubicBezTo>
                    <a:pt x="2222" y="3844"/>
                    <a:pt x="2797" y="3718"/>
                    <a:pt x="3368" y="3718"/>
                  </a:cubicBezTo>
                  <a:cubicBezTo>
                    <a:pt x="3939" y="3718"/>
                    <a:pt x="4506" y="3844"/>
                    <a:pt x="5010" y="4096"/>
                  </a:cubicBezTo>
                  <a:cubicBezTo>
                    <a:pt x="5136" y="4159"/>
                    <a:pt x="5199" y="4285"/>
                    <a:pt x="5199" y="4411"/>
                  </a:cubicBezTo>
                  <a:lnTo>
                    <a:pt x="5199" y="6143"/>
                  </a:lnTo>
                  <a:cubicBezTo>
                    <a:pt x="6113" y="5545"/>
                    <a:pt x="6711" y="4505"/>
                    <a:pt x="6711" y="3340"/>
                  </a:cubicBezTo>
                  <a:lnTo>
                    <a:pt x="6711" y="2016"/>
                  </a:ln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3"/>
            <p:cNvSpPr/>
            <p:nvPr/>
          </p:nvSpPr>
          <p:spPr>
            <a:xfrm>
              <a:off x="-56654325" y="3833750"/>
              <a:ext cx="55150" cy="55950"/>
            </a:xfrm>
            <a:custGeom>
              <a:avLst/>
              <a:gdLst/>
              <a:ahLst/>
              <a:cxnLst/>
              <a:rect l="l" t="t" r="r" b="b"/>
              <a:pathLst>
                <a:path w="2206" h="2238" extrusionOk="0">
                  <a:moveTo>
                    <a:pt x="1127" y="0"/>
                  </a:moveTo>
                  <a:cubicBezTo>
                    <a:pt x="748" y="0"/>
                    <a:pt x="363" y="63"/>
                    <a:pt x="0" y="189"/>
                  </a:cubicBezTo>
                  <a:lnTo>
                    <a:pt x="0" y="2048"/>
                  </a:lnTo>
                  <a:cubicBezTo>
                    <a:pt x="378" y="2174"/>
                    <a:pt x="725" y="2237"/>
                    <a:pt x="1103" y="2237"/>
                  </a:cubicBezTo>
                  <a:cubicBezTo>
                    <a:pt x="1512" y="2237"/>
                    <a:pt x="1859" y="2174"/>
                    <a:pt x="2206" y="2048"/>
                  </a:cubicBezTo>
                  <a:lnTo>
                    <a:pt x="2206" y="189"/>
                  </a:lnTo>
                  <a:cubicBezTo>
                    <a:pt x="1875" y="63"/>
                    <a:pt x="1505" y="0"/>
                    <a:pt x="1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3"/>
            <p:cNvSpPr/>
            <p:nvPr/>
          </p:nvSpPr>
          <p:spPr>
            <a:xfrm>
              <a:off x="-56710250" y="3590375"/>
              <a:ext cx="167775" cy="74850"/>
            </a:xfrm>
            <a:custGeom>
              <a:avLst/>
              <a:gdLst/>
              <a:ahLst/>
              <a:cxnLst/>
              <a:rect l="l" t="t" r="r" b="b"/>
              <a:pathLst>
                <a:path w="6711" h="2994" extrusionOk="0">
                  <a:moveTo>
                    <a:pt x="3340" y="0"/>
                  </a:moveTo>
                  <a:cubicBezTo>
                    <a:pt x="2080" y="0"/>
                    <a:pt x="946" y="441"/>
                    <a:pt x="0" y="1134"/>
                  </a:cubicBezTo>
                  <a:cubicBezTo>
                    <a:pt x="0" y="1355"/>
                    <a:pt x="32" y="1544"/>
                    <a:pt x="189" y="1733"/>
                  </a:cubicBezTo>
                  <a:cubicBezTo>
                    <a:pt x="662" y="2489"/>
                    <a:pt x="1922" y="2993"/>
                    <a:pt x="3340" y="2993"/>
                  </a:cubicBezTo>
                  <a:cubicBezTo>
                    <a:pt x="4726" y="2993"/>
                    <a:pt x="5986" y="2489"/>
                    <a:pt x="6490" y="1796"/>
                  </a:cubicBezTo>
                  <a:cubicBezTo>
                    <a:pt x="6648" y="1575"/>
                    <a:pt x="6711" y="1355"/>
                    <a:pt x="6711" y="1134"/>
                  </a:cubicBezTo>
                  <a:cubicBezTo>
                    <a:pt x="5766" y="441"/>
                    <a:pt x="4600" y="0"/>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73"/>
          <p:cNvGrpSpPr/>
          <p:nvPr/>
        </p:nvGrpSpPr>
        <p:grpSpPr>
          <a:xfrm>
            <a:off x="6251269" y="2276817"/>
            <a:ext cx="272126" cy="358099"/>
            <a:chOff x="-56747275" y="3982600"/>
            <a:chExt cx="241825" cy="318225"/>
          </a:xfrm>
        </p:grpSpPr>
        <p:sp>
          <p:nvSpPr>
            <p:cNvPr id="7671" name="Google Shape;7671;p73"/>
            <p:cNvSpPr/>
            <p:nvPr/>
          </p:nvSpPr>
          <p:spPr>
            <a:xfrm>
              <a:off x="-56635425" y="4076325"/>
              <a:ext cx="18125" cy="37050"/>
            </a:xfrm>
            <a:custGeom>
              <a:avLst/>
              <a:gdLst/>
              <a:ahLst/>
              <a:cxnLst/>
              <a:rect l="l" t="t" r="r" b="b"/>
              <a:pathLst>
                <a:path w="725" h="1482" extrusionOk="0">
                  <a:moveTo>
                    <a:pt x="378" y="1"/>
                  </a:moveTo>
                  <a:cubicBezTo>
                    <a:pt x="158" y="1"/>
                    <a:pt x="0" y="316"/>
                    <a:pt x="0" y="725"/>
                  </a:cubicBezTo>
                  <a:cubicBezTo>
                    <a:pt x="0" y="1135"/>
                    <a:pt x="158" y="1481"/>
                    <a:pt x="378" y="1481"/>
                  </a:cubicBezTo>
                  <a:cubicBezTo>
                    <a:pt x="567" y="1481"/>
                    <a:pt x="725" y="1135"/>
                    <a:pt x="725" y="725"/>
                  </a:cubicBezTo>
                  <a:cubicBezTo>
                    <a:pt x="725" y="316"/>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73"/>
            <p:cNvSpPr/>
            <p:nvPr/>
          </p:nvSpPr>
          <p:spPr>
            <a:xfrm>
              <a:off x="-56618900" y="3991275"/>
              <a:ext cx="113450" cy="136250"/>
            </a:xfrm>
            <a:custGeom>
              <a:avLst/>
              <a:gdLst/>
              <a:ahLst/>
              <a:cxnLst/>
              <a:rect l="l" t="t" r="r" b="b"/>
              <a:pathLst>
                <a:path w="4538" h="5450" extrusionOk="0">
                  <a:moveTo>
                    <a:pt x="3277" y="0"/>
                  </a:moveTo>
                  <a:lnTo>
                    <a:pt x="1" y="2647"/>
                  </a:lnTo>
                  <a:lnTo>
                    <a:pt x="3939" y="5387"/>
                  </a:lnTo>
                  <a:cubicBezTo>
                    <a:pt x="4007" y="5430"/>
                    <a:pt x="4081" y="5449"/>
                    <a:pt x="4154" y="5449"/>
                  </a:cubicBezTo>
                  <a:cubicBezTo>
                    <a:pt x="4352" y="5449"/>
                    <a:pt x="4538" y="5303"/>
                    <a:pt x="4538" y="5072"/>
                  </a:cubicBezTo>
                  <a:lnTo>
                    <a:pt x="4538" y="2300"/>
                  </a:lnTo>
                  <a:cubicBezTo>
                    <a:pt x="4538" y="1355"/>
                    <a:pt x="4034" y="473"/>
                    <a:pt x="32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3" name="Google Shape;7673;p73"/>
            <p:cNvSpPr/>
            <p:nvPr/>
          </p:nvSpPr>
          <p:spPr>
            <a:xfrm>
              <a:off x="-56601550" y="4094450"/>
              <a:ext cx="31525" cy="19700"/>
            </a:xfrm>
            <a:custGeom>
              <a:avLst/>
              <a:gdLst/>
              <a:ahLst/>
              <a:cxnLst/>
              <a:rect l="l" t="t" r="r" b="b"/>
              <a:pathLst>
                <a:path w="1261" h="788" extrusionOk="0">
                  <a:moveTo>
                    <a:pt x="158" y="0"/>
                  </a:moveTo>
                  <a:lnTo>
                    <a:pt x="158" y="63"/>
                  </a:lnTo>
                  <a:cubicBezTo>
                    <a:pt x="158" y="315"/>
                    <a:pt x="95" y="567"/>
                    <a:pt x="0" y="788"/>
                  </a:cubicBezTo>
                  <a:lnTo>
                    <a:pt x="1260" y="788"/>
                  </a:lnTo>
                  <a:lnTo>
                    <a:pt x="1260" y="756"/>
                  </a:lnTo>
                  <a:lnTo>
                    <a:pt x="1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3"/>
            <p:cNvSpPr/>
            <p:nvPr/>
          </p:nvSpPr>
          <p:spPr>
            <a:xfrm>
              <a:off x="-56688200" y="4085775"/>
              <a:ext cx="37050" cy="27600"/>
            </a:xfrm>
            <a:custGeom>
              <a:avLst/>
              <a:gdLst/>
              <a:ahLst/>
              <a:cxnLst/>
              <a:rect l="l" t="t" r="r" b="b"/>
              <a:pathLst>
                <a:path w="1482" h="1104" extrusionOk="0">
                  <a:moveTo>
                    <a:pt x="1355" y="1"/>
                  </a:moveTo>
                  <a:lnTo>
                    <a:pt x="1" y="1103"/>
                  </a:lnTo>
                  <a:lnTo>
                    <a:pt x="1481" y="1103"/>
                  </a:lnTo>
                  <a:cubicBezTo>
                    <a:pt x="1418" y="883"/>
                    <a:pt x="1324" y="631"/>
                    <a:pt x="1324" y="347"/>
                  </a:cubicBezTo>
                  <a:cubicBezTo>
                    <a:pt x="1324" y="253"/>
                    <a:pt x="1324" y="127"/>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3"/>
            <p:cNvSpPr/>
            <p:nvPr/>
          </p:nvSpPr>
          <p:spPr>
            <a:xfrm>
              <a:off x="-56747275" y="3982600"/>
              <a:ext cx="189850" cy="143850"/>
            </a:xfrm>
            <a:custGeom>
              <a:avLst/>
              <a:gdLst/>
              <a:ahLst/>
              <a:cxnLst/>
              <a:rect l="l" t="t" r="r" b="b"/>
              <a:pathLst>
                <a:path w="7594" h="5754" extrusionOk="0">
                  <a:moveTo>
                    <a:pt x="2584" y="1"/>
                  </a:moveTo>
                  <a:cubicBezTo>
                    <a:pt x="1135" y="1"/>
                    <a:pt x="1" y="1166"/>
                    <a:pt x="1" y="2647"/>
                  </a:cubicBezTo>
                  <a:lnTo>
                    <a:pt x="1" y="5388"/>
                  </a:lnTo>
                  <a:cubicBezTo>
                    <a:pt x="1" y="5610"/>
                    <a:pt x="172" y="5753"/>
                    <a:pt x="350" y="5753"/>
                  </a:cubicBezTo>
                  <a:cubicBezTo>
                    <a:pt x="426" y="5753"/>
                    <a:pt x="502" y="5728"/>
                    <a:pt x="568" y="5671"/>
                  </a:cubicBezTo>
                  <a:lnTo>
                    <a:pt x="7593" y="32"/>
                  </a:lnTo>
                  <a:cubicBezTo>
                    <a:pt x="7436" y="1"/>
                    <a:pt x="7278"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3"/>
            <p:cNvSpPr/>
            <p:nvPr/>
          </p:nvSpPr>
          <p:spPr>
            <a:xfrm>
              <a:off x="-56654325" y="4217500"/>
              <a:ext cx="55150" cy="83325"/>
            </a:xfrm>
            <a:custGeom>
              <a:avLst/>
              <a:gdLst/>
              <a:ahLst/>
              <a:cxnLst/>
              <a:rect l="l" t="t" r="r" b="b"/>
              <a:pathLst>
                <a:path w="2206" h="3333" extrusionOk="0">
                  <a:moveTo>
                    <a:pt x="1127" y="1"/>
                  </a:moveTo>
                  <a:cubicBezTo>
                    <a:pt x="748" y="1"/>
                    <a:pt x="363" y="72"/>
                    <a:pt x="0" y="214"/>
                  </a:cubicBezTo>
                  <a:lnTo>
                    <a:pt x="0" y="3175"/>
                  </a:lnTo>
                  <a:cubicBezTo>
                    <a:pt x="378" y="3270"/>
                    <a:pt x="756" y="3333"/>
                    <a:pt x="1103" y="3333"/>
                  </a:cubicBezTo>
                  <a:cubicBezTo>
                    <a:pt x="1512" y="3333"/>
                    <a:pt x="1859" y="3270"/>
                    <a:pt x="2206" y="3175"/>
                  </a:cubicBezTo>
                  <a:lnTo>
                    <a:pt x="2206" y="214"/>
                  </a:lnTo>
                  <a:cubicBezTo>
                    <a:pt x="1875" y="72"/>
                    <a:pt x="1505" y="1"/>
                    <a:pt x="11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3"/>
            <p:cNvSpPr/>
            <p:nvPr/>
          </p:nvSpPr>
          <p:spPr>
            <a:xfrm>
              <a:off x="-56729150" y="4132250"/>
              <a:ext cx="204800" cy="157550"/>
            </a:xfrm>
            <a:custGeom>
              <a:avLst/>
              <a:gdLst/>
              <a:ahLst/>
              <a:cxnLst/>
              <a:rect l="l" t="t" r="r" b="b"/>
              <a:pathLst>
                <a:path w="8192" h="6302" extrusionOk="0">
                  <a:moveTo>
                    <a:pt x="2615" y="788"/>
                  </a:moveTo>
                  <a:cubicBezTo>
                    <a:pt x="2804" y="788"/>
                    <a:pt x="2962" y="946"/>
                    <a:pt x="2962" y="1135"/>
                  </a:cubicBezTo>
                  <a:cubicBezTo>
                    <a:pt x="2993" y="1324"/>
                    <a:pt x="2836" y="1481"/>
                    <a:pt x="2615" y="1481"/>
                  </a:cubicBezTo>
                  <a:cubicBezTo>
                    <a:pt x="2426" y="1481"/>
                    <a:pt x="2269" y="1324"/>
                    <a:pt x="2269" y="1135"/>
                  </a:cubicBezTo>
                  <a:cubicBezTo>
                    <a:pt x="2269" y="946"/>
                    <a:pt x="2426" y="788"/>
                    <a:pt x="2615" y="788"/>
                  </a:cubicBezTo>
                  <a:close/>
                  <a:moveTo>
                    <a:pt x="5608" y="788"/>
                  </a:moveTo>
                  <a:cubicBezTo>
                    <a:pt x="5797" y="788"/>
                    <a:pt x="5955" y="946"/>
                    <a:pt x="5955" y="1135"/>
                  </a:cubicBezTo>
                  <a:cubicBezTo>
                    <a:pt x="5986" y="1324"/>
                    <a:pt x="5797" y="1481"/>
                    <a:pt x="5608" y="1481"/>
                  </a:cubicBezTo>
                  <a:cubicBezTo>
                    <a:pt x="5419" y="1481"/>
                    <a:pt x="5262" y="1324"/>
                    <a:pt x="5262" y="1135"/>
                  </a:cubicBezTo>
                  <a:cubicBezTo>
                    <a:pt x="5262" y="946"/>
                    <a:pt x="5419" y="788"/>
                    <a:pt x="5608" y="788"/>
                  </a:cubicBezTo>
                  <a:close/>
                  <a:moveTo>
                    <a:pt x="725" y="1"/>
                  </a:moveTo>
                  <a:lnTo>
                    <a:pt x="0" y="536"/>
                  </a:lnTo>
                  <a:lnTo>
                    <a:pt x="0" y="2647"/>
                  </a:lnTo>
                  <a:cubicBezTo>
                    <a:pt x="0" y="4222"/>
                    <a:pt x="914" y="5577"/>
                    <a:pt x="2269" y="6301"/>
                  </a:cubicBezTo>
                  <a:lnTo>
                    <a:pt x="2269" y="3372"/>
                  </a:lnTo>
                  <a:cubicBezTo>
                    <a:pt x="2269" y="3214"/>
                    <a:pt x="2332" y="3120"/>
                    <a:pt x="2458" y="3056"/>
                  </a:cubicBezTo>
                  <a:cubicBezTo>
                    <a:pt x="2962" y="2804"/>
                    <a:pt x="3529" y="2678"/>
                    <a:pt x="4100" y="2678"/>
                  </a:cubicBezTo>
                  <a:cubicBezTo>
                    <a:pt x="4671" y="2678"/>
                    <a:pt x="5246" y="2804"/>
                    <a:pt x="5766" y="3056"/>
                  </a:cubicBezTo>
                  <a:cubicBezTo>
                    <a:pt x="5892" y="3151"/>
                    <a:pt x="5955" y="3277"/>
                    <a:pt x="5955" y="3372"/>
                  </a:cubicBezTo>
                  <a:lnTo>
                    <a:pt x="5955" y="6301"/>
                  </a:lnTo>
                  <a:cubicBezTo>
                    <a:pt x="7309" y="5640"/>
                    <a:pt x="8192" y="4254"/>
                    <a:pt x="8192" y="2647"/>
                  </a:cubicBezTo>
                  <a:lnTo>
                    <a:pt x="8192" y="536"/>
                  </a:lnTo>
                  <a:lnTo>
                    <a:pt x="7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8" name="Google Shape;7678;p73"/>
          <p:cNvGrpSpPr/>
          <p:nvPr/>
        </p:nvGrpSpPr>
        <p:grpSpPr>
          <a:xfrm>
            <a:off x="4859020" y="3219055"/>
            <a:ext cx="358999" cy="342991"/>
            <a:chOff x="-54812875" y="3596675"/>
            <a:chExt cx="319025" cy="304800"/>
          </a:xfrm>
        </p:grpSpPr>
        <p:sp>
          <p:nvSpPr>
            <p:cNvPr id="7679" name="Google Shape;7679;p73"/>
            <p:cNvSpPr/>
            <p:nvPr/>
          </p:nvSpPr>
          <p:spPr>
            <a:xfrm>
              <a:off x="-54812875" y="3607700"/>
              <a:ext cx="74850" cy="293775"/>
            </a:xfrm>
            <a:custGeom>
              <a:avLst/>
              <a:gdLst/>
              <a:ahLst/>
              <a:cxnLst/>
              <a:rect l="l" t="t" r="r" b="b"/>
              <a:pathLst>
                <a:path w="2994" h="11751" extrusionOk="0">
                  <a:moveTo>
                    <a:pt x="1482" y="0"/>
                  </a:moveTo>
                  <a:lnTo>
                    <a:pt x="1482" y="2710"/>
                  </a:lnTo>
                  <a:cubicBezTo>
                    <a:pt x="1482" y="3749"/>
                    <a:pt x="1261" y="4789"/>
                    <a:pt x="788" y="5734"/>
                  </a:cubicBezTo>
                  <a:cubicBezTo>
                    <a:pt x="284" y="6805"/>
                    <a:pt x="1" y="7971"/>
                    <a:pt x="1" y="9168"/>
                  </a:cubicBezTo>
                  <a:cubicBezTo>
                    <a:pt x="1" y="10050"/>
                    <a:pt x="505" y="10901"/>
                    <a:pt x="1261" y="11405"/>
                  </a:cubicBezTo>
                  <a:lnTo>
                    <a:pt x="1639" y="11689"/>
                  </a:lnTo>
                  <a:cubicBezTo>
                    <a:pt x="1707" y="11731"/>
                    <a:pt x="1781" y="11750"/>
                    <a:pt x="1854" y="11750"/>
                  </a:cubicBezTo>
                  <a:cubicBezTo>
                    <a:pt x="2052" y="11750"/>
                    <a:pt x="2238" y="11604"/>
                    <a:pt x="2238" y="11374"/>
                  </a:cubicBezTo>
                  <a:lnTo>
                    <a:pt x="2238" y="9326"/>
                  </a:lnTo>
                  <a:cubicBezTo>
                    <a:pt x="2238" y="8570"/>
                    <a:pt x="2364" y="7751"/>
                    <a:pt x="2584" y="7026"/>
                  </a:cubicBezTo>
                  <a:cubicBezTo>
                    <a:pt x="2836" y="6270"/>
                    <a:pt x="2994" y="5545"/>
                    <a:pt x="2994" y="4758"/>
                  </a:cubicBezTo>
                  <a:lnTo>
                    <a:pt x="2994" y="3718"/>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0" name="Google Shape;7680;p73"/>
            <p:cNvSpPr/>
            <p:nvPr/>
          </p:nvSpPr>
          <p:spPr>
            <a:xfrm>
              <a:off x="-54662425" y="3621875"/>
              <a:ext cx="18125" cy="61450"/>
            </a:xfrm>
            <a:custGeom>
              <a:avLst/>
              <a:gdLst/>
              <a:ahLst/>
              <a:cxnLst/>
              <a:rect l="l" t="t" r="r" b="b"/>
              <a:pathLst>
                <a:path w="725" h="2458" extrusionOk="0">
                  <a:moveTo>
                    <a:pt x="347" y="0"/>
                  </a:moveTo>
                  <a:cubicBezTo>
                    <a:pt x="158" y="315"/>
                    <a:pt x="0" y="757"/>
                    <a:pt x="0" y="1229"/>
                  </a:cubicBezTo>
                  <a:cubicBezTo>
                    <a:pt x="0" y="1702"/>
                    <a:pt x="189" y="2143"/>
                    <a:pt x="347" y="2458"/>
                  </a:cubicBezTo>
                  <a:cubicBezTo>
                    <a:pt x="504" y="2143"/>
                    <a:pt x="725" y="1702"/>
                    <a:pt x="725" y="1229"/>
                  </a:cubicBezTo>
                  <a:cubicBezTo>
                    <a:pt x="725" y="757"/>
                    <a:pt x="504" y="315"/>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73"/>
            <p:cNvSpPr/>
            <p:nvPr/>
          </p:nvSpPr>
          <p:spPr>
            <a:xfrm>
              <a:off x="-54737250" y="3652600"/>
              <a:ext cx="66175" cy="37825"/>
            </a:xfrm>
            <a:custGeom>
              <a:avLst/>
              <a:gdLst/>
              <a:ahLst/>
              <a:cxnLst/>
              <a:rect l="l" t="t" r="r" b="b"/>
              <a:pathLst>
                <a:path w="2647" h="1513" extrusionOk="0">
                  <a:moveTo>
                    <a:pt x="0" y="0"/>
                  </a:moveTo>
                  <a:lnTo>
                    <a:pt x="599" y="1512"/>
                  </a:lnTo>
                  <a:lnTo>
                    <a:pt x="2647" y="1512"/>
                  </a:lnTo>
                  <a:cubicBezTo>
                    <a:pt x="2458" y="1103"/>
                    <a:pt x="2206" y="599"/>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2" name="Google Shape;7682;p73"/>
            <p:cNvSpPr/>
            <p:nvPr/>
          </p:nvSpPr>
          <p:spPr>
            <a:xfrm>
              <a:off x="-54568700" y="3608475"/>
              <a:ext cx="74850" cy="293000"/>
            </a:xfrm>
            <a:custGeom>
              <a:avLst/>
              <a:gdLst/>
              <a:ahLst/>
              <a:cxnLst/>
              <a:rect l="l" t="t" r="r" b="b"/>
              <a:pathLst>
                <a:path w="2994" h="11720" extrusionOk="0">
                  <a:moveTo>
                    <a:pt x="1481" y="1"/>
                  </a:moveTo>
                  <a:lnTo>
                    <a:pt x="851" y="1576"/>
                  </a:lnTo>
                  <a:lnTo>
                    <a:pt x="0" y="3750"/>
                  </a:lnTo>
                  <a:lnTo>
                    <a:pt x="0" y="4727"/>
                  </a:lnTo>
                  <a:cubicBezTo>
                    <a:pt x="0" y="5514"/>
                    <a:pt x="158" y="6270"/>
                    <a:pt x="378" y="6995"/>
                  </a:cubicBezTo>
                  <a:cubicBezTo>
                    <a:pt x="630" y="7751"/>
                    <a:pt x="757" y="8539"/>
                    <a:pt x="757" y="9295"/>
                  </a:cubicBezTo>
                  <a:lnTo>
                    <a:pt x="757" y="11343"/>
                  </a:lnTo>
                  <a:cubicBezTo>
                    <a:pt x="757" y="11573"/>
                    <a:pt x="925" y="11719"/>
                    <a:pt x="1115" y="11719"/>
                  </a:cubicBezTo>
                  <a:cubicBezTo>
                    <a:pt x="1184" y="11719"/>
                    <a:pt x="1256" y="11700"/>
                    <a:pt x="1324" y="11658"/>
                  </a:cubicBezTo>
                  <a:lnTo>
                    <a:pt x="1733" y="11374"/>
                  </a:lnTo>
                  <a:cubicBezTo>
                    <a:pt x="2489" y="10870"/>
                    <a:pt x="2993" y="10051"/>
                    <a:pt x="2993" y="9137"/>
                  </a:cubicBezTo>
                  <a:cubicBezTo>
                    <a:pt x="2993" y="8003"/>
                    <a:pt x="2710" y="6774"/>
                    <a:pt x="2206" y="5735"/>
                  </a:cubicBezTo>
                  <a:cubicBezTo>
                    <a:pt x="1733" y="4790"/>
                    <a:pt x="1481" y="3781"/>
                    <a:pt x="1481" y="2710"/>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3" name="Google Shape;7683;p73"/>
            <p:cNvSpPr/>
            <p:nvPr/>
          </p:nvSpPr>
          <p:spPr>
            <a:xfrm>
              <a:off x="-54636450" y="3652600"/>
              <a:ext cx="66975" cy="37825"/>
            </a:xfrm>
            <a:custGeom>
              <a:avLst/>
              <a:gdLst/>
              <a:ahLst/>
              <a:cxnLst/>
              <a:rect l="l" t="t" r="r" b="b"/>
              <a:pathLst>
                <a:path w="2679" h="1513" extrusionOk="0">
                  <a:moveTo>
                    <a:pt x="411" y="0"/>
                  </a:moveTo>
                  <a:cubicBezTo>
                    <a:pt x="411" y="599"/>
                    <a:pt x="221" y="1103"/>
                    <a:pt x="1" y="1512"/>
                  </a:cubicBezTo>
                  <a:lnTo>
                    <a:pt x="2080" y="1512"/>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73"/>
            <p:cNvSpPr/>
            <p:nvPr/>
          </p:nvSpPr>
          <p:spPr>
            <a:xfrm>
              <a:off x="-54760100" y="3596675"/>
              <a:ext cx="212675" cy="37025"/>
            </a:xfrm>
            <a:custGeom>
              <a:avLst/>
              <a:gdLst/>
              <a:ahLst/>
              <a:cxnLst/>
              <a:rect l="l" t="t" r="r" b="b"/>
              <a:pathLst>
                <a:path w="8507" h="1481" extrusionOk="0">
                  <a:moveTo>
                    <a:pt x="1" y="0"/>
                  </a:moveTo>
                  <a:lnTo>
                    <a:pt x="599" y="1481"/>
                  </a:lnTo>
                  <a:lnTo>
                    <a:pt x="3246" y="1481"/>
                  </a:lnTo>
                  <a:cubicBezTo>
                    <a:pt x="3466" y="693"/>
                    <a:pt x="3939" y="158"/>
                    <a:pt x="4002" y="95"/>
                  </a:cubicBezTo>
                  <a:cubicBezTo>
                    <a:pt x="4081" y="32"/>
                    <a:pt x="4183" y="0"/>
                    <a:pt x="4281" y="0"/>
                  </a:cubicBezTo>
                  <a:close/>
                  <a:moveTo>
                    <a:pt x="4281" y="0"/>
                  </a:moveTo>
                  <a:cubicBezTo>
                    <a:pt x="4380" y="0"/>
                    <a:pt x="4474" y="32"/>
                    <a:pt x="4537" y="95"/>
                  </a:cubicBezTo>
                  <a:cubicBezTo>
                    <a:pt x="4569" y="158"/>
                    <a:pt x="5041" y="693"/>
                    <a:pt x="5294" y="1481"/>
                  </a:cubicBezTo>
                  <a:lnTo>
                    <a:pt x="7940" y="1481"/>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5" name="Google Shape;7685;p73"/>
            <p:cNvSpPr/>
            <p:nvPr/>
          </p:nvSpPr>
          <p:spPr>
            <a:xfrm>
              <a:off x="-54738050" y="3708500"/>
              <a:ext cx="169375" cy="186700"/>
            </a:xfrm>
            <a:custGeom>
              <a:avLst/>
              <a:gdLst/>
              <a:ahLst/>
              <a:cxnLst/>
              <a:rect l="l" t="t" r="r" b="b"/>
              <a:pathLst>
                <a:path w="6775" h="7468" extrusionOk="0">
                  <a:moveTo>
                    <a:pt x="1891" y="1513"/>
                  </a:moveTo>
                  <a:cubicBezTo>
                    <a:pt x="2080" y="1513"/>
                    <a:pt x="2238" y="1671"/>
                    <a:pt x="2238" y="1860"/>
                  </a:cubicBezTo>
                  <a:cubicBezTo>
                    <a:pt x="2238" y="2049"/>
                    <a:pt x="2080" y="2206"/>
                    <a:pt x="1891" y="2206"/>
                  </a:cubicBezTo>
                  <a:cubicBezTo>
                    <a:pt x="1702" y="2206"/>
                    <a:pt x="1545" y="2112"/>
                    <a:pt x="1545" y="1860"/>
                  </a:cubicBezTo>
                  <a:cubicBezTo>
                    <a:pt x="1545" y="1671"/>
                    <a:pt x="1702" y="1513"/>
                    <a:pt x="1891" y="1513"/>
                  </a:cubicBezTo>
                  <a:close/>
                  <a:moveTo>
                    <a:pt x="4884" y="1545"/>
                  </a:moveTo>
                  <a:cubicBezTo>
                    <a:pt x="5073" y="1545"/>
                    <a:pt x="5231" y="1702"/>
                    <a:pt x="5231" y="1891"/>
                  </a:cubicBezTo>
                  <a:cubicBezTo>
                    <a:pt x="5231" y="2112"/>
                    <a:pt x="5073" y="2269"/>
                    <a:pt x="4884" y="2269"/>
                  </a:cubicBezTo>
                  <a:cubicBezTo>
                    <a:pt x="4695" y="2269"/>
                    <a:pt x="4538" y="2112"/>
                    <a:pt x="4538" y="1891"/>
                  </a:cubicBezTo>
                  <a:cubicBezTo>
                    <a:pt x="4538" y="1702"/>
                    <a:pt x="4695" y="1545"/>
                    <a:pt x="4884" y="1545"/>
                  </a:cubicBezTo>
                  <a:close/>
                  <a:moveTo>
                    <a:pt x="4404" y="4073"/>
                  </a:moveTo>
                  <a:cubicBezTo>
                    <a:pt x="4498" y="4073"/>
                    <a:pt x="4585" y="4112"/>
                    <a:pt x="4632" y="4191"/>
                  </a:cubicBezTo>
                  <a:cubicBezTo>
                    <a:pt x="4853" y="4286"/>
                    <a:pt x="4853" y="4538"/>
                    <a:pt x="4695" y="4695"/>
                  </a:cubicBezTo>
                  <a:cubicBezTo>
                    <a:pt x="4317" y="5042"/>
                    <a:pt x="3844" y="5231"/>
                    <a:pt x="3340" y="5231"/>
                  </a:cubicBezTo>
                  <a:cubicBezTo>
                    <a:pt x="2836" y="5231"/>
                    <a:pt x="2364" y="5042"/>
                    <a:pt x="2049" y="4695"/>
                  </a:cubicBezTo>
                  <a:cubicBezTo>
                    <a:pt x="1891" y="4538"/>
                    <a:pt x="1891" y="4286"/>
                    <a:pt x="2049" y="4191"/>
                  </a:cubicBezTo>
                  <a:cubicBezTo>
                    <a:pt x="2127" y="4112"/>
                    <a:pt x="2222" y="4073"/>
                    <a:pt x="2312" y="4073"/>
                  </a:cubicBezTo>
                  <a:cubicBezTo>
                    <a:pt x="2403" y="4073"/>
                    <a:pt x="2490" y="4112"/>
                    <a:pt x="2553" y="4191"/>
                  </a:cubicBezTo>
                  <a:cubicBezTo>
                    <a:pt x="2773" y="4412"/>
                    <a:pt x="3057" y="4522"/>
                    <a:pt x="3340" y="4522"/>
                  </a:cubicBezTo>
                  <a:cubicBezTo>
                    <a:pt x="3624" y="4522"/>
                    <a:pt x="3907" y="4412"/>
                    <a:pt x="4128" y="4191"/>
                  </a:cubicBezTo>
                  <a:cubicBezTo>
                    <a:pt x="4207" y="4112"/>
                    <a:pt x="4309" y="4073"/>
                    <a:pt x="4404" y="4073"/>
                  </a:cubicBezTo>
                  <a:close/>
                  <a:moveTo>
                    <a:pt x="757" y="1"/>
                  </a:moveTo>
                  <a:lnTo>
                    <a:pt x="757" y="694"/>
                  </a:lnTo>
                  <a:cubicBezTo>
                    <a:pt x="757" y="1513"/>
                    <a:pt x="631" y="2332"/>
                    <a:pt x="347" y="3088"/>
                  </a:cubicBezTo>
                  <a:cubicBezTo>
                    <a:pt x="1" y="4160"/>
                    <a:pt x="1" y="4947"/>
                    <a:pt x="1" y="5672"/>
                  </a:cubicBezTo>
                  <a:cubicBezTo>
                    <a:pt x="757" y="6743"/>
                    <a:pt x="2017" y="7468"/>
                    <a:pt x="3403" y="7468"/>
                  </a:cubicBezTo>
                  <a:cubicBezTo>
                    <a:pt x="4758" y="7468"/>
                    <a:pt x="6018" y="6774"/>
                    <a:pt x="6774" y="5672"/>
                  </a:cubicBezTo>
                  <a:cubicBezTo>
                    <a:pt x="6774" y="4947"/>
                    <a:pt x="6774" y="4160"/>
                    <a:pt x="6428" y="3088"/>
                  </a:cubicBezTo>
                  <a:cubicBezTo>
                    <a:pt x="6144" y="2332"/>
                    <a:pt x="6018" y="1513"/>
                    <a:pt x="6018" y="694"/>
                  </a:cubicBezTo>
                  <a:lnTo>
                    <a:pt x="60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86" name="Google Shape;7686;p73"/>
          <p:cNvSpPr/>
          <p:nvPr/>
        </p:nvSpPr>
        <p:spPr>
          <a:xfrm>
            <a:off x="5033910" y="3593325"/>
            <a:ext cx="8018" cy="900"/>
          </a:xfrm>
          <a:custGeom>
            <a:avLst/>
            <a:gdLst/>
            <a:ahLst/>
            <a:cxnLst/>
            <a:rect l="l" t="t" r="r" b="b"/>
            <a:pathLst>
              <a:path w="285" h="32" extrusionOk="0">
                <a:moveTo>
                  <a:pt x="1" y="0"/>
                </a:moveTo>
                <a:cubicBezTo>
                  <a:pt x="95" y="32"/>
                  <a:pt x="158" y="32"/>
                  <a:pt x="284" y="32"/>
                </a:cubicBezTo>
                <a:cubicBezTo>
                  <a:pt x="221" y="32"/>
                  <a:pt x="127"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73"/>
          <p:cNvSpPr/>
          <p:nvPr/>
        </p:nvSpPr>
        <p:spPr>
          <a:xfrm>
            <a:off x="5034361" y="3594198"/>
            <a:ext cx="7118" cy="928"/>
          </a:xfrm>
          <a:custGeom>
            <a:avLst/>
            <a:gdLst/>
            <a:ahLst/>
            <a:cxnLst/>
            <a:rect l="l" t="t" r="r" b="b"/>
            <a:pathLst>
              <a:path w="253" h="33" extrusionOk="0">
                <a:moveTo>
                  <a:pt x="253" y="1"/>
                </a:moveTo>
                <a:lnTo>
                  <a:pt x="253" y="1"/>
                </a:lnTo>
                <a:cubicBezTo>
                  <a:pt x="189" y="1"/>
                  <a:pt x="64" y="1"/>
                  <a:pt x="1" y="32"/>
                </a:cubicBezTo>
                <a:cubicBezTo>
                  <a:pt x="95" y="1"/>
                  <a:pt x="190" y="1"/>
                  <a:pt x="2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88" name="Google Shape;7688;p73"/>
          <p:cNvGrpSpPr/>
          <p:nvPr/>
        </p:nvGrpSpPr>
        <p:grpSpPr>
          <a:xfrm>
            <a:off x="4881188" y="3675538"/>
            <a:ext cx="314662" cy="358099"/>
            <a:chOff x="-54793175" y="3982600"/>
            <a:chExt cx="279625" cy="318225"/>
          </a:xfrm>
        </p:grpSpPr>
        <p:sp>
          <p:nvSpPr>
            <p:cNvPr id="7689" name="Google Shape;7689;p73"/>
            <p:cNvSpPr/>
            <p:nvPr/>
          </p:nvSpPr>
          <p:spPr>
            <a:xfrm>
              <a:off x="-54646675" y="3982600"/>
              <a:ext cx="113425" cy="111075"/>
            </a:xfrm>
            <a:custGeom>
              <a:avLst/>
              <a:gdLst/>
              <a:ahLst/>
              <a:cxnLst/>
              <a:rect l="l" t="t" r="r" b="b"/>
              <a:pathLst>
                <a:path w="4537" h="4443" extrusionOk="0">
                  <a:moveTo>
                    <a:pt x="0" y="1"/>
                  </a:moveTo>
                  <a:cubicBezTo>
                    <a:pt x="1261" y="221"/>
                    <a:pt x="2237" y="2080"/>
                    <a:pt x="2332" y="4443"/>
                  </a:cubicBezTo>
                  <a:lnTo>
                    <a:pt x="4128" y="4443"/>
                  </a:lnTo>
                  <a:cubicBezTo>
                    <a:pt x="4380" y="4443"/>
                    <a:pt x="4537" y="4254"/>
                    <a:pt x="4506" y="4002"/>
                  </a:cubicBezTo>
                  <a:cubicBezTo>
                    <a:pt x="4128" y="1859"/>
                    <a:pt x="2300"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73"/>
            <p:cNvSpPr/>
            <p:nvPr/>
          </p:nvSpPr>
          <p:spPr>
            <a:xfrm>
              <a:off x="-54644325" y="4003075"/>
              <a:ext cx="36250" cy="90600"/>
            </a:xfrm>
            <a:custGeom>
              <a:avLst/>
              <a:gdLst/>
              <a:ahLst/>
              <a:cxnLst/>
              <a:rect l="l" t="t" r="r" b="b"/>
              <a:pathLst>
                <a:path w="1450" h="3624" extrusionOk="0">
                  <a:moveTo>
                    <a:pt x="1" y="1"/>
                  </a:moveTo>
                  <a:lnTo>
                    <a:pt x="1" y="3624"/>
                  </a:lnTo>
                  <a:lnTo>
                    <a:pt x="1450" y="3624"/>
                  </a:lnTo>
                  <a:cubicBezTo>
                    <a:pt x="1419" y="1765"/>
                    <a:pt x="726" y="37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1" name="Google Shape;7691;p73"/>
            <p:cNvSpPr/>
            <p:nvPr/>
          </p:nvSpPr>
          <p:spPr>
            <a:xfrm>
              <a:off x="-54773475" y="3983400"/>
              <a:ext cx="113425" cy="111075"/>
            </a:xfrm>
            <a:custGeom>
              <a:avLst/>
              <a:gdLst/>
              <a:ahLst/>
              <a:cxnLst/>
              <a:rect l="l" t="t" r="r" b="b"/>
              <a:pathLst>
                <a:path w="4537" h="4443" extrusionOk="0">
                  <a:moveTo>
                    <a:pt x="4537" y="0"/>
                  </a:moveTo>
                  <a:lnTo>
                    <a:pt x="4537" y="0"/>
                  </a:lnTo>
                  <a:cubicBezTo>
                    <a:pt x="2237" y="126"/>
                    <a:pt x="378" y="1827"/>
                    <a:pt x="32" y="4033"/>
                  </a:cubicBezTo>
                  <a:cubicBezTo>
                    <a:pt x="0" y="4253"/>
                    <a:pt x="189" y="4442"/>
                    <a:pt x="378" y="4442"/>
                  </a:cubicBezTo>
                  <a:lnTo>
                    <a:pt x="2205" y="4442"/>
                  </a:lnTo>
                  <a:cubicBezTo>
                    <a:pt x="2268" y="2079"/>
                    <a:pt x="3277" y="252"/>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2" name="Google Shape;7692;p73"/>
            <p:cNvSpPr/>
            <p:nvPr/>
          </p:nvSpPr>
          <p:spPr>
            <a:xfrm>
              <a:off x="-54699450" y="4003075"/>
              <a:ext cx="36250" cy="90600"/>
            </a:xfrm>
            <a:custGeom>
              <a:avLst/>
              <a:gdLst/>
              <a:ahLst/>
              <a:cxnLst/>
              <a:rect l="l" t="t" r="r" b="b"/>
              <a:pathLst>
                <a:path w="1450" h="3624" extrusionOk="0">
                  <a:moveTo>
                    <a:pt x="1450" y="1"/>
                  </a:moveTo>
                  <a:cubicBezTo>
                    <a:pt x="725" y="379"/>
                    <a:pt x="64" y="1765"/>
                    <a:pt x="1" y="3624"/>
                  </a:cubicBezTo>
                  <a:lnTo>
                    <a:pt x="1450" y="3624"/>
                  </a:lnTo>
                  <a:lnTo>
                    <a:pt x="14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3" name="Google Shape;7693;p73"/>
            <p:cNvSpPr/>
            <p:nvPr/>
          </p:nvSpPr>
          <p:spPr>
            <a:xfrm>
              <a:off x="-54756150" y="4112550"/>
              <a:ext cx="204800" cy="188275"/>
            </a:xfrm>
            <a:custGeom>
              <a:avLst/>
              <a:gdLst/>
              <a:ahLst/>
              <a:cxnLst/>
              <a:rect l="l" t="t" r="r" b="b"/>
              <a:pathLst>
                <a:path w="8192" h="7531" extrusionOk="0">
                  <a:moveTo>
                    <a:pt x="2615" y="1545"/>
                  </a:moveTo>
                  <a:cubicBezTo>
                    <a:pt x="2804" y="1545"/>
                    <a:pt x="2962" y="1671"/>
                    <a:pt x="2962" y="1891"/>
                  </a:cubicBezTo>
                  <a:cubicBezTo>
                    <a:pt x="2962" y="2080"/>
                    <a:pt x="2804" y="2238"/>
                    <a:pt x="2615" y="2238"/>
                  </a:cubicBezTo>
                  <a:cubicBezTo>
                    <a:pt x="2426" y="2238"/>
                    <a:pt x="2269" y="2080"/>
                    <a:pt x="2269" y="1891"/>
                  </a:cubicBezTo>
                  <a:cubicBezTo>
                    <a:pt x="2269" y="1702"/>
                    <a:pt x="2426" y="1545"/>
                    <a:pt x="2615" y="1545"/>
                  </a:cubicBezTo>
                  <a:close/>
                  <a:moveTo>
                    <a:pt x="5608" y="1545"/>
                  </a:moveTo>
                  <a:cubicBezTo>
                    <a:pt x="5797" y="1545"/>
                    <a:pt x="5955" y="1671"/>
                    <a:pt x="5955" y="1891"/>
                  </a:cubicBezTo>
                  <a:cubicBezTo>
                    <a:pt x="5955" y="2080"/>
                    <a:pt x="5797" y="2238"/>
                    <a:pt x="5608" y="2238"/>
                  </a:cubicBezTo>
                  <a:cubicBezTo>
                    <a:pt x="5419" y="2238"/>
                    <a:pt x="5262" y="2080"/>
                    <a:pt x="5262" y="1891"/>
                  </a:cubicBezTo>
                  <a:cubicBezTo>
                    <a:pt x="5199" y="1702"/>
                    <a:pt x="5419" y="1545"/>
                    <a:pt x="5608" y="1545"/>
                  </a:cubicBezTo>
                  <a:close/>
                  <a:moveTo>
                    <a:pt x="5163" y="4104"/>
                  </a:moveTo>
                  <a:cubicBezTo>
                    <a:pt x="5262" y="4104"/>
                    <a:pt x="5356" y="4144"/>
                    <a:pt x="5419" y="4223"/>
                  </a:cubicBezTo>
                  <a:cubicBezTo>
                    <a:pt x="5577" y="4380"/>
                    <a:pt x="5577" y="4601"/>
                    <a:pt x="5419" y="4727"/>
                  </a:cubicBezTo>
                  <a:cubicBezTo>
                    <a:pt x="5073" y="5073"/>
                    <a:pt x="4568" y="5262"/>
                    <a:pt x="4064" y="5262"/>
                  </a:cubicBezTo>
                  <a:cubicBezTo>
                    <a:pt x="3560" y="5262"/>
                    <a:pt x="3088" y="5073"/>
                    <a:pt x="2773" y="4727"/>
                  </a:cubicBezTo>
                  <a:cubicBezTo>
                    <a:pt x="2615" y="4569"/>
                    <a:pt x="2615" y="4317"/>
                    <a:pt x="2773" y="4223"/>
                  </a:cubicBezTo>
                  <a:cubicBezTo>
                    <a:pt x="2851" y="4144"/>
                    <a:pt x="2946" y="4104"/>
                    <a:pt x="3040" y="4104"/>
                  </a:cubicBezTo>
                  <a:cubicBezTo>
                    <a:pt x="3135" y="4104"/>
                    <a:pt x="3229" y="4144"/>
                    <a:pt x="3308" y="4223"/>
                  </a:cubicBezTo>
                  <a:cubicBezTo>
                    <a:pt x="3529" y="4427"/>
                    <a:pt x="3820" y="4530"/>
                    <a:pt x="4108" y="4530"/>
                  </a:cubicBezTo>
                  <a:cubicBezTo>
                    <a:pt x="4395" y="4530"/>
                    <a:pt x="4679" y="4427"/>
                    <a:pt x="4883" y="4223"/>
                  </a:cubicBezTo>
                  <a:cubicBezTo>
                    <a:pt x="4962" y="4144"/>
                    <a:pt x="5065" y="4104"/>
                    <a:pt x="5163" y="4104"/>
                  </a:cubicBezTo>
                  <a:close/>
                  <a:moveTo>
                    <a:pt x="0" y="1"/>
                  </a:moveTo>
                  <a:lnTo>
                    <a:pt x="0" y="3435"/>
                  </a:lnTo>
                  <a:cubicBezTo>
                    <a:pt x="0" y="5672"/>
                    <a:pt x="1859" y="7531"/>
                    <a:pt x="4096" y="7531"/>
                  </a:cubicBezTo>
                  <a:cubicBezTo>
                    <a:pt x="6364" y="7531"/>
                    <a:pt x="8191" y="5672"/>
                    <a:pt x="8191" y="3435"/>
                  </a:cubicBezTo>
                  <a:lnTo>
                    <a:pt x="8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73"/>
            <p:cNvSpPr/>
            <p:nvPr/>
          </p:nvSpPr>
          <p:spPr>
            <a:xfrm>
              <a:off x="-54532475" y="4136975"/>
              <a:ext cx="18925" cy="63825"/>
            </a:xfrm>
            <a:custGeom>
              <a:avLst/>
              <a:gdLst/>
              <a:ahLst/>
              <a:cxnLst/>
              <a:rect l="l" t="t" r="r" b="b"/>
              <a:pathLst>
                <a:path w="757" h="2553" extrusionOk="0">
                  <a:moveTo>
                    <a:pt x="1" y="1"/>
                  </a:moveTo>
                  <a:lnTo>
                    <a:pt x="1" y="2552"/>
                  </a:lnTo>
                  <a:cubicBezTo>
                    <a:pt x="442" y="2300"/>
                    <a:pt x="757" y="1828"/>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73"/>
            <p:cNvSpPr/>
            <p:nvPr/>
          </p:nvSpPr>
          <p:spPr>
            <a:xfrm>
              <a:off x="-54793175" y="4136975"/>
              <a:ext cx="18925" cy="65400"/>
            </a:xfrm>
            <a:custGeom>
              <a:avLst/>
              <a:gdLst/>
              <a:ahLst/>
              <a:cxnLst/>
              <a:rect l="l" t="t" r="r" b="b"/>
              <a:pathLst>
                <a:path w="757" h="2616" extrusionOk="0">
                  <a:moveTo>
                    <a:pt x="757" y="1"/>
                  </a:moveTo>
                  <a:cubicBezTo>
                    <a:pt x="316" y="284"/>
                    <a:pt x="0" y="757"/>
                    <a:pt x="0" y="1292"/>
                  </a:cubicBezTo>
                  <a:cubicBezTo>
                    <a:pt x="0"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73"/>
          <p:cNvGrpSpPr/>
          <p:nvPr/>
        </p:nvGrpSpPr>
        <p:grpSpPr>
          <a:xfrm>
            <a:off x="7092647" y="2734774"/>
            <a:ext cx="314662" cy="358099"/>
            <a:chOff x="-52832000" y="3192625"/>
            <a:chExt cx="279625" cy="318225"/>
          </a:xfrm>
        </p:grpSpPr>
        <p:sp>
          <p:nvSpPr>
            <p:cNvPr id="7697" name="Google Shape;7697;p73"/>
            <p:cNvSpPr/>
            <p:nvPr/>
          </p:nvSpPr>
          <p:spPr>
            <a:xfrm>
              <a:off x="-52574450" y="3306025"/>
              <a:ext cx="22075" cy="110300"/>
            </a:xfrm>
            <a:custGeom>
              <a:avLst/>
              <a:gdLst/>
              <a:ahLst/>
              <a:cxnLst/>
              <a:rect l="l" t="t" r="r" b="b"/>
              <a:pathLst>
                <a:path w="883" h="4412" extrusionOk="0">
                  <a:moveTo>
                    <a:pt x="1" y="1"/>
                  </a:moveTo>
                  <a:lnTo>
                    <a:pt x="1" y="1"/>
                  </a:lnTo>
                  <a:cubicBezTo>
                    <a:pt x="95" y="348"/>
                    <a:pt x="127" y="726"/>
                    <a:pt x="127" y="1104"/>
                  </a:cubicBezTo>
                  <a:lnTo>
                    <a:pt x="127" y="3939"/>
                  </a:lnTo>
                  <a:cubicBezTo>
                    <a:pt x="127" y="4097"/>
                    <a:pt x="127" y="4254"/>
                    <a:pt x="95" y="4412"/>
                  </a:cubicBezTo>
                  <a:cubicBezTo>
                    <a:pt x="537" y="4254"/>
                    <a:pt x="883" y="3876"/>
                    <a:pt x="883" y="3341"/>
                  </a:cubicBezTo>
                  <a:lnTo>
                    <a:pt x="883" y="1104"/>
                  </a:lnTo>
                  <a:cubicBezTo>
                    <a:pt x="883" y="600"/>
                    <a:pt x="537"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73"/>
            <p:cNvSpPr/>
            <p:nvPr/>
          </p:nvSpPr>
          <p:spPr>
            <a:xfrm>
              <a:off x="-52826475" y="3192625"/>
              <a:ext cx="267800" cy="100050"/>
            </a:xfrm>
            <a:custGeom>
              <a:avLst/>
              <a:gdLst/>
              <a:ahLst/>
              <a:cxnLst/>
              <a:rect l="l" t="t" r="r" b="b"/>
              <a:pathLst>
                <a:path w="10712" h="4002" extrusionOk="0">
                  <a:moveTo>
                    <a:pt x="5356" y="0"/>
                  </a:moveTo>
                  <a:cubicBezTo>
                    <a:pt x="2836" y="0"/>
                    <a:pt x="725" y="1670"/>
                    <a:pt x="0" y="4001"/>
                  </a:cubicBezTo>
                  <a:cubicBezTo>
                    <a:pt x="284" y="3844"/>
                    <a:pt x="567" y="3749"/>
                    <a:pt x="882" y="3749"/>
                  </a:cubicBezTo>
                  <a:cubicBezTo>
                    <a:pt x="1639" y="2017"/>
                    <a:pt x="3371" y="756"/>
                    <a:pt x="5356" y="756"/>
                  </a:cubicBezTo>
                  <a:cubicBezTo>
                    <a:pt x="7373" y="756"/>
                    <a:pt x="9105" y="1985"/>
                    <a:pt x="9861" y="3749"/>
                  </a:cubicBezTo>
                  <a:cubicBezTo>
                    <a:pt x="10176" y="3749"/>
                    <a:pt x="10492" y="3844"/>
                    <a:pt x="10712" y="4001"/>
                  </a:cubicBezTo>
                  <a:cubicBezTo>
                    <a:pt x="10019" y="1702"/>
                    <a:pt x="7877"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9" name="Google Shape;7699;p73"/>
            <p:cNvSpPr/>
            <p:nvPr/>
          </p:nvSpPr>
          <p:spPr>
            <a:xfrm>
              <a:off x="-52794975" y="3361175"/>
              <a:ext cx="204800" cy="149675"/>
            </a:xfrm>
            <a:custGeom>
              <a:avLst/>
              <a:gdLst/>
              <a:ahLst/>
              <a:cxnLst/>
              <a:rect l="l" t="t" r="r" b="b"/>
              <a:pathLst>
                <a:path w="8192" h="5987" extrusionOk="0">
                  <a:moveTo>
                    <a:pt x="5132" y="2560"/>
                  </a:moveTo>
                  <a:cubicBezTo>
                    <a:pt x="5230" y="2560"/>
                    <a:pt x="5325" y="2599"/>
                    <a:pt x="5388" y="2678"/>
                  </a:cubicBezTo>
                  <a:cubicBezTo>
                    <a:pt x="5577" y="2836"/>
                    <a:pt x="5577" y="3088"/>
                    <a:pt x="5419" y="3182"/>
                  </a:cubicBezTo>
                  <a:cubicBezTo>
                    <a:pt x="5073" y="3560"/>
                    <a:pt x="4569" y="3749"/>
                    <a:pt x="4096" y="3749"/>
                  </a:cubicBezTo>
                  <a:cubicBezTo>
                    <a:pt x="3592" y="3749"/>
                    <a:pt x="3120" y="3560"/>
                    <a:pt x="2773" y="3182"/>
                  </a:cubicBezTo>
                  <a:cubicBezTo>
                    <a:pt x="2615" y="3025"/>
                    <a:pt x="2615" y="2804"/>
                    <a:pt x="2773" y="2678"/>
                  </a:cubicBezTo>
                  <a:cubicBezTo>
                    <a:pt x="2852" y="2599"/>
                    <a:pt x="2946" y="2560"/>
                    <a:pt x="3037" y="2560"/>
                  </a:cubicBezTo>
                  <a:cubicBezTo>
                    <a:pt x="3127" y="2560"/>
                    <a:pt x="3214" y="2599"/>
                    <a:pt x="3277" y="2678"/>
                  </a:cubicBezTo>
                  <a:cubicBezTo>
                    <a:pt x="3498" y="2899"/>
                    <a:pt x="3781" y="3009"/>
                    <a:pt x="4065" y="3009"/>
                  </a:cubicBezTo>
                  <a:cubicBezTo>
                    <a:pt x="4348" y="3009"/>
                    <a:pt x="4632" y="2899"/>
                    <a:pt x="4852" y="2678"/>
                  </a:cubicBezTo>
                  <a:cubicBezTo>
                    <a:pt x="4931" y="2599"/>
                    <a:pt x="5033" y="2560"/>
                    <a:pt x="5132" y="2560"/>
                  </a:cubicBezTo>
                  <a:close/>
                  <a:moveTo>
                    <a:pt x="1" y="0"/>
                  </a:moveTo>
                  <a:lnTo>
                    <a:pt x="1" y="1859"/>
                  </a:lnTo>
                  <a:cubicBezTo>
                    <a:pt x="1" y="2993"/>
                    <a:pt x="473" y="4127"/>
                    <a:pt x="1355" y="4915"/>
                  </a:cubicBezTo>
                  <a:cubicBezTo>
                    <a:pt x="2111" y="5640"/>
                    <a:pt x="3088" y="5986"/>
                    <a:pt x="4096" y="5986"/>
                  </a:cubicBezTo>
                  <a:lnTo>
                    <a:pt x="4506" y="5986"/>
                  </a:lnTo>
                  <a:cubicBezTo>
                    <a:pt x="6585" y="5797"/>
                    <a:pt x="8192" y="3907"/>
                    <a:pt x="8192" y="1733"/>
                  </a:cubicBezTo>
                  <a:lnTo>
                    <a:pt x="8192" y="32"/>
                  </a:lnTo>
                  <a:cubicBezTo>
                    <a:pt x="8192" y="1261"/>
                    <a:pt x="7215" y="2237"/>
                    <a:pt x="5955" y="2237"/>
                  </a:cubicBezTo>
                  <a:cubicBezTo>
                    <a:pt x="5167" y="2237"/>
                    <a:pt x="4506" y="1859"/>
                    <a:pt x="4096" y="1229"/>
                  </a:cubicBezTo>
                  <a:cubicBezTo>
                    <a:pt x="3718" y="1796"/>
                    <a:pt x="2994" y="2237"/>
                    <a:pt x="2269" y="2237"/>
                  </a:cubicBezTo>
                  <a:cubicBezTo>
                    <a:pt x="1040" y="2237"/>
                    <a:pt x="1" y="126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0" name="Google Shape;7700;p73"/>
            <p:cNvSpPr/>
            <p:nvPr/>
          </p:nvSpPr>
          <p:spPr>
            <a:xfrm>
              <a:off x="-52791025" y="3231225"/>
              <a:ext cx="137850" cy="74825"/>
            </a:xfrm>
            <a:custGeom>
              <a:avLst/>
              <a:gdLst/>
              <a:ahLst/>
              <a:cxnLst/>
              <a:rect l="l" t="t" r="r" b="b"/>
              <a:pathLst>
                <a:path w="5514" h="2993" extrusionOk="0">
                  <a:moveTo>
                    <a:pt x="3938" y="0"/>
                  </a:moveTo>
                  <a:cubicBezTo>
                    <a:pt x="2048" y="0"/>
                    <a:pt x="473" y="1260"/>
                    <a:pt x="0" y="2993"/>
                  </a:cubicBezTo>
                  <a:lnTo>
                    <a:pt x="1701" y="2993"/>
                  </a:lnTo>
                  <a:cubicBezTo>
                    <a:pt x="3434" y="2993"/>
                    <a:pt x="4946" y="1890"/>
                    <a:pt x="5513" y="315"/>
                  </a:cubicBezTo>
                  <a:cubicBezTo>
                    <a:pt x="5041" y="126"/>
                    <a:pt x="4505" y="0"/>
                    <a:pt x="3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73"/>
            <p:cNvSpPr/>
            <p:nvPr/>
          </p:nvSpPr>
          <p:spPr>
            <a:xfrm>
              <a:off x="-52683125" y="3361950"/>
              <a:ext cx="74825" cy="37850"/>
            </a:xfrm>
            <a:custGeom>
              <a:avLst/>
              <a:gdLst/>
              <a:ahLst/>
              <a:cxnLst/>
              <a:rect l="l" t="t" r="r" b="b"/>
              <a:pathLst>
                <a:path w="2993" h="1514" extrusionOk="0">
                  <a:moveTo>
                    <a:pt x="0" y="1"/>
                  </a:moveTo>
                  <a:cubicBezTo>
                    <a:pt x="0" y="851"/>
                    <a:pt x="662" y="1513"/>
                    <a:pt x="1481" y="1513"/>
                  </a:cubicBezTo>
                  <a:cubicBezTo>
                    <a:pt x="2300"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2" name="Google Shape;7702;p73"/>
            <p:cNvSpPr/>
            <p:nvPr/>
          </p:nvSpPr>
          <p:spPr>
            <a:xfrm>
              <a:off x="-52794975" y="3247750"/>
              <a:ext cx="204800" cy="104000"/>
            </a:xfrm>
            <a:custGeom>
              <a:avLst/>
              <a:gdLst/>
              <a:ahLst/>
              <a:cxnLst/>
              <a:rect l="l" t="t" r="r" b="b"/>
              <a:pathLst>
                <a:path w="8192" h="4160" extrusionOk="0">
                  <a:moveTo>
                    <a:pt x="6365" y="1"/>
                  </a:moveTo>
                  <a:cubicBezTo>
                    <a:pt x="5640" y="1828"/>
                    <a:pt x="3876" y="3025"/>
                    <a:pt x="1859" y="3025"/>
                  </a:cubicBezTo>
                  <a:lnTo>
                    <a:pt x="1" y="3025"/>
                  </a:lnTo>
                  <a:lnTo>
                    <a:pt x="1" y="3403"/>
                  </a:lnTo>
                  <a:lnTo>
                    <a:pt x="1" y="4159"/>
                  </a:lnTo>
                  <a:cubicBezTo>
                    <a:pt x="1" y="3939"/>
                    <a:pt x="158" y="3781"/>
                    <a:pt x="379" y="3781"/>
                  </a:cubicBezTo>
                  <a:lnTo>
                    <a:pt x="7814" y="3781"/>
                  </a:lnTo>
                  <a:cubicBezTo>
                    <a:pt x="8003" y="3781"/>
                    <a:pt x="8160" y="3939"/>
                    <a:pt x="8160" y="4159"/>
                  </a:cubicBezTo>
                  <a:lnTo>
                    <a:pt x="8160" y="3403"/>
                  </a:lnTo>
                  <a:cubicBezTo>
                    <a:pt x="8192" y="2017"/>
                    <a:pt x="7467" y="757"/>
                    <a:pt x="6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3" name="Google Shape;7703;p73"/>
            <p:cNvSpPr/>
            <p:nvPr/>
          </p:nvSpPr>
          <p:spPr>
            <a:xfrm>
              <a:off x="-52776850" y="3361950"/>
              <a:ext cx="74825" cy="37850"/>
            </a:xfrm>
            <a:custGeom>
              <a:avLst/>
              <a:gdLst/>
              <a:ahLst/>
              <a:cxnLst/>
              <a:rect l="l" t="t" r="r" b="b"/>
              <a:pathLst>
                <a:path w="2993" h="1514" extrusionOk="0">
                  <a:moveTo>
                    <a:pt x="0" y="1"/>
                  </a:moveTo>
                  <a:cubicBezTo>
                    <a:pt x="0" y="851"/>
                    <a:pt x="662" y="1513"/>
                    <a:pt x="1481" y="1513"/>
                  </a:cubicBezTo>
                  <a:cubicBezTo>
                    <a:pt x="2332"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73"/>
            <p:cNvSpPr/>
            <p:nvPr/>
          </p:nvSpPr>
          <p:spPr>
            <a:xfrm>
              <a:off x="-52832000" y="3306025"/>
              <a:ext cx="21300" cy="110300"/>
            </a:xfrm>
            <a:custGeom>
              <a:avLst/>
              <a:gdLst/>
              <a:ahLst/>
              <a:cxnLst/>
              <a:rect l="l" t="t" r="r" b="b"/>
              <a:pathLst>
                <a:path w="852" h="4412" extrusionOk="0">
                  <a:moveTo>
                    <a:pt x="851" y="1"/>
                  </a:moveTo>
                  <a:cubicBezTo>
                    <a:pt x="347" y="127"/>
                    <a:pt x="1" y="568"/>
                    <a:pt x="1" y="1104"/>
                  </a:cubicBezTo>
                  <a:lnTo>
                    <a:pt x="1" y="3341"/>
                  </a:lnTo>
                  <a:cubicBezTo>
                    <a:pt x="1" y="3813"/>
                    <a:pt x="316" y="4254"/>
                    <a:pt x="757" y="4412"/>
                  </a:cubicBezTo>
                  <a:lnTo>
                    <a:pt x="757" y="4097"/>
                  </a:lnTo>
                  <a:lnTo>
                    <a:pt x="757" y="3341"/>
                  </a:lnTo>
                  <a:lnTo>
                    <a:pt x="757" y="1104"/>
                  </a:lnTo>
                  <a:cubicBezTo>
                    <a:pt x="757" y="726"/>
                    <a:pt x="788" y="348"/>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73"/>
          <p:cNvGrpSpPr/>
          <p:nvPr/>
        </p:nvGrpSpPr>
        <p:grpSpPr>
          <a:xfrm>
            <a:off x="5779179" y="2276142"/>
            <a:ext cx="323524" cy="358774"/>
            <a:chOff x="-57162350" y="3982000"/>
            <a:chExt cx="287500" cy="318825"/>
          </a:xfrm>
        </p:grpSpPr>
        <p:sp>
          <p:nvSpPr>
            <p:cNvPr id="7706" name="Google Shape;7706;p73"/>
            <p:cNvSpPr/>
            <p:nvPr/>
          </p:nvSpPr>
          <p:spPr>
            <a:xfrm>
              <a:off x="-56989850" y="4151150"/>
              <a:ext cx="55150" cy="55150"/>
            </a:xfrm>
            <a:custGeom>
              <a:avLst/>
              <a:gdLst/>
              <a:ahLst/>
              <a:cxnLst/>
              <a:rect l="l" t="t" r="r" b="b"/>
              <a:pathLst>
                <a:path w="2206" h="2206" extrusionOk="0">
                  <a:moveTo>
                    <a:pt x="1103" y="1"/>
                  </a:moveTo>
                  <a:cubicBezTo>
                    <a:pt x="504" y="1"/>
                    <a:pt x="0" y="473"/>
                    <a:pt x="0" y="1103"/>
                  </a:cubicBezTo>
                  <a:cubicBezTo>
                    <a:pt x="0" y="1702"/>
                    <a:pt x="504" y="2206"/>
                    <a:pt x="1103" y="2206"/>
                  </a:cubicBezTo>
                  <a:cubicBezTo>
                    <a:pt x="1733" y="2206"/>
                    <a:pt x="2205" y="1702"/>
                    <a:pt x="2205" y="1103"/>
                  </a:cubicBezTo>
                  <a:cubicBezTo>
                    <a:pt x="2205" y="473"/>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73"/>
            <p:cNvSpPr/>
            <p:nvPr/>
          </p:nvSpPr>
          <p:spPr>
            <a:xfrm>
              <a:off x="-57162350" y="3982000"/>
              <a:ext cx="287500" cy="161300"/>
            </a:xfrm>
            <a:custGeom>
              <a:avLst/>
              <a:gdLst/>
              <a:ahLst/>
              <a:cxnLst/>
              <a:rect l="l" t="t" r="r" b="b"/>
              <a:pathLst>
                <a:path w="11500" h="6452" extrusionOk="0">
                  <a:moveTo>
                    <a:pt x="5778" y="1"/>
                  </a:moveTo>
                  <a:cubicBezTo>
                    <a:pt x="5286" y="1"/>
                    <a:pt x="4789" y="166"/>
                    <a:pt x="4380" y="497"/>
                  </a:cubicBezTo>
                  <a:cubicBezTo>
                    <a:pt x="4263" y="479"/>
                    <a:pt x="4146" y="470"/>
                    <a:pt x="4031" y="470"/>
                  </a:cubicBezTo>
                  <a:cubicBezTo>
                    <a:pt x="3147" y="470"/>
                    <a:pt x="2323" y="992"/>
                    <a:pt x="2017" y="1883"/>
                  </a:cubicBezTo>
                  <a:cubicBezTo>
                    <a:pt x="1072" y="2230"/>
                    <a:pt x="473" y="3238"/>
                    <a:pt x="631" y="4246"/>
                  </a:cubicBezTo>
                  <a:cubicBezTo>
                    <a:pt x="127" y="4876"/>
                    <a:pt x="1" y="5695"/>
                    <a:pt x="316" y="6452"/>
                  </a:cubicBezTo>
                  <a:cubicBezTo>
                    <a:pt x="536" y="6294"/>
                    <a:pt x="757" y="6168"/>
                    <a:pt x="1040" y="6074"/>
                  </a:cubicBezTo>
                  <a:cubicBezTo>
                    <a:pt x="1355" y="4498"/>
                    <a:pt x="2458" y="3175"/>
                    <a:pt x="4002" y="2577"/>
                  </a:cubicBezTo>
                  <a:cubicBezTo>
                    <a:pt x="4096" y="2545"/>
                    <a:pt x="4096" y="2545"/>
                    <a:pt x="4191" y="2513"/>
                  </a:cubicBezTo>
                  <a:cubicBezTo>
                    <a:pt x="4224" y="2504"/>
                    <a:pt x="4257" y="2499"/>
                    <a:pt x="4290" y="2499"/>
                  </a:cubicBezTo>
                  <a:cubicBezTo>
                    <a:pt x="4474" y="2499"/>
                    <a:pt x="4637" y="2641"/>
                    <a:pt x="4663" y="2829"/>
                  </a:cubicBezTo>
                  <a:cubicBezTo>
                    <a:pt x="4789" y="4593"/>
                    <a:pt x="6239" y="5979"/>
                    <a:pt x="8003" y="5979"/>
                  </a:cubicBezTo>
                  <a:lnTo>
                    <a:pt x="9862" y="5979"/>
                  </a:lnTo>
                  <a:cubicBezTo>
                    <a:pt x="10366" y="5979"/>
                    <a:pt x="10807" y="6137"/>
                    <a:pt x="11185" y="6389"/>
                  </a:cubicBezTo>
                  <a:cubicBezTo>
                    <a:pt x="11500" y="5695"/>
                    <a:pt x="11405" y="4876"/>
                    <a:pt x="10870" y="4246"/>
                  </a:cubicBezTo>
                  <a:cubicBezTo>
                    <a:pt x="11027" y="3207"/>
                    <a:pt x="10492" y="2230"/>
                    <a:pt x="9515" y="1883"/>
                  </a:cubicBezTo>
                  <a:cubicBezTo>
                    <a:pt x="9178" y="1040"/>
                    <a:pt x="8363" y="472"/>
                    <a:pt x="7475" y="472"/>
                  </a:cubicBezTo>
                  <a:cubicBezTo>
                    <a:pt x="7368" y="472"/>
                    <a:pt x="7260" y="480"/>
                    <a:pt x="7152" y="497"/>
                  </a:cubicBezTo>
                  <a:cubicBezTo>
                    <a:pt x="6758" y="166"/>
                    <a:pt x="6270" y="1"/>
                    <a:pt x="57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8" name="Google Shape;7708;p73"/>
            <p:cNvSpPr/>
            <p:nvPr/>
          </p:nvSpPr>
          <p:spPr>
            <a:xfrm>
              <a:off x="-57119850" y="4066875"/>
              <a:ext cx="126075" cy="111875"/>
            </a:xfrm>
            <a:custGeom>
              <a:avLst/>
              <a:gdLst/>
              <a:ahLst/>
              <a:cxnLst/>
              <a:rect l="l" t="t" r="r" b="b"/>
              <a:pathLst>
                <a:path w="5043" h="4475" extrusionOk="0">
                  <a:moveTo>
                    <a:pt x="2333" y="1"/>
                  </a:moveTo>
                  <a:cubicBezTo>
                    <a:pt x="915" y="694"/>
                    <a:pt x="2" y="2111"/>
                    <a:pt x="2" y="3718"/>
                  </a:cubicBezTo>
                  <a:lnTo>
                    <a:pt x="2" y="4191"/>
                  </a:lnTo>
                  <a:lnTo>
                    <a:pt x="2" y="4359"/>
                  </a:lnTo>
                  <a:lnTo>
                    <a:pt x="2" y="4359"/>
                  </a:lnTo>
                  <a:cubicBezTo>
                    <a:pt x="32" y="3375"/>
                    <a:pt x="829" y="2616"/>
                    <a:pt x="1861" y="2616"/>
                  </a:cubicBezTo>
                  <a:cubicBezTo>
                    <a:pt x="2774" y="2616"/>
                    <a:pt x="3499" y="3246"/>
                    <a:pt x="3656" y="4096"/>
                  </a:cubicBezTo>
                  <a:lnTo>
                    <a:pt x="4507" y="4096"/>
                  </a:lnTo>
                  <a:cubicBezTo>
                    <a:pt x="4570" y="3718"/>
                    <a:pt x="4791" y="3403"/>
                    <a:pt x="5043" y="3120"/>
                  </a:cubicBezTo>
                  <a:cubicBezTo>
                    <a:pt x="3656" y="2647"/>
                    <a:pt x="2617" y="1481"/>
                    <a:pt x="2333" y="1"/>
                  </a:cubicBezTo>
                  <a:close/>
                  <a:moveTo>
                    <a:pt x="2" y="4359"/>
                  </a:moveTo>
                  <a:cubicBezTo>
                    <a:pt x="1" y="4397"/>
                    <a:pt x="1" y="4435"/>
                    <a:pt x="2" y="4474"/>
                  </a:cubicBezTo>
                  <a:lnTo>
                    <a:pt x="2" y="435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9" name="Google Shape;7709;p73"/>
            <p:cNvSpPr/>
            <p:nvPr/>
          </p:nvSpPr>
          <p:spPr>
            <a:xfrm>
              <a:off x="-57100925" y="4151150"/>
              <a:ext cx="55175" cy="55150"/>
            </a:xfrm>
            <a:custGeom>
              <a:avLst/>
              <a:gdLst/>
              <a:ahLst/>
              <a:cxnLst/>
              <a:rect l="l" t="t" r="r" b="b"/>
              <a:pathLst>
                <a:path w="2207" h="2206" extrusionOk="0">
                  <a:moveTo>
                    <a:pt x="1104" y="1"/>
                  </a:moveTo>
                  <a:cubicBezTo>
                    <a:pt x="505" y="1"/>
                    <a:pt x="1" y="473"/>
                    <a:pt x="1" y="1103"/>
                  </a:cubicBezTo>
                  <a:cubicBezTo>
                    <a:pt x="1" y="1702"/>
                    <a:pt x="505" y="2206"/>
                    <a:pt x="1104" y="2206"/>
                  </a:cubicBezTo>
                  <a:cubicBezTo>
                    <a:pt x="1702" y="2206"/>
                    <a:pt x="2206" y="1702"/>
                    <a:pt x="2206" y="1103"/>
                  </a:cubicBezTo>
                  <a:cubicBezTo>
                    <a:pt x="2206" y="473"/>
                    <a:pt x="1702"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0" name="Google Shape;7710;p73"/>
            <p:cNvSpPr/>
            <p:nvPr/>
          </p:nvSpPr>
          <p:spPr>
            <a:xfrm>
              <a:off x="-57119825" y="4179500"/>
              <a:ext cx="204800" cy="121325"/>
            </a:xfrm>
            <a:custGeom>
              <a:avLst/>
              <a:gdLst/>
              <a:ahLst/>
              <a:cxnLst/>
              <a:rect l="l" t="t" r="r" b="b"/>
              <a:pathLst>
                <a:path w="8192" h="4853" extrusionOk="0">
                  <a:moveTo>
                    <a:pt x="5160" y="2151"/>
                  </a:moveTo>
                  <a:cubicBezTo>
                    <a:pt x="5254" y="2151"/>
                    <a:pt x="5341" y="2190"/>
                    <a:pt x="5388" y="2269"/>
                  </a:cubicBezTo>
                  <a:cubicBezTo>
                    <a:pt x="5546" y="2427"/>
                    <a:pt x="5546" y="2679"/>
                    <a:pt x="5388" y="2805"/>
                  </a:cubicBezTo>
                  <a:cubicBezTo>
                    <a:pt x="5042" y="3151"/>
                    <a:pt x="4569" y="3340"/>
                    <a:pt x="4096" y="3340"/>
                  </a:cubicBezTo>
                  <a:cubicBezTo>
                    <a:pt x="3624" y="3340"/>
                    <a:pt x="3120" y="3151"/>
                    <a:pt x="2805" y="2805"/>
                  </a:cubicBezTo>
                  <a:cubicBezTo>
                    <a:pt x="2647" y="2647"/>
                    <a:pt x="2647" y="2395"/>
                    <a:pt x="2805" y="2269"/>
                  </a:cubicBezTo>
                  <a:cubicBezTo>
                    <a:pt x="2884" y="2190"/>
                    <a:pt x="2978" y="2151"/>
                    <a:pt x="3069" y="2151"/>
                  </a:cubicBezTo>
                  <a:cubicBezTo>
                    <a:pt x="3159" y="2151"/>
                    <a:pt x="3246" y="2190"/>
                    <a:pt x="3309" y="2269"/>
                  </a:cubicBezTo>
                  <a:cubicBezTo>
                    <a:pt x="3529" y="2490"/>
                    <a:pt x="3813" y="2600"/>
                    <a:pt x="4096" y="2600"/>
                  </a:cubicBezTo>
                  <a:cubicBezTo>
                    <a:pt x="4380" y="2600"/>
                    <a:pt x="4664" y="2490"/>
                    <a:pt x="4884" y="2269"/>
                  </a:cubicBezTo>
                  <a:cubicBezTo>
                    <a:pt x="4963" y="2190"/>
                    <a:pt x="5065" y="2151"/>
                    <a:pt x="5160" y="2151"/>
                  </a:cubicBezTo>
                  <a:close/>
                  <a:moveTo>
                    <a:pt x="1" y="1"/>
                  </a:moveTo>
                  <a:lnTo>
                    <a:pt x="1" y="2238"/>
                  </a:lnTo>
                  <a:cubicBezTo>
                    <a:pt x="1" y="3687"/>
                    <a:pt x="1198" y="4853"/>
                    <a:pt x="2616" y="4853"/>
                  </a:cubicBezTo>
                  <a:lnTo>
                    <a:pt x="5609" y="4853"/>
                  </a:lnTo>
                  <a:cubicBezTo>
                    <a:pt x="7058" y="4853"/>
                    <a:pt x="8192" y="3655"/>
                    <a:pt x="8192" y="2238"/>
                  </a:cubicBezTo>
                  <a:lnTo>
                    <a:pt x="8192" y="1"/>
                  </a:lnTo>
                  <a:cubicBezTo>
                    <a:pt x="8192" y="977"/>
                    <a:pt x="7341" y="1860"/>
                    <a:pt x="6302" y="1860"/>
                  </a:cubicBezTo>
                  <a:cubicBezTo>
                    <a:pt x="5388" y="1860"/>
                    <a:pt x="4664" y="1230"/>
                    <a:pt x="4506" y="347"/>
                  </a:cubicBezTo>
                  <a:lnTo>
                    <a:pt x="3655" y="347"/>
                  </a:lnTo>
                  <a:cubicBezTo>
                    <a:pt x="3498" y="1230"/>
                    <a:pt x="2710" y="1860"/>
                    <a:pt x="1860" y="1860"/>
                  </a:cubicBezTo>
                  <a:cubicBezTo>
                    <a:pt x="820" y="1860"/>
                    <a:pt x="1" y="100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73"/>
            <p:cNvSpPr/>
            <p:nvPr/>
          </p:nvSpPr>
          <p:spPr>
            <a:xfrm>
              <a:off x="-57158400" y="4156675"/>
              <a:ext cx="18900" cy="63825"/>
            </a:xfrm>
            <a:custGeom>
              <a:avLst/>
              <a:gdLst/>
              <a:ahLst/>
              <a:cxnLst/>
              <a:rect l="l" t="t" r="r" b="b"/>
              <a:pathLst>
                <a:path w="756" h="2553"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73"/>
            <p:cNvSpPr/>
            <p:nvPr/>
          </p:nvSpPr>
          <p:spPr>
            <a:xfrm>
              <a:off x="-56896125" y="4155875"/>
              <a:ext cx="18925" cy="63825"/>
            </a:xfrm>
            <a:custGeom>
              <a:avLst/>
              <a:gdLst/>
              <a:ahLst/>
              <a:cxnLst/>
              <a:rect l="l" t="t" r="r" b="b"/>
              <a:pathLst>
                <a:path w="757" h="2553" extrusionOk="0">
                  <a:moveTo>
                    <a:pt x="0" y="1"/>
                  </a:moveTo>
                  <a:lnTo>
                    <a:pt x="0" y="2553"/>
                  </a:lnTo>
                  <a:cubicBezTo>
                    <a:pt x="441" y="2269"/>
                    <a:pt x="756" y="1796"/>
                    <a:pt x="756" y="1261"/>
                  </a:cubicBezTo>
                  <a:cubicBezTo>
                    <a:pt x="756" y="757"/>
                    <a:pt x="441"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73"/>
            <p:cNvSpPr/>
            <p:nvPr/>
          </p:nvSpPr>
          <p:spPr>
            <a:xfrm>
              <a:off x="-56924475" y="4149575"/>
              <a:ext cx="9450" cy="29175"/>
            </a:xfrm>
            <a:custGeom>
              <a:avLst/>
              <a:gdLst/>
              <a:ahLst/>
              <a:cxnLst/>
              <a:rect l="l" t="t" r="r" b="b"/>
              <a:pathLst>
                <a:path w="378" h="1167" extrusionOk="0">
                  <a:moveTo>
                    <a:pt x="0" y="1"/>
                  </a:moveTo>
                  <a:cubicBezTo>
                    <a:pt x="221" y="379"/>
                    <a:pt x="378" y="757"/>
                    <a:pt x="378" y="1166"/>
                  </a:cubicBezTo>
                  <a:lnTo>
                    <a:pt x="378" y="883"/>
                  </a:lnTo>
                  <a:lnTo>
                    <a:pt x="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73"/>
          <p:cNvGrpSpPr/>
          <p:nvPr/>
        </p:nvGrpSpPr>
        <p:grpSpPr>
          <a:xfrm>
            <a:off x="7070492" y="3206648"/>
            <a:ext cx="358971" cy="357198"/>
            <a:chOff x="-52851675" y="3585650"/>
            <a:chExt cx="319000" cy="317425"/>
          </a:xfrm>
        </p:grpSpPr>
        <p:sp>
          <p:nvSpPr>
            <p:cNvPr id="7715" name="Google Shape;7715;p73"/>
            <p:cNvSpPr/>
            <p:nvPr/>
          </p:nvSpPr>
          <p:spPr>
            <a:xfrm>
              <a:off x="-52851675" y="3641575"/>
              <a:ext cx="319000" cy="106350"/>
            </a:xfrm>
            <a:custGeom>
              <a:avLst/>
              <a:gdLst/>
              <a:ahLst/>
              <a:cxnLst/>
              <a:rect l="l" t="t" r="r" b="b"/>
              <a:pathLst>
                <a:path w="12760" h="4254" extrusionOk="0">
                  <a:moveTo>
                    <a:pt x="6364" y="0"/>
                  </a:moveTo>
                  <a:cubicBezTo>
                    <a:pt x="2836" y="0"/>
                    <a:pt x="0" y="1449"/>
                    <a:pt x="0" y="3371"/>
                  </a:cubicBezTo>
                  <a:cubicBezTo>
                    <a:pt x="0" y="3686"/>
                    <a:pt x="63" y="4001"/>
                    <a:pt x="252" y="4253"/>
                  </a:cubicBezTo>
                  <a:cubicBezTo>
                    <a:pt x="473" y="3749"/>
                    <a:pt x="945" y="3308"/>
                    <a:pt x="1481" y="3119"/>
                  </a:cubicBezTo>
                  <a:lnTo>
                    <a:pt x="1481" y="2898"/>
                  </a:lnTo>
                  <a:cubicBezTo>
                    <a:pt x="1481" y="2741"/>
                    <a:pt x="1575" y="2615"/>
                    <a:pt x="1733" y="2520"/>
                  </a:cubicBezTo>
                  <a:cubicBezTo>
                    <a:pt x="3403" y="1796"/>
                    <a:pt x="4915" y="1512"/>
                    <a:pt x="6396" y="1512"/>
                  </a:cubicBezTo>
                  <a:cubicBezTo>
                    <a:pt x="7845" y="1512"/>
                    <a:pt x="9389" y="1827"/>
                    <a:pt x="11027" y="2520"/>
                  </a:cubicBezTo>
                  <a:cubicBezTo>
                    <a:pt x="11153" y="2615"/>
                    <a:pt x="11279" y="2741"/>
                    <a:pt x="11279" y="2898"/>
                  </a:cubicBezTo>
                  <a:lnTo>
                    <a:pt x="11279" y="3119"/>
                  </a:lnTo>
                  <a:cubicBezTo>
                    <a:pt x="11815" y="3308"/>
                    <a:pt x="12287" y="3718"/>
                    <a:pt x="12539" y="4253"/>
                  </a:cubicBezTo>
                  <a:cubicBezTo>
                    <a:pt x="12697" y="4001"/>
                    <a:pt x="12760" y="3686"/>
                    <a:pt x="12760" y="3371"/>
                  </a:cubicBezTo>
                  <a:cubicBezTo>
                    <a:pt x="12760" y="1449"/>
                    <a:pt x="992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73"/>
            <p:cNvSpPr/>
            <p:nvPr/>
          </p:nvSpPr>
          <p:spPr>
            <a:xfrm>
              <a:off x="-52787100" y="3585650"/>
              <a:ext cx="189050" cy="52000"/>
            </a:xfrm>
            <a:custGeom>
              <a:avLst/>
              <a:gdLst/>
              <a:ahLst/>
              <a:cxnLst/>
              <a:rect l="l" t="t" r="r" b="b"/>
              <a:pathLst>
                <a:path w="7562" h="2080" extrusionOk="0">
                  <a:moveTo>
                    <a:pt x="3781" y="0"/>
                  </a:moveTo>
                  <a:cubicBezTo>
                    <a:pt x="2048" y="0"/>
                    <a:pt x="599" y="882"/>
                    <a:pt x="1" y="2080"/>
                  </a:cubicBezTo>
                  <a:cubicBezTo>
                    <a:pt x="1103" y="1701"/>
                    <a:pt x="2363" y="1512"/>
                    <a:pt x="3781" y="1512"/>
                  </a:cubicBezTo>
                  <a:cubicBezTo>
                    <a:pt x="3928" y="1506"/>
                    <a:pt x="4073" y="1503"/>
                    <a:pt x="4217" y="1503"/>
                  </a:cubicBezTo>
                  <a:cubicBezTo>
                    <a:pt x="5469" y="1503"/>
                    <a:pt x="6629" y="1740"/>
                    <a:pt x="7562" y="2080"/>
                  </a:cubicBezTo>
                  <a:cubicBezTo>
                    <a:pt x="6995" y="882"/>
                    <a:pt x="5514"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7" name="Google Shape;7717;p73"/>
            <p:cNvSpPr/>
            <p:nvPr/>
          </p:nvSpPr>
          <p:spPr>
            <a:xfrm>
              <a:off x="-52794975" y="3696700"/>
              <a:ext cx="127625" cy="74850"/>
            </a:xfrm>
            <a:custGeom>
              <a:avLst/>
              <a:gdLst/>
              <a:ahLst/>
              <a:cxnLst/>
              <a:rect l="l" t="t" r="r" b="b"/>
              <a:pathLst>
                <a:path w="5105" h="2994" extrusionOk="0">
                  <a:moveTo>
                    <a:pt x="4096" y="0"/>
                  </a:moveTo>
                  <a:cubicBezTo>
                    <a:pt x="2804" y="0"/>
                    <a:pt x="1324" y="284"/>
                    <a:pt x="1" y="883"/>
                  </a:cubicBezTo>
                  <a:lnTo>
                    <a:pt x="1" y="2993"/>
                  </a:lnTo>
                  <a:lnTo>
                    <a:pt x="1072" y="2993"/>
                  </a:lnTo>
                  <a:cubicBezTo>
                    <a:pt x="2741" y="2993"/>
                    <a:pt x="4317" y="2143"/>
                    <a:pt x="5104" y="95"/>
                  </a:cubicBezTo>
                  <a:cubicBezTo>
                    <a:pt x="4789" y="32"/>
                    <a:pt x="4411"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8" name="Google Shape;7718;p73"/>
            <p:cNvSpPr/>
            <p:nvPr/>
          </p:nvSpPr>
          <p:spPr>
            <a:xfrm>
              <a:off x="-52795750" y="3700625"/>
              <a:ext cx="204800" cy="202450"/>
            </a:xfrm>
            <a:custGeom>
              <a:avLst/>
              <a:gdLst/>
              <a:ahLst/>
              <a:cxnLst/>
              <a:rect l="l" t="t" r="r" b="b"/>
              <a:pathLst>
                <a:path w="8192" h="8098" extrusionOk="0">
                  <a:moveTo>
                    <a:pt x="5639" y="2143"/>
                  </a:moveTo>
                  <a:cubicBezTo>
                    <a:pt x="5828" y="2143"/>
                    <a:pt x="5986" y="2301"/>
                    <a:pt x="5986" y="2490"/>
                  </a:cubicBezTo>
                  <a:cubicBezTo>
                    <a:pt x="5986" y="2679"/>
                    <a:pt x="5828" y="2836"/>
                    <a:pt x="5639" y="2836"/>
                  </a:cubicBezTo>
                  <a:cubicBezTo>
                    <a:pt x="5450" y="2836"/>
                    <a:pt x="5293" y="2679"/>
                    <a:pt x="5293" y="2490"/>
                  </a:cubicBezTo>
                  <a:cubicBezTo>
                    <a:pt x="5293" y="2301"/>
                    <a:pt x="5450" y="2143"/>
                    <a:pt x="5639" y="2143"/>
                  </a:cubicBezTo>
                  <a:close/>
                  <a:moveTo>
                    <a:pt x="5163" y="4671"/>
                  </a:moveTo>
                  <a:cubicBezTo>
                    <a:pt x="5261" y="4671"/>
                    <a:pt x="5356" y="4711"/>
                    <a:pt x="5419" y="4790"/>
                  </a:cubicBezTo>
                  <a:cubicBezTo>
                    <a:pt x="5608" y="4947"/>
                    <a:pt x="5608" y="5168"/>
                    <a:pt x="5450" y="5294"/>
                  </a:cubicBezTo>
                  <a:cubicBezTo>
                    <a:pt x="5104" y="5640"/>
                    <a:pt x="4600" y="5829"/>
                    <a:pt x="4127" y="5829"/>
                  </a:cubicBezTo>
                  <a:cubicBezTo>
                    <a:pt x="3623" y="5829"/>
                    <a:pt x="3151" y="5640"/>
                    <a:pt x="2804" y="5294"/>
                  </a:cubicBezTo>
                  <a:cubicBezTo>
                    <a:pt x="2646" y="5136"/>
                    <a:pt x="2646" y="4884"/>
                    <a:pt x="2804" y="4790"/>
                  </a:cubicBezTo>
                  <a:cubicBezTo>
                    <a:pt x="2883" y="4711"/>
                    <a:pt x="2977" y="4671"/>
                    <a:pt x="3068" y="4671"/>
                  </a:cubicBezTo>
                  <a:cubicBezTo>
                    <a:pt x="3158" y="4671"/>
                    <a:pt x="3245" y="4711"/>
                    <a:pt x="3308" y="4790"/>
                  </a:cubicBezTo>
                  <a:cubicBezTo>
                    <a:pt x="3529" y="4994"/>
                    <a:pt x="3812" y="5097"/>
                    <a:pt x="4096" y="5097"/>
                  </a:cubicBezTo>
                  <a:cubicBezTo>
                    <a:pt x="4379" y="5097"/>
                    <a:pt x="4663" y="4994"/>
                    <a:pt x="4883" y="4790"/>
                  </a:cubicBezTo>
                  <a:cubicBezTo>
                    <a:pt x="4962" y="4711"/>
                    <a:pt x="5064" y="4671"/>
                    <a:pt x="5163" y="4671"/>
                  </a:cubicBezTo>
                  <a:close/>
                  <a:moveTo>
                    <a:pt x="5860" y="1"/>
                  </a:moveTo>
                  <a:cubicBezTo>
                    <a:pt x="4883" y="2521"/>
                    <a:pt x="3119" y="3592"/>
                    <a:pt x="1071" y="3592"/>
                  </a:cubicBezTo>
                  <a:lnTo>
                    <a:pt x="0" y="3592"/>
                  </a:lnTo>
                  <a:lnTo>
                    <a:pt x="0" y="3939"/>
                  </a:lnTo>
                  <a:cubicBezTo>
                    <a:pt x="0" y="6176"/>
                    <a:pt x="1859" y="8098"/>
                    <a:pt x="4096" y="8098"/>
                  </a:cubicBezTo>
                  <a:cubicBezTo>
                    <a:pt x="6333" y="8098"/>
                    <a:pt x="8191" y="6239"/>
                    <a:pt x="8191" y="3939"/>
                  </a:cubicBezTo>
                  <a:lnTo>
                    <a:pt x="8191" y="2931"/>
                  </a:lnTo>
                  <a:lnTo>
                    <a:pt x="8191" y="2868"/>
                  </a:lnTo>
                  <a:lnTo>
                    <a:pt x="8191" y="726"/>
                  </a:lnTo>
                  <a:cubicBezTo>
                    <a:pt x="7435" y="347"/>
                    <a:pt x="6648" y="158"/>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73"/>
            <p:cNvSpPr/>
            <p:nvPr/>
          </p:nvSpPr>
          <p:spPr>
            <a:xfrm>
              <a:off x="-52832775" y="3740025"/>
              <a:ext cx="18125" cy="64600"/>
            </a:xfrm>
            <a:custGeom>
              <a:avLst/>
              <a:gdLst/>
              <a:ahLst/>
              <a:cxnLst/>
              <a:rect l="l" t="t" r="r" b="b"/>
              <a:pathLst>
                <a:path w="725" h="2584" extrusionOk="0">
                  <a:moveTo>
                    <a:pt x="725" y="0"/>
                  </a:moveTo>
                  <a:cubicBezTo>
                    <a:pt x="315" y="252"/>
                    <a:pt x="0" y="725"/>
                    <a:pt x="0" y="1260"/>
                  </a:cubicBezTo>
                  <a:cubicBezTo>
                    <a:pt x="0" y="1827"/>
                    <a:pt x="315" y="2300"/>
                    <a:pt x="725" y="2584"/>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0" name="Google Shape;7720;p73"/>
            <p:cNvSpPr/>
            <p:nvPr/>
          </p:nvSpPr>
          <p:spPr>
            <a:xfrm>
              <a:off x="-52570500" y="3740025"/>
              <a:ext cx="18925" cy="64600"/>
            </a:xfrm>
            <a:custGeom>
              <a:avLst/>
              <a:gdLst/>
              <a:ahLst/>
              <a:cxnLst/>
              <a:rect l="l" t="t" r="r" b="b"/>
              <a:pathLst>
                <a:path w="757" h="2584" extrusionOk="0">
                  <a:moveTo>
                    <a:pt x="0" y="0"/>
                  </a:moveTo>
                  <a:lnTo>
                    <a:pt x="0" y="2584"/>
                  </a:lnTo>
                  <a:cubicBezTo>
                    <a:pt x="442" y="2300"/>
                    <a:pt x="757" y="1827"/>
                    <a:pt x="757" y="1260"/>
                  </a:cubicBezTo>
                  <a:cubicBezTo>
                    <a:pt x="757" y="725"/>
                    <a:pt x="442"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1" name="Google Shape;7721;p73"/>
          <p:cNvGrpSpPr/>
          <p:nvPr/>
        </p:nvGrpSpPr>
        <p:grpSpPr>
          <a:xfrm>
            <a:off x="7092647" y="3668449"/>
            <a:ext cx="314662" cy="358999"/>
            <a:chOff x="-52832000" y="3976300"/>
            <a:chExt cx="279625" cy="319025"/>
          </a:xfrm>
        </p:grpSpPr>
        <p:sp>
          <p:nvSpPr>
            <p:cNvPr id="7722" name="Google Shape;7722;p73"/>
            <p:cNvSpPr/>
            <p:nvPr/>
          </p:nvSpPr>
          <p:spPr>
            <a:xfrm>
              <a:off x="-52794975" y="3976300"/>
              <a:ext cx="204800" cy="112650"/>
            </a:xfrm>
            <a:custGeom>
              <a:avLst/>
              <a:gdLst/>
              <a:ahLst/>
              <a:cxnLst/>
              <a:rect l="l" t="t" r="r" b="b"/>
              <a:pathLst>
                <a:path w="8192" h="4506" extrusionOk="0">
                  <a:moveTo>
                    <a:pt x="4096" y="1"/>
                  </a:moveTo>
                  <a:cubicBezTo>
                    <a:pt x="1859" y="1"/>
                    <a:pt x="1" y="1859"/>
                    <a:pt x="1" y="4096"/>
                  </a:cubicBezTo>
                  <a:lnTo>
                    <a:pt x="1" y="4506"/>
                  </a:lnTo>
                  <a:cubicBezTo>
                    <a:pt x="883" y="3120"/>
                    <a:pt x="2363" y="2206"/>
                    <a:pt x="4096" y="2206"/>
                  </a:cubicBezTo>
                  <a:cubicBezTo>
                    <a:pt x="5829" y="2206"/>
                    <a:pt x="7341" y="3120"/>
                    <a:pt x="8192" y="4506"/>
                  </a:cubicBezTo>
                  <a:lnTo>
                    <a:pt x="8192" y="4096"/>
                  </a:lnTo>
                  <a:cubicBezTo>
                    <a:pt x="8192" y="1859"/>
                    <a:pt x="6365" y="1"/>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3"/>
            <p:cNvSpPr/>
            <p:nvPr/>
          </p:nvSpPr>
          <p:spPr>
            <a:xfrm>
              <a:off x="-52757175" y="4051125"/>
              <a:ext cx="167000" cy="94550"/>
            </a:xfrm>
            <a:custGeom>
              <a:avLst/>
              <a:gdLst/>
              <a:ahLst/>
              <a:cxnLst/>
              <a:rect l="l" t="t" r="r" b="b"/>
              <a:pathLst>
                <a:path w="6680" h="3782" extrusionOk="0">
                  <a:moveTo>
                    <a:pt x="2584" y="1"/>
                  </a:moveTo>
                  <a:cubicBezTo>
                    <a:pt x="1608" y="1"/>
                    <a:pt x="694" y="379"/>
                    <a:pt x="1" y="946"/>
                  </a:cubicBezTo>
                  <a:cubicBezTo>
                    <a:pt x="473" y="820"/>
                    <a:pt x="977" y="757"/>
                    <a:pt x="1482" y="757"/>
                  </a:cubicBezTo>
                  <a:cubicBezTo>
                    <a:pt x="3750" y="757"/>
                    <a:pt x="5672" y="1985"/>
                    <a:pt x="6680" y="3781"/>
                  </a:cubicBezTo>
                  <a:cubicBezTo>
                    <a:pt x="6522" y="1670"/>
                    <a:pt x="475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4" name="Google Shape;7724;p73"/>
            <p:cNvSpPr/>
            <p:nvPr/>
          </p:nvSpPr>
          <p:spPr>
            <a:xfrm>
              <a:off x="-52794975" y="4088925"/>
              <a:ext cx="204025" cy="206400"/>
            </a:xfrm>
            <a:custGeom>
              <a:avLst/>
              <a:gdLst/>
              <a:ahLst/>
              <a:cxnLst/>
              <a:rect l="l" t="t" r="r" b="b"/>
              <a:pathLst>
                <a:path w="8161" h="8256" extrusionOk="0">
                  <a:moveTo>
                    <a:pt x="2615" y="2238"/>
                  </a:moveTo>
                  <a:cubicBezTo>
                    <a:pt x="2804" y="2238"/>
                    <a:pt x="2962" y="2395"/>
                    <a:pt x="2962" y="2584"/>
                  </a:cubicBezTo>
                  <a:cubicBezTo>
                    <a:pt x="2962" y="2805"/>
                    <a:pt x="2804" y="2962"/>
                    <a:pt x="2615" y="2962"/>
                  </a:cubicBezTo>
                  <a:cubicBezTo>
                    <a:pt x="2602" y="2965"/>
                    <a:pt x="2588" y="2966"/>
                    <a:pt x="2574" y="2966"/>
                  </a:cubicBezTo>
                  <a:cubicBezTo>
                    <a:pt x="2404" y="2966"/>
                    <a:pt x="2269" y="2788"/>
                    <a:pt x="2269" y="2584"/>
                  </a:cubicBezTo>
                  <a:cubicBezTo>
                    <a:pt x="2269" y="2395"/>
                    <a:pt x="2426" y="2238"/>
                    <a:pt x="2615" y="2238"/>
                  </a:cubicBezTo>
                  <a:close/>
                  <a:moveTo>
                    <a:pt x="5608" y="2269"/>
                  </a:moveTo>
                  <a:cubicBezTo>
                    <a:pt x="5797" y="2269"/>
                    <a:pt x="5955" y="2427"/>
                    <a:pt x="5955" y="2647"/>
                  </a:cubicBezTo>
                  <a:cubicBezTo>
                    <a:pt x="5955" y="2805"/>
                    <a:pt x="5797" y="2994"/>
                    <a:pt x="5608" y="2994"/>
                  </a:cubicBezTo>
                  <a:cubicBezTo>
                    <a:pt x="5419" y="2994"/>
                    <a:pt x="5262" y="2836"/>
                    <a:pt x="5262" y="2647"/>
                  </a:cubicBezTo>
                  <a:cubicBezTo>
                    <a:pt x="5262" y="2427"/>
                    <a:pt x="5419" y="2269"/>
                    <a:pt x="5608" y="2269"/>
                  </a:cubicBezTo>
                  <a:close/>
                  <a:moveTo>
                    <a:pt x="5132" y="4797"/>
                  </a:moveTo>
                  <a:cubicBezTo>
                    <a:pt x="5230" y="4797"/>
                    <a:pt x="5325" y="4837"/>
                    <a:pt x="5388" y="4916"/>
                  </a:cubicBezTo>
                  <a:cubicBezTo>
                    <a:pt x="5577" y="5042"/>
                    <a:pt x="5577" y="5262"/>
                    <a:pt x="5419" y="5420"/>
                  </a:cubicBezTo>
                  <a:cubicBezTo>
                    <a:pt x="5073" y="5766"/>
                    <a:pt x="4569" y="5987"/>
                    <a:pt x="4096" y="5987"/>
                  </a:cubicBezTo>
                  <a:cubicBezTo>
                    <a:pt x="3592" y="5987"/>
                    <a:pt x="3120" y="5766"/>
                    <a:pt x="2773" y="5420"/>
                  </a:cubicBezTo>
                  <a:cubicBezTo>
                    <a:pt x="2615" y="5262"/>
                    <a:pt x="2615" y="5042"/>
                    <a:pt x="2773" y="4916"/>
                  </a:cubicBezTo>
                  <a:cubicBezTo>
                    <a:pt x="2852" y="4837"/>
                    <a:pt x="2946" y="4797"/>
                    <a:pt x="3037" y="4797"/>
                  </a:cubicBezTo>
                  <a:cubicBezTo>
                    <a:pt x="3127" y="4797"/>
                    <a:pt x="3214" y="4837"/>
                    <a:pt x="3277" y="4916"/>
                  </a:cubicBezTo>
                  <a:cubicBezTo>
                    <a:pt x="3498" y="5136"/>
                    <a:pt x="3781" y="5246"/>
                    <a:pt x="4065" y="5246"/>
                  </a:cubicBezTo>
                  <a:cubicBezTo>
                    <a:pt x="4348" y="5246"/>
                    <a:pt x="4632" y="5136"/>
                    <a:pt x="4852" y="4916"/>
                  </a:cubicBezTo>
                  <a:cubicBezTo>
                    <a:pt x="4931" y="4837"/>
                    <a:pt x="5033" y="4797"/>
                    <a:pt x="5132" y="4797"/>
                  </a:cubicBezTo>
                  <a:close/>
                  <a:moveTo>
                    <a:pt x="2994" y="1"/>
                  </a:moveTo>
                  <a:cubicBezTo>
                    <a:pt x="2174" y="1"/>
                    <a:pt x="1387" y="190"/>
                    <a:pt x="631" y="536"/>
                  </a:cubicBezTo>
                  <a:cubicBezTo>
                    <a:pt x="599" y="536"/>
                    <a:pt x="599" y="536"/>
                    <a:pt x="568" y="599"/>
                  </a:cubicBezTo>
                  <a:cubicBezTo>
                    <a:pt x="221" y="1166"/>
                    <a:pt x="1" y="1891"/>
                    <a:pt x="1" y="2584"/>
                  </a:cubicBezTo>
                  <a:lnTo>
                    <a:pt x="1" y="4128"/>
                  </a:lnTo>
                  <a:cubicBezTo>
                    <a:pt x="1" y="6365"/>
                    <a:pt x="1859" y="8255"/>
                    <a:pt x="4096" y="8255"/>
                  </a:cubicBezTo>
                  <a:cubicBezTo>
                    <a:pt x="6207" y="8255"/>
                    <a:pt x="7940" y="6680"/>
                    <a:pt x="8160" y="4695"/>
                  </a:cubicBezTo>
                  <a:cubicBezTo>
                    <a:pt x="7877" y="2017"/>
                    <a:pt x="5671"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73"/>
            <p:cNvSpPr/>
            <p:nvPr/>
          </p:nvSpPr>
          <p:spPr>
            <a:xfrm>
              <a:off x="-52832000"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3"/>
            <p:cNvSpPr/>
            <p:nvPr/>
          </p:nvSpPr>
          <p:spPr>
            <a:xfrm>
              <a:off x="-52571300" y="4132250"/>
              <a:ext cx="18925" cy="63825"/>
            </a:xfrm>
            <a:custGeom>
              <a:avLst/>
              <a:gdLst/>
              <a:ahLst/>
              <a:cxnLst/>
              <a:rect l="l" t="t" r="r" b="b"/>
              <a:pathLst>
                <a:path w="757" h="2553" extrusionOk="0">
                  <a:moveTo>
                    <a:pt x="1" y="1"/>
                  </a:moveTo>
                  <a:lnTo>
                    <a:pt x="1" y="2552"/>
                  </a:lnTo>
                  <a:cubicBezTo>
                    <a:pt x="442" y="2269"/>
                    <a:pt x="757" y="1796"/>
                    <a:pt x="757" y="1261"/>
                  </a:cubicBezTo>
                  <a:cubicBezTo>
                    <a:pt x="757" y="694"/>
                    <a:pt x="442" y="2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7" name="Google Shape;7727;p73"/>
          <p:cNvGrpSpPr/>
          <p:nvPr/>
        </p:nvGrpSpPr>
        <p:grpSpPr>
          <a:xfrm>
            <a:off x="6209853" y="4123097"/>
            <a:ext cx="316434" cy="358099"/>
            <a:chOff x="-51633225" y="3198925"/>
            <a:chExt cx="281200" cy="318225"/>
          </a:xfrm>
        </p:grpSpPr>
        <p:sp>
          <p:nvSpPr>
            <p:cNvPr id="7728" name="Google Shape;7728;p73"/>
            <p:cNvSpPr/>
            <p:nvPr/>
          </p:nvSpPr>
          <p:spPr>
            <a:xfrm>
              <a:off x="-51633225" y="3353300"/>
              <a:ext cx="18925" cy="63825"/>
            </a:xfrm>
            <a:custGeom>
              <a:avLst/>
              <a:gdLst/>
              <a:ahLst/>
              <a:cxnLst/>
              <a:rect l="l" t="t" r="r" b="b"/>
              <a:pathLst>
                <a:path w="757" h="2553" extrusionOk="0">
                  <a:moveTo>
                    <a:pt x="756" y="0"/>
                  </a:moveTo>
                  <a:cubicBezTo>
                    <a:pt x="315" y="284"/>
                    <a:pt x="0" y="756"/>
                    <a:pt x="0" y="1292"/>
                  </a:cubicBezTo>
                  <a:cubicBezTo>
                    <a:pt x="0" y="1859"/>
                    <a:pt x="315" y="2332"/>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9" name="Google Shape;7729;p73"/>
            <p:cNvSpPr/>
            <p:nvPr/>
          </p:nvSpPr>
          <p:spPr>
            <a:xfrm>
              <a:off x="-51595425" y="3348575"/>
              <a:ext cx="204800" cy="168575"/>
            </a:xfrm>
            <a:custGeom>
              <a:avLst/>
              <a:gdLst/>
              <a:ahLst/>
              <a:cxnLst/>
              <a:rect l="l" t="t" r="r" b="b"/>
              <a:pathLst>
                <a:path w="8192" h="6743" extrusionOk="0">
                  <a:moveTo>
                    <a:pt x="2647" y="756"/>
                  </a:moveTo>
                  <a:cubicBezTo>
                    <a:pt x="2836" y="756"/>
                    <a:pt x="2994" y="914"/>
                    <a:pt x="2994" y="1103"/>
                  </a:cubicBezTo>
                  <a:cubicBezTo>
                    <a:pt x="2994" y="1292"/>
                    <a:pt x="2836" y="1449"/>
                    <a:pt x="2647" y="1449"/>
                  </a:cubicBezTo>
                  <a:cubicBezTo>
                    <a:pt x="2426" y="1449"/>
                    <a:pt x="2269" y="1292"/>
                    <a:pt x="2269" y="1103"/>
                  </a:cubicBezTo>
                  <a:cubicBezTo>
                    <a:pt x="2237" y="914"/>
                    <a:pt x="2395" y="756"/>
                    <a:pt x="2647" y="756"/>
                  </a:cubicBezTo>
                  <a:close/>
                  <a:moveTo>
                    <a:pt x="5577" y="756"/>
                  </a:moveTo>
                  <a:cubicBezTo>
                    <a:pt x="5797" y="756"/>
                    <a:pt x="5955" y="914"/>
                    <a:pt x="5955" y="1103"/>
                  </a:cubicBezTo>
                  <a:cubicBezTo>
                    <a:pt x="5955" y="1292"/>
                    <a:pt x="5797" y="1449"/>
                    <a:pt x="5577" y="1449"/>
                  </a:cubicBezTo>
                  <a:cubicBezTo>
                    <a:pt x="5388" y="1449"/>
                    <a:pt x="5230" y="1292"/>
                    <a:pt x="5230" y="1103"/>
                  </a:cubicBezTo>
                  <a:cubicBezTo>
                    <a:pt x="5230" y="914"/>
                    <a:pt x="5388" y="756"/>
                    <a:pt x="5577" y="756"/>
                  </a:cubicBezTo>
                  <a:close/>
                  <a:moveTo>
                    <a:pt x="5148" y="3316"/>
                  </a:moveTo>
                  <a:cubicBezTo>
                    <a:pt x="5238" y="3316"/>
                    <a:pt x="5325" y="3356"/>
                    <a:pt x="5388" y="3434"/>
                  </a:cubicBezTo>
                  <a:cubicBezTo>
                    <a:pt x="5545" y="3592"/>
                    <a:pt x="5545" y="3812"/>
                    <a:pt x="5388" y="3938"/>
                  </a:cubicBezTo>
                  <a:cubicBezTo>
                    <a:pt x="5041" y="4285"/>
                    <a:pt x="4569" y="4474"/>
                    <a:pt x="4096" y="4474"/>
                  </a:cubicBezTo>
                  <a:cubicBezTo>
                    <a:pt x="3624" y="4474"/>
                    <a:pt x="3120" y="4285"/>
                    <a:pt x="2804" y="3938"/>
                  </a:cubicBezTo>
                  <a:cubicBezTo>
                    <a:pt x="2647" y="3781"/>
                    <a:pt x="2647" y="3529"/>
                    <a:pt x="2804" y="3434"/>
                  </a:cubicBezTo>
                  <a:cubicBezTo>
                    <a:pt x="2883" y="3371"/>
                    <a:pt x="2978" y="3340"/>
                    <a:pt x="3068" y="3340"/>
                  </a:cubicBezTo>
                  <a:cubicBezTo>
                    <a:pt x="3159" y="3340"/>
                    <a:pt x="3246" y="3371"/>
                    <a:pt x="3309" y="3434"/>
                  </a:cubicBezTo>
                  <a:cubicBezTo>
                    <a:pt x="3529" y="3639"/>
                    <a:pt x="3813" y="3741"/>
                    <a:pt x="4096" y="3741"/>
                  </a:cubicBezTo>
                  <a:cubicBezTo>
                    <a:pt x="4380" y="3741"/>
                    <a:pt x="4663" y="3639"/>
                    <a:pt x="4884" y="3434"/>
                  </a:cubicBezTo>
                  <a:cubicBezTo>
                    <a:pt x="4963" y="3356"/>
                    <a:pt x="5057" y="3316"/>
                    <a:pt x="5148" y="3316"/>
                  </a:cubicBezTo>
                  <a:close/>
                  <a:moveTo>
                    <a:pt x="1" y="0"/>
                  </a:moveTo>
                  <a:lnTo>
                    <a:pt x="1" y="2647"/>
                  </a:lnTo>
                  <a:cubicBezTo>
                    <a:pt x="1" y="4883"/>
                    <a:pt x="1859" y="6742"/>
                    <a:pt x="4096" y="6742"/>
                  </a:cubicBezTo>
                  <a:cubicBezTo>
                    <a:pt x="6333" y="6742"/>
                    <a:pt x="8192" y="4883"/>
                    <a:pt x="8192" y="2647"/>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3"/>
            <p:cNvSpPr/>
            <p:nvPr/>
          </p:nvSpPr>
          <p:spPr>
            <a:xfrm>
              <a:off x="-51633225" y="3292650"/>
              <a:ext cx="279625" cy="37050"/>
            </a:xfrm>
            <a:custGeom>
              <a:avLst/>
              <a:gdLst/>
              <a:ahLst/>
              <a:cxnLst/>
              <a:rect l="l" t="t" r="r" b="b"/>
              <a:pathLst>
                <a:path w="11185" h="1482" extrusionOk="0">
                  <a:moveTo>
                    <a:pt x="1513" y="0"/>
                  </a:moveTo>
                  <a:cubicBezTo>
                    <a:pt x="851" y="0"/>
                    <a:pt x="284" y="410"/>
                    <a:pt x="95" y="1009"/>
                  </a:cubicBezTo>
                  <a:cubicBezTo>
                    <a:pt x="0" y="1261"/>
                    <a:pt x="221" y="1481"/>
                    <a:pt x="441" y="1481"/>
                  </a:cubicBezTo>
                  <a:lnTo>
                    <a:pt x="10775" y="1481"/>
                  </a:lnTo>
                  <a:cubicBezTo>
                    <a:pt x="10996" y="1481"/>
                    <a:pt x="11185" y="1261"/>
                    <a:pt x="11122" y="1009"/>
                  </a:cubicBezTo>
                  <a:cubicBezTo>
                    <a:pt x="10933" y="410"/>
                    <a:pt x="10365"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3"/>
            <p:cNvSpPr/>
            <p:nvPr/>
          </p:nvSpPr>
          <p:spPr>
            <a:xfrm>
              <a:off x="-51492250" y="3198925"/>
              <a:ext cx="98475" cy="74850"/>
            </a:xfrm>
            <a:custGeom>
              <a:avLst/>
              <a:gdLst/>
              <a:ahLst/>
              <a:cxnLst/>
              <a:rect l="l" t="t" r="r" b="b"/>
              <a:pathLst>
                <a:path w="3939" h="2994" extrusionOk="0">
                  <a:moveTo>
                    <a:pt x="1" y="0"/>
                  </a:moveTo>
                  <a:lnTo>
                    <a:pt x="1" y="0"/>
                  </a:lnTo>
                  <a:cubicBezTo>
                    <a:pt x="946" y="0"/>
                    <a:pt x="1576" y="1418"/>
                    <a:pt x="1765" y="2993"/>
                  </a:cubicBezTo>
                  <a:lnTo>
                    <a:pt x="3939" y="2993"/>
                  </a:lnTo>
                  <a:cubicBezTo>
                    <a:pt x="3466" y="1261"/>
                    <a:pt x="1859"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2" name="Google Shape;7732;p73"/>
            <p:cNvSpPr/>
            <p:nvPr/>
          </p:nvSpPr>
          <p:spPr>
            <a:xfrm>
              <a:off x="-51590700" y="3198925"/>
              <a:ext cx="98475" cy="74850"/>
            </a:xfrm>
            <a:custGeom>
              <a:avLst/>
              <a:gdLst/>
              <a:ahLst/>
              <a:cxnLst/>
              <a:rect l="l" t="t" r="r" b="b"/>
              <a:pathLst>
                <a:path w="3939" h="2994" extrusionOk="0">
                  <a:moveTo>
                    <a:pt x="3939" y="0"/>
                  </a:moveTo>
                  <a:lnTo>
                    <a:pt x="3939" y="0"/>
                  </a:lnTo>
                  <a:cubicBezTo>
                    <a:pt x="2048" y="0"/>
                    <a:pt x="473" y="1292"/>
                    <a:pt x="1" y="2993"/>
                  </a:cubicBezTo>
                  <a:lnTo>
                    <a:pt x="2174" y="2993"/>
                  </a:lnTo>
                  <a:cubicBezTo>
                    <a:pt x="2332" y="1418"/>
                    <a:pt x="2962" y="0"/>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3" name="Google Shape;7733;p73"/>
            <p:cNvSpPr/>
            <p:nvPr/>
          </p:nvSpPr>
          <p:spPr>
            <a:xfrm>
              <a:off x="-51517450" y="3218600"/>
              <a:ext cx="52000" cy="55950"/>
            </a:xfrm>
            <a:custGeom>
              <a:avLst/>
              <a:gdLst/>
              <a:ahLst/>
              <a:cxnLst/>
              <a:rect l="l" t="t" r="r" b="b"/>
              <a:pathLst>
                <a:path w="2080" h="2238" extrusionOk="0">
                  <a:moveTo>
                    <a:pt x="1009" y="1"/>
                  </a:moveTo>
                  <a:cubicBezTo>
                    <a:pt x="662" y="1"/>
                    <a:pt x="158" y="852"/>
                    <a:pt x="1" y="2238"/>
                  </a:cubicBezTo>
                  <a:lnTo>
                    <a:pt x="2080" y="2238"/>
                  </a:lnTo>
                  <a:cubicBezTo>
                    <a:pt x="1828" y="820"/>
                    <a:pt x="1355"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3"/>
            <p:cNvSpPr/>
            <p:nvPr/>
          </p:nvSpPr>
          <p:spPr>
            <a:xfrm>
              <a:off x="-51370950" y="3354075"/>
              <a:ext cx="18925" cy="64625"/>
            </a:xfrm>
            <a:custGeom>
              <a:avLst/>
              <a:gdLst/>
              <a:ahLst/>
              <a:cxnLst/>
              <a:rect l="l" t="t" r="r" b="b"/>
              <a:pathLst>
                <a:path w="757" h="2585" extrusionOk="0">
                  <a:moveTo>
                    <a:pt x="0" y="1"/>
                  </a:moveTo>
                  <a:lnTo>
                    <a:pt x="0" y="2584"/>
                  </a:lnTo>
                  <a:cubicBezTo>
                    <a:pt x="442" y="2301"/>
                    <a:pt x="757" y="1828"/>
                    <a:pt x="757" y="1324"/>
                  </a:cubicBezTo>
                  <a:cubicBezTo>
                    <a:pt x="757" y="725"/>
                    <a:pt x="442"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5" name="Google Shape;7735;p73"/>
          <p:cNvGrpSpPr/>
          <p:nvPr/>
        </p:nvGrpSpPr>
        <p:grpSpPr>
          <a:xfrm>
            <a:off x="6628676" y="1381018"/>
            <a:ext cx="365188" cy="357226"/>
            <a:chOff x="-56396775" y="3199700"/>
            <a:chExt cx="324525" cy="317450"/>
          </a:xfrm>
        </p:grpSpPr>
        <p:sp>
          <p:nvSpPr>
            <p:cNvPr id="7736" name="Google Shape;7736;p73"/>
            <p:cNvSpPr/>
            <p:nvPr/>
          </p:nvSpPr>
          <p:spPr>
            <a:xfrm>
              <a:off x="-56374725" y="3353300"/>
              <a:ext cx="18925" cy="63825"/>
            </a:xfrm>
            <a:custGeom>
              <a:avLst/>
              <a:gdLst/>
              <a:ahLst/>
              <a:cxnLst/>
              <a:rect l="l" t="t" r="r" b="b"/>
              <a:pathLst>
                <a:path w="757" h="2553" extrusionOk="0">
                  <a:moveTo>
                    <a:pt x="757" y="0"/>
                  </a:moveTo>
                  <a:cubicBezTo>
                    <a:pt x="316" y="284"/>
                    <a:pt x="1" y="756"/>
                    <a:pt x="1" y="1292"/>
                  </a:cubicBezTo>
                  <a:cubicBezTo>
                    <a:pt x="1" y="1859"/>
                    <a:pt x="316" y="2332"/>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7" name="Google Shape;7737;p73"/>
            <p:cNvSpPr/>
            <p:nvPr/>
          </p:nvSpPr>
          <p:spPr>
            <a:xfrm>
              <a:off x="-56333775" y="3199700"/>
              <a:ext cx="198500" cy="73275"/>
            </a:xfrm>
            <a:custGeom>
              <a:avLst/>
              <a:gdLst/>
              <a:ahLst/>
              <a:cxnLst/>
              <a:rect l="l" t="t" r="r" b="b"/>
              <a:pathLst>
                <a:path w="7940" h="2931" extrusionOk="0">
                  <a:moveTo>
                    <a:pt x="2112" y="1"/>
                  </a:moveTo>
                  <a:cubicBezTo>
                    <a:pt x="1292" y="1"/>
                    <a:pt x="536" y="599"/>
                    <a:pt x="347" y="1387"/>
                  </a:cubicBezTo>
                  <a:lnTo>
                    <a:pt x="1" y="2773"/>
                  </a:lnTo>
                  <a:cubicBezTo>
                    <a:pt x="253" y="2868"/>
                    <a:pt x="568" y="2931"/>
                    <a:pt x="977" y="2931"/>
                  </a:cubicBezTo>
                  <a:lnTo>
                    <a:pt x="6963" y="2931"/>
                  </a:lnTo>
                  <a:cubicBezTo>
                    <a:pt x="7341" y="2931"/>
                    <a:pt x="7625" y="2868"/>
                    <a:pt x="7940" y="2773"/>
                  </a:cubicBezTo>
                  <a:lnTo>
                    <a:pt x="7593" y="1387"/>
                  </a:lnTo>
                  <a:cubicBezTo>
                    <a:pt x="7404" y="568"/>
                    <a:pt x="6648" y="1"/>
                    <a:pt x="5829" y="1"/>
                  </a:cubicBezTo>
                  <a:cubicBezTo>
                    <a:pt x="5546" y="1"/>
                    <a:pt x="5262" y="64"/>
                    <a:pt x="4979" y="190"/>
                  </a:cubicBezTo>
                  <a:lnTo>
                    <a:pt x="3970" y="725"/>
                  </a:lnTo>
                  <a:lnTo>
                    <a:pt x="2931" y="190"/>
                  </a:lnTo>
                  <a:cubicBezTo>
                    <a:pt x="2710" y="64"/>
                    <a:pt x="2395" y="1"/>
                    <a:pt x="21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3"/>
            <p:cNvSpPr/>
            <p:nvPr/>
          </p:nvSpPr>
          <p:spPr>
            <a:xfrm>
              <a:off x="-56396775" y="3273325"/>
              <a:ext cx="324525" cy="58725"/>
            </a:xfrm>
            <a:custGeom>
              <a:avLst/>
              <a:gdLst/>
              <a:ahLst/>
              <a:cxnLst/>
              <a:rect l="l" t="t" r="r" b="b"/>
              <a:pathLst>
                <a:path w="12981" h="2349" extrusionOk="0">
                  <a:moveTo>
                    <a:pt x="905" y="1"/>
                  </a:moveTo>
                  <a:cubicBezTo>
                    <a:pt x="606" y="1"/>
                    <a:pt x="325" y="165"/>
                    <a:pt x="189" y="458"/>
                  </a:cubicBezTo>
                  <a:cubicBezTo>
                    <a:pt x="0" y="836"/>
                    <a:pt x="158" y="1309"/>
                    <a:pt x="536" y="1498"/>
                  </a:cubicBezTo>
                  <a:cubicBezTo>
                    <a:pt x="1292" y="1876"/>
                    <a:pt x="2111" y="2349"/>
                    <a:pt x="3497" y="2349"/>
                  </a:cubicBezTo>
                  <a:lnTo>
                    <a:pt x="9483" y="2349"/>
                  </a:lnTo>
                  <a:cubicBezTo>
                    <a:pt x="10870" y="2349"/>
                    <a:pt x="11689" y="1908"/>
                    <a:pt x="12445" y="1498"/>
                  </a:cubicBezTo>
                  <a:cubicBezTo>
                    <a:pt x="12823" y="1277"/>
                    <a:pt x="12980" y="805"/>
                    <a:pt x="12791" y="458"/>
                  </a:cubicBezTo>
                  <a:cubicBezTo>
                    <a:pt x="12656" y="165"/>
                    <a:pt x="12375" y="1"/>
                    <a:pt x="12076" y="1"/>
                  </a:cubicBezTo>
                  <a:cubicBezTo>
                    <a:pt x="11958" y="1"/>
                    <a:pt x="11836" y="27"/>
                    <a:pt x="11720" y="80"/>
                  </a:cubicBezTo>
                  <a:cubicBezTo>
                    <a:pt x="10964" y="458"/>
                    <a:pt x="10460" y="773"/>
                    <a:pt x="9483" y="773"/>
                  </a:cubicBezTo>
                  <a:lnTo>
                    <a:pt x="3497" y="773"/>
                  </a:lnTo>
                  <a:cubicBezTo>
                    <a:pt x="2521" y="773"/>
                    <a:pt x="1985" y="490"/>
                    <a:pt x="1261" y="80"/>
                  </a:cubicBezTo>
                  <a:cubicBezTo>
                    <a:pt x="1144" y="27"/>
                    <a:pt x="1023" y="1"/>
                    <a:pt x="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3"/>
            <p:cNvSpPr/>
            <p:nvPr/>
          </p:nvSpPr>
          <p:spPr>
            <a:xfrm>
              <a:off x="-56336925" y="3346200"/>
              <a:ext cx="204800" cy="78800"/>
            </a:xfrm>
            <a:custGeom>
              <a:avLst/>
              <a:gdLst/>
              <a:ahLst/>
              <a:cxnLst/>
              <a:rect l="l" t="t" r="r" b="b"/>
              <a:pathLst>
                <a:path w="8192" h="3152" extrusionOk="0">
                  <a:moveTo>
                    <a:pt x="2584" y="883"/>
                  </a:moveTo>
                  <a:cubicBezTo>
                    <a:pt x="2805" y="883"/>
                    <a:pt x="2962" y="1040"/>
                    <a:pt x="2962" y="1229"/>
                  </a:cubicBezTo>
                  <a:cubicBezTo>
                    <a:pt x="2962" y="1418"/>
                    <a:pt x="2836" y="1576"/>
                    <a:pt x="2584" y="1576"/>
                  </a:cubicBezTo>
                  <a:cubicBezTo>
                    <a:pt x="2395" y="1576"/>
                    <a:pt x="2238" y="1418"/>
                    <a:pt x="2238" y="1229"/>
                  </a:cubicBezTo>
                  <a:cubicBezTo>
                    <a:pt x="2238" y="1040"/>
                    <a:pt x="2395" y="883"/>
                    <a:pt x="2584" y="883"/>
                  </a:cubicBezTo>
                  <a:close/>
                  <a:moveTo>
                    <a:pt x="5577" y="883"/>
                  </a:moveTo>
                  <a:cubicBezTo>
                    <a:pt x="5798" y="883"/>
                    <a:pt x="5955" y="1040"/>
                    <a:pt x="5955" y="1229"/>
                  </a:cubicBezTo>
                  <a:cubicBezTo>
                    <a:pt x="5955" y="1418"/>
                    <a:pt x="5798" y="1576"/>
                    <a:pt x="5577" y="1576"/>
                  </a:cubicBezTo>
                  <a:cubicBezTo>
                    <a:pt x="5388" y="1576"/>
                    <a:pt x="5231" y="1418"/>
                    <a:pt x="5231" y="1229"/>
                  </a:cubicBezTo>
                  <a:cubicBezTo>
                    <a:pt x="5231" y="1040"/>
                    <a:pt x="5388" y="883"/>
                    <a:pt x="5577" y="883"/>
                  </a:cubicBezTo>
                  <a:close/>
                  <a:moveTo>
                    <a:pt x="1" y="1"/>
                  </a:moveTo>
                  <a:lnTo>
                    <a:pt x="1" y="2679"/>
                  </a:lnTo>
                  <a:cubicBezTo>
                    <a:pt x="1" y="2836"/>
                    <a:pt x="1" y="2994"/>
                    <a:pt x="32" y="3151"/>
                  </a:cubicBezTo>
                  <a:lnTo>
                    <a:pt x="3970" y="1576"/>
                  </a:lnTo>
                  <a:cubicBezTo>
                    <a:pt x="4018" y="1560"/>
                    <a:pt x="4065" y="1552"/>
                    <a:pt x="4112" y="1552"/>
                  </a:cubicBezTo>
                  <a:cubicBezTo>
                    <a:pt x="4159" y="1552"/>
                    <a:pt x="4207" y="1560"/>
                    <a:pt x="4254" y="1576"/>
                  </a:cubicBezTo>
                  <a:lnTo>
                    <a:pt x="8161" y="3151"/>
                  </a:lnTo>
                  <a:cubicBezTo>
                    <a:pt x="8192" y="2962"/>
                    <a:pt x="8192" y="2710"/>
                    <a:pt x="8192" y="2521"/>
                  </a:cubicBezTo>
                  <a:lnTo>
                    <a:pt x="8192" y="1"/>
                  </a:lnTo>
                  <a:cubicBezTo>
                    <a:pt x="7877" y="95"/>
                    <a:pt x="7467" y="127"/>
                    <a:pt x="7089" y="127"/>
                  </a:cubicBezTo>
                  <a:lnTo>
                    <a:pt x="1103" y="127"/>
                  </a:lnTo>
                  <a:cubicBezTo>
                    <a:pt x="694" y="127"/>
                    <a:pt x="316" y="95"/>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3"/>
            <p:cNvSpPr/>
            <p:nvPr/>
          </p:nvSpPr>
          <p:spPr>
            <a:xfrm>
              <a:off x="-56332200" y="3406850"/>
              <a:ext cx="193775" cy="110300"/>
            </a:xfrm>
            <a:custGeom>
              <a:avLst/>
              <a:gdLst/>
              <a:ahLst/>
              <a:cxnLst/>
              <a:rect l="l" t="t" r="r" b="b"/>
              <a:pathLst>
                <a:path w="7751" h="4412" extrusionOk="0">
                  <a:moveTo>
                    <a:pt x="3907" y="1"/>
                  </a:moveTo>
                  <a:lnTo>
                    <a:pt x="1" y="1513"/>
                  </a:lnTo>
                  <a:cubicBezTo>
                    <a:pt x="190" y="2237"/>
                    <a:pt x="599" y="2868"/>
                    <a:pt x="1135" y="3340"/>
                  </a:cubicBezTo>
                  <a:cubicBezTo>
                    <a:pt x="1891" y="4033"/>
                    <a:pt x="2868" y="4411"/>
                    <a:pt x="3907" y="4411"/>
                  </a:cubicBezTo>
                  <a:lnTo>
                    <a:pt x="4285" y="4411"/>
                  </a:lnTo>
                  <a:cubicBezTo>
                    <a:pt x="5924" y="4254"/>
                    <a:pt x="7247" y="3057"/>
                    <a:pt x="7751" y="1513"/>
                  </a:cubicBezTo>
                  <a:lnTo>
                    <a:pt x="39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3"/>
            <p:cNvSpPr/>
            <p:nvPr/>
          </p:nvSpPr>
          <p:spPr>
            <a:xfrm>
              <a:off x="-56113225" y="3354075"/>
              <a:ext cx="18125" cy="64625"/>
            </a:xfrm>
            <a:custGeom>
              <a:avLst/>
              <a:gdLst/>
              <a:ahLst/>
              <a:cxnLst/>
              <a:rect l="l" t="t" r="r" b="b"/>
              <a:pathLst>
                <a:path w="725" h="2585" extrusionOk="0">
                  <a:moveTo>
                    <a:pt x="0" y="1"/>
                  </a:moveTo>
                  <a:lnTo>
                    <a:pt x="0" y="2584"/>
                  </a:lnTo>
                  <a:cubicBezTo>
                    <a:pt x="410" y="2332"/>
                    <a:pt x="725" y="1828"/>
                    <a:pt x="725" y="1261"/>
                  </a:cubicBezTo>
                  <a:cubicBezTo>
                    <a:pt x="725" y="725"/>
                    <a:pt x="473"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2" name="Google Shape;7742;p73"/>
          <p:cNvGrpSpPr/>
          <p:nvPr/>
        </p:nvGrpSpPr>
        <p:grpSpPr>
          <a:xfrm>
            <a:off x="6631771" y="1846953"/>
            <a:ext cx="358999" cy="335958"/>
            <a:chOff x="-56394425" y="3600600"/>
            <a:chExt cx="319025" cy="298550"/>
          </a:xfrm>
        </p:grpSpPr>
        <p:sp>
          <p:nvSpPr>
            <p:cNvPr id="7743" name="Google Shape;7743;p73"/>
            <p:cNvSpPr/>
            <p:nvPr/>
          </p:nvSpPr>
          <p:spPr>
            <a:xfrm>
              <a:off x="-56272325" y="3861300"/>
              <a:ext cx="74825" cy="37850"/>
            </a:xfrm>
            <a:custGeom>
              <a:avLst/>
              <a:gdLst/>
              <a:ahLst/>
              <a:cxnLst/>
              <a:rect l="l" t="t" r="r" b="b"/>
              <a:pathLst>
                <a:path w="2993" h="1514" extrusionOk="0">
                  <a:moveTo>
                    <a:pt x="1512" y="1"/>
                  </a:moveTo>
                  <a:cubicBezTo>
                    <a:pt x="851" y="1"/>
                    <a:pt x="284" y="442"/>
                    <a:pt x="95" y="1041"/>
                  </a:cubicBezTo>
                  <a:cubicBezTo>
                    <a:pt x="0" y="1261"/>
                    <a:pt x="221" y="1513"/>
                    <a:pt x="441" y="1513"/>
                  </a:cubicBezTo>
                  <a:lnTo>
                    <a:pt x="2584" y="1513"/>
                  </a:lnTo>
                  <a:cubicBezTo>
                    <a:pt x="2804" y="1513"/>
                    <a:pt x="2993" y="1261"/>
                    <a:pt x="2930" y="1041"/>
                  </a:cubicBezTo>
                  <a:cubicBezTo>
                    <a:pt x="2741" y="442"/>
                    <a:pt x="2174" y="1"/>
                    <a:pt x="15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3"/>
            <p:cNvSpPr/>
            <p:nvPr/>
          </p:nvSpPr>
          <p:spPr>
            <a:xfrm>
              <a:off x="-56297550" y="3600600"/>
              <a:ext cx="126050" cy="71700"/>
            </a:xfrm>
            <a:custGeom>
              <a:avLst/>
              <a:gdLst/>
              <a:ahLst/>
              <a:cxnLst/>
              <a:rect l="l" t="t" r="r" b="b"/>
              <a:pathLst>
                <a:path w="5042" h="2868" extrusionOk="0">
                  <a:moveTo>
                    <a:pt x="2521" y="1"/>
                  </a:moveTo>
                  <a:cubicBezTo>
                    <a:pt x="1576" y="1"/>
                    <a:pt x="694" y="316"/>
                    <a:pt x="1" y="851"/>
                  </a:cubicBezTo>
                  <a:lnTo>
                    <a:pt x="2521" y="2868"/>
                  </a:lnTo>
                  <a:lnTo>
                    <a:pt x="5042" y="851"/>
                  </a:lnTo>
                  <a:cubicBezTo>
                    <a:pt x="4317" y="316"/>
                    <a:pt x="3467"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3"/>
            <p:cNvSpPr/>
            <p:nvPr/>
          </p:nvSpPr>
          <p:spPr>
            <a:xfrm>
              <a:off x="-56394425" y="3635275"/>
              <a:ext cx="319025" cy="233925"/>
            </a:xfrm>
            <a:custGeom>
              <a:avLst/>
              <a:gdLst/>
              <a:ahLst/>
              <a:cxnLst/>
              <a:rect l="l" t="t" r="r" b="b"/>
              <a:pathLst>
                <a:path w="12761" h="9357" extrusionOk="0">
                  <a:moveTo>
                    <a:pt x="4884" y="3844"/>
                  </a:moveTo>
                  <a:cubicBezTo>
                    <a:pt x="5105" y="3844"/>
                    <a:pt x="5262" y="4001"/>
                    <a:pt x="5262" y="4190"/>
                  </a:cubicBezTo>
                  <a:cubicBezTo>
                    <a:pt x="5262" y="4411"/>
                    <a:pt x="5105" y="4537"/>
                    <a:pt x="4884" y="4537"/>
                  </a:cubicBezTo>
                  <a:cubicBezTo>
                    <a:pt x="4859" y="4545"/>
                    <a:pt x="4835" y="4549"/>
                    <a:pt x="4811" y="4549"/>
                  </a:cubicBezTo>
                  <a:cubicBezTo>
                    <a:pt x="4656" y="4549"/>
                    <a:pt x="4538" y="4381"/>
                    <a:pt x="4538" y="4190"/>
                  </a:cubicBezTo>
                  <a:cubicBezTo>
                    <a:pt x="4538" y="4001"/>
                    <a:pt x="4695" y="3844"/>
                    <a:pt x="4884" y="3844"/>
                  </a:cubicBezTo>
                  <a:close/>
                  <a:moveTo>
                    <a:pt x="7877" y="3875"/>
                  </a:moveTo>
                  <a:cubicBezTo>
                    <a:pt x="8098" y="3875"/>
                    <a:pt x="8255" y="4033"/>
                    <a:pt x="8255" y="4253"/>
                  </a:cubicBezTo>
                  <a:cubicBezTo>
                    <a:pt x="8287" y="4411"/>
                    <a:pt x="8098" y="4600"/>
                    <a:pt x="7877" y="4600"/>
                  </a:cubicBezTo>
                  <a:cubicBezTo>
                    <a:pt x="7688" y="4600"/>
                    <a:pt x="7531" y="4442"/>
                    <a:pt x="7531" y="4253"/>
                  </a:cubicBezTo>
                  <a:cubicBezTo>
                    <a:pt x="7531" y="4033"/>
                    <a:pt x="7688" y="3875"/>
                    <a:pt x="7877" y="3875"/>
                  </a:cubicBezTo>
                  <a:close/>
                  <a:moveTo>
                    <a:pt x="1072" y="4757"/>
                  </a:moveTo>
                  <a:cubicBezTo>
                    <a:pt x="1356" y="5104"/>
                    <a:pt x="1797" y="5356"/>
                    <a:pt x="2301" y="5356"/>
                  </a:cubicBezTo>
                  <a:cubicBezTo>
                    <a:pt x="2301" y="5734"/>
                    <a:pt x="1954" y="6080"/>
                    <a:pt x="1513" y="6080"/>
                  </a:cubicBezTo>
                  <a:cubicBezTo>
                    <a:pt x="1104" y="6080"/>
                    <a:pt x="757" y="5734"/>
                    <a:pt x="757" y="5356"/>
                  </a:cubicBezTo>
                  <a:cubicBezTo>
                    <a:pt x="757" y="5104"/>
                    <a:pt x="883" y="4883"/>
                    <a:pt x="1072" y="4757"/>
                  </a:cubicBezTo>
                  <a:close/>
                  <a:moveTo>
                    <a:pt x="11721" y="4757"/>
                  </a:moveTo>
                  <a:cubicBezTo>
                    <a:pt x="11910" y="4883"/>
                    <a:pt x="12036" y="5104"/>
                    <a:pt x="12036" y="5356"/>
                  </a:cubicBezTo>
                  <a:cubicBezTo>
                    <a:pt x="12036" y="5734"/>
                    <a:pt x="11658" y="6080"/>
                    <a:pt x="11280" y="6080"/>
                  </a:cubicBezTo>
                  <a:cubicBezTo>
                    <a:pt x="10870" y="6080"/>
                    <a:pt x="10492" y="5734"/>
                    <a:pt x="10492" y="5356"/>
                  </a:cubicBezTo>
                  <a:cubicBezTo>
                    <a:pt x="10965" y="5356"/>
                    <a:pt x="11437" y="5104"/>
                    <a:pt x="11721" y="4757"/>
                  </a:cubicBezTo>
                  <a:close/>
                  <a:moveTo>
                    <a:pt x="7448" y="6403"/>
                  </a:moveTo>
                  <a:cubicBezTo>
                    <a:pt x="7538" y="6403"/>
                    <a:pt x="7625" y="6443"/>
                    <a:pt x="7688" y="6521"/>
                  </a:cubicBezTo>
                  <a:cubicBezTo>
                    <a:pt x="7846" y="6648"/>
                    <a:pt x="7846" y="6868"/>
                    <a:pt x="7720" y="7026"/>
                  </a:cubicBezTo>
                  <a:cubicBezTo>
                    <a:pt x="7373" y="7372"/>
                    <a:pt x="6900" y="7593"/>
                    <a:pt x="6428" y="7593"/>
                  </a:cubicBezTo>
                  <a:cubicBezTo>
                    <a:pt x="5924" y="7593"/>
                    <a:pt x="5451" y="7372"/>
                    <a:pt x="5105" y="7026"/>
                  </a:cubicBezTo>
                  <a:cubicBezTo>
                    <a:pt x="4947" y="6868"/>
                    <a:pt x="4947" y="6648"/>
                    <a:pt x="5105" y="6521"/>
                  </a:cubicBezTo>
                  <a:cubicBezTo>
                    <a:pt x="5183" y="6443"/>
                    <a:pt x="5278" y="6403"/>
                    <a:pt x="5369" y="6403"/>
                  </a:cubicBezTo>
                  <a:cubicBezTo>
                    <a:pt x="5459" y="6403"/>
                    <a:pt x="5546" y="6443"/>
                    <a:pt x="5609" y="6521"/>
                  </a:cubicBezTo>
                  <a:cubicBezTo>
                    <a:pt x="5829" y="6742"/>
                    <a:pt x="6113" y="6852"/>
                    <a:pt x="6396" y="6852"/>
                  </a:cubicBezTo>
                  <a:cubicBezTo>
                    <a:pt x="6680" y="6852"/>
                    <a:pt x="6963" y="6742"/>
                    <a:pt x="7184" y="6521"/>
                  </a:cubicBezTo>
                  <a:cubicBezTo>
                    <a:pt x="7263" y="6443"/>
                    <a:pt x="7357" y="6403"/>
                    <a:pt x="7448" y="6403"/>
                  </a:cubicBezTo>
                  <a:close/>
                  <a:moveTo>
                    <a:pt x="3277" y="0"/>
                  </a:moveTo>
                  <a:cubicBezTo>
                    <a:pt x="2742" y="630"/>
                    <a:pt x="2364" y="1449"/>
                    <a:pt x="2301" y="2363"/>
                  </a:cubicBezTo>
                  <a:lnTo>
                    <a:pt x="2269" y="2363"/>
                  </a:lnTo>
                  <a:cubicBezTo>
                    <a:pt x="1419" y="2363"/>
                    <a:pt x="725" y="3024"/>
                    <a:pt x="725" y="3844"/>
                  </a:cubicBezTo>
                  <a:cubicBezTo>
                    <a:pt x="725" y="3938"/>
                    <a:pt x="725" y="3970"/>
                    <a:pt x="757" y="4033"/>
                  </a:cubicBezTo>
                  <a:cubicBezTo>
                    <a:pt x="284" y="4316"/>
                    <a:pt x="1" y="4789"/>
                    <a:pt x="1" y="5356"/>
                  </a:cubicBezTo>
                  <a:cubicBezTo>
                    <a:pt x="1" y="6175"/>
                    <a:pt x="694" y="6837"/>
                    <a:pt x="1513" y="6837"/>
                  </a:cubicBezTo>
                  <a:cubicBezTo>
                    <a:pt x="1828" y="6837"/>
                    <a:pt x="2143" y="6774"/>
                    <a:pt x="2364" y="6553"/>
                  </a:cubicBezTo>
                  <a:cubicBezTo>
                    <a:pt x="2616" y="7750"/>
                    <a:pt x="3403" y="8821"/>
                    <a:pt x="4506" y="9357"/>
                  </a:cubicBezTo>
                  <a:cubicBezTo>
                    <a:pt x="4884" y="8727"/>
                    <a:pt x="5609" y="8349"/>
                    <a:pt x="6396" y="8349"/>
                  </a:cubicBezTo>
                  <a:cubicBezTo>
                    <a:pt x="7184" y="8349"/>
                    <a:pt x="7877" y="8727"/>
                    <a:pt x="8287" y="9357"/>
                  </a:cubicBezTo>
                  <a:cubicBezTo>
                    <a:pt x="9389" y="8821"/>
                    <a:pt x="10145" y="7782"/>
                    <a:pt x="10398" y="6553"/>
                  </a:cubicBezTo>
                  <a:cubicBezTo>
                    <a:pt x="10650" y="6711"/>
                    <a:pt x="10965" y="6837"/>
                    <a:pt x="11280" y="6837"/>
                  </a:cubicBezTo>
                  <a:cubicBezTo>
                    <a:pt x="12099" y="6837"/>
                    <a:pt x="12760" y="6175"/>
                    <a:pt x="12760" y="5356"/>
                  </a:cubicBezTo>
                  <a:cubicBezTo>
                    <a:pt x="12760" y="4789"/>
                    <a:pt x="12445" y="4285"/>
                    <a:pt x="11973" y="4033"/>
                  </a:cubicBezTo>
                  <a:lnTo>
                    <a:pt x="11973" y="3844"/>
                  </a:lnTo>
                  <a:cubicBezTo>
                    <a:pt x="11973" y="3024"/>
                    <a:pt x="11280" y="2363"/>
                    <a:pt x="10461" y="2363"/>
                  </a:cubicBezTo>
                  <a:lnTo>
                    <a:pt x="10398" y="2363"/>
                  </a:lnTo>
                  <a:cubicBezTo>
                    <a:pt x="10335" y="1449"/>
                    <a:pt x="9988" y="662"/>
                    <a:pt x="9421" y="0"/>
                  </a:cubicBezTo>
                  <a:lnTo>
                    <a:pt x="6585" y="2268"/>
                  </a:lnTo>
                  <a:cubicBezTo>
                    <a:pt x="6522" y="2300"/>
                    <a:pt x="6428" y="2363"/>
                    <a:pt x="6365" y="2363"/>
                  </a:cubicBezTo>
                  <a:cubicBezTo>
                    <a:pt x="6270" y="2363"/>
                    <a:pt x="6207" y="2300"/>
                    <a:pt x="6113" y="2268"/>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6" name="Google Shape;7746;p73"/>
          <p:cNvGrpSpPr/>
          <p:nvPr/>
        </p:nvGrpSpPr>
        <p:grpSpPr>
          <a:xfrm>
            <a:off x="6662538" y="2277717"/>
            <a:ext cx="327068" cy="357198"/>
            <a:chOff x="-56379450" y="3983400"/>
            <a:chExt cx="290650" cy="317425"/>
          </a:xfrm>
        </p:grpSpPr>
        <p:sp>
          <p:nvSpPr>
            <p:cNvPr id="7747" name="Google Shape;7747;p73"/>
            <p:cNvSpPr/>
            <p:nvPr/>
          </p:nvSpPr>
          <p:spPr>
            <a:xfrm>
              <a:off x="-56330625" y="3983400"/>
              <a:ext cx="241825" cy="111075"/>
            </a:xfrm>
            <a:custGeom>
              <a:avLst/>
              <a:gdLst/>
              <a:ahLst/>
              <a:cxnLst/>
              <a:rect l="l" t="t" r="r" b="b"/>
              <a:pathLst>
                <a:path w="9673" h="4443" extrusionOk="0">
                  <a:moveTo>
                    <a:pt x="725" y="0"/>
                  </a:moveTo>
                  <a:cubicBezTo>
                    <a:pt x="536" y="0"/>
                    <a:pt x="410" y="126"/>
                    <a:pt x="379" y="315"/>
                  </a:cubicBezTo>
                  <a:lnTo>
                    <a:pt x="1" y="2300"/>
                  </a:lnTo>
                  <a:cubicBezTo>
                    <a:pt x="129" y="2274"/>
                    <a:pt x="257" y="2262"/>
                    <a:pt x="382" y="2262"/>
                  </a:cubicBezTo>
                  <a:cubicBezTo>
                    <a:pt x="869" y="2262"/>
                    <a:pt x="1320" y="2453"/>
                    <a:pt x="1671" y="2804"/>
                  </a:cubicBezTo>
                  <a:cubicBezTo>
                    <a:pt x="2017" y="2473"/>
                    <a:pt x="2498" y="2308"/>
                    <a:pt x="2978" y="2308"/>
                  </a:cubicBezTo>
                  <a:cubicBezTo>
                    <a:pt x="3458" y="2308"/>
                    <a:pt x="3939" y="2473"/>
                    <a:pt x="4285" y="2804"/>
                  </a:cubicBezTo>
                  <a:cubicBezTo>
                    <a:pt x="4636" y="2453"/>
                    <a:pt x="5107" y="2262"/>
                    <a:pt x="5602" y="2262"/>
                  </a:cubicBezTo>
                  <a:cubicBezTo>
                    <a:pt x="5729" y="2262"/>
                    <a:pt x="5858" y="2274"/>
                    <a:pt x="5987" y="2300"/>
                  </a:cubicBezTo>
                  <a:lnTo>
                    <a:pt x="5766" y="1292"/>
                  </a:lnTo>
                  <a:lnTo>
                    <a:pt x="7625" y="2741"/>
                  </a:lnTo>
                  <a:cubicBezTo>
                    <a:pt x="7499" y="2899"/>
                    <a:pt x="7467" y="3119"/>
                    <a:pt x="7467" y="3340"/>
                  </a:cubicBezTo>
                  <a:cubicBezTo>
                    <a:pt x="7467" y="3970"/>
                    <a:pt x="7972" y="4442"/>
                    <a:pt x="8570" y="4442"/>
                  </a:cubicBezTo>
                  <a:cubicBezTo>
                    <a:pt x="9200" y="4442"/>
                    <a:pt x="9673" y="3938"/>
                    <a:pt x="9673" y="3340"/>
                  </a:cubicBezTo>
                  <a:cubicBezTo>
                    <a:pt x="9673" y="2678"/>
                    <a:pt x="9169" y="2205"/>
                    <a:pt x="8570" y="2205"/>
                  </a:cubicBezTo>
                  <a:cubicBezTo>
                    <a:pt x="8444" y="2205"/>
                    <a:pt x="8318" y="2237"/>
                    <a:pt x="8224" y="2300"/>
                  </a:cubicBezTo>
                  <a:lnTo>
                    <a:pt x="5451" y="63"/>
                  </a:lnTo>
                  <a:lnTo>
                    <a:pt x="5420" y="63"/>
                  </a:lnTo>
                  <a:cubicBezTo>
                    <a:pt x="5325" y="32"/>
                    <a:pt x="5262"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8" name="Google Shape;7748;p73"/>
            <p:cNvSpPr/>
            <p:nvPr/>
          </p:nvSpPr>
          <p:spPr>
            <a:xfrm>
              <a:off x="-56350300" y="4058225"/>
              <a:ext cx="186675" cy="55150"/>
            </a:xfrm>
            <a:custGeom>
              <a:avLst/>
              <a:gdLst/>
              <a:ahLst/>
              <a:cxnLst/>
              <a:rect l="l" t="t" r="r" b="b"/>
              <a:pathLst>
                <a:path w="7467" h="2206" extrusionOk="0">
                  <a:moveTo>
                    <a:pt x="1103" y="0"/>
                  </a:moveTo>
                  <a:cubicBezTo>
                    <a:pt x="441" y="0"/>
                    <a:pt x="0" y="504"/>
                    <a:pt x="0" y="1103"/>
                  </a:cubicBezTo>
                  <a:cubicBezTo>
                    <a:pt x="32" y="1701"/>
                    <a:pt x="504" y="2205"/>
                    <a:pt x="1134" y="2205"/>
                  </a:cubicBezTo>
                  <a:cubicBezTo>
                    <a:pt x="1512" y="2205"/>
                    <a:pt x="1922" y="1985"/>
                    <a:pt x="2111" y="1607"/>
                  </a:cubicBezTo>
                  <a:cubicBezTo>
                    <a:pt x="2174" y="1497"/>
                    <a:pt x="2300" y="1441"/>
                    <a:pt x="2430" y="1441"/>
                  </a:cubicBezTo>
                  <a:cubicBezTo>
                    <a:pt x="2560" y="1441"/>
                    <a:pt x="2694" y="1497"/>
                    <a:pt x="2773" y="1607"/>
                  </a:cubicBezTo>
                  <a:cubicBezTo>
                    <a:pt x="2962" y="1985"/>
                    <a:pt x="3371" y="2205"/>
                    <a:pt x="3749" y="2205"/>
                  </a:cubicBezTo>
                  <a:cubicBezTo>
                    <a:pt x="4159" y="2205"/>
                    <a:pt x="4537" y="1985"/>
                    <a:pt x="4757" y="1607"/>
                  </a:cubicBezTo>
                  <a:cubicBezTo>
                    <a:pt x="4820" y="1512"/>
                    <a:pt x="4946" y="1418"/>
                    <a:pt x="5072" y="1418"/>
                  </a:cubicBezTo>
                  <a:cubicBezTo>
                    <a:pt x="5167" y="1418"/>
                    <a:pt x="5325" y="1512"/>
                    <a:pt x="5388" y="1607"/>
                  </a:cubicBezTo>
                  <a:cubicBezTo>
                    <a:pt x="5577" y="1985"/>
                    <a:pt x="5955" y="2205"/>
                    <a:pt x="6364" y="2205"/>
                  </a:cubicBezTo>
                  <a:cubicBezTo>
                    <a:pt x="6994" y="2205"/>
                    <a:pt x="7467" y="1701"/>
                    <a:pt x="7467" y="1103"/>
                  </a:cubicBezTo>
                  <a:cubicBezTo>
                    <a:pt x="7467" y="473"/>
                    <a:pt x="6963" y="0"/>
                    <a:pt x="6364" y="0"/>
                  </a:cubicBezTo>
                  <a:cubicBezTo>
                    <a:pt x="5955" y="0"/>
                    <a:pt x="5577" y="252"/>
                    <a:pt x="5388" y="599"/>
                  </a:cubicBezTo>
                  <a:cubicBezTo>
                    <a:pt x="5325" y="709"/>
                    <a:pt x="5191" y="764"/>
                    <a:pt x="5057" y="764"/>
                  </a:cubicBezTo>
                  <a:cubicBezTo>
                    <a:pt x="4923" y="764"/>
                    <a:pt x="4789" y="709"/>
                    <a:pt x="4726" y="599"/>
                  </a:cubicBezTo>
                  <a:cubicBezTo>
                    <a:pt x="4505" y="252"/>
                    <a:pt x="4127" y="0"/>
                    <a:pt x="3718" y="0"/>
                  </a:cubicBezTo>
                  <a:cubicBezTo>
                    <a:pt x="3340" y="0"/>
                    <a:pt x="2930" y="252"/>
                    <a:pt x="2741" y="599"/>
                  </a:cubicBezTo>
                  <a:cubicBezTo>
                    <a:pt x="2678" y="709"/>
                    <a:pt x="2552" y="764"/>
                    <a:pt x="2422" y="764"/>
                  </a:cubicBezTo>
                  <a:cubicBezTo>
                    <a:pt x="2292" y="764"/>
                    <a:pt x="2158" y="709"/>
                    <a:pt x="2079" y="599"/>
                  </a:cubicBezTo>
                  <a:cubicBezTo>
                    <a:pt x="1890" y="252"/>
                    <a:pt x="148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3"/>
            <p:cNvSpPr/>
            <p:nvPr/>
          </p:nvSpPr>
          <p:spPr>
            <a:xfrm>
              <a:off x="-56245550" y="4168275"/>
              <a:ext cx="78000" cy="26600"/>
            </a:xfrm>
            <a:custGeom>
              <a:avLst/>
              <a:gdLst/>
              <a:ahLst/>
              <a:cxnLst/>
              <a:rect l="l" t="t" r="r" b="b"/>
              <a:pathLst>
                <a:path w="3120" h="1064" extrusionOk="0">
                  <a:moveTo>
                    <a:pt x="594" y="1"/>
                  </a:moveTo>
                  <a:cubicBezTo>
                    <a:pt x="555" y="1"/>
                    <a:pt x="515" y="4"/>
                    <a:pt x="473" y="9"/>
                  </a:cubicBezTo>
                  <a:cubicBezTo>
                    <a:pt x="284" y="40"/>
                    <a:pt x="126" y="166"/>
                    <a:pt x="0" y="324"/>
                  </a:cubicBezTo>
                  <a:lnTo>
                    <a:pt x="158" y="481"/>
                  </a:lnTo>
                  <a:cubicBezTo>
                    <a:pt x="410" y="733"/>
                    <a:pt x="630" y="891"/>
                    <a:pt x="945" y="954"/>
                  </a:cubicBezTo>
                  <a:cubicBezTo>
                    <a:pt x="1153" y="1029"/>
                    <a:pt x="1367" y="1064"/>
                    <a:pt x="1579" y="1064"/>
                  </a:cubicBezTo>
                  <a:cubicBezTo>
                    <a:pt x="2172" y="1064"/>
                    <a:pt x="2748" y="788"/>
                    <a:pt x="3119" y="324"/>
                  </a:cubicBezTo>
                  <a:lnTo>
                    <a:pt x="3119" y="324"/>
                  </a:lnTo>
                  <a:lnTo>
                    <a:pt x="2521" y="513"/>
                  </a:lnTo>
                  <a:cubicBezTo>
                    <a:pt x="2355" y="596"/>
                    <a:pt x="2183" y="634"/>
                    <a:pt x="2013" y="634"/>
                  </a:cubicBezTo>
                  <a:cubicBezTo>
                    <a:pt x="1665" y="634"/>
                    <a:pt x="1325" y="473"/>
                    <a:pt x="1071" y="198"/>
                  </a:cubicBezTo>
                  <a:cubicBezTo>
                    <a:pt x="940" y="67"/>
                    <a:pt x="787" y="1"/>
                    <a:pt x="5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3"/>
            <p:cNvSpPr/>
            <p:nvPr/>
          </p:nvSpPr>
          <p:spPr>
            <a:xfrm>
              <a:off x="-56359750" y="4112550"/>
              <a:ext cx="204800" cy="53100"/>
            </a:xfrm>
            <a:custGeom>
              <a:avLst/>
              <a:gdLst/>
              <a:ahLst/>
              <a:cxnLst/>
              <a:rect l="l" t="t" r="r" b="b"/>
              <a:pathLst>
                <a:path w="8192" h="2124" extrusionOk="0">
                  <a:moveTo>
                    <a:pt x="0" y="1"/>
                  </a:moveTo>
                  <a:lnTo>
                    <a:pt x="0" y="1608"/>
                  </a:lnTo>
                  <a:lnTo>
                    <a:pt x="1386" y="2080"/>
                  </a:lnTo>
                  <a:cubicBezTo>
                    <a:pt x="1455" y="2109"/>
                    <a:pt x="1529" y="2124"/>
                    <a:pt x="1605" y="2124"/>
                  </a:cubicBezTo>
                  <a:cubicBezTo>
                    <a:pt x="1773" y="2124"/>
                    <a:pt x="1949" y="2053"/>
                    <a:pt x="2079" y="1923"/>
                  </a:cubicBezTo>
                  <a:cubicBezTo>
                    <a:pt x="2333" y="1669"/>
                    <a:pt x="2689" y="1517"/>
                    <a:pt x="3048" y="1517"/>
                  </a:cubicBezTo>
                  <a:cubicBezTo>
                    <a:pt x="3135" y="1517"/>
                    <a:pt x="3222" y="1526"/>
                    <a:pt x="3308" y="1545"/>
                  </a:cubicBezTo>
                  <a:cubicBezTo>
                    <a:pt x="3623" y="1576"/>
                    <a:pt x="3907" y="1734"/>
                    <a:pt x="4096" y="1954"/>
                  </a:cubicBezTo>
                  <a:cubicBezTo>
                    <a:pt x="4316" y="1734"/>
                    <a:pt x="4568" y="1576"/>
                    <a:pt x="4883" y="1545"/>
                  </a:cubicBezTo>
                  <a:cubicBezTo>
                    <a:pt x="4975" y="1526"/>
                    <a:pt x="5066" y="1517"/>
                    <a:pt x="5155" y="1517"/>
                  </a:cubicBezTo>
                  <a:cubicBezTo>
                    <a:pt x="5523" y="1517"/>
                    <a:pt x="5858" y="1669"/>
                    <a:pt x="6112" y="1923"/>
                  </a:cubicBezTo>
                  <a:cubicBezTo>
                    <a:pt x="6243" y="2053"/>
                    <a:pt x="6403" y="2124"/>
                    <a:pt x="6583" y="2124"/>
                  </a:cubicBezTo>
                  <a:cubicBezTo>
                    <a:pt x="6664" y="2124"/>
                    <a:pt x="6749" y="2109"/>
                    <a:pt x="6837" y="2080"/>
                  </a:cubicBezTo>
                  <a:lnTo>
                    <a:pt x="8191" y="1608"/>
                  </a:lnTo>
                  <a:lnTo>
                    <a:pt x="8191" y="1"/>
                  </a:lnTo>
                  <a:cubicBezTo>
                    <a:pt x="7845" y="473"/>
                    <a:pt x="7341" y="726"/>
                    <a:pt x="6711" y="726"/>
                  </a:cubicBezTo>
                  <a:cubicBezTo>
                    <a:pt x="6207" y="726"/>
                    <a:pt x="5766" y="536"/>
                    <a:pt x="5419" y="190"/>
                  </a:cubicBezTo>
                  <a:cubicBezTo>
                    <a:pt x="5072" y="521"/>
                    <a:pt x="4584" y="686"/>
                    <a:pt x="4100" y="686"/>
                  </a:cubicBezTo>
                  <a:cubicBezTo>
                    <a:pt x="3615" y="686"/>
                    <a:pt x="3135" y="521"/>
                    <a:pt x="2804" y="190"/>
                  </a:cubicBezTo>
                  <a:cubicBezTo>
                    <a:pt x="2457" y="536"/>
                    <a:pt x="1985" y="726"/>
                    <a:pt x="1512" y="726"/>
                  </a:cubicBezTo>
                  <a:cubicBezTo>
                    <a:pt x="882" y="726"/>
                    <a:pt x="378" y="41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3"/>
            <p:cNvSpPr/>
            <p:nvPr/>
          </p:nvSpPr>
          <p:spPr>
            <a:xfrm>
              <a:off x="-56345575" y="4169000"/>
              <a:ext cx="77200" cy="26325"/>
            </a:xfrm>
            <a:custGeom>
              <a:avLst/>
              <a:gdLst/>
              <a:ahLst/>
              <a:cxnLst/>
              <a:rect l="l" t="t" r="r" b="b"/>
              <a:pathLst>
                <a:path w="3088" h="1053" extrusionOk="0">
                  <a:moveTo>
                    <a:pt x="2471" y="0"/>
                  </a:moveTo>
                  <a:cubicBezTo>
                    <a:pt x="2311" y="0"/>
                    <a:pt x="2170" y="47"/>
                    <a:pt x="2048" y="169"/>
                  </a:cubicBezTo>
                  <a:cubicBezTo>
                    <a:pt x="1752" y="465"/>
                    <a:pt x="1391" y="612"/>
                    <a:pt x="1011" y="612"/>
                  </a:cubicBezTo>
                  <a:cubicBezTo>
                    <a:pt x="865" y="612"/>
                    <a:pt x="716" y="591"/>
                    <a:pt x="567" y="547"/>
                  </a:cubicBezTo>
                  <a:lnTo>
                    <a:pt x="0" y="326"/>
                  </a:lnTo>
                  <a:lnTo>
                    <a:pt x="0" y="326"/>
                  </a:lnTo>
                  <a:cubicBezTo>
                    <a:pt x="374" y="794"/>
                    <a:pt x="939" y="1053"/>
                    <a:pt x="1527" y="1053"/>
                  </a:cubicBezTo>
                  <a:cubicBezTo>
                    <a:pt x="1731" y="1053"/>
                    <a:pt x="1939" y="1022"/>
                    <a:pt x="2143" y="956"/>
                  </a:cubicBezTo>
                  <a:cubicBezTo>
                    <a:pt x="2426" y="893"/>
                    <a:pt x="2710" y="704"/>
                    <a:pt x="2930" y="484"/>
                  </a:cubicBezTo>
                  <a:lnTo>
                    <a:pt x="3088" y="326"/>
                  </a:lnTo>
                  <a:cubicBezTo>
                    <a:pt x="2993" y="169"/>
                    <a:pt x="2836" y="74"/>
                    <a:pt x="2615" y="11"/>
                  </a:cubicBezTo>
                  <a:cubicBezTo>
                    <a:pt x="2566" y="4"/>
                    <a:pt x="2518" y="0"/>
                    <a:pt x="24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3"/>
            <p:cNvSpPr/>
            <p:nvPr/>
          </p:nvSpPr>
          <p:spPr>
            <a:xfrm>
              <a:off x="-56379450" y="4180300"/>
              <a:ext cx="242600" cy="120525"/>
            </a:xfrm>
            <a:custGeom>
              <a:avLst/>
              <a:gdLst/>
              <a:ahLst/>
              <a:cxnLst/>
              <a:rect l="l" t="t" r="r" b="b"/>
              <a:pathLst>
                <a:path w="9704" h="4821" extrusionOk="0">
                  <a:moveTo>
                    <a:pt x="473" y="0"/>
                  </a:moveTo>
                  <a:cubicBezTo>
                    <a:pt x="221" y="284"/>
                    <a:pt x="0" y="662"/>
                    <a:pt x="0" y="1071"/>
                  </a:cubicBezTo>
                  <a:cubicBezTo>
                    <a:pt x="0" y="1576"/>
                    <a:pt x="284" y="2048"/>
                    <a:pt x="725" y="2332"/>
                  </a:cubicBezTo>
                  <a:cubicBezTo>
                    <a:pt x="946" y="2489"/>
                    <a:pt x="1229" y="2552"/>
                    <a:pt x="1513" y="2552"/>
                  </a:cubicBezTo>
                  <a:cubicBezTo>
                    <a:pt x="1513" y="3403"/>
                    <a:pt x="2174" y="4064"/>
                    <a:pt x="2993" y="4064"/>
                  </a:cubicBezTo>
                  <a:cubicBezTo>
                    <a:pt x="3214" y="4064"/>
                    <a:pt x="3372" y="4033"/>
                    <a:pt x="3529" y="3970"/>
                  </a:cubicBezTo>
                  <a:cubicBezTo>
                    <a:pt x="3750" y="4506"/>
                    <a:pt x="4254" y="4821"/>
                    <a:pt x="4852" y="4821"/>
                  </a:cubicBezTo>
                  <a:cubicBezTo>
                    <a:pt x="5451" y="4821"/>
                    <a:pt x="5955" y="4443"/>
                    <a:pt x="6207" y="3970"/>
                  </a:cubicBezTo>
                  <a:cubicBezTo>
                    <a:pt x="6333" y="4064"/>
                    <a:pt x="6554" y="4064"/>
                    <a:pt x="6711" y="4064"/>
                  </a:cubicBezTo>
                  <a:cubicBezTo>
                    <a:pt x="7530" y="4064"/>
                    <a:pt x="8192" y="3403"/>
                    <a:pt x="8192" y="2552"/>
                  </a:cubicBezTo>
                  <a:cubicBezTo>
                    <a:pt x="9042" y="2552"/>
                    <a:pt x="9704" y="1891"/>
                    <a:pt x="9704" y="1071"/>
                  </a:cubicBezTo>
                  <a:cubicBezTo>
                    <a:pt x="9704" y="662"/>
                    <a:pt x="9546" y="284"/>
                    <a:pt x="9231" y="0"/>
                  </a:cubicBezTo>
                  <a:lnTo>
                    <a:pt x="9168" y="158"/>
                  </a:lnTo>
                  <a:cubicBezTo>
                    <a:pt x="8664" y="945"/>
                    <a:pt x="7814" y="1387"/>
                    <a:pt x="6900" y="1387"/>
                  </a:cubicBezTo>
                  <a:cubicBezTo>
                    <a:pt x="6617" y="1387"/>
                    <a:pt x="6301" y="1355"/>
                    <a:pt x="6018" y="1229"/>
                  </a:cubicBezTo>
                  <a:cubicBezTo>
                    <a:pt x="5640" y="1103"/>
                    <a:pt x="5230" y="882"/>
                    <a:pt x="4978" y="567"/>
                  </a:cubicBezTo>
                  <a:lnTo>
                    <a:pt x="4884" y="473"/>
                  </a:lnTo>
                  <a:lnTo>
                    <a:pt x="4821" y="567"/>
                  </a:lnTo>
                  <a:cubicBezTo>
                    <a:pt x="4506" y="882"/>
                    <a:pt x="4159" y="1071"/>
                    <a:pt x="3750" y="1229"/>
                  </a:cubicBezTo>
                  <a:cubicBezTo>
                    <a:pt x="3466" y="1292"/>
                    <a:pt x="3151" y="1387"/>
                    <a:pt x="2899" y="1387"/>
                  </a:cubicBezTo>
                  <a:cubicBezTo>
                    <a:pt x="1985" y="1387"/>
                    <a:pt x="1103" y="945"/>
                    <a:pt x="599" y="158"/>
                  </a:cubicBezTo>
                  <a:lnTo>
                    <a:pt x="4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3"/>
            <p:cNvSpPr/>
            <p:nvPr/>
          </p:nvSpPr>
          <p:spPr>
            <a:xfrm>
              <a:off x="-56181750" y="4039300"/>
              <a:ext cx="0" cy="25"/>
            </a:xfrm>
            <a:custGeom>
              <a:avLst/>
              <a:gdLst/>
              <a:ahLst/>
              <a:cxnLst/>
              <a:rect l="l" t="t" r="r" b="b"/>
              <a:pathLst>
                <a:path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3"/>
            <p:cNvSpPr/>
            <p:nvPr/>
          </p:nvSpPr>
          <p:spPr>
            <a:xfrm>
              <a:off x="-56332200" y="4039300"/>
              <a:ext cx="25" cy="25"/>
            </a:xfrm>
            <a:custGeom>
              <a:avLst/>
              <a:gdLst/>
              <a:ahLst/>
              <a:cxnLst/>
              <a:rect l="l" t="t" r="r" b="b"/>
              <a:pathLst>
                <a:path w="1" h="1" extrusionOk="0">
                  <a:moveTo>
                    <a:pt x="1"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5" name="Google Shape;7755;p73"/>
          <p:cNvGrpSpPr/>
          <p:nvPr/>
        </p:nvGrpSpPr>
        <p:grpSpPr>
          <a:xfrm>
            <a:off x="5326242" y="2741864"/>
            <a:ext cx="316434" cy="358971"/>
            <a:chOff x="-54401725" y="3198925"/>
            <a:chExt cx="281200" cy="319000"/>
          </a:xfrm>
        </p:grpSpPr>
        <p:sp>
          <p:nvSpPr>
            <p:cNvPr id="7756" name="Google Shape;7756;p73"/>
            <p:cNvSpPr/>
            <p:nvPr/>
          </p:nvSpPr>
          <p:spPr>
            <a:xfrm>
              <a:off x="-54159150" y="3465925"/>
              <a:ext cx="38625" cy="52000"/>
            </a:xfrm>
            <a:custGeom>
              <a:avLst/>
              <a:gdLst/>
              <a:ahLst/>
              <a:cxnLst/>
              <a:rect l="l" t="t" r="r" b="b"/>
              <a:pathLst>
                <a:path w="1545" h="2080" extrusionOk="0">
                  <a:moveTo>
                    <a:pt x="789" y="0"/>
                  </a:moveTo>
                  <a:cubicBezTo>
                    <a:pt x="379" y="0"/>
                    <a:pt x="1" y="316"/>
                    <a:pt x="1" y="725"/>
                  </a:cubicBezTo>
                  <a:cubicBezTo>
                    <a:pt x="1" y="851"/>
                    <a:pt x="32" y="946"/>
                    <a:pt x="64" y="1040"/>
                  </a:cubicBezTo>
                  <a:lnTo>
                    <a:pt x="631" y="1985"/>
                  </a:lnTo>
                  <a:cubicBezTo>
                    <a:pt x="663" y="2048"/>
                    <a:pt x="694" y="2080"/>
                    <a:pt x="789" y="2080"/>
                  </a:cubicBezTo>
                  <a:cubicBezTo>
                    <a:pt x="852" y="2080"/>
                    <a:pt x="915" y="2017"/>
                    <a:pt x="946" y="1985"/>
                  </a:cubicBezTo>
                  <a:lnTo>
                    <a:pt x="1450" y="1072"/>
                  </a:lnTo>
                  <a:cubicBezTo>
                    <a:pt x="1482" y="977"/>
                    <a:pt x="1545" y="851"/>
                    <a:pt x="1545" y="725"/>
                  </a:cubicBezTo>
                  <a:cubicBezTo>
                    <a:pt x="1545" y="347"/>
                    <a:pt x="1167" y="0"/>
                    <a:pt x="7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3"/>
            <p:cNvSpPr/>
            <p:nvPr/>
          </p:nvSpPr>
          <p:spPr>
            <a:xfrm>
              <a:off x="-54401725" y="3465925"/>
              <a:ext cx="38600" cy="52000"/>
            </a:xfrm>
            <a:custGeom>
              <a:avLst/>
              <a:gdLst/>
              <a:ahLst/>
              <a:cxnLst/>
              <a:rect l="l" t="t" r="r" b="b"/>
              <a:pathLst>
                <a:path w="1544" h="2080" extrusionOk="0">
                  <a:moveTo>
                    <a:pt x="788" y="0"/>
                  </a:moveTo>
                  <a:cubicBezTo>
                    <a:pt x="410" y="0"/>
                    <a:pt x="0" y="316"/>
                    <a:pt x="0" y="725"/>
                  </a:cubicBezTo>
                  <a:cubicBezTo>
                    <a:pt x="0" y="851"/>
                    <a:pt x="63" y="946"/>
                    <a:pt x="95" y="1040"/>
                  </a:cubicBezTo>
                  <a:lnTo>
                    <a:pt x="631" y="1985"/>
                  </a:lnTo>
                  <a:cubicBezTo>
                    <a:pt x="694" y="2048"/>
                    <a:pt x="725" y="2080"/>
                    <a:pt x="788" y="2080"/>
                  </a:cubicBezTo>
                  <a:cubicBezTo>
                    <a:pt x="883" y="2080"/>
                    <a:pt x="914" y="2017"/>
                    <a:pt x="946" y="1985"/>
                  </a:cubicBezTo>
                  <a:lnTo>
                    <a:pt x="1481" y="1072"/>
                  </a:lnTo>
                  <a:cubicBezTo>
                    <a:pt x="1513" y="977"/>
                    <a:pt x="1544" y="851"/>
                    <a:pt x="1544" y="725"/>
                  </a:cubicBezTo>
                  <a:cubicBezTo>
                    <a:pt x="1544" y="347"/>
                    <a:pt x="1198" y="0"/>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3"/>
            <p:cNvSpPr/>
            <p:nvPr/>
          </p:nvSpPr>
          <p:spPr>
            <a:xfrm>
              <a:off x="-54176475" y="3224125"/>
              <a:ext cx="17350" cy="61450"/>
            </a:xfrm>
            <a:custGeom>
              <a:avLst/>
              <a:gdLst/>
              <a:ahLst/>
              <a:cxnLst/>
              <a:rect l="l" t="t" r="r" b="b"/>
              <a:pathLst>
                <a:path w="694" h="2458" extrusionOk="0">
                  <a:moveTo>
                    <a:pt x="347" y="0"/>
                  </a:moveTo>
                  <a:cubicBezTo>
                    <a:pt x="190" y="316"/>
                    <a:pt x="1" y="757"/>
                    <a:pt x="1" y="1229"/>
                  </a:cubicBezTo>
                  <a:cubicBezTo>
                    <a:pt x="1" y="1702"/>
                    <a:pt x="190" y="2143"/>
                    <a:pt x="347" y="2458"/>
                  </a:cubicBezTo>
                  <a:cubicBezTo>
                    <a:pt x="505" y="2143"/>
                    <a:pt x="694" y="1702"/>
                    <a:pt x="694" y="1229"/>
                  </a:cubicBezTo>
                  <a:cubicBezTo>
                    <a:pt x="694" y="757"/>
                    <a:pt x="505" y="316"/>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3"/>
            <p:cNvSpPr/>
            <p:nvPr/>
          </p:nvSpPr>
          <p:spPr>
            <a:xfrm>
              <a:off x="-54385975" y="3198925"/>
              <a:ext cx="198500" cy="74850"/>
            </a:xfrm>
            <a:custGeom>
              <a:avLst/>
              <a:gdLst/>
              <a:ahLst/>
              <a:cxnLst/>
              <a:rect l="l" t="t" r="r" b="b"/>
              <a:pathLst>
                <a:path w="7940" h="2994" extrusionOk="0">
                  <a:moveTo>
                    <a:pt x="4978" y="0"/>
                  </a:moveTo>
                  <a:cubicBezTo>
                    <a:pt x="2836" y="0"/>
                    <a:pt x="946" y="1229"/>
                    <a:pt x="1" y="2993"/>
                  </a:cubicBezTo>
                  <a:lnTo>
                    <a:pt x="7688" y="2993"/>
                  </a:lnTo>
                  <a:cubicBezTo>
                    <a:pt x="7625" y="2741"/>
                    <a:pt x="7562" y="2521"/>
                    <a:pt x="7562" y="2237"/>
                  </a:cubicBezTo>
                  <a:cubicBezTo>
                    <a:pt x="7562" y="1733"/>
                    <a:pt x="7719" y="1261"/>
                    <a:pt x="7940" y="851"/>
                  </a:cubicBezTo>
                  <a:cubicBezTo>
                    <a:pt x="7026" y="315"/>
                    <a:pt x="6049" y="0"/>
                    <a:pt x="49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3"/>
            <p:cNvSpPr/>
            <p:nvPr/>
          </p:nvSpPr>
          <p:spPr>
            <a:xfrm>
              <a:off x="-544009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3"/>
            <p:cNvSpPr/>
            <p:nvPr/>
          </p:nvSpPr>
          <p:spPr>
            <a:xfrm>
              <a:off x="-54401725" y="3292650"/>
              <a:ext cx="128400" cy="74850"/>
            </a:xfrm>
            <a:custGeom>
              <a:avLst/>
              <a:gdLst/>
              <a:ahLst/>
              <a:cxnLst/>
              <a:rect l="l" t="t" r="r" b="b"/>
              <a:pathLst>
                <a:path w="5136" h="2994" extrusionOk="0">
                  <a:moveTo>
                    <a:pt x="315" y="0"/>
                  </a:moveTo>
                  <a:cubicBezTo>
                    <a:pt x="126" y="567"/>
                    <a:pt x="0" y="1198"/>
                    <a:pt x="0" y="1828"/>
                  </a:cubicBezTo>
                  <a:lnTo>
                    <a:pt x="0" y="2993"/>
                  </a:lnTo>
                  <a:lnTo>
                    <a:pt x="1513" y="2993"/>
                  </a:lnTo>
                  <a:lnTo>
                    <a:pt x="1513" y="1828"/>
                  </a:lnTo>
                  <a:cubicBezTo>
                    <a:pt x="1513" y="1639"/>
                    <a:pt x="1670" y="1481"/>
                    <a:pt x="1859" y="1481"/>
                  </a:cubicBezTo>
                  <a:lnTo>
                    <a:pt x="2615" y="1481"/>
                  </a:lnTo>
                  <a:cubicBezTo>
                    <a:pt x="3592" y="1481"/>
                    <a:pt x="4821" y="788"/>
                    <a:pt x="51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3"/>
            <p:cNvSpPr/>
            <p:nvPr/>
          </p:nvSpPr>
          <p:spPr>
            <a:xfrm>
              <a:off x="-54250500" y="3266650"/>
              <a:ext cx="128400" cy="99275"/>
            </a:xfrm>
            <a:custGeom>
              <a:avLst/>
              <a:gdLst/>
              <a:ahLst/>
              <a:cxnLst/>
              <a:rect l="l" t="t" r="r" b="b"/>
              <a:pathLst>
                <a:path w="5136" h="3971" extrusionOk="0">
                  <a:moveTo>
                    <a:pt x="4317" y="1"/>
                  </a:moveTo>
                  <a:cubicBezTo>
                    <a:pt x="4159" y="914"/>
                    <a:pt x="3560" y="1607"/>
                    <a:pt x="3529" y="1607"/>
                  </a:cubicBezTo>
                  <a:cubicBezTo>
                    <a:pt x="3466" y="1702"/>
                    <a:pt x="3371" y="1734"/>
                    <a:pt x="3245" y="1734"/>
                  </a:cubicBezTo>
                  <a:cubicBezTo>
                    <a:pt x="3151" y="1734"/>
                    <a:pt x="3056" y="1702"/>
                    <a:pt x="2993" y="1607"/>
                  </a:cubicBezTo>
                  <a:cubicBezTo>
                    <a:pt x="2993" y="1607"/>
                    <a:pt x="2741" y="1387"/>
                    <a:pt x="2552" y="977"/>
                  </a:cubicBezTo>
                  <a:lnTo>
                    <a:pt x="0" y="977"/>
                  </a:lnTo>
                  <a:cubicBezTo>
                    <a:pt x="315" y="1765"/>
                    <a:pt x="1576" y="2490"/>
                    <a:pt x="2521" y="2490"/>
                  </a:cubicBezTo>
                  <a:lnTo>
                    <a:pt x="3245" y="2490"/>
                  </a:lnTo>
                  <a:cubicBezTo>
                    <a:pt x="3466" y="2490"/>
                    <a:pt x="3623" y="2647"/>
                    <a:pt x="3623" y="2836"/>
                  </a:cubicBezTo>
                  <a:lnTo>
                    <a:pt x="3623" y="3970"/>
                  </a:lnTo>
                  <a:lnTo>
                    <a:pt x="5104" y="3970"/>
                  </a:lnTo>
                  <a:lnTo>
                    <a:pt x="5104" y="2521"/>
                  </a:lnTo>
                  <a:cubicBezTo>
                    <a:pt x="5136" y="2458"/>
                    <a:pt x="5136" y="2395"/>
                    <a:pt x="5104" y="2364"/>
                  </a:cubicBezTo>
                  <a:cubicBezTo>
                    <a:pt x="5041" y="1544"/>
                    <a:pt x="4758" y="725"/>
                    <a:pt x="4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3"/>
            <p:cNvSpPr/>
            <p:nvPr/>
          </p:nvSpPr>
          <p:spPr>
            <a:xfrm>
              <a:off x="-541591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3"/>
            <p:cNvSpPr/>
            <p:nvPr/>
          </p:nvSpPr>
          <p:spPr>
            <a:xfrm>
              <a:off x="-54345025" y="3309975"/>
              <a:ext cx="167000" cy="207175"/>
            </a:xfrm>
            <a:custGeom>
              <a:avLst/>
              <a:gdLst/>
              <a:ahLst/>
              <a:cxnLst/>
              <a:rect l="l" t="t" r="r" b="b"/>
              <a:pathLst>
                <a:path w="6680" h="8287" extrusionOk="0">
                  <a:moveTo>
                    <a:pt x="1797" y="2332"/>
                  </a:moveTo>
                  <a:cubicBezTo>
                    <a:pt x="1986" y="2332"/>
                    <a:pt x="2143" y="2489"/>
                    <a:pt x="2143" y="2678"/>
                  </a:cubicBezTo>
                  <a:cubicBezTo>
                    <a:pt x="2143" y="2867"/>
                    <a:pt x="1986" y="3025"/>
                    <a:pt x="1797" y="3025"/>
                  </a:cubicBezTo>
                  <a:cubicBezTo>
                    <a:pt x="1639" y="3025"/>
                    <a:pt x="1450" y="2867"/>
                    <a:pt x="1450" y="2678"/>
                  </a:cubicBezTo>
                  <a:cubicBezTo>
                    <a:pt x="1450" y="2489"/>
                    <a:pt x="1608" y="2332"/>
                    <a:pt x="1797" y="2332"/>
                  </a:cubicBezTo>
                  <a:close/>
                  <a:moveTo>
                    <a:pt x="4821" y="2332"/>
                  </a:moveTo>
                  <a:cubicBezTo>
                    <a:pt x="5042" y="2332"/>
                    <a:pt x="5199" y="2489"/>
                    <a:pt x="5199" y="2678"/>
                  </a:cubicBezTo>
                  <a:cubicBezTo>
                    <a:pt x="5199" y="2867"/>
                    <a:pt x="5042" y="3025"/>
                    <a:pt x="4821" y="3025"/>
                  </a:cubicBezTo>
                  <a:cubicBezTo>
                    <a:pt x="4632" y="3025"/>
                    <a:pt x="4474" y="2867"/>
                    <a:pt x="4474" y="2678"/>
                  </a:cubicBezTo>
                  <a:cubicBezTo>
                    <a:pt x="4474" y="2489"/>
                    <a:pt x="4632" y="2332"/>
                    <a:pt x="4821" y="2332"/>
                  </a:cubicBezTo>
                  <a:close/>
                  <a:moveTo>
                    <a:pt x="4392" y="4892"/>
                  </a:moveTo>
                  <a:cubicBezTo>
                    <a:pt x="4482" y="4892"/>
                    <a:pt x="4569" y="4931"/>
                    <a:pt x="4632" y="5010"/>
                  </a:cubicBezTo>
                  <a:cubicBezTo>
                    <a:pt x="4790" y="5136"/>
                    <a:pt x="4790" y="5356"/>
                    <a:pt x="4632" y="5514"/>
                  </a:cubicBezTo>
                  <a:cubicBezTo>
                    <a:pt x="4285" y="5860"/>
                    <a:pt x="3813" y="6049"/>
                    <a:pt x="3340" y="6049"/>
                  </a:cubicBezTo>
                  <a:cubicBezTo>
                    <a:pt x="2868" y="6049"/>
                    <a:pt x="2364" y="5860"/>
                    <a:pt x="2049" y="5514"/>
                  </a:cubicBezTo>
                  <a:cubicBezTo>
                    <a:pt x="1891" y="5356"/>
                    <a:pt x="1891" y="5136"/>
                    <a:pt x="2049" y="5010"/>
                  </a:cubicBezTo>
                  <a:cubicBezTo>
                    <a:pt x="2127" y="4931"/>
                    <a:pt x="2222" y="4892"/>
                    <a:pt x="2312" y="4892"/>
                  </a:cubicBezTo>
                  <a:cubicBezTo>
                    <a:pt x="2403" y="4892"/>
                    <a:pt x="2490" y="4931"/>
                    <a:pt x="2553" y="5010"/>
                  </a:cubicBezTo>
                  <a:cubicBezTo>
                    <a:pt x="2773" y="5230"/>
                    <a:pt x="3057" y="5341"/>
                    <a:pt x="3340" y="5341"/>
                  </a:cubicBezTo>
                  <a:cubicBezTo>
                    <a:pt x="3624" y="5341"/>
                    <a:pt x="3907" y="5230"/>
                    <a:pt x="4128" y="5010"/>
                  </a:cubicBezTo>
                  <a:cubicBezTo>
                    <a:pt x="4207" y="4931"/>
                    <a:pt x="4301" y="4892"/>
                    <a:pt x="4392" y="4892"/>
                  </a:cubicBezTo>
                  <a:close/>
                  <a:moveTo>
                    <a:pt x="3340" y="1"/>
                  </a:moveTo>
                  <a:cubicBezTo>
                    <a:pt x="2710" y="914"/>
                    <a:pt x="1324" y="1513"/>
                    <a:pt x="347" y="1513"/>
                  </a:cubicBezTo>
                  <a:lnTo>
                    <a:pt x="1" y="1513"/>
                  </a:lnTo>
                  <a:lnTo>
                    <a:pt x="1" y="4915"/>
                  </a:lnTo>
                  <a:cubicBezTo>
                    <a:pt x="1" y="6774"/>
                    <a:pt x="1482" y="8286"/>
                    <a:pt x="3340" y="8286"/>
                  </a:cubicBezTo>
                  <a:cubicBezTo>
                    <a:pt x="5199" y="8286"/>
                    <a:pt x="6680" y="6774"/>
                    <a:pt x="6680" y="4915"/>
                  </a:cubicBezTo>
                  <a:lnTo>
                    <a:pt x="6680" y="1513"/>
                  </a:lnTo>
                  <a:lnTo>
                    <a:pt x="6333" y="1513"/>
                  </a:lnTo>
                  <a:cubicBezTo>
                    <a:pt x="6307" y="1514"/>
                    <a:pt x="6281" y="1514"/>
                    <a:pt x="6254" y="1514"/>
                  </a:cubicBezTo>
                  <a:cubicBezTo>
                    <a:pt x="5228" y="1514"/>
                    <a:pt x="3955" y="922"/>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3"/>
            <p:cNvSpPr/>
            <p:nvPr/>
          </p:nvSpPr>
          <p:spPr>
            <a:xfrm>
              <a:off x="-54401725" y="3424175"/>
              <a:ext cx="37825" cy="40975"/>
            </a:xfrm>
            <a:custGeom>
              <a:avLst/>
              <a:gdLst/>
              <a:ahLst/>
              <a:cxnLst/>
              <a:rect l="l" t="t" r="r" b="b"/>
              <a:pathLst>
                <a:path w="1513" h="1639" extrusionOk="0">
                  <a:moveTo>
                    <a:pt x="0" y="1"/>
                  </a:moveTo>
                  <a:lnTo>
                    <a:pt x="0" y="914"/>
                  </a:lnTo>
                  <a:cubicBezTo>
                    <a:pt x="0" y="1292"/>
                    <a:pt x="315" y="1639"/>
                    <a:pt x="757" y="1639"/>
                  </a:cubicBezTo>
                  <a:cubicBezTo>
                    <a:pt x="1198" y="1639"/>
                    <a:pt x="1513" y="1324"/>
                    <a:pt x="1513" y="914"/>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3"/>
            <p:cNvSpPr/>
            <p:nvPr/>
          </p:nvSpPr>
          <p:spPr>
            <a:xfrm>
              <a:off x="-54159150" y="3424175"/>
              <a:ext cx="37050" cy="40975"/>
            </a:xfrm>
            <a:custGeom>
              <a:avLst/>
              <a:gdLst/>
              <a:ahLst/>
              <a:cxnLst/>
              <a:rect l="l" t="t" r="r" b="b"/>
              <a:pathLst>
                <a:path w="1482" h="1639" extrusionOk="0">
                  <a:moveTo>
                    <a:pt x="1" y="1"/>
                  </a:moveTo>
                  <a:lnTo>
                    <a:pt x="1" y="914"/>
                  </a:lnTo>
                  <a:cubicBezTo>
                    <a:pt x="1" y="1292"/>
                    <a:pt x="316" y="1639"/>
                    <a:pt x="757" y="1639"/>
                  </a:cubicBezTo>
                  <a:cubicBezTo>
                    <a:pt x="1167" y="1639"/>
                    <a:pt x="1482" y="1324"/>
                    <a:pt x="1482" y="914"/>
                  </a:cubicBez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7" name="Google Shape;7767;p73"/>
          <p:cNvGrpSpPr/>
          <p:nvPr/>
        </p:nvGrpSpPr>
        <p:grpSpPr>
          <a:xfrm>
            <a:off x="5327128" y="3211965"/>
            <a:ext cx="314662" cy="358099"/>
            <a:chOff x="-54401725" y="3590375"/>
            <a:chExt cx="279625" cy="318225"/>
          </a:xfrm>
        </p:grpSpPr>
        <p:sp>
          <p:nvSpPr>
            <p:cNvPr id="7768" name="Google Shape;7768;p73"/>
            <p:cNvSpPr/>
            <p:nvPr/>
          </p:nvSpPr>
          <p:spPr>
            <a:xfrm>
              <a:off x="-54194575" y="3721900"/>
              <a:ext cx="35450" cy="19725"/>
            </a:xfrm>
            <a:custGeom>
              <a:avLst/>
              <a:gdLst/>
              <a:ahLst/>
              <a:cxnLst/>
              <a:rect l="l" t="t" r="r" b="b"/>
              <a:pathLst>
                <a:path w="1418" h="789" extrusionOk="0">
                  <a:moveTo>
                    <a:pt x="0" y="1"/>
                  </a:moveTo>
                  <a:cubicBezTo>
                    <a:pt x="158" y="410"/>
                    <a:pt x="536" y="788"/>
                    <a:pt x="1071" y="788"/>
                  </a:cubicBezTo>
                  <a:lnTo>
                    <a:pt x="1418" y="788"/>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3"/>
            <p:cNvSpPr/>
            <p:nvPr/>
          </p:nvSpPr>
          <p:spPr>
            <a:xfrm>
              <a:off x="-54380450" y="3590375"/>
              <a:ext cx="237075" cy="112650"/>
            </a:xfrm>
            <a:custGeom>
              <a:avLst/>
              <a:gdLst/>
              <a:ahLst/>
              <a:cxnLst/>
              <a:rect l="l" t="t" r="r" b="b"/>
              <a:pathLst>
                <a:path w="9483" h="4506" extrusionOk="0">
                  <a:moveTo>
                    <a:pt x="4789" y="1575"/>
                  </a:moveTo>
                  <a:cubicBezTo>
                    <a:pt x="5009" y="1575"/>
                    <a:pt x="5135" y="1733"/>
                    <a:pt x="5135" y="1954"/>
                  </a:cubicBezTo>
                  <a:lnTo>
                    <a:pt x="5135" y="2300"/>
                  </a:lnTo>
                  <a:lnTo>
                    <a:pt x="5513" y="2300"/>
                  </a:lnTo>
                  <a:cubicBezTo>
                    <a:pt x="5702" y="2300"/>
                    <a:pt x="5860" y="2458"/>
                    <a:pt x="5860" y="2647"/>
                  </a:cubicBezTo>
                  <a:cubicBezTo>
                    <a:pt x="5860" y="2836"/>
                    <a:pt x="5702" y="2993"/>
                    <a:pt x="5513" y="2993"/>
                  </a:cubicBezTo>
                  <a:lnTo>
                    <a:pt x="5135" y="2993"/>
                  </a:lnTo>
                  <a:lnTo>
                    <a:pt x="5135" y="3371"/>
                  </a:lnTo>
                  <a:cubicBezTo>
                    <a:pt x="5135" y="3560"/>
                    <a:pt x="5009" y="3718"/>
                    <a:pt x="4789" y="3718"/>
                  </a:cubicBezTo>
                  <a:cubicBezTo>
                    <a:pt x="4600" y="3718"/>
                    <a:pt x="4442" y="3560"/>
                    <a:pt x="4442" y="3371"/>
                  </a:cubicBezTo>
                  <a:lnTo>
                    <a:pt x="4442" y="2993"/>
                  </a:lnTo>
                  <a:lnTo>
                    <a:pt x="4096" y="2993"/>
                  </a:lnTo>
                  <a:cubicBezTo>
                    <a:pt x="3907" y="2993"/>
                    <a:pt x="3749" y="2836"/>
                    <a:pt x="3749" y="2647"/>
                  </a:cubicBezTo>
                  <a:cubicBezTo>
                    <a:pt x="3749" y="2458"/>
                    <a:pt x="3907" y="2300"/>
                    <a:pt x="4096" y="2300"/>
                  </a:cubicBezTo>
                  <a:lnTo>
                    <a:pt x="4442" y="2300"/>
                  </a:lnTo>
                  <a:lnTo>
                    <a:pt x="4442" y="1954"/>
                  </a:lnTo>
                  <a:cubicBezTo>
                    <a:pt x="4442" y="1733"/>
                    <a:pt x="4600" y="1575"/>
                    <a:pt x="4789" y="1575"/>
                  </a:cubicBezTo>
                  <a:close/>
                  <a:moveTo>
                    <a:pt x="2048" y="0"/>
                  </a:moveTo>
                  <a:cubicBezTo>
                    <a:pt x="882" y="0"/>
                    <a:pt x="0" y="1040"/>
                    <a:pt x="189" y="2174"/>
                  </a:cubicBezTo>
                  <a:lnTo>
                    <a:pt x="567" y="4505"/>
                  </a:lnTo>
                  <a:lnTo>
                    <a:pt x="8916" y="4505"/>
                  </a:lnTo>
                  <a:lnTo>
                    <a:pt x="9326" y="2174"/>
                  </a:lnTo>
                  <a:cubicBezTo>
                    <a:pt x="9483" y="1040"/>
                    <a:pt x="8601" y="0"/>
                    <a:pt x="74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3"/>
            <p:cNvSpPr/>
            <p:nvPr/>
          </p:nvSpPr>
          <p:spPr>
            <a:xfrm>
              <a:off x="-54363925" y="3721900"/>
              <a:ext cx="35475" cy="19725"/>
            </a:xfrm>
            <a:custGeom>
              <a:avLst/>
              <a:gdLst/>
              <a:ahLst/>
              <a:cxnLst/>
              <a:rect l="l" t="t" r="r" b="b"/>
              <a:pathLst>
                <a:path w="1419" h="789" extrusionOk="0">
                  <a:moveTo>
                    <a:pt x="1" y="1"/>
                  </a:moveTo>
                  <a:lnTo>
                    <a:pt x="1" y="788"/>
                  </a:lnTo>
                  <a:lnTo>
                    <a:pt x="347" y="788"/>
                  </a:lnTo>
                  <a:cubicBezTo>
                    <a:pt x="820" y="788"/>
                    <a:pt x="1261" y="410"/>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3"/>
            <p:cNvSpPr/>
            <p:nvPr/>
          </p:nvSpPr>
          <p:spPr>
            <a:xfrm>
              <a:off x="-54363925" y="3721900"/>
              <a:ext cx="204800" cy="186700"/>
            </a:xfrm>
            <a:custGeom>
              <a:avLst/>
              <a:gdLst/>
              <a:ahLst/>
              <a:cxnLst/>
              <a:rect l="l" t="t" r="r" b="b"/>
              <a:pathLst>
                <a:path w="8192" h="7468" extrusionOk="0">
                  <a:moveTo>
                    <a:pt x="2553" y="1513"/>
                  </a:moveTo>
                  <a:cubicBezTo>
                    <a:pt x="2742" y="1513"/>
                    <a:pt x="2899" y="1670"/>
                    <a:pt x="2899" y="1891"/>
                  </a:cubicBezTo>
                  <a:cubicBezTo>
                    <a:pt x="2899" y="2080"/>
                    <a:pt x="2742" y="2237"/>
                    <a:pt x="2553" y="2237"/>
                  </a:cubicBezTo>
                  <a:cubicBezTo>
                    <a:pt x="2541" y="2240"/>
                    <a:pt x="2529" y="2241"/>
                    <a:pt x="2517" y="2241"/>
                  </a:cubicBezTo>
                  <a:cubicBezTo>
                    <a:pt x="2368" y="2241"/>
                    <a:pt x="2206" y="2066"/>
                    <a:pt x="2206" y="1891"/>
                  </a:cubicBezTo>
                  <a:cubicBezTo>
                    <a:pt x="2206" y="1670"/>
                    <a:pt x="2364" y="1513"/>
                    <a:pt x="2553" y="1513"/>
                  </a:cubicBezTo>
                  <a:close/>
                  <a:moveTo>
                    <a:pt x="5577" y="1576"/>
                  </a:moveTo>
                  <a:cubicBezTo>
                    <a:pt x="5798" y="1576"/>
                    <a:pt x="5955" y="1733"/>
                    <a:pt x="5955" y="1922"/>
                  </a:cubicBezTo>
                  <a:cubicBezTo>
                    <a:pt x="5955" y="2111"/>
                    <a:pt x="5798" y="2269"/>
                    <a:pt x="5577" y="2269"/>
                  </a:cubicBezTo>
                  <a:cubicBezTo>
                    <a:pt x="5388" y="2269"/>
                    <a:pt x="5230" y="2111"/>
                    <a:pt x="5230" y="1922"/>
                  </a:cubicBezTo>
                  <a:cubicBezTo>
                    <a:pt x="5230" y="1733"/>
                    <a:pt x="5388" y="1576"/>
                    <a:pt x="5577" y="1576"/>
                  </a:cubicBezTo>
                  <a:close/>
                  <a:moveTo>
                    <a:pt x="5148" y="4073"/>
                  </a:moveTo>
                  <a:cubicBezTo>
                    <a:pt x="5238" y="4073"/>
                    <a:pt x="5325" y="4112"/>
                    <a:pt x="5388" y="4191"/>
                  </a:cubicBezTo>
                  <a:cubicBezTo>
                    <a:pt x="5546" y="4317"/>
                    <a:pt x="5546" y="4537"/>
                    <a:pt x="5388" y="4726"/>
                  </a:cubicBezTo>
                  <a:cubicBezTo>
                    <a:pt x="5041" y="5073"/>
                    <a:pt x="4569" y="5262"/>
                    <a:pt x="4096" y="5262"/>
                  </a:cubicBezTo>
                  <a:cubicBezTo>
                    <a:pt x="3624" y="5262"/>
                    <a:pt x="3120" y="5073"/>
                    <a:pt x="2805" y="4726"/>
                  </a:cubicBezTo>
                  <a:cubicBezTo>
                    <a:pt x="2647" y="4569"/>
                    <a:pt x="2647" y="4317"/>
                    <a:pt x="2805" y="4191"/>
                  </a:cubicBezTo>
                  <a:cubicBezTo>
                    <a:pt x="2883" y="4112"/>
                    <a:pt x="2978" y="4073"/>
                    <a:pt x="3068" y="4073"/>
                  </a:cubicBezTo>
                  <a:cubicBezTo>
                    <a:pt x="3159" y="4073"/>
                    <a:pt x="3246" y="4112"/>
                    <a:pt x="3309" y="4191"/>
                  </a:cubicBezTo>
                  <a:cubicBezTo>
                    <a:pt x="3529" y="4411"/>
                    <a:pt x="3813" y="4521"/>
                    <a:pt x="4096" y="4521"/>
                  </a:cubicBezTo>
                  <a:cubicBezTo>
                    <a:pt x="4380" y="4521"/>
                    <a:pt x="4663" y="4411"/>
                    <a:pt x="4884" y="4191"/>
                  </a:cubicBezTo>
                  <a:cubicBezTo>
                    <a:pt x="4963" y="4112"/>
                    <a:pt x="5057" y="4073"/>
                    <a:pt x="5148" y="4073"/>
                  </a:cubicBezTo>
                  <a:close/>
                  <a:moveTo>
                    <a:pt x="2175" y="1"/>
                  </a:moveTo>
                  <a:cubicBezTo>
                    <a:pt x="2017" y="851"/>
                    <a:pt x="1229" y="1513"/>
                    <a:pt x="347" y="1513"/>
                  </a:cubicBezTo>
                  <a:lnTo>
                    <a:pt x="1" y="1513"/>
                  </a:lnTo>
                  <a:lnTo>
                    <a:pt x="1" y="3372"/>
                  </a:lnTo>
                  <a:cubicBezTo>
                    <a:pt x="1" y="5608"/>
                    <a:pt x="1859" y="7467"/>
                    <a:pt x="4096" y="7467"/>
                  </a:cubicBezTo>
                  <a:cubicBezTo>
                    <a:pt x="6333" y="7467"/>
                    <a:pt x="8192" y="5608"/>
                    <a:pt x="8192" y="3372"/>
                  </a:cubicBezTo>
                  <a:lnTo>
                    <a:pt x="8192" y="1513"/>
                  </a:lnTo>
                  <a:lnTo>
                    <a:pt x="7845" y="1513"/>
                  </a:lnTo>
                  <a:cubicBezTo>
                    <a:pt x="6932" y="1513"/>
                    <a:pt x="6176" y="820"/>
                    <a:pt x="5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3"/>
            <p:cNvSpPr/>
            <p:nvPr/>
          </p:nvSpPr>
          <p:spPr>
            <a:xfrm>
              <a:off x="-54401725" y="3747100"/>
              <a:ext cx="18925" cy="63825"/>
            </a:xfrm>
            <a:custGeom>
              <a:avLst/>
              <a:gdLst/>
              <a:ahLst/>
              <a:cxnLst/>
              <a:rect l="l" t="t" r="r" b="b"/>
              <a:pathLst>
                <a:path w="757" h="2553" extrusionOk="0">
                  <a:moveTo>
                    <a:pt x="757" y="1"/>
                  </a:moveTo>
                  <a:cubicBezTo>
                    <a:pt x="284" y="253"/>
                    <a:pt x="0" y="725"/>
                    <a:pt x="0" y="1261"/>
                  </a:cubicBezTo>
                  <a:cubicBezTo>
                    <a:pt x="0" y="1828"/>
                    <a:pt x="315"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3" name="Google Shape;7773;p73"/>
            <p:cNvSpPr/>
            <p:nvPr/>
          </p:nvSpPr>
          <p:spPr>
            <a:xfrm>
              <a:off x="-54140225" y="374632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4" name="Google Shape;7774;p73"/>
          <p:cNvGrpSpPr/>
          <p:nvPr/>
        </p:nvGrpSpPr>
        <p:grpSpPr>
          <a:xfrm>
            <a:off x="5324920" y="3675538"/>
            <a:ext cx="319079" cy="358099"/>
            <a:chOff x="-54403300" y="3982600"/>
            <a:chExt cx="283550" cy="318225"/>
          </a:xfrm>
        </p:grpSpPr>
        <p:sp>
          <p:nvSpPr>
            <p:cNvPr id="7775" name="Google Shape;7775;p73"/>
            <p:cNvSpPr/>
            <p:nvPr/>
          </p:nvSpPr>
          <p:spPr>
            <a:xfrm>
              <a:off x="-54273350" y="4036950"/>
              <a:ext cx="27600" cy="27600"/>
            </a:xfrm>
            <a:custGeom>
              <a:avLst/>
              <a:gdLst/>
              <a:ahLst/>
              <a:cxnLst/>
              <a:rect l="l" t="t" r="r" b="b"/>
              <a:pathLst>
                <a:path w="1104" h="1104" extrusionOk="0">
                  <a:moveTo>
                    <a:pt x="536" y="0"/>
                  </a:moveTo>
                  <a:lnTo>
                    <a:pt x="473" y="189"/>
                  </a:lnTo>
                  <a:cubicBezTo>
                    <a:pt x="442" y="315"/>
                    <a:pt x="316" y="379"/>
                    <a:pt x="190" y="379"/>
                  </a:cubicBezTo>
                  <a:lnTo>
                    <a:pt x="1" y="410"/>
                  </a:lnTo>
                  <a:lnTo>
                    <a:pt x="158" y="568"/>
                  </a:lnTo>
                  <a:cubicBezTo>
                    <a:pt x="127" y="662"/>
                    <a:pt x="158" y="788"/>
                    <a:pt x="158" y="883"/>
                  </a:cubicBezTo>
                  <a:lnTo>
                    <a:pt x="127" y="1103"/>
                  </a:lnTo>
                  <a:lnTo>
                    <a:pt x="316" y="1009"/>
                  </a:lnTo>
                  <a:cubicBezTo>
                    <a:pt x="379" y="993"/>
                    <a:pt x="434" y="985"/>
                    <a:pt x="489" y="985"/>
                  </a:cubicBezTo>
                  <a:cubicBezTo>
                    <a:pt x="544" y="985"/>
                    <a:pt x="599" y="993"/>
                    <a:pt x="662" y="1009"/>
                  </a:cubicBezTo>
                  <a:lnTo>
                    <a:pt x="851" y="1103"/>
                  </a:lnTo>
                  <a:lnTo>
                    <a:pt x="820" y="883"/>
                  </a:lnTo>
                  <a:cubicBezTo>
                    <a:pt x="788" y="788"/>
                    <a:pt x="820" y="662"/>
                    <a:pt x="946" y="568"/>
                  </a:cubicBezTo>
                  <a:lnTo>
                    <a:pt x="1103" y="410"/>
                  </a:lnTo>
                  <a:lnTo>
                    <a:pt x="914" y="379"/>
                  </a:lnTo>
                  <a:cubicBezTo>
                    <a:pt x="788" y="379"/>
                    <a:pt x="662" y="315"/>
                    <a:pt x="631" y="189"/>
                  </a:cubicBez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3"/>
            <p:cNvSpPr/>
            <p:nvPr/>
          </p:nvSpPr>
          <p:spPr>
            <a:xfrm>
              <a:off x="-54383600" y="3982600"/>
              <a:ext cx="241800" cy="130775"/>
            </a:xfrm>
            <a:custGeom>
              <a:avLst/>
              <a:gdLst/>
              <a:ahLst/>
              <a:cxnLst/>
              <a:rect l="l" t="t" r="r" b="b"/>
              <a:pathLst>
                <a:path w="9672" h="5231" extrusionOk="0">
                  <a:moveTo>
                    <a:pt x="4856" y="946"/>
                  </a:moveTo>
                  <a:cubicBezTo>
                    <a:pt x="4994" y="946"/>
                    <a:pt x="5135" y="1009"/>
                    <a:pt x="5198" y="1135"/>
                  </a:cubicBezTo>
                  <a:lnTo>
                    <a:pt x="5545" y="1859"/>
                  </a:lnTo>
                  <a:lnTo>
                    <a:pt x="6301" y="1954"/>
                  </a:lnTo>
                  <a:cubicBezTo>
                    <a:pt x="6616" y="2017"/>
                    <a:pt x="6742" y="2395"/>
                    <a:pt x="6490" y="2584"/>
                  </a:cubicBezTo>
                  <a:lnTo>
                    <a:pt x="5954" y="3151"/>
                  </a:lnTo>
                  <a:lnTo>
                    <a:pt x="6049" y="3907"/>
                  </a:lnTo>
                  <a:cubicBezTo>
                    <a:pt x="6098" y="4150"/>
                    <a:pt x="5921" y="4337"/>
                    <a:pt x="5707" y="4337"/>
                  </a:cubicBezTo>
                  <a:cubicBezTo>
                    <a:pt x="5644" y="4337"/>
                    <a:pt x="5578" y="4321"/>
                    <a:pt x="5513" y="4285"/>
                  </a:cubicBezTo>
                  <a:lnTo>
                    <a:pt x="4852" y="3939"/>
                  </a:lnTo>
                  <a:lnTo>
                    <a:pt x="4159" y="4285"/>
                  </a:lnTo>
                  <a:cubicBezTo>
                    <a:pt x="4101" y="4321"/>
                    <a:pt x="4041" y="4337"/>
                    <a:pt x="3982" y="4337"/>
                  </a:cubicBezTo>
                  <a:cubicBezTo>
                    <a:pt x="3781" y="4337"/>
                    <a:pt x="3599" y="4150"/>
                    <a:pt x="3623" y="3907"/>
                  </a:cubicBezTo>
                  <a:lnTo>
                    <a:pt x="3749" y="3151"/>
                  </a:lnTo>
                  <a:lnTo>
                    <a:pt x="3182" y="2584"/>
                  </a:lnTo>
                  <a:cubicBezTo>
                    <a:pt x="3025" y="2363"/>
                    <a:pt x="3151" y="1985"/>
                    <a:pt x="3434" y="1954"/>
                  </a:cubicBezTo>
                  <a:lnTo>
                    <a:pt x="4159" y="1859"/>
                  </a:lnTo>
                  <a:lnTo>
                    <a:pt x="4537" y="1135"/>
                  </a:lnTo>
                  <a:cubicBezTo>
                    <a:pt x="4584" y="1009"/>
                    <a:pt x="4718" y="946"/>
                    <a:pt x="4856" y="946"/>
                  </a:cubicBezTo>
                  <a:close/>
                  <a:moveTo>
                    <a:pt x="1859" y="1"/>
                  </a:moveTo>
                  <a:cubicBezTo>
                    <a:pt x="819" y="1"/>
                    <a:pt x="0" y="820"/>
                    <a:pt x="0" y="1859"/>
                  </a:cubicBezTo>
                  <a:lnTo>
                    <a:pt x="0" y="4096"/>
                  </a:lnTo>
                  <a:cubicBezTo>
                    <a:pt x="32" y="4726"/>
                    <a:pt x="504" y="5230"/>
                    <a:pt x="1134" y="5230"/>
                  </a:cubicBezTo>
                  <a:lnTo>
                    <a:pt x="8569" y="5230"/>
                  </a:lnTo>
                  <a:cubicBezTo>
                    <a:pt x="9199" y="5230"/>
                    <a:pt x="9672" y="4726"/>
                    <a:pt x="9672" y="4128"/>
                  </a:cubicBezTo>
                  <a:lnTo>
                    <a:pt x="9672" y="1859"/>
                  </a:lnTo>
                  <a:cubicBezTo>
                    <a:pt x="9672" y="820"/>
                    <a:pt x="8853" y="1"/>
                    <a:pt x="7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3"/>
            <p:cNvSpPr/>
            <p:nvPr/>
          </p:nvSpPr>
          <p:spPr>
            <a:xfrm>
              <a:off x="-54403300" y="4122000"/>
              <a:ext cx="58300" cy="140225"/>
            </a:xfrm>
            <a:custGeom>
              <a:avLst/>
              <a:gdLst/>
              <a:ahLst/>
              <a:cxnLst/>
              <a:rect l="l" t="t" r="r" b="b"/>
              <a:pathLst>
                <a:path w="2332" h="5609" extrusionOk="0">
                  <a:moveTo>
                    <a:pt x="820" y="1"/>
                  </a:moveTo>
                  <a:lnTo>
                    <a:pt x="820" y="3088"/>
                  </a:lnTo>
                  <a:cubicBezTo>
                    <a:pt x="820" y="3561"/>
                    <a:pt x="631" y="4034"/>
                    <a:pt x="315" y="4349"/>
                  </a:cubicBezTo>
                  <a:cubicBezTo>
                    <a:pt x="0" y="4664"/>
                    <a:pt x="32" y="5136"/>
                    <a:pt x="315" y="5420"/>
                  </a:cubicBezTo>
                  <a:cubicBezTo>
                    <a:pt x="473" y="5546"/>
                    <a:pt x="662" y="5609"/>
                    <a:pt x="851" y="5609"/>
                  </a:cubicBezTo>
                  <a:cubicBezTo>
                    <a:pt x="1040" y="5609"/>
                    <a:pt x="1229" y="5546"/>
                    <a:pt x="1387" y="5420"/>
                  </a:cubicBezTo>
                  <a:cubicBezTo>
                    <a:pt x="2017" y="4790"/>
                    <a:pt x="2332" y="3939"/>
                    <a:pt x="2332" y="3088"/>
                  </a:cubicBezTo>
                  <a:lnTo>
                    <a:pt x="2332" y="379"/>
                  </a:lnTo>
                  <a:lnTo>
                    <a:pt x="1954" y="379"/>
                  </a:lnTo>
                  <a:cubicBezTo>
                    <a:pt x="1913" y="382"/>
                    <a:pt x="1874" y="383"/>
                    <a:pt x="1836" y="383"/>
                  </a:cubicBezTo>
                  <a:cubicBezTo>
                    <a:pt x="1422" y="383"/>
                    <a:pt x="1108" y="232"/>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3"/>
            <p:cNvSpPr/>
            <p:nvPr/>
          </p:nvSpPr>
          <p:spPr>
            <a:xfrm>
              <a:off x="-54346600" y="4132250"/>
              <a:ext cx="167800" cy="168575"/>
            </a:xfrm>
            <a:custGeom>
              <a:avLst/>
              <a:gdLst/>
              <a:ahLst/>
              <a:cxnLst/>
              <a:rect l="l" t="t" r="r" b="b"/>
              <a:pathLst>
                <a:path w="6712" h="6743" extrusionOk="0">
                  <a:moveTo>
                    <a:pt x="1860" y="757"/>
                  </a:moveTo>
                  <a:cubicBezTo>
                    <a:pt x="2049" y="757"/>
                    <a:pt x="2206" y="914"/>
                    <a:pt x="2206" y="1103"/>
                  </a:cubicBezTo>
                  <a:cubicBezTo>
                    <a:pt x="2206" y="1292"/>
                    <a:pt x="2049" y="1450"/>
                    <a:pt x="1860" y="1450"/>
                  </a:cubicBezTo>
                  <a:cubicBezTo>
                    <a:pt x="1846" y="1452"/>
                    <a:pt x="1832" y="1454"/>
                    <a:pt x="1818" y="1454"/>
                  </a:cubicBezTo>
                  <a:cubicBezTo>
                    <a:pt x="1671" y="1454"/>
                    <a:pt x="1513" y="1305"/>
                    <a:pt x="1513" y="1103"/>
                  </a:cubicBezTo>
                  <a:cubicBezTo>
                    <a:pt x="1513" y="914"/>
                    <a:pt x="1671" y="757"/>
                    <a:pt x="1860" y="757"/>
                  </a:cubicBezTo>
                  <a:close/>
                  <a:moveTo>
                    <a:pt x="4884" y="788"/>
                  </a:moveTo>
                  <a:cubicBezTo>
                    <a:pt x="5105" y="788"/>
                    <a:pt x="5262" y="946"/>
                    <a:pt x="5262" y="1135"/>
                  </a:cubicBezTo>
                  <a:cubicBezTo>
                    <a:pt x="5262" y="1324"/>
                    <a:pt x="5105" y="1481"/>
                    <a:pt x="4884" y="1481"/>
                  </a:cubicBezTo>
                  <a:cubicBezTo>
                    <a:pt x="4695" y="1481"/>
                    <a:pt x="4537" y="1324"/>
                    <a:pt x="4537" y="1135"/>
                  </a:cubicBezTo>
                  <a:cubicBezTo>
                    <a:pt x="4537" y="946"/>
                    <a:pt x="4695" y="788"/>
                    <a:pt x="4884" y="788"/>
                  </a:cubicBezTo>
                  <a:close/>
                  <a:moveTo>
                    <a:pt x="4455" y="3316"/>
                  </a:moveTo>
                  <a:cubicBezTo>
                    <a:pt x="4545" y="3316"/>
                    <a:pt x="4632" y="3356"/>
                    <a:pt x="4695" y="3435"/>
                  </a:cubicBezTo>
                  <a:cubicBezTo>
                    <a:pt x="4853" y="3592"/>
                    <a:pt x="4853" y="3813"/>
                    <a:pt x="4695" y="3939"/>
                  </a:cubicBezTo>
                  <a:cubicBezTo>
                    <a:pt x="4348" y="4285"/>
                    <a:pt x="3876" y="4474"/>
                    <a:pt x="3403" y="4474"/>
                  </a:cubicBezTo>
                  <a:cubicBezTo>
                    <a:pt x="2931" y="4474"/>
                    <a:pt x="2427" y="4285"/>
                    <a:pt x="2112" y="3939"/>
                  </a:cubicBezTo>
                  <a:cubicBezTo>
                    <a:pt x="1954" y="3781"/>
                    <a:pt x="1954" y="3529"/>
                    <a:pt x="2112" y="3435"/>
                  </a:cubicBezTo>
                  <a:cubicBezTo>
                    <a:pt x="2190" y="3356"/>
                    <a:pt x="2285" y="3316"/>
                    <a:pt x="2375" y="3316"/>
                  </a:cubicBezTo>
                  <a:cubicBezTo>
                    <a:pt x="2466" y="3316"/>
                    <a:pt x="2553" y="3356"/>
                    <a:pt x="2616" y="3435"/>
                  </a:cubicBezTo>
                  <a:cubicBezTo>
                    <a:pt x="2836" y="3639"/>
                    <a:pt x="3120" y="3742"/>
                    <a:pt x="3403" y="3742"/>
                  </a:cubicBezTo>
                  <a:cubicBezTo>
                    <a:pt x="3687" y="3742"/>
                    <a:pt x="3970" y="3639"/>
                    <a:pt x="4191" y="3435"/>
                  </a:cubicBezTo>
                  <a:cubicBezTo>
                    <a:pt x="4270" y="3356"/>
                    <a:pt x="4364" y="3316"/>
                    <a:pt x="4455" y="3316"/>
                  </a:cubicBezTo>
                  <a:close/>
                  <a:moveTo>
                    <a:pt x="757" y="1"/>
                  </a:moveTo>
                  <a:lnTo>
                    <a:pt x="757" y="2710"/>
                  </a:lnTo>
                  <a:cubicBezTo>
                    <a:pt x="757" y="3529"/>
                    <a:pt x="536" y="4285"/>
                    <a:pt x="1" y="5010"/>
                  </a:cubicBezTo>
                  <a:cubicBezTo>
                    <a:pt x="757" y="6049"/>
                    <a:pt x="1986" y="6743"/>
                    <a:pt x="3372" y="6743"/>
                  </a:cubicBezTo>
                  <a:cubicBezTo>
                    <a:pt x="4727" y="6743"/>
                    <a:pt x="5955" y="6049"/>
                    <a:pt x="6711" y="5010"/>
                  </a:cubicBezTo>
                  <a:cubicBezTo>
                    <a:pt x="6207" y="4285"/>
                    <a:pt x="5955" y="3498"/>
                    <a:pt x="5955" y="2710"/>
                  </a:cubicBezTo>
                  <a:lnTo>
                    <a:pt x="59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3"/>
            <p:cNvSpPr/>
            <p:nvPr/>
          </p:nvSpPr>
          <p:spPr>
            <a:xfrm>
              <a:off x="-54177250" y="4122000"/>
              <a:ext cx="57500" cy="141025"/>
            </a:xfrm>
            <a:custGeom>
              <a:avLst/>
              <a:gdLst/>
              <a:ahLst/>
              <a:cxnLst/>
              <a:rect l="l" t="t" r="r" b="b"/>
              <a:pathLst>
                <a:path w="2300" h="5641" extrusionOk="0">
                  <a:moveTo>
                    <a:pt x="1481" y="1"/>
                  </a:moveTo>
                  <a:cubicBezTo>
                    <a:pt x="1166" y="253"/>
                    <a:pt x="756" y="411"/>
                    <a:pt x="378" y="411"/>
                  </a:cubicBezTo>
                  <a:lnTo>
                    <a:pt x="0" y="411"/>
                  </a:lnTo>
                  <a:lnTo>
                    <a:pt x="0" y="3120"/>
                  </a:lnTo>
                  <a:cubicBezTo>
                    <a:pt x="0" y="4034"/>
                    <a:pt x="378" y="4821"/>
                    <a:pt x="945" y="5451"/>
                  </a:cubicBezTo>
                  <a:cubicBezTo>
                    <a:pt x="1103" y="5577"/>
                    <a:pt x="1292" y="5640"/>
                    <a:pt x="1481" y="5640"/>
                  </a:cubicBezTo>
                  <a:cubicBezTo>
                    <a:pt x="1670" y="5640"/>
                    <a:pt x="1859" y="5577"/>
                    <a:pt x="2017" y="5451"/>
                  </a:cubicBezTo>
                  <a:cubicBezTo>
                    <a:pt x="2300" y="5136"/>
                    <a:pt x="2300" y="4664"/>
                    <a:pt x="1985" y="4380"/>
                  </a:cubicBezTo>
                  <a:cubicBezTo>
                    <a:pt x="1639" y="4034"/>
                    <a:pt x="1481" y="3466"/>
                    <a:pt x="1481" y="1576"/>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0" name="Google Shape;7780;p73"/>
          <p:cNvGrpSpPr/>
          <p:nvPr/>
        </p:nvGrpSpPr>
        <p:grpSpPr>
          <a:xfrm>
            <a:off x="7512313" y="2736772"/>
            <a:ext cx="356298" cy="356973"/>
            <a:chOff x="-52458650" y="3194400"/>
            <a:chExt cx="316625" cy="317225"/>
          </a:xfrm>
        </p:grpSpPr>
        <p:sp>
          <p:nvSpPr>
            <p:cNvPr id="7781" name="Google Shape;7781;p73"/>
            <p:cNvSpPr/>
            <p:nvPr/>
          </p:nvSpPr>
          <p:spPr>
            <a:xfrm>
              <a:off x="-52458650" y="3194400"/>
              <a:ext cx="316625" cy="166000"/>
            </a:xfrm>
            <a:custGeom>
              <a:avLst/>
              <a:gdLst/>
              <a:ahLst/>
              <a:cxnLst/>
              <a:rect l="l" t="t" r="r" b="b"/>
              <a:pathLst>
                <a:path w="12665" h="6640" extrusionOk="0">
                  <a:moveTo>
                    <a:pt x="6309" y="0"/>
                  </a:moveTo>
                  <a:cubicBezTo>
                    <a:pt x="6254" y="0"/>
                    <a:pt x="6207" y="8"/>
                    <a:pt x="6175" y="24"/>
                  </a:cubicBezTo>
                  <a:lnTo>
                    <a:pt x="189" y="3017"/>
                  </a:lnTo>
                  <a:cubicBezTo>
                    <a:pt x="63" y="3080"/>
                    <a:pt x="0" y="3206"/>
                    <a:pt x="0" y="3332"/>
                  </a:cubicBezTo>
                  <a:cubicBezTo>
                    <a:pt x="0" y="3489"/>
                    <a:pt x="63" y="3615"/>
                    <a:pt x="189" y="3647"/>
                  </a:cubicBezTo>
                  <a:lnTo>
                    <a:pt x="2394" y="4434"/>
                  </a:lnTo>
                  <a:lnTo>
                    <a:pt x="3025" y="3143"/>
                  </a:lnTo>
                  <a:cubicBezTo>
                    <a:pt x="3088" y="3017"/>
                    <a:pt x="3214" y="2922"/>
                    <a:pt x="3340" y="2922"/>
                  </a:cubicBezTo>
                  <a:lnTo>
                    <a:pt x="9326" y="2922"/>
                  </a:lnTo>
                  <a:cubicBezTo>
                    <a:pt x="9483" y="2922"/>
                    <a:pt x="9609" y="3017"/>
                    <a:pt x="9641" y="3143"/>
                  </a:cubicBezTo>
                  <a:lnTo>
                    <a:pt x="10271" y="4434"/>
                  </a:lnTo>
                  <a:lnTo>
                    <a:pt x="11940" y="3836"/>
                  </a:lnTo>
                  <a:lnTo>
                    <a:pt x="11940" y="6293"/>
                  </a:lnTo>
                  <a:cubicBezTo>
                    <a:pt x="11940" y="6482"/>
                    <a:pt x="12098" y="6640"/>
                    <a:pt x="12287" y="6640"/>
                  </a:cubicBezTo>
                  <a:cubicBezTo>
                    <a:pt x="12476" y="6640"/>
                    <a:pt x="12634" y="6482"/>
                    <a:pt x="12634" y="6293"/>
                  </a:cubicBezTo>
                  <a:lnTo>
                    <a:pt x="12634" y="3300"/>
                  </a:lnTo>
                  <a:cubicBezTo>
                    <a:pt x="12665" y="3206"/>
                    <a:pt x="12634" y="3048"/>
                    <a:pt x="12508" y="3017"/>
                  </a:cubicBezTo>
                  <a:lnTo>
                    <a:pt x="6490" y="24"/>
                  </a:lnTo>
                  <a:cubicBezTo>
                    <a:pt x="6427" y="8"/>
                    <a:pt x="6364" y="0"/>
                    <a:pt x="6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3"/>
            <p:cNvSpPr/>
            <p:nvPr/>
          </p:nvSpPr>
          <p:spPr>
            <a:xfrm>
              <a:off x="-52379100" y="3287125"/>
              <a:ext cx="156750" cy="18925"/>
            </a:xfrm>
            <a:custGeom>
              <a:avLst/>
              <a:gdLst/>
              <a:ahLst/>
              <a:cxnLst/>
              <a:rect l="l" t="t" r="r" b="b"/>
              <a:pathLst>
                <a:path w="6270" h="757" extrusionOk="0">
                  <a:moveTo>
                    <a:pt x="378" y="1"/>
                  </a:moveTo>
                  <a:lnTo>
                    <a:pt x="0" y="757"/>
                  </a:lnTo>
                  <a:lnTo>
                    <a:pt x="6270" y="757"/>
                  </a:lnTo>
                  <a:lnTo>
                    <a:pt x="58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3"/>
            <p:cNvSpPr/>
            <p:nvPr/>
          </p:nvSpPr>
          <p:spPr>
            <a:xfrm>
              <a:off x="-52383825" y="3361950"/>
              <a:ext cx="55150" cy="37050"/>
            </a:xfrm>
            <a:custGeom>
              <a:avLst/>
              <a:gdLst/>
              <a:ahLst/>
              <a:cxnLst/>
              <a:rect l="l" t="t" r="r" b="b"/>
              <a:pathLst>
                <a:path w="2206" h="1482" extrusionOk="0">
                  <a:moveTo>
                    <a:pt x="347" y="1"/>
                  </a:moveTo>
                  <a:cubicBezTo>
                    <a:pt x="158" y="1"/>
                    <a:pt x="0" y="158"/>
                    <a:pt x="0" y="379"/>
                  </a:cubicBezTo>
                  <a:lnTo>
                    <a:pt x="0" y="1104"/>
                  </a:lnTo>
                  <a:cubicBezTo>
                    <a:pt x="0" y="1293"/>
                    <a:pt x="158" y="1450"/>
                    <a:pt x="347" y="1450"/>
                  </a:cubicBezTo>
                  <a:lnTo>
                    <a:pt x="1103" y="1450"/>
                  </a:lnTo>
                  <a:lnTo>
                    <a:pt x="1103" y="1482"/>
                  </a:lnTo>
                  <a:cubicBezTo>
                    <a:pt x="1733" y="1482"/>
                    <a:pt x="2205" y="946"/>
                    <a:pt x="2205" y="379"/>
                  </a:cubicBezTo>
                  <a:cubicBezTo>
                    <a:pt x="2205" y="158"/>
                    <a:pt x="2048"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3"/>
            <p:cNvSpPr/>
            <p:nvPr/>
          </p:nvSpPr>
          <p:spPr>
            <a:xfrm>
              <a:off x="-52401950" y="3380075"/>
              <a:ext cx="204800" cy="131550"/>
            </a:xfrm>
            <a:custGeom>
              <a:avLst/>
              <a:gdLst/>
              <a:ahLst/>
              <a:cxnLst/>
              <a:rect l="l" t="t" r="r" b="b"/>
              <a:pathLst>
                <a:path w="8192" h="5262" extrusionOk="0">
                  <a:moveTo>
                    <a:pt x="5085" y="1804"/>
                  </a:moveTo>
                  <a:cubicBezTo>
                    <a:pt x="5175" y="1804"/>
                    <a:pt x="5262" y="1843"/>
                    <a:pt x="5325" y="1922"/>
                  </a:cubicBezTo>
                  <a:cubicBezTo>
                    <a:pt x="5514" y="2080"/>
                    <a:pt x="5514" y="2332"/>
                    <a:pt x="5356" y="2426"/>
                  </a:cubicBezTo>
                  <a:cubicBezTo>
                    <a:pt x="5010" y="2804"/>
                    <a:pt x="4537" y="2993"/>
                    <a:pt x="4065" y="2993"/>
                  </a:cubicBezTo>
                  <a:cubicBezTo>
                    <a:pt x="3561" y="2993"/>
                    <a:pt x="3088" y="2804"/>
                    <a:pt x="2710" y="2426"/>
                  </a:cubicBezTo>
                  <a:cubicBezTo>
                    <a:pt x="2552" y="2269"/>
                    <a:pt x="2552" y="2048"/>
                    <a:pt x="2710" y="1922"/>
                  </a:cubicBezTo>
                  <a:cubicBezTo>
                    <a:pt x="2789" y="1843"/>
                    <a:pt x="2891" y="1804"/>
                    <a:pt x="2990" y="1804"/>
                  </a:cubicBezTo>
                  <a:cubicBezTo>
                    <a:pt x="3088" y="1804"/>
                    <a:pt x="3182" y="1843"/>
                    <a:pt x="3245" y="1922"/>
                  </a:cubicBezTo>
                  <a:cubicBezTo>
                    <a:pt x="3450" y="2143"/>
                    <a:pt x="3734" y="2253"/>
                    <a:pt x="4021" y="2253"/>
                  </a:cubicBezTo>
                  <a:cubicBezTo>
                    <a:pt x="4309" y="2253"/>
                    <a:pt x="4600" y="2143"/>
                    <a:pt x="4821" y="1922"/>
                  </a:cubicBezTo>
                  <a:cubicBezTo>
                    <a:pt x="4899" y="1843"/>
                    <a:pt x="4994" y="1804"/>
                    <a:pt x="5085" y="1804"/>
                  </a:cubicBezTo>
                  <a:close/>
                  <a:moveTo>
                    <a:pt x="3655" y="0"/>
                  </a:moveTo>
                  <a:cubicBezTo>
                    <a:pt x="3498" y="851"/>
                    <a:pt x="2710" y="1481"/>
                    <a:pt x="1859" y="1481"/>
                  </a:cubicBezTo>
                  <a:lnTo>
                    <a:pt x="1103" y="1481"/>
                  </a:lnTo>
                  <a:cubicBezTo>
                    <a:pt x="473" y="1481"/>
                    <a:pt x="0" y="977"/>
                    <a:pt x="0" y="379"/>
                  </a:cubicBezTo>
                  <a:lnTo>
                    <a:pt x="0" y="1135"/>
                  </a:lnTo>
                  <a:cubicBezTo>
                    <a:pt x="0" y="3371"/>
                    <a:pt x="1859" y="5262"/>
                    <a:pt x="4096" y="5262"/>
                  </a:cubicBezTo>
                  <a:cubicBezTo>
                    <a:pt x="6333" y="5262"/>
                    <a:pt x="8192" y="3403"/>
                    <a:pt x="8192" y="1135"/>
                  </a:cubicBezTo>
                  <a:lnTo>
                    <a:pt x="8192" y="379"/>
                  </a:lnTo>
                  <a:cubicBezTo>
                    <a:pt x="8160" y="1009"/>
                    <a:pt x="7656" y="1481"/>
                    <a:pt x="7058" y="1481"/>
                  </a:cubicBezTo>
                  <a:lnTo>
                    <a:pt x="6301" y="1481"/>
                  </a:lnTo>
                  <a:cubicBezTo>
                    <a:pt x="5388" y="1481"/>
                    <a:pt x="4663" y="851"/>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3"/>
            <p:cNvSpPr/>
            <p:nvPr/>
          </p:nvSpPr>
          <p:spPr>
            <a:xfrm>
              <a:off x="-52272000" y="3361950"/>
              <a:ext cx="55175" cy="37050"/>
            </a:xfrm>
            <a:custGeom>
              <a:avLst/>
              <a:gdLst/>
              <a:ahLst/>
              <a:cxnLst/>
              <a:rect l="l" t="t" r="r" b="b"/>
              <a:pathLst>
                <a:path w="2207" h="1482" extrusionOk="0">
                  <a:moveTo>
                    <a:pt x="347" y="1"/>
                  </a:moveTo>
                  <a:cubicBezTo>
                    <a:pt x="158" y="1"/>
                    <a:pt x="1" y="158"/>
                    <a:pt x="1" y="379"/>
                  </a:cubicBezTo>
                  <a:cubicBezTo>
                    <a:pt x="1" y="1009"/>
                    <a:pt x="505" y="1482"/>
                    <a:pt x="1103" y="1482"/>
                  </a:cubicBezTo>
                  <a:lnTo>
                    <a:pt x="1860" y="1482"/>
                  </a:lnTo>
                  <a:cubicBezTo>
                    <a:pt x="2049" y="1482"/>
                    <a:pt x="2206" y="1324"/>
                    <a:pt x="2206" y="1104"/>
                  </a:cubicBezTo>
                  <a:lnTo>
                    <a:pt x="2206" y="379"/>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3"/>
            <p:cNvSpPr/>
            <p:nvPr/>
          </p:nvSpPr>
          <p:spPr>
            <a:xfrm>
              <a:off x="-52402750" y="3324950"/>
              <a:ext cx="204825" cy="46475"/>
            </a:xfrm>
            <a:custGeom>
              <a:avLst/>
              <a:gdLst/>
              <a:ahLst/>
              <a:cxnLst/>
              <a:rect l="l" t="t" r="r" b="b"/>
              <a:pathLst>
                <a:path w="8193" h="1859" extrusionOk="0">
                  <a:moveTo>
                    <a:pt x="1" y="0"/>
                  </a:moveTo>
                  <a:lnTo>
                    <a:pt x="1" y="1859"/>
                  </a:lnTo>
                  <a:cubicBezTo>
                    <a:pt x="1" y="1229"/>
                    <a:pt x="505" y="725"/>
                    <a:pt x="1104" y="725"/>
                  </a:cubicBezTo>
                  <a:lnTo>
                    <a:pt x="2584" y="725"/>
                  </a:lnTo>
                  <a:cubicBezTo>
                    <a:pt x="3057" y="725"/>
                    <a:pt x="3498" y="1071"/>
                    <a:pt x="3656" y="1481"/>
                  </a:cubicBezTo>
                  <a:lnTo>
                    <a:pt x="4538" y="1481"/>
                  </a:lnTo>
                  <a:cubicBezTo>
                    <a:pt x="4695" y="1071"/>
                    <a:pt x="5073" y="725"/>
                    <a:pt x="5577" y="725"/>
                  </a:cubicBezTo>
                  <a:lnTo>
                    <a:pt x="7090" y="725"/>
                  </a:lnTo>
                  <a:cubicBezTo>
                    <a:pt x="7720" y="725"/>
                    <a:pt x="8192" y="1260"/>
                    <a:pt x="8192" y="1859"/>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3"/>
            <p:cNvSpPr/>
            <p:nvPr/>
          </p:nvSpPr>
          <p:spPr>
            <a:xfrm>
              <a:off x="-52440550" y="3349350"/>
              <a:ext cx="18925" cy="63825"/>
            </a:xfrm>
            <a:custGeom>
              <a:avLst/>
              <a:gdLst/>
              <a:ahLst/>
              <a:cxnLst/>
              <a:rect l="l" t="t" r="r" b="b"/>
              <a:pathLst>
                <a:path w="757" h="2553" extrusionOk="0">
                  <a:moveTo>
                    <a:pt x="757" y="1"/>
                  </a:moveTo>
                  <a:cubicBezTo>
                    <a:pt x="284" y="190"/>
                    <a:pt x="1" y="725"/>
                    <a:pt x="1" y="1261"/>
                  </a:cubicBezTo>
                  <a:cubicBezTo>
                    <a:pt x="1" y="1797"/>
                    <a:pt x="316"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3"/>
            <p:cNvSpPr/>
            <p:nvPr/>
          </p:nvSpPr>
          <p:spPr>
            <a:xfrm>
              <a:off x="-52179050" y="334857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9" name="Google Shape;7789;p73"/>
          <p:cNvGrpSpPr/>
          <p:nvPr/>
        </p:nvGrpSpPr>
        <p:grpSpPr>
          <a:xfrm>
            <a:off x="4881188" y="2741864"/>
            <a:ext cx="314662" cy="358971"/>
            <a:chOff x="-54793175" y="3198925"/>
            <a:chExt cx="279625" cy="319000"/>
          </a:xfrm>
        </p:grpSpPr>
        <p:sp>
          <p:nvSpPr>
            <p:cNvPr id="7790" name="Google Shape;7790;p73"/>
            <p:cNvSpPr/>
            <p:nvPr/>
          </p:nvSpPr>
          <p:spPr>
            <a:xfrm>
              <a:off x="-54532475" y="3354075"/>
              <a:ext cx="18925" cy="60675"/>
            </a:xfrm>
            <a:custGeom>
              <a:avLst/>
              <a:gdLst/>
              <a:ahLst/>
              <a:cxnLst/>
              <a:rect l="l" t="t" r="r" b="b"/>
              <a:pathLst>
                <a:path w="757" h="2427" extrusionOk="0">
                  <a:moveTo>
                    <a:pt x="1" y="1"/>
                  </a:moveTo>
                  <a:lnTo>
                    <a:pt x="1" y="788"/>
                  </a:lnTo>
                  <a:cubicBezTo>
                    <a:pt x="158" y="1355"/>
                    <a:pt x="190" y="1891"/>
                    <a:pt x="190" y="2427"/>
                  </a:cubicBezTo>
                  <a:cubicBezTo>
                    <a:pt x="505" y="2143"/>
                    <a:pt x="757" y="1734"/>
                    <a:pt x="757" y="1261"/>
                  </a:cubicBezTo>
                  <a:cubicBezTo>
                    <a:pt x="757" y="725"/>
                    <a:pt x="473"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3"/>
            <p:cNvSpPr/>
            <p:nvPr/>
          </p:nvSpPr>
          <p:spPr>
            <a:xfrm>
              <a:off x="-54793175" y="3198925"/>
              <a:ext cx="97675" cy="126050"/>
            </a:xfrm>
            <a:custGeom>
              <a:avLst/>
              <a:gdLst/>
              <a:ahLst/>
              <a:cxnLst/>
              <a:rect l="l" t="t" r="r" b="b"/>
              <a:pathLst>
                <a:path w="3907" h="5042" extrusionOk="0">
                  <a:moveTo>
                    <a:pt x="2993" y="0"/>
                  </a:moveTo>
                  <a:cubicBezTo>
                    <a:pt x="2426" y="0"/>
                    <a:pt x="1954" y="315"/>
                    <a:pt x="1702" y="756"/>
                  </a:cubicBezTo>
                  <a:cubicBezTo>
                    <a:pt x="1632" y="746"/>
                    <a:pt x="1562" y="742"/>
                    <a:pt x="1494" y="742"/>
                  </a:cubicBezTo>
                  <a:cubicBezTo>
                    <a:pt x="695" y="742"/>
                    <a:pt x="0" y="1396"/>
                    <a:pt x="0" y="2237"/>
                  </a:cubicBezTo>
                  <a:cubicBezTo>
                    <a:pt x="0" y="2521"/>
                    <a:pt x="63" y="2741"/>
                    <a:pt x="190" y="2993"/>
                  </a:cubicBezTo>
                  <a:cubicBezTo>
                    <a:pt x="63" y="3214"/>
                    <a:pt x="0" y="3466"/>
                    <a:pt x="0" y="3749"/>
                  </a:cubicBezTo>
                  <a:cubicBezTo>
                    <a:pt x="0" y="4285"/>
                    <a:pt x="316" y="4758"/>
                    <a:pt x="757" y="5041"/>
                  </a:cubicBezTo>
                  <a:lnTo>
                    <a:pt x="757" y="4852"/>
                  </a:lnTo>
                  <a:cubicBezTo>
                    <a:pt x="757" y="2804"/>
                    <a:pt x="2048" y="1008"/>
                    <a:pt x="3907" y="315"/>
                  </a:cubicBezTo>
                  <a:cubicBezTo>
                    <a:pt x="3655" y="126"/>
                    <a:pt x="3340" y="0"/>
                    <a:pt x="2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3"/>
            <p:cNvSpPr/>
            <p:nvPr/>
          </p:nvSpPr>
          <p:spPr>
            <a:xfrm>
              <a:off x="-54624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3"/>
            <p:cNvSpPr/>
            <p:nvPr/>
          </p:nvSpPr>
          <p:spPr>
            <a:xfrm>
              <a:off x="-54737250" y="3349350"/>
              <a:ext cx="55150" cy="55175"/>
            </a:xfrm>
            <a:custGeom>
              <a:avLst/>
              <a:gdLst/>
              <a:ahLst/>
              <a:cxnLst/>
              <a:rect l="l" t="t" r="r" b="b"/>
              <a:pathLst>
                <a:path w="2206" h="2207" extrusionOk="0">
                  <a:moveTo>
                    <a:pt x="1103" y="1"/>
                  </a:moveTo>
                  <a:cubicBezTo>
                    <a:pt x="504" y="1"/>
                    <a:pt x="0" y="505"/>
                    <a:pt x="0" y="1103"/>
                  </a:cubicBezTo>
                  <a:cubicBezTo>
                    <a:pt x="0" y="1702"/>
                    <a:pt x="504" y="2206"/>
                    <a:pt x="1103" y="2206"/>
                  </a:cubicBezTo>
                  <a:cubicBezTo>
                    <a:pt x="1733" y="2206"/>
                    <a:pt x="2206" y="1702"/>
                    <a:pt x="2206" y="1103"/>
                  </a:cubicBezTo>
                  <a:cubicBezTo>
                    <a:pt x="2206" y="505"/>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4" name="Google Shape;7794;p73"/>
            <p:cNvSpPr/>
            <p:nvPr/>
          </p:nvSpPr>
          <p:spPr>
            <a:xfrm>
              <a:off x="-54770325" y="3218600"/>
              <a:ext cx="233925" cy="299325"/>
            </a:xfrm>
            <a:custGeom>
              <a:avLst/>
              <a:gdLst/>
              <a:ahLst/>
              <a:cxnLst/>
              <a:rect l="l" t="t" r="r" b="b"/>
              <a:pathLst>
                <a:path w="9357" h="11973" extrusionOk="0">
                  <a:moveTo>
                    <a:pt x="6175" y="2962"/>
                  </a:moveTo>
                  <a:cubicBezTo>
                    <a:pt x="6364" y="2962"/>
                    <a:pt x="6522" y="3120"/>
                    <a:pt x="6522" y="3309"/>
                  </a:cubicBezTo>
                  <a:cubicBezTo>
                    <a:pt x="6522" y="3498"/>
                    <a:pt x="6364" y="3656"/>
                    <a:pt x="6175" y="3656"/>
                  </a:cubicBezTo>
                  <a:lnTo>
                    <a:pt x="3182" y="3656"/>
                  </a:lnTo>
                  <a:cubicBezTo>
                    <a:pt x="2993" y="3656"/>
                    <a:pt x="2836" y="3498"/>
                    <a:pt x="2836" y="3309"/>
                  </a:cubicBezTo>
                  <a:cubicBezTo>
                    <a:pt x="2836" y="3120"/>
                    <a:pt x="2993" y="2962"/>
                    <a:pt x="3182" y="2962"/>
                  </a:cubicBezTo>
                  <a:close/>
                  <a:moveTo>
                    <a:pt x="6931" y="4443"/>
                  </a:moveTo>
                  <a:cubicBezTo>
                    <a:pt x="9357" y="4443"/>
                    <a:pt x="9357" y="8192"/>
                    <a:pt x="6931" y="8192"/>
                  </a:cubicBezTo>
                  <a:cubicBezTo>
                    <a:pt x="6018" y="8192"/>
                    <a:pt x="5261" y="7562"/>
                    <a:pt x="5104" y="6680"/>
                  </a:cubicBezTo>
                  <a:lnTo>
                    <a:pt x="4285" y="6680"/>
                  </a:lnTo>
                  <a:cubicBezTo>
                    <a:pt x="4127" y="7562"/>
                    <a:pt x="3340" y="8192"/>
                    <a:pt x="2458" y="8192"/>
                  </a:cubicBezTo>
                  <a:cubicBezTo>
                    <a:pt x="0" y="8192"/>
                    <a:pt x="0" y="4443"/>
                    <a:pt x="2458" y="4443"/>
                  </a:cubicBezTo>
                  <a:cubicBezTo>
                    <a:pt x="3371" y="4443"/>
                    <a:pt x="4127" y="5073"/>
                    <a:pt x="4285" y="5955"/>
                  </a:cubicBezTo>
                  <a:lnTo>
                    <a:pt x="5104" y="5955"/>
                  </a:lnTo>
                  <a:cubicBezTo>
                    <a:pt x="5261" y="5073"/>
                    <a:pt x="6049" y="4443"/>
                    <a:pt x="6931" y="4443"/>
                  </a:cubicBezTo>
                  <a:close/>
                  <a:moveTo>
                    <a:pt x="5695" y="8547"/>
                  </a:moveTo>
                  <a:cubicBezTo>
                    <a:pt x="5789" y="8547"/>
                    <a:pt x="5876" y="8586"/>
                    <a:pt x="5923" y="8665"/>
                  </a:cubicBezTo>
                  <a:cubicBezTo>
                    <a:pt x="6144" y="8791"/>
                    <a:pt x="6144" y="9011"/>
                    <a:pt x="5986" y="9169"/>
                  </a:cubicBezTo>
                  <a:cubicBezTo>
                    <a:pt x="5608" y="9515"/>
                    <a:pt x="5135" y="9704"/>
                    <a:pt x="4631" y="9704"/>
                  </a:cubicBezTo>
                  <a:cubicBezTo>
                    <a:pt x="4127" y="9704"/>
                    <a:pt x="3655" y="9515"/>
                    <a:pt x="3340" y="9169"/>
                  </a:cubicBezTo>
                  <a:cubicBezTo>
                    <a:pt x="3182" y="9011"/>
                    <a:pt x="3182" y="8791"/>
                    <a:pt x="3340" y="8665"/>
                  </a:cubicBezTo>
                  <a:cubicBezTo>
                    <a:pt x="3418" y="8586"/>
                    <a:pt x="3513" y="8547"/>
                    <a:pt x="3603" y="8547"/>
                  </a:cubicBezTo>
                  <a:cubicBezTo>
                    <a:pt x="3694" y="8547"/>
                    <a:pt x="3781" y="8586"/>
                    <a:pt x="3844" y="8665"/>
                  </a:cubicBezTo>
                  <a:cubicBezTo>
                    <a:pt x="4064" y="8885"/>
                    <a:pt x="4348" y="8996"/>
                    <a:pt x="4631" y="8996"/>
                  </a:cubicBezTo>
                  <a:cubicBezTo>
                    <a:pt x="4915" y="8996"/>
                    <a:pt x="5198" y="8885"/>
                    <a:pt x="5419" y="8665"/>
                  </a:cubicBezTo>
                  <a:cubicBezTo>
                    <a:pt x="5498" y="8586"/>
                    <a:pt x="5600" y="8547"/>
                    <a:pt x="5695" y="8547"/>
                  </a:cubicBezTo>
                  <a:close/>
                  <a:moveTo>
                    <a:pt x="4663" y="1"/>
                  </a:moveTo>
                  <a:cubicBezTo>
                    <a:pt x="2426" y="1"/>
                    <a:pt x="599" y="1828"/>
                    <a:pt x="599" y="4097"/>
                  </a:cubicBezTo>
                  <a:lnTo>
                    <a:pt x="599" y="6270"/>
                  </a:lnTo>
                  <a:cubicBezTo>
                    <a:pt x="158" y="7751"/>
                    <a:pt x="441" y="9137"/>
                    <a:pt x="1260" y="10240"/>
                  </a:cubicBezTo>
                  <a:cubicBezTo>
                    <a:pt x="2079" y="11343"/>
                    <a:pt x="3340" y="11973"/>
                    <a:pt x="4663" y="11973"/>
                  </a:cubicBezTo>
                  <a:cubicBezTo>
                    <a:pt x="6018" y="11973"/>
                    <a:pt x="7309" y="11343"/>
                    <a:pt x="8097" y="10240"/>
                  </a:cubicBezTo>
                  <a:cubicBezTo>
                    <a:pt x="8916" y="9169"/>
                    <a:pt x="9200" y="7783"/>
                    <a:pt x="8758" y="6270"/>
                  </a:cubicBezTo>
                  <a:lnTo>
                    <a:pt x="8758" y="4097"/>
                  </a:lnTo>
                  <a:cubicBezTo>
                    <a:pt x="8758" y="2994"/>
                    <a:pt x="8349" y="1954"/>
                    <a:pt x="7593" y="1167"/>
                  </a:cubicBezTo>
                  <a:cubicBezTo>
                    <a:pt x="6805" y="379"/>
                    <a:pt x="5766" y="1"/>
                    <a:pt x="4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3"/>
            <p:cNvSpPr/>
            <p:nvPr/>
          </p:nvSpPr>
          <p:spPr>
            <a:xfrm>
              <a:off x="-54612025" y="3198925"/>
              <a:ext cx="96100" cy="123675"/>
            </a:xfrm>
            <a:custGeom>
              <a:avLst/>
              <a:gdLst/>
              <a:ahLst/>
              <a:cxnLst/>
              <a:rect l="l" t="t" r="r" b="b"/>
              <a:pathLst>
                <a:path w="3844" h="4947" extrusionOk="0">
                  <a:moveTo>
                    <a:pt x="851" y="0"/>
                  </a:moveTo>
                  <a:cubicBezTo>
                    <a:pt x="536" y="0"/>
                    <a:pt x="221" y="95"/>
                    <a:pt x="1" y="252"/>
                  </a:cubicBezTo>
                  <a:cubicBezTo>
                    <a:pt x="662" y="504"/>
                    <a:pt x="1261" y="882"/>
                    <a:pt x="1765" y="1418"/>
                  </a:cubicBezTo>
                  <a:cubicBezTo>
                    <a:pt x="2679" y="2363"/>
                    <a:pt x="3183" y="3560"/>
                    <a:pt x="3183" y="4821"/>
                  </a:cubicBezTo>
                  <a:lnTo>
                    <a:pt x="3183" y="4947"/>
                  </a:lnTo>
                  <a:cubicBezTo>
                    <a:pt x="3592" y="4695"/>
                    <a:pt x="3844" y="4253"/>
                    <a:pt x="3844" y="3749"/>
                  </a:cubicBezTo>
                  <a:cubicBezTo>
                    <a:pt x="3844" y="3466"/>
                    <a:pt x="3781" y="3214"/>
                    <a:pt x="3655" y="2993"/>
                  </a:cubicBezTo>
                  <a:cubicBezTo>
                    <a:pt x="3781" y="2741"/>
                    <a:pt x="3844" y="2521"/>
                    <a:pt x="3844" y="2237"/>
                  </a:cubicBezTo>
                  <a:cubicBezTo>
                    <a:pt x="3844" y="1380"/>
                    <a:pt x="3123" y="716"/>
                    <a:pt x="2330" y="716"/>
                  </a:cubicBezTo>
                  <a:cubicBezTo>
                    <a:pt x="2279" y="716"/>
                    <a:pt x="2227" y="719"/>
                    <a:pt x="2174" y="725"/>
                  </a:cubicBezTo>
                  <a:cubicBezTo>
                    <a:pt x="1891" y="252"/>
                    <a:pt x="1418"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3"/>
            <p:cNvSpPr/>
            <p:nvPr/>
          </p:nvSpPr>
          <p:spPr>
            <a:xfrm>
              <a:off x="-54793175" y="3353300"/>
              <a:ext cx="18925" cy="60675"/>
            </a:xfrm>
            <a:custGeom>
              <a:avLst/>
              <a:gdLst/>
              <a:ahLst/>
              <a:cxnLst/>
              <a:rect l="l" t="t" r="r" b="b"/>
              <a:pathLst>
                <a:path w="757" h="2427" extrusionOk="0">
                  <a:moveTo>
                    <a:pt x="757" y="0"/>
                  </a:moveTo>
                  <a:cubicBezTo>
                    <a:pt x="316" y="284"/>
                    <a:pt x="0" y="756"/>
                    <a:pt x="0" y="1292"/>
                  </a:cubicBezTo>
                  <a:cubicBezTo>
                    <a:pt x="0" y="1765"/>
                    <a:pt x="190" y="2174"/>
                    <a:pt x="536" y="2426"/>
                  </a:cubicBezTo>
                  <a:cubicBezTo>
                    <a:pt x="505" y="1859"/>
                    <a:pt x="599" y="1292"/>
                    <a:pt x="757" y="756"/>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73"/>
          <p:cNvGrpSpPr/>
          <p:nvPr/>
        </p:nvGrpSpPr>
        <p:grpSpPr>
          <a:xfrm>
            <a:off x="7521611" y="3205748"/>
            <a:ext cx="337703" cy="357845"/>
            <a:chOff x="-52450000" y="3584850"/>
            <a:chExt cx="300100" cy="318000"/>
          </a:xfrm>
        </p:grpSpPr>
        <p:sp>
          <p:nvSpPr>
            <p:cNvPr id="7798" name="Google Shape;7798;p73"/>
            <p:cNvSpPr/>
            <p:nvPr/>
          </p:nvSpPr>
          <p:spPr>
            <a:xfrm>
              <a:off x="-52206625" y="3601400"/>
              <a:ext cx="55150" cy="55950"/>
            </a:xfrm>
            <a:custGeom>
              <a:avLst/>
              <a:gdLst/>
              <a:ahLst/>
              <a:cxnLst/>
              <a:rect l="l" t="t" r="r" b="b"/>
              <a:pathLst>
                <a:path w="2206" h="2238" extrusionOk="0">
                  <a:moveTo>
                    <a:pt x="1986" y="0"/>
                  </a:moveTo>
                  <a:cubicBezTo>
                    <a:pt x="1513" y="32"/>
                    <a:pt x="1103" y="252"/>
                    <a:pt x="694" y="599"/>
                  </a:cubicBezTo>
                  <a:cubicBezTo>
                    <a:pt x="347" y="914"/>
                    <a:pt x="64" y="1387"/>
                    <a:pt x="1" y="1859"/>
                  </a:cubicBezTo>
                  <a:cubicBezTo>
                    <a:pt x="64" y="1985"/>
                    <a:pt x="158" y="2143"/>
                    <a:pt x="221" y="2237"/>
                  </a:cubicBezTo>
                  <a:cubicBezTo>
                    <a:pt x="725" y="2174"/>
                    <a:pt x="1166" y="1985"/>
                    <a:pt x="1513" y="1607"/>
                  </a:cubicBezTo>
                  <a:cubicBezTo>
                    <a:pt x="1923" y="1197"/>
                    <a:pt x="2143" y="693"/>
                    <a:pt x="2206" y="189"/>
                  </a:cubicBezTo>
                  <a:cubicBezTo>
                    <a:pt x="2206" y="158"/>
                    <a:pt x="2206" y="95"/>
                    <a:pt x="2143" y="32"/>
                  </a:cubicBezTo>
                  <a:cubicBezTo>
                    <a:pt x="2112" y="0"/>
                    <a:pt x="2080" y="0"/>
                    <a:pt x="1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3"/>
            <p:cNvSpPr/>
            <p:nvPr/>
          </p:nvSpPr>
          <p:spPr>
            <a:xfrm>
              <a:off x="-52271200" y="3601700"/>
              <a:ext cx="29950" cy="11525"/>
            </a:xfrm>
            <a:custGeom>
              <a:avLst/>
              <a:gdLst/>
              <a:ahLst/>
              <a:cxnLst/>
              <a:rect l="l" t="t" r="r" b="b"/>
              <a:pathLst>
                <a:path w="1198" h="461" extrusionOk="0">
                  <a:moveTo>
                    <a:pt x="757" y="1"/>
                  </a:moveTo>
                  <a:cubicBezTo>
                    <a:pt x="507" y="1"/>
                    <a:pt x="260" y="23"/>
                    <a:pt x="0" y="83"/>
                  </a:cubicBezTo>
                  <a:cubicBezTo>
                    <a:pt x="410" y="146"/>
                    <a:pt x="756" y="272"/>
                    <a:pt x="1103" y="461"/>
                  </a:cubicBezTo>
                  <a:cubicBezTo>
                    <a:pt x="1103" y="303"/>
                    <a:pt x="1166" y="146"/>
                    <a:pt x="1197" y="20"/>
                  </a:cubicBezTo>
                  <a:cubicBezTo>
                    <a:pt x="1048" y="8"/>
                    <a:pt x="902"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3"/>
            <p:cNvSpPr/>
            <p:nvPr/>
          </p:nvSpPr>
          <p:spPr>
            <a:xfrm>
              <a:off x="-52225525" y="3584850"/>
              <a:ext cx="30750" cy="44925"/>
            </a:xfrm>
            <a:custGeom>
              <a:avLst/>
              <a:gdLst/>
              <a:ahLst/>
              <a:cxnLst/>
              <a:rect l="l" t="t" r="r" b="b"/>
              <a:pathLst>
                <a:path w="1230" h="1797" extrusionOk="0">
                  <a:moveTo>
                    <a:pt x="757" y="1"/>
                  </a:moveTo>
                  <a:cubicBezTo>
                    <a:pt x="694" y="1"/>
                    <a:pt x="662" y="32"/>
                    <a:pt x="631" y="64"/>
                  </a:cubicBezTo>
                  <a:cubicBezTo>
                    <a:pt x="442" y="316"/>
                    <a:pt x="1" y="820"/>
                    <a:pt x="1" y="1418"/>
                  </a:cubicBezTo>
                  <a:lnTo>
                    <a:pt x="1" y="1607"/>
                  </a:lnTo>
                  <a:cubicBezTo>
                    <a:pt x="64" y="1702"/>
                    <a:pt x="158" y="1733"/>
                    <a:pt x="190" y="1796"/>
                  </a:cubicBezTo>
                  <a:cubicBezTo>
                    <a:pt x="347" y="1355"/>
                    <a:pt x="631" y="977"/>
                    <a:pt x="977" y="662"/>
                  </a:cubicBezTo>
                  <a:cubicBezTo>
                    <a:pt x="1072" y="599"/>
                    <a:pt x="1135" y="536"/>
                    <a:pt x="1229" y="505"/>
                  </a:cubicBezTo>
                  <a:cubicBezTo>
                    <a:pt x="1103" y="316"/>
                    <a:pt x="977" y="190"/>
                    <a:pt x="851" y="64"/>
                  </a:cubicBezTo>
                  <a:cubicBezTo>
                    <a:pt x="820" y="32"/>
                    <a:pt x="78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3"/>
            <p:cNvSpPr/>
            <p:nvPr/>
          </p:nvSpPr>
          <p:spPr>
            <a:xfrm>
              <a:off x="-52412200" y="3694325"/>
              <a:ext cx="205600" cy="208525"/>
            </a:xfrm>
            <a:custGeom>
              <a:avLst/>
              <a:gdLst/>
              <a:ahLst/>
              <a:cxnLst/>
              <a:rect l="l" t="t" r="r" b="b"/>
              <a:pathLst>
                <a:path w="8224" h="8341" extrusionOk="0">
                  <a:moveTo>
                    <a:pt x="2584" y="2269"/>
                  </a:moveTo>
                  <a:cubicBezTo>
                    <a:pt x="2773" y="2269"/>
                    <a:pt x="2931" y="2427"/>
                    <a:pt x="2931" y="2616"/>
                  </a:cubicBezTo>
                  <a:cubicBezTo>
                    <a:pt x="2931" y="2836"/>
                    <a:pt x="2773" y="2962"/>
                    <a:pt x="2584" y="2962"/>
                  </a:cubicBezTo>
                  <a:cubicBezTo>
                    <a:pt x="2568" y="2965"/>
                    <a:pt x="2552" y="2966"/>
                    <a:pt x="2536" y="2966"/>
                  </a:cubicBezTo>
                  <a:cubicBezTo>
                    <a:pt x="2369" y="2966"/>
                    <a:pt x="2238" y="2817"/>
                    <a:pt x="2238" y="2616"/>
                  </a:cubicBezTo>
                  <a:cubicBezTo>
                    <a:pt x="2238" y="2427"/>
                    <a:pt x="2395" y="2269"/>
                    <a:pt x="2584" y="2269"/>
                  </a:cubicBezTo>
                  <a:close/>
                  <a:moveTo>
                    <a:pt x="5577" y="2269"/>
                  </a:moveTo>
                  <a:cubicBezTo>
                    <a:pt x="5766" y="2269"/>
                    <a:pt x="5924" y="2427"/>
                    <a:pt x="5924" y="2616"/>
                  </a:cubicBezTo>
                  <a:cubicBezTo>
                    <a:pt x="5955" y="2836"/>
                    <a:pt x="5766" y="2994"/>
                    <a:pt x="5577" y="2994"/>
                  </a:cubicBezTo>
                  <a:cubicBezTo>
                    <a:pt x="5388" y="2994"/>
                    <a:pt x="5231" y="2836"/>
                    <a:pt x="5231" y="2616"/>
                  </a:cubicBezTo>
                  <a:cubicBezTo>
                    <a:pt x="5231" y="2427"/>
                    <a:pt x="5388" y="2269"/>
                    <a:pt x="5577" y="2269"/>
                  </a:cubicBezTo>
                  <a:close/>
                  <a:moveTo>
                    <a:pt x="5132" y="4923"/>
                  </a:moveTo>
                  <a:cubicBezTo>
                    <a:pt x="5231" y="4923"/>
                    <a:pt x="5325" y="4963"/>
                    <a:pt x="5388" y="5042"/>
                  </a:cubicBezTo>
                  <a:cubicBezTo>
                    <a:pt x="5577" y="5199"/>
                    <a:pt x="5577" y="5420"/>
                    <a:pt x="5420" y="5546"/>
                  </a:cubicBezTo>
                  <a:cubicBezTo>
                    <a:pt x="5073" y="5892"/>
                    <a:pt x="4601" y="6081"/>
                    <a:pt x="4128" y="6081"/>
                  </a:cubicBezTo>
                  <a:cubicBezTo>
                    <a:pt x="3592" y="6081"/>
                    <a:pt x="3120" y="5892"/>
                    <a:pt x="2773" y="5546"/>
                  </a:cubicBezTo>
                  <a:cubicBezTo>
                    <a:pt x="2616" y="5388"/>
                    <a:pt x="2616" y="5136"/>
                    <a:pt x="2773" y="5042"/>
                  </a:cubicBezTo>
                  <a:cubicBezTo>
                    <a:pt x="2852" y="4963"/>
                    <a:pt x="2954" y="4923"/>
                    <a:pt x="3049" y="4923"/>
                  </a:cubicBezTo>
                  <a:cubicBezTo>
                    <a:pt x="3144" y="4923"/>
                    <a:pt x="3230" y="4963"/>
                    <a:pt x="3277" y="5042"/>
                  </a:cubicBezTo>
                  <a:cubicBezTo>
                    <a:pt x="3498" y="5246"/>
                    <a:pt x="3789" y="5349"/>
                    <a:pt x="4077" y="5349"/>
                  </a:cubicBezTo>
                  <a:cubicBezTo>
                    <a:pt x="4364" y="5349"/>
                    <a:pt x="4648" y="5246"/>
                    <a:pt x="4853" y="5042"/>
                  </a:cubicBezTo>
                  <a:cubicBezTo>
                    <a:pt x="4931" y="4963"/>
                    <a:pt x="5034" y="4923"/>
                    <a:pt x="5132" y="4923"/>
                  </a:cubicBezTo>
                  <a:close/>
                  <a:moveTo>
                    <a:pt x="7468" y="1"/>
                  </a:moveTo>
                  <a:cubicBezTo>
                    <a:pt x="7027" y="1"/>
                    <a:pt x="6711" y="347"/>
                    <a:pt x="6711" y="725"/>
                  </a:cubicBezTo>
                  <a:cubicBezTo>
                    <a:pt x="6711" y="1135"/>
                    <a:pt x="6365" y="1482"/>
                    <a:pt x="5955" y="1482"/>
                  </a:cubicBezTo>
                  <a:lnTo>
                    <a:pt x="726" y="1482"/>
                  </a:lnTo>
                  <a:cubicBezTo>
                    <a:pt x="442" y="1482"/>
                    <a:pt x="221" y="1450"/>
                    <a:pt x="1" y="1356"/>
                  </a:cubicBezTo>
                  <a:lnTo>
                    <a:pt x="1" y="4033"/>
                  </a:lnTo>
                  <a:cubicBezTo>
                    <a:pt x="1" y="6176"/>
                    <a:pt x="1576" y="8129"/>
                    <a:pt x="3687" y="8318"/>
                  </a:cubicBezTo>
                  <a:cubicBezTo>
                    <a:pt x="3831" y="8333"/>
                    <a:pt x="3974" y="8340"/>
                    <a:pt x="4115" y="8340"/>
                  </a:cubicBezTo>
                  <a:cubicBezTo>
                    <a:pt x="6356" y="8340"/>
                    <a:pt x="8224" y="6504"/>
                    <a:pt x="8224" y="4223"/>
                  </a:cubicBezTo>
                  <a:lnTo>
                    <a:pt x="8224" y="757"/>
                  </a:lnTo>
                  <a:cubicBezTo>
                    <a:pt x="8224" y="347"/>
                    <a:pt x="7846" y="1"/>
                    <a:pt x="7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3"/>
            <p:cNvSpPr/>
            <p:nvPr/>
          </p:nvSpPr>
          <p:spPr>
            <a:xfrm>
              <a:off x="-52430300" y="3619500"/>
              <a:ext cx="219775" cy="92975"/>
            </a:xfrm>
            <a:custGeom>
              <a:avLst/>
              <a:gdLst/>
              <a:ahLst/>
              <a:cxnLst/>
              <a:rect l="l" t="t" r="r" b="b"/>
              <a:pathLst>
                <a:path w="8791" h="3719" extrusionOk="0">
                  <a:moveTo>
                    <a:pt x="2237" y="1"/>
                  </a:moveTo>
                  <a:cubicBezTo>
                    <a:pt x="1008" y="1"/>
                    <a:pt x="0" y="978"/>
                    <a:pt x="0" y="2238"/>
                  </a:cubicBezTo>
                  <a:cubicBezTo>
                    <a:pt x="0" y="2364"/>
                    <a:pt x="0" y="2427"/>
                    <a:pt x="32" y="2553"/>
                  </a:cubicBezTo>
                  <a:cubicBezTo>
                    <a:pt x="189" y="3214"/>
                    <a:pt x="788" y="3718"/>
                    <a:pt x="1481" y="3718"/>
                  </a:cubicBezTo>
                  <a:lnTo>
                    <a:pt x="6490" y="3718"/>
                  </a:lnTo>
                  <a:cubicBezTo>
                    <a:pt x="6585" y="3718"/>
                    <a:pt x="6648" y="3655"/>
                    <a:pt x="6679" y="3561"/>
                  </a:cubicBezTo>
                  <a:cubicBezTo>
                    <a:pt x="6774" y="2836"/>
                    <a:pt x="7404" y="2238"/>
                    <a:pt x="8192" y="2238"/>
                  </a:cubicBezTo>
                  <a:cubicBezTo>
                    <a:pt x="8381" y="2238"/>
                    <a:pt x="8570" y="2269"/>
                    <a:pt x="8790" y="2364"/>
                  </a:cubicBezTo>
                  <a:cubicBezTo>
                    <a:pt x="8349" y="978"/>
                    <a:pt x="7089"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3"/>
            <p:cNvSpPr/>
            <p:nvPr/>
          </p:nvSpPr>
          <p:spPr>
            <a:xfrm>
              <a:off x="-52192450" y="3666775"/>
              <a:ext cx="42550" cy="120525"/>
            </a:xfrm>
            <a:custGeom>
              <a:avLst/>
              <a:gdLst/>
              <a:ahLst/>
              <a:cxnLst/>
              <a:rect l="l" t="t" r="r" b="b"/>
              <a:pathLst>
                <a:path w="1702" h="4821" extrusionOk="0">
                  <a:moveTo>
                    <a:pt x="851" y="0"/>
                  </a:moveTo>
                  <a:cubicBezTo>
                    <a:pt x="568" y="126"/>
                    <a:pt x="284" y="221"/>
                    <a:pt x="1" y="315"/>
                  </a:cubicBezTo>
                  <a:cubicBezTo>
                    <a:pt x="127" y="662"/>
                    <a:pt x="221" y="1040"/>
                    <a:pt x="221" y="1481"/>
                  </a:cubicBezTo>
                  <a:lnTo>
                    <a:pt x="221" y="4820"/>
                  </a:lnTo>
                  <a:cubicBezTo>
                    <a:pt x="1040" y="4820"/>
                    <a:pt x="1702" y="4159"/>
                    <a:pt x="1702" y="3340"/>
                  </a:cubicBezTo>
                  <a:cubicBezTo>
                    <a:pt x="1639" y="2710"/>
                    <a:pt x="1229" y="2143"/>
                    <a:pt x="694" y="1953"/>
                  </a:cubicBezTo>
                  <a:cubicBezTo>
                    <a:pt x="851" y="1575"/>
                    <a:pt x="914" y="1166"/>
                    <a:pt x="914" y="725"/>
                  </a:cubicBezTo>
                  <a:cubicBezTo>
                    <a:pt x="914" y="504"/>
                    <a:pt x="883" y="221"/>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3"/>
            <p:cNvSpPr/>
            <p:nvPr/>
          </p:nvSpPr>
          <p:spPr>
            <a:xfrm>
              <a:off x="-52450000"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5" name="Google Shape;7805;p73"/>
          <p:cNvGrpSpPr/>
          <p:nvPr/>
        </p:nvGrpSpPr>
        <p:grpSpPr>
          <a:xfrm>
            <a:off x="7533131" y="3670221"/>
            <a:ext cx="314662" cy="357226"/>
            <a:chOff x="-52440550" y="3977875"/>
            <a:chExt cx="279625" cy="317450"/>
          </a:xfrm>
        </p:grpSpPr>
        <p:sp>
          <p:nvSpPr>
            <p:cNvPr id="7806" name="Google Shape;7806;p73"/>
            <p:cNvSpPr/>
            <p:nvPr/>
          </p:nvSpPr>
          <p:spPr>
            <a:xfrm>
              <a:off x="-52403525" y="4052700"/>
              <a:ext cx="76425" cy="18150"/>
            </a:xfrm>
            <a:custGeom>
              <a:avLst/>
              <a:gdLst/>
              <a:ahLst/>
              <a:cxnLst/>
              <a:rect l="l" t="t" r="r" b="b"/>
              <a:pathLst>
                <a:path w="3057" h="726" extrusionOk="0">
                  <a:moveTo>
                    <a:pt x="0" y="1"/>
                  </a:moveTo>
                  <a:lnTo>
                    <a:pt x="0" y="725"/>
                  </a:lnTo>
                  <a:lnTo>
                    <a:pt x="3056" y="725"/>
                  </a:lnTo>
                  <a:cubicBezTo>
                    <a:pt x="3025" y="631"/>
                    <a:pt x="2993" y="473"/>
                    <a:pt x="2993" y="347"/>
                  </a:cubicBezTo>
                  <a:cubicBezTo>
                    <a:pt x="2993" y="221"/>
                    <a:pt x="3025" y="95"/>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3"/>
            <p:cNvSpPr/>
            <p:nvPr/>
          </p:nvSpPr>
          <p:spPr>
            <a:xfrm>
              <a:off x="-52357850" y="4088925"/>
              <a:ext cx="168575" cy="33075"/>
            </a:xfrm>
            <a:custGeom>
              <a:avLst/>
              <a:gdLst/>
              <a:ahLst/>
              <a:cxnLst/>
              <a:rect l="l" t="t" r="r" b="b"/>
              <a:pathLst>
                <a:path w="6743" h="1323" extrusionOk="0">
                  <a:moveTo>
                    <a:pt x="1" y="1"/>
                  </a:moveTo>
                  <a:cubicBezTo>
                    <a:pt x="1387" y="631"/>
                    <a:pt x="2836" y="1072"/>
                    <a:pt x="4348" y="1292"/>
                  </a:cubicBezTo>
                  <a:cubicBezTo>
                    <a:pt x="4474" y="1313"/>
                    <a:pt x="4599" y="1322"/>
                    <a:pt x="4723" y="1322"/>
                  </a:cubicBezTo>
                  <a:cubicBezTo>
                    <a:pt x="5372" y="1322"/>
                    <a:pt x="5978" y="1054"/>
                    <a:pt x="6428" y="631"/>
                  </a:cubicBezTo>
                  <a:cubicBezTo>
                    <a:pt x="6554" y="505"/>
                    <a:pt x="6617" y="379"/>
                    <a:pt x="6711" y="284"/>
                  </a:cubicBezTo>
                  <a:cubicBezTo>
                    <a:pt x="6743" y="221"/>
                    <a:pt x="6743" y="158"/>
                    <a:pt x="6711" y="64"/>
                  </a:cubicBezTo>
                  <a:cubicBezTo>
                    <a:pt x="6680" y="32"/>
                    <a:pt x="6585"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73"/>
            <p:cNvSpPr/>
            <p:nvPr/>
          </p:nvSpPr>
          <p:spPr>
            <a:xfrm>
              <a:off x="-52309000" y="40519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3" y="567"/>
                    <a:pt x="693" y="378"/>
                  </a:cubicBezTo>
                  <a:cubicBezTo>
                    <a:pt x="693"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9" name="Google Shape;7809;p73"/>
            <p:cNvSpPr/>
            <p:nvPr/>
          </p:nvSpPr>
          <p:spPr>
            <a:xfrm>
              <a:off x="-52402750" y="3977875"/>
              <a:ext cx="204825" cy="55950"/>
            </a:xfrm>
            <a:custGeom>
              <a:avLst/>
              <a:gdLst/>
              <a:ahLst/>
              <a:cxnLst/>
              <a:rect l="l" t="t" r="r" b="b"/>
              <a:pathLst>
                <a:path w="8193" h="2238" extrusionOk="0">
                  <a:moveTo>
                    <a:pt x="1104" y="1"/>
                  </a:moveTo>
                  <a:cubicBezTo>
                    <a:pt x="474" y="1"/>
                    <a:pt x="1" y="505"/>
                    <a:pt x="1" y="1103"/>
                  </a:cubicBezTo>
                  <a:lnTo>
                    <a:pt x="1" y="2237"/>
                  </a:lnTo>
                  <a:lnTo>
                    <a:pt x="8192" y="2237"/>
                  </a:lnTo>
                  <a:lnTo>
                    <a:pt x="8192" y="1103"/>
                  </a:lnTo>
                  <a:cubicBezTo>
                    <a:pt x="8192" y="473"/>
                    <a:pt x="7688" y="1"/>
                    <a:pt x="7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3"/>
            <p:cNvSpPr/>
            <p:nvPr/>
          </p:nvSpPr>
          <p:spPr>
            <a:xfrm>
              <a:off x="-52275150" y="4052700"/>
              <a:ext cx="77225" cy="17350"/>
            </a:xfrm>
            <a:custGeom>
              <a:avLst/>
              <a:gdLst/>
              <a:ahLst/>
              <a:cxnLst/>
              <a:rect l="l" t="t" r="r" b="b"/>
              <a:pathLst>
                <a:path w="3089" h="694" extrusionOk="0">
                  <a:moveTo>
                    <a:pt x="1" y="1"/>
                  </a:moveTo>
                  <a:cubicBezTo>
                    <a:pt x="64" y="95"/>
                    <a:pt x="95" y="221"/>
                    <a:pt x="95" y="347"/>
                  </a:cubicBezTo>
                  <a:cubicBezTo>
                    <a:pt x="95" y="442"/>
                    <a:pt x="64" y="568"/>
                    <a:pt x="1" y="694"/>
                  </a:cubicBezTo>
                  <a:lnTo>
                    <a:pt x="3088" y="694"/>
                  </a:lnTo>
                  <a:lnTo>
                    <a:pt x="30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3"/>
            <p:cNvSpPr/>
            <p:nvPr/>
          </p:nvSpPr>
          <p:spPr>
            <a:xfrm>
              <a:off x="-52403525" y="4089725"/>
              <a:ext cx="204800" cy="205600"/>
            </a:xfrm>
            <a:custGeom>
              <a:avLst/>
              <a:gdLst/>
              <a:ahLst/>
              <a:cxnLst/>
              <a:rect l="l" t="t" r="r" b="b"/>
              <a:pathLst>
                <a:path w="8192" h="8224" extrusionOk="0">
                  <a:moveTo>
                    <a:pt x="2584" y="2993"/>
                  </a:moveTo>
                  <a:cubicBezTo>
                    <a:pt x="2773" y="2993"/>
                    <a:pt x="2930" y="3151"/>
                    <a:pt x="2930" y="3340"/>
                  </a:cubicBezTo>
                  <a:cubicBezTo>
                    <a:pt x="2930" y="3560"/>
                    <a:pt x="2773" y="3718"/>
                    <a:pt x="2584" y="3718"/>
                  </a:cubicBezTo>
                  <a:cubicBezTo>
                    <a:pt x="2426" y="3718"/>
                    <a:pt x="2237" y="3560"/>
                    <a:pt x="2237" y="3340"/>
                  </a:cubicBezTo>
                  <a:cubicBezTo>
                    <a:pt x="2237" y="3151"/>
                    <a:pt x="2395" y="2993"/>
                    <a:pt x="2584" y="2993"/>
                  </a:cubicBezTo>
                  <a:close/>
                  <a:moveTo>
                    <a:pt x="5608" y="2993"/>
                  </a:moveTo>
                  <a:cubicBezTo>
                    <a:pt x="5829" y="2993"/>
                    <a:pt x="5986" y="3151"/>
                    <a:pt x="5986" y="3340"/>
                  </a:cubicBezTo>
                  <a:cubicBezTo>
                    <a:pt x="5986" y="3560"/>
                    <a:pt x="5829" y="3718"/>
                    <a:pt x="5608" y="3718"/>
                  </a:cubicBezTo>
                  <a:cubicBezTo>
                    <a:pt x="5419" y="3718"/>
                    <a:pt x="5262" y="3560"/>
                    <a:pt x="5262" y="3340"/>
                  </a:cubicBezTo>
                  <a:cubicBezTo>
                    <a:pt x="5262" y="3151"/>
                    <a:pt x="5419" y="2993"/>
                    <a:pt x="5608" y="2993"/>
                  </a:cubicBezTo>
                  <a:close/>
                  <a:moveTo>
                    <a:pt x="5148" y="5553"/>
                  </a:moveTo>
                  <a:cubicBezTo>
                    <a:pt x="5238" y="5553"/>
                    <a:pt x="5325" y="5592"/>
                    <a:pt x="5388" y="5671"/>
                  </a:cubicBezTo>
                  <a:cubicBezTo>
                    <a:pt x="5577" y="5797"/>
                    <a:pt x="5577" y="6018"/>
                    <a:pt x="5419" y="6175"/>
                  </a:cubicBezTo>
                  <a:cubicBezTo>
                    <a:pt x="5073" y="6522"/>
                    <a:pt x="4600" y="6742"/>
                    <a:pt x="4128" y="6742"/>
                  </a:cubicBezTo>
                  <a:cubicBezTo>
                    <a:pt x="3624" y="6742"/>
                    <a:pt x="3151" y="6522"/>
                    <a:pt x="2773" y="6175"/>
                  </a:cubicBezTo>
                  <a:cubicBezTo>
                    <a:pt x="2615" y="6018"/>
                    <a:pt x="2615" y="5797"/>
                    <a:pt x="2773" y="5671"/>
                  </a:cubicBezTo>
                  <a:cubicBezTo>
                    <a:pt x="2852" y="5592"/>
                    <a:pt x="2954" y="5553"/>
                    <a:pt x="3053" y="5553"/>
                  </a:cubicBezTo>
                  <a:cubicBezTo>
                    <a:pt x="3151" y="5553"/>
                    <a:pt x="3245" y="5592"/>
                    <a:pt x="3308" y="5671"/>
                  </a:cubicBezTo>
                  <a:cubicBezTo>
                    <a:pt x="3513" y="5892"/>
                    <a:pt x="3797" y="6002"/>
                    <a:pt x="4084" y="6002"/>
                  </a:cubicBezTo>
                  <a:cubicBezTo>
                    <a:pt x="4372" y="6002"/>
                    <a:pt x="4663" y="5892"/>
                    <a:pt x="4884" y="5671"/>
                  </a:cubicBezTo>
                  <a:cubicBezTo>
                    <a:pt x="4962" y="5592"/>
                    <a:pt x="5057" y="5553"/>
                    <a:pt x="5148" y="5553"/>
                  </a:cubicBezTo>
                  <a:close/>
                  <a:moveTo>
                    <a:pt x="0" y="0"/>
                  </a:moveTo>
                  <a:lnTo>
                    <a:pt x="0" y="4096"/>
                  </a:lnTo>
                  <a:cubicBezTo>
                    <a:pt x="0" y="6333"/>
                    <a:pt x="1828" y="8223"/>
                    <a:pt x="4096" y="8223"/>
                  </a:cubicBezTo>
                  <a:cubicBezTo>
                    <a:pt x="6333" y="8223"/>
                    <a:pt x="8192" y="6396"/>
                    <a:pt x="8192" y="4096"/>
                  </a:cubicBezTo>
                  <a:lnTo>
                    <a:pt x="8192" y="1576"/>
                  </a:lnTo>
                  <a:cubicBezTo>
                    <a:pt x="7656" y="1891"/>
                    <a:pt x="7089" y="2080"/>
                    <a:pt x="6490" y="2080"/>
                  </a:cubicBezTo>
                  <a:cubicBezTo>
                    <a:pt x="6364" y="2048"/>
                    <a:pt x="6207" y="2048"/>
                    <a:pt x="6049" y="2017"/>
                  </a:cubicBezTo>
                  <a:cubicBezTo>
                    <a:pt x="4317" y="1733"/>
                    <a:pt x="2615" y="1229"/>
                    <a:pt x="1009" y="441"/>
                  </a:cubicBezTo>
                  <a:lnTo>
                    <a:pt x="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3"/>
            <p:cNvSpPr/>
            <p:nvPr/>
          </p:nvSpPr>
          <p:spPr>
            <a:xfrm>
              <a:off x="-52179050" y="4132250"/>
              <a:ext cx="18125" cy="63825"/>
            </a:xfrm>
            <a:custGeom>
              <a:avLst/>
              <a:gdLst/>
              <a:ahLst/>
              <a:cxnLst/>
              <a:rect l="l" t="t" r="r" b="b"/>
              <a:pathLst>
                <a:path w="725" h="2553" extrusionOk="0">
                  <a:moveTo>
                    <a:pt x="0" y="1"/>
                  </a:moveTo>
                  <a:lnTo>
                    <a:pt x="0" y="2552"/>
                  </a:lnTo>
                  <a:cubicBezTo>
                    <a:pt x="410" y="2269"/>
                    <a:pt x="725" y="1796"/>
                    <a:pt x="725" y="1261"/>
                  </a:cubicBezTo>
                  <a:cubicBezTo>
                    <a:pt x="725" y="694"/>
                    <a:pt x="410"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3"/>
            <p:cNvSpPr/>
            <p:nvPr/>
          </p:nvSpPr>
          <p:spPr>
            <a:xfrm>
              <a:off x="-52440550" y="4132250"/>
              <a:ext cx="18925" cy="63825"/>
            </a:xfrm>
            <a:custGeom>
              <a:avLst/>
              <a:gdLst/>
              <a:ahLst/>
              <a:cxnLst/>
              <a:rect l="l" t="t" r="r" b="b"/>
              <a:pathLst>
                <a:path w="757" h="2553" extrusionOk="0">
                  <a:moveTo>
                    <a:pt x="757" y="1"/>
                  </a:moveTo>
                  <a:cubicBezTo>
                    <a:pt x="284"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4" name="Google Shape;7814;p73"/>
          <p:cNvGrpSpPr/>
          <p:nvPr/>
        </p:nvGrpSpPr>
        <p:grpSpPr>
          <a:xfrm>
            <a:off x="6645066" y="4126427"/>
            <a:ext cx="314662" cy="358999"/>
            <a:chOff x="-51623775" y="3584850"/>
            <a:chExt cx="279625" cy="319025"/>
          </a:xfrm>
        </p:grpSpPr>
        <p:sp>
          <p:nvSpPr>
            <p:cNvPr id="7815" name="Google Shape;7815;p73"/>
            <p:cNvSpPr/>
            <p:nvPr/>
          </p:nvSpPr>
          <p:spPr>
            <a:xfrm>
              <a:off x="-51497750" y="3832175"/>
              <a:ext cx="26000" cy="13200"/>
            </a:xfrm>
            <a:custGeom>
              <a:avLst/>
              <a:gdLst/>
              <a:ahLst/>
              <a:cxnLst/>
              <a:rect l="l" t="t" r="r" b="b"/>
              <a:pathLst>
                <a:path w="1040" h="528" extrusionOk="0">
                  <a:moveTo>
                    <a:pt x="504" y="0"/>
                  </a:moveTo>
                  <a:cubicBezTo>
                    <a:pt x="378" y="189"/>
                    <a:pt x="252" y="252"/>
                    <a:pt x="0" y="410"/>
                  </a:cubicBezTo>
                  <a:cubicBezTo>
                    <a:pt x="158" y="489"/>
                    <a:pt x="339" y="528"/>
                    <a:pt x="520" y="528"/>
                  </a:cubicBezTo>
                  <a:cubicBezTo>
                    <a:pt x="701" y="528"/>
                    <a:pt x="882" y="489"/>
                    <a:pt x="1040" y="410"/>
                  </a:cubicBezTo>
                  <a:cubicBezTo>
                    <a:pt x="788" y="252"/>
                    <a:pt x="693" y="158"/>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3"/>
            <p:cNvSpPr/>
            <p:nvPr/>
          </p:nvSpPr>
          <p:spPr>
            <a:xfrm>
              <a:off x="-51574150" y="3809300"/>
              <a:ext cx="78000" cy="26550"/>
            </a:xfrm>
            <a:custGeom>
              <a:avLst/>
              <a:gdLst/>
              <a:ahLst/>
              <a:cxnLst/>
              <a:rect l="l" t="t" r="r" b="b"/>
              <a:pathLst>
                <a:path w="3120" h="1062" extrusionOk="0">
                  <a:moveTo>
                    <a:pt x="2547" y="1"/>
                  </a:moveTo>
                  <a:cubicBezTo>
                    <a:pt x="2380" y="1"/>
                    <a:pt x="2203" y="61"/>
                    <a:pt x="2048" y="191"/>
                  </a:cubicBezTo>
                  <a:cubicBezTo>
                    <a:pt x="1784" y="477"/>
                    <a:pt x="1443" y="609"/>
                    <a:pt x="1078" y="609"/>
                  </a:cubicBezTo>
                  <a:cubicBezTo>
                    <a:pt x="921" y="609"/>
                    <a:pt x="760" y="585"/>
                    <a:pt x="599" y="537"/>
                  </a:cubicBezTo>
                  <a:lnTo>
                    <a:pt x="0" y="348"/>
                  </a:lnTo>
                  <a:lnTo>
                    <a:pt x="0" y="348"/>
                  </a:lnTo>
                  <a:cubicBezTo>
                    <a:pt x="401" y="819"/>
                    <a:pt x="977" y="1061"/>
                    <a:pt x="1572" y="1061"/>
                  </a:cubicBezTo>
                  <a:cubicBezTo>
                    <a:pt x="1773" y="1061"/>
                    <a:pt x="1975" y="1034"/>
                    <a:pt x="2174" y="978"/>
                  </a:cubicBezTo>
                  <a:cubicBezTo>
                    <a:pt x="2615" y="821"/>
                    <a:pt x="2804" y="632"/>
                    <a:pt x="3119" y="348"/>
                  </a:cubicBezTo>
                  <a:cubicBezTo>
                    <a:pt x="3008" y="125"/>
                    <a:pt x="2787" y="1"/>
                    <a:pt x="2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3"/>
            <p:cNvSpPr/>
            <p:nvPr/>
          </p:nvSpPr>
          <p:spPr>
            <a:xfrm>
              <a:off x="-51579675" y="3837675"/>
              <a:ext cx="190625" cy="66200"/>
            </a:xfrm>
            <a:custGeom>
              <a:avLst/>
              <a:gdLst/>
              <a:ahLst/>
              <a:cxnLst/>
              <a:rect l="l" t="t" r="r" b="b"/>
              <a:pathLst>
                <a:path w="7625" h="2648" extrusionOk="0">
                  <a:moveTo>
                    <a:pt x="7625" y="1"/>
                  </a:moveTo>
                  <a:lnTo>
                    <a:pt x="7625" y="1"/>
                  </a:lnTo>
                  <a:cubicBezTo>
                    <a:pt x="7121" y="442"/>
                    <a:pt x="6491" y="662"/>
                    <a:pt x="5829" y="662"/>
                  </a:cubicBezTo>
                  <a:cubicBezTo>
                    <a:pt x="5577" y="662"/>
                    <a:pt x="5356" y="631"/>
                    <a:pt x="5104" y="568"/>
                  </a:cubicBezTo>
                  <a:cubicBezTo>
                    <a:pt x="4758" y="914"/>
                    <a:pt x="4285" y="1103"/>
                    <a:pt x="3813" y="1103"/>
                  </a:cubicBezTo>
                  <a:cubicBezTo>
                    <a:pt x="3340" y="1103"/>
                    <a:pt x="2868" y="914"/>
                    <a:pt x="2521" y="568"/>
                  </a:cubicBezTo>
                  <a:cubicBezTo>
                    <a:pt x="2269" y="631"/>
                    <a:pt x="2048" y="662"/>
                    <a:pt x="1796" y="662"/>
                  </a:cubicBezTo>
                  <a:cubicBezTo>
                    <a:pt x="1135" y="662"/>
                    <a:pt x="505" y="442"/>
                    <a:pt x="1" y="1"/>
                  </a:cubicBezTo>
                  <a:lnTo>
                    <a:pt x="1" y="1"/>
                  </a:lnTo>
                  <a:cubicBezTo>
                    <a:pt x="599" y="1576"/>
                    <a:pt x="2111" y="2647"/>
                    <a:pt x="3813" y="2647"/>
                  </a:cubicBezTo>
                  <a:cubicBezTo>
                    <a:pt x="5514" y="2647"/>
                    <a:pt x="7058" y="1576"/>
                    <a:pt x="76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3"/>
            <p:cNvSpPr/>
            <p:nvPr/>
          </p:nvSpPr>
          <p:spPr>
            <a:xfrm>
              <a:off x="-51473350" y="3809250"/>
              <a:ext cx="78000" cy="26500"/>
            </a:xfrm>
            <a:custGeom>
              <a:avLst/>
              <a:gdLst/>
              <a:ahLst/>
              <a:cxnLst/>
              <a:rect l="l" t="t" r="r" b="b"/>
              <a:pathLst>
                <a:path w="3120" h="1060" extrusionOk="0">
                  <a:moveTo>
                    <a:pt x="600" y="1"/>
                  </a:moveTo>
                  <a:cubicBezTo>
                    <a:pt x="364" y="1"/>
                    <a:pt x="129" y="117"/>
                    <a:pt x="1" y="319"/>
                  </a:cubicBezTo>
                  <a:cubicBezTo>
                    <a:pt x="284" y="602"/>
                    <a:pt x="505" y="823"/>
                    <a:pt x="946" y="949"/>
                  </a:cubicBezTo>
                  <a:cubicBezTo>
                    <a:pt x="1155" y="1024"/>
                    <a:pt x="1369" y="1059"/>
                    <a:pt x="1580" y="1059"/>
                  </a:cubicBezTo>
                  <a:cubicBezTo>
                    <a:pt x="2163" y="1059"/>
                    <a:pt x="2727" y="790"/>
                    <a:pt x="3120" y="350"/>
                  </a:cubicBezTo>
                  <a:lnTo>
                    <a:pt x="3120" y="350"/>
                  </a:lnTo>
                  <a:lnTo>
                    <a:pt x="2521" y="539"/>
                  </a:lnTo>
                  <a:cubicBezTo>
                    <a:pt x="2369" y="587"/>
                    <a:pt x="2212" y="611"/>
                    <a:pt x="2056" y="611"/>
                  </a:cubicBezTo>
                  <a:cubicBezTo>
                    <a:pt x="1693" y="611"/>
                    <a:pt x="1336" y="479"/>
                    <a:pt x="1072" y="193"/>
                  </a:cubicBezTo>
                  <a:cubicBezTo>
                    <a:pt x="940" y="61"/>
                    <a:pt x="770" y="1"/>
                    <a:pt x="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3"/>
            <p:cNvSpPr/>
            <p:nvPr/>
          </p:nvSpPr>
          <p:spPr>
            <a:xfrm>
              <a:off x="-51598575" y="3584850"/>
              <a:ext cx="226850" cy="111875"/>
            </a:xfrm>
            <a:custGeom>
              <a:avLst/>
              <a:gdLst/>
              <a:ahLst/>
              <a:cxnLst/>
              <a:rect l="l" t="t" r="r" b="b"/>
              <a:pathLst>
                <a:path w="9074" h="4475" extrusionOk="0">
                  <a:moveTo>
                    <a:pt x="757" y="1"/>
                  </a:moveTo>
                  <a:cubicBezTo>
                    <a:pt x="379" y="1"/>
                    <a:pt x="1" y="347"/>
                    <a:pt x="1" y="725"/>
                  </a:cubicBezTo>
                  <a:cubicBezTo>
                    <a:pt x="1" y="1009"/>
                    <a:pt x="158" y="1261"/>
                    <a:pt x="379" y="1355"/>
                  </a:cubicBezTo>
                  <a:lnTo>
                    <a:pt x="379" y="4474"/>
                  </a:lnTo>
                  <a:lnTo>
                    <a:pt x="3561" y="4474"/>
                  </a:lnTo>
                  <a:lnTo>
                    <a:pt x="3120" y="4033"/>
                  </a:lnTo>
                  <a:cubicBezTo>
                    <a:pt x="2962" y="3876"/>
                    <a:pt x="2962" y="3655"/>
                    <a:pt x="3120" y="3529"/>
                  </a:cubicBezTo>
                  <a:lnTo>
                    <a:pt x="4191" y="2458"/>
                  </a:lnTo>
                  <a:cubicBezTo>
                    <a:pt x="4269" y="2379"/>
                    <a:pt x="4364" y="2340"/>
                    <a:pt x="4455" y="2340"/>
                  </a:cubicBezTo>
                  <a:cubicBezTo>
                    <a:pt x="4545" y="2340"/>
                    <a:pt x="4632" y="2379"/>
                    <a:pt x="4695" y="2458"/>
                  </a:cubicBezTo>
                  <a:lnTo>
                    <a:pt x="5766" y="3529"/>
                  </a:lnTo>
                  <a:cubicBezTo>
                    <a:pt x="5923" y="3687"/>
                    <a:pt x="5923" y="3939"/>
                    <a:pt x="5766" y="4033"/>
                  </a:cubicBezTo>
                  <a:lnTo>
                    <a:pt x="5325" y="4474"/>
                  </a:lnTo>
                  <a:lnTo>
                    <a:pt x="8507" y="4474"/>
                  </a:lnTo>
                  <a:lnTo>
                    <a:pt x="8507" y="1355"/>
                  </a:lnTo>
                  <a:cubicBezTo>
                    <a:pt x="8759" y="1261"/>
                    <a:pt x="8885" y="1009"/>
                    <a:pt x="8885" y="725"/>
                  </a:cubicBezTo>
                  <a:cubicBezTo>
                    <a:pt x="9074" y="347"/>
                    <a:pt x="8696" y="1"/>
                    <a:pt x="8318" y="1"/>
                  </a:cubicBezTo>
                  <a:cubicBezTo>
                    <a:pt x="7908" y="1"/>
                    <a:pt x="7562" y="347"/>
                    <a:pt x="7562" y="725"/>
                  </a:cubicBezTo>
                  <a:cubicBezTo>
                    <a:pt x="7562" y="883"/>
                    <a:pt x="7625" y="1009"/>
                    <a:pt x="7688" y="1135"/>
                  </a:cubicBezTo>
                  <a:lnTo>
                    <a:pt x="6428" y="2143"/>
                  </a:lnTo>
                  <a:lnTo>
                    <a:pt x="5167" y="1135"/>
                  </a:lnTo>
                  <a:cubicBezTo>
                    <a:pt x="5262" y="1009"/>
                    <a:pt x="5293" y="883"/>
                    <a:pt x="5293" y="725"/>
                  </a:cubicBezTo>
                  <a:cubicBezTo>
                    <a:pt x="5293" y="347"/>
                    <a:pt x="4947" y="1"/>
                    <a:pt x="4537" y="1"/>
                  </a:cubicBezTo>
                  <a:cubicBezTo>
                    <a:pt x="4159" y="1"/>
                    <a:pt x="3781" y="347"/>
                    <a:pt x="3781" y="725"/>
                  </a:cubicBezTo>
                  <a:cubicBezTo>
                    <a:pt x="3781" y="883"/>
                    <a:pt x="3844" y="1009"/>
                    <a:pt x="3907" y="1135"/>
                  </a:cubicBezTo>
                  <a:lnTo>
                    <a:pt x="2647" y="2143"/>
                  </a:lnTo>
                  <a:lnTo>
                    <a:pt x="1387" y="1135"/>
                  </a:lnTo>
                  <a:cubicBezTo>
                    <a:pt x="1481" y="1009"/>
                    <a:pt x="1513" y="883"/>
                    <a:pt x="1513" y="725"/>
                  </a:cubicBezTo>
                  <a:cubicBezTo>
                    <a:pt x="1513" y="347"/>
                    <a:pt x="1166"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3"/>
            <p:cNvSpPr/>
            <p:nvPr/>
          </p:nvSpPr>
          <p:spPr>
            <a:xfrm>
              <a:off x="-51623775" y="3703775"/>
              <a:ext cx="18125" cy="63825"/>
            </a:xfrm>
            <a:custGeom>
              <a:avLst/>
              <a:gdLst/>
              <a:ahLst/>
              <a:cxnLst/>
              <a:rect l="l" t="t" r="r" b="b"/>
              <a:pathLst>
                <a:path w="725" h="2553" extrusionOk="0">
                  <a:moveTo>
                    <a:pt x="725" y="1"/>
                  </a:moveTo>
                  <a:cubicBezTo>
                    <a:pt x="252" y="190"/>
                    <a:pt x="0" y="726"/>
                    <a:pt x="0" y="1261"/>
                  </a:cubicBezTo>
                  <a:cubicBezTo>
                    <a:pt x="0" y="1797"/>
                    <a:pt x="315" y="2301"/>
                    <a:pt x="725" y="255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3"/>
            <p:cNvSpPr/>
            <p:nvPr/>
          </p:nvSpPr>
          <p:spPr>
            <a:xfrm>
              <a:off x="-51363075" y="3703000"/>
              <a:ext cx="18925" cy="63825"/>
            </a:xfrm>
            <a:custGeom>
              <a:avLst/>
              <a:gdLst/>
              <a:ahLst/>
              <a:cxnLst/>
              <a:rect l="l" t="t" r="r" b="b"/>
              <a:pathLst>
                <a:path w="757" h="2553" extrusionOk="0">
                  <a:moveTo>
                    <a:pt x="1" y="0"/>
                  </a:moveTo>
                  <a:lnTo>
                    <a:pt x="1" y="2552"/>
                  </a:lnTo>
                  <a:cubicBezTo>
                    <a:pt x="442" y="2269"/>
                    <a:pt x="757" y="1796"/>
                    <a:pt x="757" y="1261"/>
                  </a:cubicBezTo>
                  <a:cubicBezTo>
                    <a:pt x="757" y="757"/>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3"/>
            <p:cNvSpPr/>
            <p:nvPr/>
          </p:nvSpPr>
          <p:spPr>
            <a:xfrm>
              <a:off x="-51586750" y="3716375"/>
              <a:ext cx="207150" cy="89775"/>
            </a:xfrm>
            <a:custGeom>
              <a:avLst/>
              <a:gdLst/>
              <a:ahLst/>
              <a:cxnLst/>
              <a:rect l="l" t="t" r="r" b="b"/>
              <a:pathLst>
                <a:path w="8286" h="3591" extrusionOk="0">
                  <a:moveTo>
                    <a:pt x="2615" y="757"/>
                  </a:moveTo>
                  <a:cubicBezTo>
                    <a:pt x="2804" y="757"/>
                    <a:pt x="2962" y="915"/>
                    <a:pt x="2962" y="1104"/>
                  </a:cubicBezTo>
                  <a:cubicBezTo>
                    <a:pt x="2962" y="1293"/>
                    <a:pt x="2804" y="1450"/>
                    <a:pt x="2615" y="1450"/>
                  </a:cubicBezTo>
                  <a:cubicBezTo>
                    <a:pt x="2394" y="1450"/>
                    <a:pt x="2237" y="1293"/>
                    <a:pt x="2237" y="1104"/>
                  </a:cubicBezTo>
                  <a:cubicBezTo>
                    <a:pt x="2237" y="915"/>
                    <a:pt x="2394" y="757"/>
                    <a:pt x="2615" y="757"/>
                  </a:cubicBezTo>
                  <a:close/>
                  <a:moveTo>
                    <a:pt x="5608" y="757"/>
                  </a:moveTo>
                  <a:cubicBezTo>
                    <a:pt x="5797" y="757"/>
                    <a:pt x="5955" y="915"/>
                    <a:pt x="5955" y="1104"/>
                  </a:cubicBezTo>
                  <a:cubicBezTo>
                    <a:pt x="5955" y="1293"/>
                    <a:pt x="5797" y="1450"/>
                    <a:pt x="5608" y="1450"/>
                  </a:cubicBezTo>
                  <a:cubicBezTo>
                    <a:pt x="5387" y="1450"/>
                    <a:pt x="5230" y="1293"/>
                    <a:pt x="5230" y="1104"/>
                  </a:cubicBezTo>
                  <a:cubicBezTo>
                    <a:pt x="5198" y="915"/>
                    <a:pt x="5387" y="757"/>
                    <a:pt x="5608" y="757"/>
                  </a:cubicBezTo>
                  <a:close/>
                  <a:moveTo>
                    <a:pt x="95" y="1"/>
                  </a:moveTo>
                  <a:lnTo>
                    <a:pt x="95" y="3088"/>
                  </a:lnTo>
                  <a:lnTo>
                    <a:pt x="0" y="3088"/>
                  </a:lnTo>
                  <a:lnTo>
                    <a:pt x="1386" y="3561"/>
                  </a:lnTo>
                  <a:cubicBezTo>
                    <a:pt x="1451" y="3577"/>
                    <a:pt x="1517" y="3585"/>
                    <a:pt x="1581" y="3585"/>
                  </a:cubicBezTo>
                  <a:cubicBezTo>
                    <a:pt x="1764" y="3585"/>
                    <a:pt x="1939" y="3520"/>
                    <a:pt x="2079" y="3404"/>
                  </a:cubicBezTo>
                  <a:cubicBezTo>
                    <a:pt x="2371" y="3112"/>
                    <a:pt x="2737" y="2970"/>
                    <a:pt x="3098" y="2970"/>
                  </a:cubicBezTo>
                  <a:cubicBezTo>
                    <a:pt x="3478" y="2970"/>
                    <a:pt x="3852" y="3128"/>
                    <a:pt x="4127" y="3435"/>
                  </a:cubicBezTo>
                  <a:cubicBezTo>
                    <a:pt x="4415" y="3132"/>
                    <a:pt x="4791" y="2982"/>
                    <a:pt x="5166" y="2982"/>
                  </a:cubicBezTo>
                  <a:cubicBezTo>
                    <a:pt x="5531" y="2982"/>
                    <a:pt x="5895" y="3124"/>
                    <a:pt x="6175" y="3404"/>
                  </a:cubicBezTo>
                  <a:cubicBezTo>
                    <a:pt x="6329" y="3535"/>
                    <a:pt x="6483" y="3591"/>
                    <a:pt x="6658" y="3591"/>
                  </a:cubicBezTo>
                  <a:cubicBezTo>
                    <a:pt x="6734" y="3591"/>
                    <a:pt x="6814" y="3580"/>
                    <a:pt x="6900" y="3561"/>
                  </a:cubicBezTo>
                  <a:lnTo>
                    <a:pt x="8286" y="3088"/>
                  </a:lnTo>
                  <a:lnTo>
                    <a:pt x="82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3"/>
            <p:cNvSpPr/>
            <p:nvPr/>
          </p:nvSpPr>
          <p:spPr>
            <a:xfrm>
              <a:off x="-51497750" y="3666775"/>
              <a:ext cx="26000" cy="26800"/>
            </a:xfrm>
            <a:custGeom>
              <a:avLst/>
              <a:gdLst/>
              <a:ahLst/>
              <a:cxnLst/>
              <a:rect l="l" t="t" r="r" b="b"/>
              <a:pathLst>
                <a:path w="1040" h="1072" extrusionOk="0">
                  <a:moveTo>
                    <a:pt x="536" y="0"/>
                  </a:moveTo>
                  <a:lnTo>
                    <a:pt x="0" y="536"/>
                  </a:lnTo>
                  <a:lnTo>
                    <a:pt x="536" y="1071"/>
                  </a:lnTo>
                  <a:lnTo>
                    <a:pt x="1040" y="536"/>
                  </a:ln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24" name="Google Shape;7824;p73"/>
          <p:cNvSpPr txBox="1"/>
          <p:nvPr/>
        </p:nvSpPr>
        <p:spPr>
          <a:xfrm>
            <a:off x="849675"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Help &amp; Support Icons</a:t>
            </a:r>
            <a:endParaRPr sz="2400">
              <a:solidFill>
                <a:srgbClr val="FFFFFF"/>
              </a:solidFill>
            </a:endParaRPr>
          </a:p>
        </p:txBody>
      </p:sp>
      <p:sp>
        <p:nvSpPr>
          <p:cNvPr id="7825" name="Google Shape;7825;p73"/>
          <p:cNvSpPr txBox="1"/>
          <p:nvPr/>
        </p:nvSpPr>
        <p:spPr>
          <a:xfrm>
            <a:off x="4858400"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Avatar Icons</a:t>
            </a:r>
            <a:endParaRPr sz="2400">
              <a:solidFill>
                <a:srgbClr val="FFFFFF"/>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829"/>
        <p:cNvGrpSpPr/>
        <p:nvPr/>
      </p:nvGrpSpPr>
      <p:grpSpPr>
        <a:xfrm>
          <a:off x="0" y="0"/>
          <a:ext cx="0" cy="0"/>
          <a:chOff x="0" y="0"/>
          <a:chExt cx="0" cy="0"/>
        </a:xfrm>
      </p:grpSpPr>
      <p:grpSp>
        <p:nvGrpSpPr>
          <p:cNvPr id="7830" name="Google Shape;7830;p74"/>
          <p:cNvGrpSpPr/>
          <p:nvPr/>
        </p:nvGrpSpPr>
        <p:grpSpPr>
          <a:xfrm>
            <a:off x="885675" y="1386849"/>
            <a:ext cx="276003" cy="357300"/>
            <a:chOff x="-50469125" y="3183175"/>
            <a:chExt cx="233150" cy="301825"/>
          </a:xfrm>
        </p:grpSpPr>
        <p:sp>
          <p:nvSpPr>
            <p:cNvPr id="7831" name="Google Shape;7831;p74"/>
            <p:cNvSpPr/>
            <p:nvPr/>
          </p:nvSpPr>
          <p:spPr>
            <a:xfrm>
              <a:off x="-50388775" y="3227275"/>
              <a:ext cx="70900" cy="70900"/>
            </a:xfrm>
            <a:custGeom>
              <a:avLst/>
              <a:gdLst/>
              <a:ahLst/>
              <a:cxnLst/>
              <a:rect l="l" t="t" r="r" b="b"/>
              <a:pathLst>
                <a:path w="2836" h="2836" extrusionOk="0">
                  <a:moveTo>
                    <a:pt x="1418" y="1072"/>
                  </a:moveTo>
                  <a:cubicBezTo>
                    <a:pt x="1638" y="1072"/>
                    <a:pt x="1796" y="1229"/>
                    <a:pt x="1796" y="1418"/>
                  </a:cubicBezTo>
                  <a:cubicBezTo>
                    <a:pt x="1796" y="1607"/>
                    <a:pt x="1638" y="1765"/>
                    <a:pt x="1418" y="1765"/>
                  </a:cubicBezTo>
                  <a:cubicBezTo>
                    <a:pt x="1229" y="1765"/>
                    <a:pt x="1071" y="1607"/>
                    <a:pt x="1071" y="1418"/>
                  </a:cubicBezTo>
                  <a:cubicBezTo>
                    <a:pt x="1071" y="1229"/>
                    <a:pt x="1229" y="1072"/>
                    <a:pt x="1418" y="1072"/>
                  </a:cubicBezTo>
                  <a:close/>
                  <a:moveTo>
                    <a:pt x="1418" y="1"/>
                  </a:moveTo>
                  <a:cubicBezTo>
                    <a:pt x="630" y="1"/>
                    <a:pt x="0" y="631"/>
                    <a:pt x="0" y="1418"/>
                  </a:cubicBezTo>
                  <a:cubicBezTo>
                    <a:pt x="0" y="2206"/>
                    <a:pt x="630" y="2836"/>
                    <a:pt x="1418" y="2836"/>
                  </a:cubicBezTo>
                  <a:cubicBezTo>
                    <a:pt x="2206" y="2836"/>
                    <a:pt x="2836" y="2206"/>
                    <a:pt x="2836" y="1418"/>
                  </a:cubicBez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4"/>
            <p:cNvSpPr/>
            <p:nvPr/>
          </p:nvSpPr>
          <p:spPr>
            <a:xfrm>
              <a:off x="-50469125" y="3290275"/>
              <a:ext cx="233150" cy="194725"/>
            </a:xfrm>
            <a:custGeom>
              <a:avLst/>
              <a:gdLst/>
              <a:ahLst/>
              <a:cxnLst/>
              <a:rect l="l" t="t" r="r" b="b"/>
              <a:pathLst>
                <a:path w="9326" h="7789" extrusionOk="0">
                  <a:moveTo>
                    <a:pt x="4663" y="1072"/>
                  </a:moveTo>
                  <a:lnTo>
                    <a:pt x="6018" y="3907"/>
                  </a:lnTo>
                  <a:cubicBezTo>
                    <a:pt x="5672" y="4034"/>
                    <a:pt x="5356" y="4097"/>
                    <a:pt x="5010" y="4128"/>
                  </a:cubicBezTo>
                  <a:lnTo>
                    <a:pt x="5010" y="3813"/>
                  </a:lnTo>
                  <a:cubicBezTo>
                    <a:pt x="5010" y="3624"/>
                    <a:pt x="4852" y="3466"/>
                    <a:pt x="4663" y="3466"/>
                  </a:cubicBezTo>
                  <a:cubicBezTo>
                    <a:pt x="4443" y="3466"/>
                    <a:pt x="4285" y="3624"/>
                    <a:pt x="4285" y="3813"/>
                  </a:cubicBezTo>
                  <a:lnTo>
                    <a:pt x="4285" y="4128"/>
                  </a:lnTo>
                  <a:cubicBezTo>
                    <a:pt x="3939" y="4097"/>
                    <a:pt x="3592" y="4034"/>
                    <a:pt x="3277" y="3907"/>
                  </a:cubicBezTo>
                  <a:lnTo>
                    <a:pt x="4663" y="1072"/>
                  </a:lnTo>
                  <a:close/>
                  <a:moveTo>
                    <a:pt x="2836" y="1"/>
                  </a:moveTo>
                  <a:lnTo>
                    <a:pt x="1576" y="2647"/>
                  </a:lnTo>
                  <a:cubicBezTo>
                    <a:pt x="1387" y="2395"/>
                    <a:pt x="1229" y="2143"/>
                    <a:pt x="1103" y="1860"/>
                  </a:cubicBezTo>
                  <a:cubicBezTo>
                    <a:pt x="1034" y="1721"/>
                    <a:pt x="914" y="1634"/>
                    <a:pt x="781" y="1634"/>
                  </a:cubicBezTo>
                  <a:cubicBezTo>
                    <a:pt x="732" y="1634"/>
                    <a:pt x="681" y="1645"/>
                    <a:pt x="631" y="1671"/>
                  </a:cubicBezTo>
                  <a:cubicBezTo>
                    <a:pt x="442" y="1734"/>
                    <a:pt x="347" y="1923"/>
                    <a:pt x="442" y="2143"/>
                  </a:cubicBezTo>
                  <a:cubicBezTo>
                    <a:pt x="631" y="2553"/>
                    <a:pt x="914" y="2994"/>
                    <a:pt x="1229" y="3340"/>
                  </a:cubicBezTo>
                  <a:lnTo>
                    <a:pt x="158" y="5546"/>
                  </a:lnTo>
                  <a:cubicBezTo>
                    <a:pt x="1" y="5955"/>
                    <a:pt x="64" y="6396"/>
                    <a:pt x="347" y="6711"/>
                  </a:cubicBezTo>
                  <a:lnTo>
                    <a:pt x="127" y="7247"/>
                  </a:lnTo>
                  <a:cubicBezTo>
                    <a:pt x="32" y="7405"/>
                    <a:pt x="127" y="7657"/>
                    <a:pt x="284" y="7720"/>
                  </a:cubicBezTo>
                  <a:cubicBezTo>
                    <a:pt x="328" y="7746"/>
                    <a:pt x="376" y="7757"/>
                    <a:pt x="425" y="7757"/>
                  </a:cubicBezTo>
                  <a:cubicBezTo>
                    <a:pt x="554" y="7757"/>
                    <a:pt x="688" y="7676"/>
                    <a:pt x="757" y="7562"/>
                  </a:cubicBezTo>
                  <a:lnTo>
                    <a:pt x="977" y="7026"/>
                  </a:lnTo>
                  <a:cubicBezTo>
                    <a:pt x="1025" y="7032"/>
                    <a:pt x="1072" y="7035"/>
                    <a:pt x="1118" y="7035"/>
                  </a:cubicBezTo>
                  <a:cubicBezTo>
                    <a:pt x="1562" y="7035"/>
                    <a:pt x="1937" y="6770"/>
                    <a:pt x="2080" y="6428"/>
                  </a:cubicBezTo>
                  <a:lnTo>
                    <a:pt x="2962" y="4601"/>
                  </a:lnTo>
                  <a:cubicBezTo>
                    <a:pt x="3372" y="4758"/>
                    <a:pt x="3813" y="4884"/>
                    <a:pt x="4285" y="4916"/>
                  </a:cubicBezTo>
                  <a:lnTo>
                    <a:pt x="4285" y="5294"/>
                  </a:lnTo>
                  <a:cubicBezTo>
                    <a:pt x="4285" y="5483"/>
                    <a:pt x="4443" y="5640"/>
                    <a:pt x="4632" y="5640"/>
                  </a:cubicBezTo>
                  <a:cubicBezTo>
                    <a:pt x="4852" y="5640"/>
                    <a:pt x="5010" y="5483"/>
                    <a:pt x="5010" y="5294"/>
                  </a:cubicBezTo>
                  <a:lnTo>
                    <a:pt x="5010" y="4916"/>
                  </a:lnTo>
                  <a:cubicBezTo>
                    <a:pt x="5483" y="4884"/>
                    <a:pt x="5892" y="4821"/>
                    <a:pt x="6333" y="4601"/>
                  </a:cubicBezTo>
                  <a:lnTo>
                    <a:pt x="7215" y="6428"/>
                  </a:lnTo>
                  <a:cubicBezTo>
                    <a:pt x="7365" y="6787"/>
                    <a:pt x="7741" y="7060"/>
                    <a:pt x="8237" y="7060"/>
                  </a:cubicBezTo>
                  <a:cubicBezTo>
                    <a:pt x="8264" y="7060"/>
                    <a:pt x="8291" y="7060"/>
                    <a:pt x="8318" y="7058"/>
                  </a:cubicBezTo>
                  <a:lnTo>
                    <a:pt x="8538" y="7594"/>
                  </a:lnTo>
                  <a:cubicBezTo>
                    <a:pt x="8607" y="7708"/>
                    <a:pt x="8742" y="7789"/>
                    <a:pt x="8871" y="7789"/>
                  </a:cubicBezTo>
                  <a:cubicBezTo>
                    <a:pt x="8920" y="7789"/>
                    <a:pt x="8968" y="7777"/>
                    <a:pt x="9011" y="7751"/>
                  </a:cubicBezTo>
                  <a:cubicBezTo>
                    <a:pt x="9169" y="7562"/>
                    <a:pt x="9263" y="7373"/>
                    <a:pt x="9169" y="7215"/>
                  </a:cubicBezTo>
                  <a:lnTo>
                    <a:pt x="8948" y="6648"/>
                  </a:lnTo>
                  <a:cubicBezTo>
                    <a:pt x="9200" y="6333"/>
                    <a:pt x="9326" y="5924"/>
                    <a:pt x="9137" y="5514"/>
                  </a:cubicBezTo>
                  <a:lnTo>
                    <a:pt x="8066" y="3340"/>
                  </a:lnTo>
                  <a:cubicBezTo>
                    <a:pt x="8381" y="2994"/>
                    <a:pt x="8665" y="2553"/>
                    <a:pt x="8854" y="2143"/>
                  </a:cubicBezTo>
                  <a:cubicBezTo>
                    <a:pt x="8948" y="1923"/>
                    <a:pt x="8854" y="1734"/>
                    <a:pt x="8665" y="1671"/>
                  </a:cubicBezTo>
                  <a:cubicBezTo>
                    <a:pt x="8614" y="1645"/>
                    <a:pt x="8561" y="1634"/>
                    <a:pt x="8509" y="1634"/>
                  </a:cubicBezTo>
                  <a:cubicBezTo>
                    <a:pt x="8369" y="1634"/>
                    <a:pt x="8238" y="1721"/>
                    <a:pt x="8192" y="1860"/>
                  </a:cubicBezTo>
                  <a:cubicBezTo>
                    <a:pt x="8066" y="2143"/>
                    <a:pt x="7908" y="2395"/>
                    <a:pt x="7719" y="2647"/>
                  </a:cubicBezTo>
                  <a:lnTo>
                    <a:pt x="6459" y="1"/>
                  </a:lnTo>
                  <a:cubicBezTo>
                    <a:pt x="6113" y="631"/>
                    <a:pt x="5420" y="1041"/>
                    <a:pt x="4632" y="1041"/>
                  </a:cubicBezTo>
                  <a:cubicBezTo>
                    <a:pt x="3844" y="1041"/>
                    <a:pt x="3183" y="599"/>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4"/>
            <p:cNvSpPr/>
            <p:nvPr/>
          </p:nvSpPr>
          <p:spPr>
            <a:xfrm>
              <a:off x="-50379325" y="3183175"/>
              <a:ext cx="52775" cy="34675"/>
            </a:xfrm>
            <a:custGeom>
              <a:avLst/>
              <a:gdLst/>
              <a:ahLst/>
              <a:cxnLst/>
              <a:rect l="l" t="t" r="r" b="b"/>
              <a:pathLst>
                <a:path w="2111" h="1387" extrusionOk="0">
                  <a:moveTo>
                    <a:pt x="1071" y="0"/>
                  </a:moveTo>
                  <a:cubicBezTo>
                    <a:pt x="473" y="0"/>
                    <a:pt x="0" y="473"/>
                    <a:pt x="0" y="1071"/>
                  </a:cubicBezTo>
                  <a:lnTo>
                    <a:pt x="0" y="1386"/>
                  </a:lnTo>
                  <a:cubicBezTo>
                    <a:pt x="315" y="1166"/>
                    <a:pt x="662" y="1103"/>
                    <a:pt x="1071" y="1103"/>
                  </a:cubicBezTo>
                  <a:cubicBezTo>
                    <a:pt x="1449" y="1103"/>
                    <a:pt x="1796" y="1166"/>
                    <a:pt x="2111" y="1386"/>
                  </a:cubicBezTo>
                  <a:lnTo>
                    <a:pt x="2111" y="1071"/>
                  </a:lnTo>
                  <a:cubicBezTo>
                    <a:pt x="2111" y="473"/>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4" name="Google Shape;7834;p74"/>
          <p:cNvGrpSpPr/>
          <p:nvPr/>
        </p:nvGrpSpPr>
        <p:grpSpPr>
          <a:xfrm>
            <a:off x="845574" y="1822251"/>
            <a:ext cx="356205" cy="355288"/>
            <a:chOff x="-50504575" y="3550975"/>
            <a:chExt cx="300900" cy="300125"/>
          </a:xfrm>
        </p:grpSpPr>
        <p:sp>
          <p:nvSpPr>
            <p:cNvPr id="7835" name="Google Shape;7835;p74"/>
            <p:cNvSpPr/>
            <p:nvPr/>
          </p:nvSpPr>
          <p:spPr>
            <a:xfrm>
              <a:off x="-50504575" y="3550975"/>
              <a:ext cx="300900" cy="176475"/>
            </a:xfrm>
            <a:custGeom>
              <a:avLst/>
              <a:gdLst/>
              <a:ahLst/>
              <a:cxnLst/>
              <a:rect l="l" t="t" r="r" b="b"/>
              <a:pathLst>
                <a:path w="12036" h="7059" extrusionOk="0">
                  <a:moveTo>
                    <a:pt x="1072" y="1"/>
                  </a:moveTo>
                  <a:cubicBezTo>
                    <a:pt x="473" y="1"/>
                    <a:pt x="1" y="474"/>
                    <a:pt x="1" y="1072"/>
                  </a:cubicBezTo>
                  <a:cubicBezTo>
                    <a:pt x="1" y="1671"/>
                    <a:pt x="473" y="2143"/>
                    <a:pt x="1072" y="2143"/>
                  </a:cubicBezTo>
                  <a:cubicBezTo>
                    <a:pt x="1545" y="2143"/>
                    <a:pt x="1891" y="1828"/>
                    <a:pt x="2049" y="1419"/>
                  </a:cubicBezTo>
                  <a:lnTo>
                    <a:pt x="3592" y="1419"/>
                  </a:lnTo>
                  <a:cubicBezTo>
                    <a:pt x="2364" y="2175"/>
                    <a:pt x="1576" y="3467"/>
                    <a:pt x="1450" y="4916"/>
                  </a:cubicBezTo>
                  <a:lnTo>
                    <a:pt x="1072" y="4916"/>
                  </a:lnTo>
                  <a:cubicBezTo>
                    <a:pt x="883" y="4916"/>
                    <a:pt x="726" y="5073"/>
                    <a:pt x="726" y="5294"/>
                  </a:cubicBezTo>
                  <a:lnTo>
                    <a:pt x="726" y="6712"/>
                  </a:lnTo>
                  <a:cubicBezTo>
                    <a:pt x="726" y="6901"/>
                    <a:pt x="883" y="7058"/>
                    <a:pt x="1072" y="7058"/>
                  </a:cubicBezTo>
                  <a:lnTo>
                    <a:pt x="2490" y="7058"/>
                  </a:lnTo>
                  <a:cubicBezTo>
                    <a:pt x="2679" y="7058"/>
                    <a:pt x="2836" y="6901"/>
                    <a:pt x="2836" y="6712"/>
                  </a:cubicBezTo>
                  <a:lnTo>
                    <a:pt x="2836" y="5294"/>
                  </a:lnTo>
                  <a:cubicBezTo>
                    <a:pt x="2836" y="5073"/>
                    <a:pt x="2679" y="4916"/>
                    <a:pt x="2490" y="4916"/>
                  </a:cubicBezTo>
                  <a:lnTo>
                    <a:pt x="2175" y="4916"/>
                  </a:lnTo>
                  <a:cubicBezTo>
                    <a:pt x="2332" y="3309"/>
                    <a:pt x="3435" y="2017"/>
                    <a:pt x="4979" y="1576"/>
                  </a:cubicBezTo>
                  <a:lnTo>
                    <a:pt x="4979" y="1765"/>
                  </a:lnTo>
                  <a:cubicBezTo>
                    <a:pt x="4979" y="1986"/>
                    <a:pt x="5136" y="2143"/>
                    <a:pt x="5325" y="2143"/>
                  </a:cubicBezTo>
                  <a:lnTo>
                    <a:pt x="6743" y="2143"/>
                  </a:lnTo>
                  <a:cubicBezTo>
                    <a:pt x="6932" y="2143"/>
                    <a:pt x="7090" y="1986"/>
                    <a:pt x="7090" y="1765"/>
                  </a:cubicBezTo>
                  <a:lnTo>
                    <a:pt x="7090" y="1576"/>
                  </a:lnTo>
                  <a:cubicBezTo>
                    <a:pt x="8633" y="2017"/>
                    <a:pt x="9736" y="3340"/>
                    <a:pt x="9893" y="4916"/>
                  </a:cubicBezTo>
                  <a:lnTo>
                    <a:pt x="9578" y="4916"/>
                  </a:lnTo>
                  <a:cubicBezTo>
                    <a:pt x="9389" y="4916"/>
                    <a:pt x="9232" y="5073"/>
                    <a:pt x="9232" y="5294"/>
                  </a:cubicBezTo>
                  <a:lnTo>
                    <a:pt x="9232" y="6712"/>
                  </a:lnTo>
                  <a:cubicBezTo>
                    <a:pt x="9232" y="6901"/>
                    <a:pt x="9389" y="7058"/>
                    <a:pt x="9578" y="7058"/>
                  </a:cubicBezTo>
                  <a:lnTo>
                    <a:pt x="10996" y="7058"/>
                  </a:lnTo>
                  <a:cubicBezTo>
                    <a:pt x="11185" y="7058"/>
                    <a:pt x="11343" y="6901"/>
                    <a:pt x="11343" y="6712"/>
                  </a:cubicBezTo>
                  <a:lnTo>
                    <a:pt x="11343" y="5294"/>
                  </a:lnTo>
                  <a:cubicBezTo>
                    <a:pt x="11343" y="5073"/>
                    <a:pt x="11185" y="4916"/>
                    <a:pt x="10996" y="4916"/>
                  </a:cubicBezTo>
                  <a:lnTo>
                    <a:pt x="10587" y="4916"/>
                  </a:lnTo>
                  <a:cubicBezTo>
                    <a:pt x="10492" y="3467"/>
                    <a:pt x="9704" y="2175"/>
                    <a:pt x="8476" y="1419"/>
                  </a:cubicBezTo>
                  <a:lnTo>
                    <a:pt x="10020" y="1419"/>
                  </a:lnTo>
                  <a:cubicBezTo>
                    <a:pt x="10146" y="1860"/>
                    <a:pt x="10555" y="2143"/>
                    <a:pt x="10996" y="2143"/>
                  </a:cubicBezTo>
                  <a:cubicBezTo>
                    <a:pt x="11563" y="2143"/>
                    <a:pt x="12036" y="1671"/>
                    <a:pt x="12036" y="1072"/>
                  </a:cubicBezTo>
                  <a:cubicBezTo>
                    <a:pt x="12036" y="474"/>
                    <a:pt x="11563" y="1"/>
                    <a:pt x="10996" y="1"/>
                  </a:cubicBezTo>
                  <a:cubicBezTo>
                    <a:pt x="10524" y="1"/>
                    <a:pt x="10146" y="285"/>
                    <a:pt x="9988" y="726"/>
                  </a:cubicBezTo>
                  <a:lnTo>
                    <a:pt x="7090" y="726"/>
                  </a:lnTo>
                  <a:lnTo>
                    <a:pt x="7090" y="379"/>
                  </a:lnTo>
                  <a:cubicBezTo>
                    <a:pt x="7090" y="159"/>
                    <a:pt x="6932" y="1"/>
                    <a:pt x="6743" y="1"/>
                  </a:cubicBezTo>
                  <a:lnTo>
                    <a:pt x="5325" y="1"/>
                  </a:lnTo>
                  <a:cubicBezTo>
                    <a:pt x="5105" y="1"/>
                    <a:pt x="4979" y="159"/>
                    <a:pt x="4979" y="379"/>
                  </a:cubicBezTo>
                  <a:lnTo>
                    <a:pt x="4979" y="726"/>
                  </a:lnTo>
                  <a:lnTo>
                    <a:pt x="2049" y="726"/>
                  </a:lnTo>
                  <a:cubicBezTo>
                    <a:pt x="1891" y="316"/>
                    <a:pt x="1545"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4"/>
            <p:cNvSpPr/>
            <p:nvPr/>
          </p:nvSpPr>
          <p:spPr>
            <a:xfrm>
              <a:off x="-50432100" y="3622650"/>
              <a:ext cx="157550" cy="175675"/>
            </a:xfrm>
            <a:custGeom>
              <a:avLst/>
              <a:gdLst/>
              <a:ahLst/>
              <a:cxnLst/>
              <a:rect l="l" t="t" r="r" b="b"/>
              <a:pathLst>
                <a:path w="6302" h="7027" extrusionOk="0">
                  <a:moveTo>
                    <a:pt x="3182" y="1"/>
                  </a:moveTo>
                  <a:cubicBezTo>
                    <a:pt x="3064" y="1"/>
                    <a:pt x="2946" y="64"/>
                    <a:pt x="2899" y="190"/>
                  </a:cubicBezTo>
                  <a:lnTo>
                    <a:pt x="95" y="5105"/>
                  </a:lnTo>
                  <a:cubicBezTo>
                    <a:pt x="0" y="5231"/>
                    <a:pt x="0" y="5357"/>
                    <a:pt x="95" y="5451"/>
                  </a:cubicBezTo>
                  <a:lnTo>
                    <a:pt x="1103" y="7026"/>
                  </a:lnTo>
                  <a:lnTo>
                    <a:pt x="2804" y="7026"/>
                  </a:lnTo>
                  <a:lnTo>
                    <a:pt x="2804" y="5577"/>
                  </a:lnTo>
                  <a:cubicBezTo>
                    <a:pt x="2426" y="5420"/>
                    <a:pt x="2111" y="5010"/>
                    <a:pt x="2111" y="4569"/>
                  </a:cubicBezTo>
                  <a:cubicBezTo>
                    <a:pt x="2111" y="4002"/>
                    <a:pt x="2584" y="3529"/>
                    <a:pt x="3151" y="3529"/>
                  </a:cubicBezTo>
                  <a:cubicBezTo>
                    <a:pt x="3749" y="3529"/>
                    <a:pt x="4222" y="4002"/>
                    <a:pt x="4222" y="4569"/>
                  </a:cubicBezTo>
                  <a:cubicBezTo>
                    <a:pt x="4222" y="5042"/>
                    <a:pt x="3939" y="5420"/>
                    <a:pt x="3529" y="5577"/>
                  </a:cubicBezTo>
                  <a:lnTo>
                    <a:pt x="3529" y="7026"/>
                  </a:lnTo>
                  <a:lnTo>
                    <a:pt x="5199" y="7026"/>
                  </a:lnTo>
                  <a:lnTo>
                    <a:pt x="6238" y="5451"/>
                  </a:lnTo>
                  <a:cubicBezTo>
                    <a:pt x="6301" y="5325"/>
                    <a:pt x="6301" y="5199"/>
                    <a:pt x="6238" y="5105"/>
                  </a:cubicBezTo>
                  <a:lnTo>
                    <a:pt x="3466" y="190"/>
                  </a:lnTo>
                  <a:cubicBezTo>
                    <a:pt x="3419" y="64"/>
                    <a:pt x="3301" y="1"/>
                    <a:pt x="3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4"/>
            <p:cNvSpPr/>
            <p:nvPr/>
          </p:nvSpPr>
          <p:spPr>
            <a:xfrm>
              <a:off x="-50414775" y="3815625"/>
              <a:ext cx="122900" cy="35475"/>
            </a:xfrm>
            <a:custGeom>
              <a:avLst/>
              <a:gdLst/>
              <a:ahLst/>
              <a:cxnLst/>
              <a:rect l="l" t="t" r="r" b="b"/>
              <a:pathLst>
                <a:path w="4916" h="1419" extrusionOk="0">
                  <a:moveTo>
                    <a:pt x="347" y="1"/>
                  </a:moveTo>
                  <a:cubicBezTo>
                    <a:pt x="158" y="1"/>
                    <a:pt x="0" y="158"/>
                    <a:pt x="0" y="379"/>
                  </a:cubicBezTo>
                  <a:lnTo>
                    <a:pt x="0" y="1072"/>
                  </a:lnTo>
                  <a:cubicBezTo>
                    <a:pt x="0" y="1261"/>
                    <a:pt x="158" y="1418"/>
                    <a:pt x="347" y="1418"/>
                  </a:cubicBezTo>
                  <a:lnTo>
                    <a:pt x="4569" y="1418"/>
                  </a:lnTo>
                  <a:cubicBezTo>
                    <a:pt x="4758" y="1418"/>
                    <a:pt x="4915" y="1261"/>
                    <a:pt x="4915" y="1072"/>
                  </a:cubicBezTo>
                  <a:lnTo>
                    <a:pt x="4915" y="379"/>
                  </a:lnTo>
                  <a:cubicBezTo>
                    <a:pt x="4915" y="190"/>
                    <a:pt x="4758"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4"/>
            <p:cNvSpPr/>
            <p:nvPr/>
          </p:nvSpPr>
          <p:spPr>
            <a:xfrm>
              <a:off x="-50362000" y="3727425"/>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9" name="Google Shape;7839;p74"/>
          <p:cNvGrpSpPr/>
          <p:nvPr/>
        </p:nvGrpSpPr>
        <p:grpSpPr>
          <a:xfrm>
            <a:off x="845574" y="2260493"/>
            <a:ext cx="356205" cy="354341"/>
            <a:chOff x="-50503000" y="3921175"/>
            <a:chExt cx="300900" cy="299325"/>
          </a:xfrm>
        </p:grpSpPr>
        <p:sp>
          <p:nvSpPr>
            <p:cNvPr id="7840" name="Google Shape;7840;p74"/>
            <p:cNvSpPr/>
            <p:nvPr/>
          </p:nvSpPr>
          <p:spPr>
            <a:xfrm>
              <a:off x="-50432900" y="3921175"/>
              <a:ext cx="177250" cy="53575"/>
            </a:xfrm>
            <a:custGeom>
              <a:avLst/>
              <a:gdLst/>
              <a:ahLst/>
              <a:cxnLst/>
              <a:rect l="l" t="t" r="r" b="b"/>
              <a:pathLst>
                <a:path w="7090" h="2143" extrusionOk="0">
                  <a:moveTo>
                    <a:pt x="1" y="0"/>
                  </a:moveTo>
                  <a:lnTo>
                    <a:pt x="1" y="2143"/>
                  </a:lnTo>
                  <a:lnTo>
                    <a:pt x="7089" y="2143"/>
                  </a:lnTo>
                  <a:lnTo>
                    <a:pt x="7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1" name="Google Shape;7841;p74"/>
            <p:cNvSpPr/>
            <p:nvPr/>
          </p:nvSpPr>
          <p:spPr>
            <a:xfrm>
              <a:off x="-50503000" y="3921175"/>
              <a:ext cx="52800" cy="53575"/>
            </a:xfrm>
            <a:custGeom>
              <a:avLst/>
              <a:gdLst/>
              <a:ahLst/>
              <a:cxnLst/>
              <a:rect l="l" t="t" r="r" b="b"/>
              <a:pathLst>
                <a:path w="2112" h="2143" extrusionOk="0">
                  <a:moveTo>
                    <a:pt x="1797" y="0"/>
                  </a:moveTo>
                  <a:cubicBezTo>
                    <a:pt x="1734" y="0"/>
                    <a:pt x="1671" y="0"/>
                    <a:pt x="1639" y="63"/>
                  </a:cubicBezTo>
                  <a:lnTo>
                    <a:pt x="221" y="756"/>
                  </a:lnTo>
                  <a:cubicBezTo>
                    <a:pt x="95" y="851"/>
                    <a:pt x="1" y="945"/>
                    <a:pt x="1" y="1071"/>
                  </a:cubicBezTo>
                  <a:cubicBezTo>
                    <a:pt x="1" y="1197"/>
                    <a:pt x="95" y="1323"/>
                    <a:pt x="221" y="1386"/>
                  </a:cubicBezTo>
                  <a:lnTo>
                    <a:pt x="1639" y="2111"/>
                  </a:lnTo>
                  <a:cubicBezTo>
                    <a:pt x="1671" y="2143"/>
                    <a:pt x="1765" y="2143"/>
                    <a:pt x="1797" y="2143"/>
                  </a:cubicBezTo>
                  <a:lnTo>
                    <a:pt x="2112" y="2143"/>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2" name="Google Shape;7842;p74"/>
            <p:cNvSpPr/>
            <p:nvPr/>
          </p:nvSpPr>
          <p:spPr>
            <a:xfrm>
              <a:off x="-50237550" y="3921175"/>
              <a:ext cx="35450" cy="53575"/>
            </a:xfrm>
            <a:custGeom>
              <a:avLst/>
              <a:gdLst/>
              <a:ahLst/>
              <a:cxnLst/>
              <a:rect l="l" t="t" r="r" b="b"/>
              <a:pathLst>
                <a:path w="1418" h="2143" extrusionOk="0">
                  <a:moveTo>
                    <a:pt x="0" y="0"/>
                  </a:moveTo>
                  <a:lnTo>
                    <a:pt x="0" y="2143"/>
                  </a:lnTo>
                  <a:lnTo>
                    <a:pt x="347" y="2143"/>
                  </a:lnTo>
                  <a:cubicBezTo>
                    <a:pt x="945" y="2143"/>
                    <a:pt x="1418" y="1670"/>
                    <a:pt x="1418" y="1071"/>
                  </a:cubicBezTo>
                  <a:cubicBezTo>
                    <a:pt x="1418" y="473"/>
                    <a:pt x="945"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74"/>
            <p:cNvSpPr/>
            <p:nvPr/>
          </p:nvSpPr>
          <p:spPr>
            <a:xfrm>
              <a:off x="-50414775" y="4045625"/>
              <a:ext cx="159125" cy="122875"/>
            </a:xfrm>
            <a:custGeom>
              <a:avLst/>
              <a:gdLst/>
              <a:ahLst/>
              <a:cxnLst/>
              <a:rect l="l" t="t" r="r" b="b"/>
              <a:pathLst>
                <a:path w="6365" h="4915" extrusionOk="0">
                  <a:moveTo>
                    <a:pt x="0" y="0"/>
                  </a:moveTo>
                  <a:lnTo>
                    <a:pt x="0" y="4915"/>
                  </a:lnTo>
                  <a:lnTo>
                    <a:pt x="6364" y="4915"/>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4"/>
            <p:cNvSpPr/>
            <p:nvPr/>
          </p:nvSpPr>
          <p:spPr>
            <a:xfrm>
              <a:off x="-50503000" y="3992050"/>
              <a:ext cx="300900" cy="228450"/>
            </a:xfrm>
            <a:custGeom>
              <a:avLst/>
              <a:gdLst/>
              <a:ahLst/>
              <a:cxnLst/>
              <a:rect l="l" t="t" r="r" b="b"/>
              <a:pathLst>
                <a:path w="12036" h="9138" extrusionOk="0">
                  <a:moveTo>
                    <a:pt x="1797" y="1387"/>
                  </a:moveTo>
                  <a:cubicBezTo>
                    <a:pt x="1986" y="1387"/>
                    <a:pt x="2143" y="1544"/>
                    <a:pt x="2143" y="1733"/>
                  </a:cubicBezTo>
                  <a:lnTo>
                    <a:pt x="2143" y="3151"/>
                  </a:lnTo>
                  <a:cubicBezTo>
                    <a:pt x="2143" y="3372"/>
                    <a:pt x="1986" y="3529"/>
                    <a:pt x="1797" y="3529"/>
                  </a:cubicBezTo>
                  <a:cubicBezTo>
                    <a:pt x="1608" y="3529"/>
                    <a:pt x="1450" y="3372"/>
                    <a:pt x="1450" y="3151"/>
                  </a:cubicBezTo>
                  <a:lnTo>
                    <a:pt x="1450" y="1733"/>
                  </a:lnTo>
                  <a:cubicBezTo>
                    <a:pt x="1450" y="1544"/>
                    <a:pt x="1608" y="1387"/>
                    <a:pt x="1797" y="1387"/>
                  </a:cubicBezTo>
                  <a:close/>
                  <a:moveTo>
                    <a:pt x="1797" y="4222"/>
                  </a:moveTo>
                  <a:cubicBezTo>
                    <a:pt x="1986" y="4222"/>
                    <a:pt x="2143" y="4380"/>
                    <a:pt x="2143" y="4569"/>
                  </a:cubicBezTo>
                  <a:cubicBezTo>
                    <a:pt x="2143" y="4789"/>
                    <a:pt x="1986" y="4947"/>
                    <a:pt x="1797" y="4947"/>
                  </a:cubicBezTo>
                  <a:cubicBezTo>
                    <a:pt x="1576" y="4947"/>
                    <a:pt x="1419" y="4789"/>
                    <a:pt x="1419" y="4569"/>
                  </a:cubicBezTo>
                  <a:cubicBezTo>
                    <a:pt x="1419" y="4380"/>
                    <a:pt x="1576" y="4222"/>
                    <a:pt x="1797" y="4222"/>
                  </a:cubicBezTo>
                  <a:close/>
                  <a:moveTo>
                    <a:pt x="1797" y="5609"/>
                  </a:moveTo>
                  <a:cubicBezTo>
                    <a:pt x="1986" y="5609"/>
                    <a:pt x="2143" y="5766"/>
                    <a:pt x="2143" y="5955"/>
                  </a:cubicBezTo>
                  <a:lnTo>
                    <a:pt x="2143" y="7373"/>
                  </a:lnTo>
                  <a:cubicBezTo>
                    <a:pt x="2143" y="7562"/>
                    <a:pt x="1986" y="7719"/>
                    <a:pt x="1797" y="7719"/>
                  </a:cubicBezTo>
                  <a:cubicBezTo>
                    <a:pt x="1608" y="7719"/>
                    <a:pt x="1450" y="7562"/>
                    <a:pt x="1450" y="7373"/>
                  </a:cubicBezTo>
                  <a:lnTo>
                    <a:pt x="1450" y="5955"/>
                  </a:lnTo>
                  <a:cubicBezTo>
                    <a:pt x="1450" y="5766"/>
                    <a:pt x="1608" y="5609"/>
                    <a:pt x="1797" y="5609"/>
                  </a:cubicBezTo>
                  <a:close/>
                  <a:moveTo>
                    <a:pt x="10272" y="1387"/>
                  </a:moveTo>
                  <a:cubicBezTo>
                    <a:pt x="10461" y="1387"/>
                    <a:pt x="10618" y="1544"/>
                    <a:pt x="10618" y="1733"/>
                  </a:cubicBezTo>
                  <a:lnTo>
                    <a:pt x="10618" y="7373"/>
                  </a:lnTo>
                  <a:cubicBezTo>
                    <a:pt x="10618" y="7562"/>
                    <a:pt x="10461" y="7719"/>
                    <a:pt x="10272" y="7719"/>
                  </a:cubicBezTo>
                  <a:lnTo>
                    <a:pt x="3183" y="7719"/>
                  </a:lnTo>
                  <a:cubicBezTo>
                    <a:pt x="2962" y="7719"/>
                    <a:pt x="2805" y="7562"/>
                    <a:pt x="2805" y="7373"/>
                  </a:cubicBezTo>
                  <a:lnTo>
                    <a:pt x="2805" y="1733"/>
                  </a:lnTo>
                  <a:cubicBezTo>
                    <a:pt x="2805" y="1544"/>
                    <a:pt x="2962" y="1387"/>
                    <a:pt x="3183" y="1387"/>
                  </a:cubicBezTo>
                  <a:close/>
                  <a:moveTo>
                    <a:pt x="1072" y="1"/>
                  </a:moveTo>
                  <a:cubicBezTo>
                    <a:pt x="474" y="1"/>
                    <a:pt x="1" y="473"/>
                    <a:pt x="1" y="1072"/>
                  </a:cubicBezTo>
                  <a:lnTo>
                    <a:pt x="1" y="8097"/>
                  </a:lnTo>
                  <a:cubicBezTo>
                    <a:pt x="1" y="8664"/>
                    <a:pt x="474" y="9137"/>
                    <a:pt x="1072" y="9137"/>
                  </a:cubicBezTo>
                  <a:lnTo>
                    <a:pt x="10965" y="9137"/>
                  </a:lnTo>
                  <a:cubicBezTo>
                    <a:pt x="11563" y="9137"/>
                    <a:pt x="12036" y="8664"/>
                    <a:pt x="12036" y="8097"/>
                  </a:cubicBezTo>
                  <a:lnTo>
                    <a:pt x="12036" y="1072"/>
                  </a:lnTo>
                  <a:cubicBezTo>
                    <a:pt x="12036" y="473"/>
                    <a:pt x="11563" y="1"/>
                    <a:pt x="109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5" name="Google Shape;7845;p74"/>
          <p:cNvGrpSpPr/>
          <p:nvPr/>
        </p:nvGrpSpPr>
        <p:grpSpPr>
          <a:xfrm>
            <a:off x="3049627" y="1406411"/>
            <a:ext cx="355258" cy="356205"/>
            <a:chOff x="-48630025" y="3199700"/>
            <a:chExt cx="300100" cy="300900"/>
          </a:xfrm>
        </p:grpSpPr>
        <p:sp>
          <p:nvSpPr>
            <p:cNvPr id="7846" name="Google Shape;7846;p74"/>
            <p:cNvSpPr/>
            <p:nvPr/>
          </p:nvSpPr>
          <p:spPr>
            <a:xfrm>
              <a:off x="-48630025" y="3199700"/>
              <a:ext cx="300100" cy="300900"/>
            </a:xfrm>
            <a:custGeom>
              <a:avLst/>
              <a:gdLst/>
              <a:ahLst/>
              <a:cxnLst/>
              <a:rect l="l" t="t" r="r" b="b"/>
              <a:pathLst>
                <a:path w="12004" h="12036" extrusionOk="0">
                  <a:moveTo>
                    <a:pt x="9893" y="1419"/>
                  </a:moveTo>
                  <a:lnTo>
                    <a:pt x="9893" y="1765"/>
                  </a:lnTo>
                  <a:cubicBezTo>
                    <a:pt x="9893" y="1986"/>
                    <a:pt x="10051" y="2143"/>
                    <a:pt x="10240" y="2143"/>
                  </a:cubicBezTo>
                  <a:lnTo>
                    <a:pt x="10586" y="2143"/>
                  </a:lnTo>
                  <a:lnTo>
                    <a:pt x="10586" y="5294"/>
                  </a:lnTo>
                  <a:cubicBezTo>
                    <a:pt x="9738" y="4603"/>
                    <a:pt x="8014" y="3599"/>
                    <a:pt x="6006" y="3592"/>
                  </a:cubicBezTo>
                  <a:lnTo>
                    <a:pt x="6006" y="3592"/>
                  </a:lnTo>
                  <a:cubicBezTo>
                    <a:pt x="6010" y="3592"/>
                    <a:pt x="6014" y="3592"/>
                    <a:pt x="6018" y="3592"/>
                  </a:cubicBezTo>
                  <a:lnTo>
                    <a:pt x="6018" y="3592"/>
                  </a:lnTo>
                  <a:cubicBezTo>
                    <a:pt x="6013" y="3592"/>
                    <a:pt x="6008" y="3592"/>
                    <a:pt x="6003" y="3592"/>
                  </a:cubicBezTo>
                  <a:lnTo>
                    <a:pt x="6003" y="3592"/>
                  </a:lnTo>
                  <a:cubicBezTo>
                    <a:pt x="5997" y="3592"/>
                    <a:pt x="5992" y="3592"/>
                    <a:pt x="5987" y="3592"/>
                  </a:cubicBezTo>
                  <a:cubicBezTo>
                    <a:pt x="5991" y="3592"/>
                    <a:pt x="5995" y="3592"/>
                    <a:pt x="5999" y="3592"/>
                  </a:cubicBezTo>
                  <a:lnTo>
                    <a:pt x="5999" y="3592"/>
                  </a:lnTo>
                  <a:cubicBezTo>
                    <a:pt x="4022" y="3599"/>
                    <a:pt x="2298" y="4666"/>
                    <a:pt x="1418" y="5294"/>
                  </a:cubicBezTo>
                  <a:lnTo>
                    <a:pt x="1418" y="2143"/>
                  </a:lnTo>
                  <a:lnTo>
                    <a:pt x="1765" y="2143"/>
                  </a:lnTo>
                  <a:cubicBezTo>
                    <a:pt x="1986" y="2143"/>
                    <a:pt x="2112" y="1986"/>
                    <a:pt x="2112" y="1765"/>
                  </a:cubicBezTo>
                  <a:lnTo>
                    <a:pt x="2112" y="1419"/>
                  </a:lnTo>
                  <a:close/>
                  <a:moveTo>
                    <a:pt x="6002" y="3592"/>
                  </a:moveTo>
                  <a:cubicBezTo>
                    <a:pt x="7319" y="3601"/>
                    <a:pt x="8413" y="4700"/>
                    <a:pt x="8413" y="6018"/>
                  </a:cubicBezTo>
                  <a:cubicBezTo>
                    <a:pt x="8413" y="7368"/>
                    <a:pt x="7319" y="8467"/>
                    <a:pt x="6002" y="8476"/>
                  </a:cubicBezTo>
                  <a:lnTo>
                    <a:pt x="6002" y="8476"/>
                  </a:lnTo>
                  <a:cubicBezTo>
                    <a:pt x="4686" y="8467"/>
                    <a:pt x="3592" y="7368"/>
                    <a:pt x="3592" y="6018"/>
                  </a:cubicBezTo>
                  <a:cubicBezTo>
                    <a:pt x="3592" y="4700"/>
                    <a:pt x="4686" y="3601"/>
                    <a:pt x="6002" y="3592"/>
                  </a:cubicBezTo>
                  <a:close/>
                  <a:moveTo>
                    <a:pt x="10586" y="6774"/>
                  </a:moveTo>
                  <a:lnTo>
                    <a:pt x="10586" y="9925"/>
                  </a:lnTo>
                  <a:lnTo>
                    <a:pt x="10240" y="9925"/>
                  </a:lnTo>
                  <a:cubicBezTo>
                    <a:pt x="10051" y="9925"/>
                    <a:pt x="9893" y="10082"/>
                    <a:pt x="9893" y="10271"/>
                  </a:cubicBezTo>
                  <a:lnTo>
                    <a:pt x="9893" y="10618"/>
                  </a:lnTo>
                  <a:lnTo>
                    <a:pt x="2112" y="10618"/>
                  </a:lnTo>
                  <a:lnTo>
                    <a:pt x="2112" y="10271"/>
                  </a:lnTo>
                  <a:cubicBezTo>
                    <a:pt x="2112" y="10082"/>
                    <a:pt x="1986" y="9925"/>
                    <a:pt x="1765" y="9925"/>
                  </a:cubicBezTo>
                  <a:lnTo>
                    <a:pt x="1418" y="9925"/>
                  </a:lnTo>
                  <a:lnTo>
                    <a:pt x="1418" y="6774"/>
                  </a:lnTo>
                  <a:cubicBezTo>
                    <a:pt x="2298" y="7434"/>
                    <a:pt x="4022" y="8469"/>
                    <a:pt x="5999" y="8476"/>
                  </a:cubicBezTo>
                  <a:lnTo>
                    <a:pt x="5999" y="8476"/>
                  </a:lnTo>
                  <a:cubicBezTo>
                    <a:pt x="5995" y="8476"/>
                    <a:pt x="5991" y="8476"/>
                    <a:pt x="5987" y="8476"/>
                  </a:cubicBezTo>
                  <a:cubicBezTo>
                    <a:pt x="5992" y="8476"/>
                    <a:pt x="5997" y="8476"/>
                    <a:pt x="6002" y="8476"/>
                  </a:cubicBezTo>
                  <a:lnTo>
                    <a:pt x="6002" y="8476"/>
                  </a:lnTo>
                  <a:cubicBezTo>
                    <a:pt x="6008" y="8476"/>
                    <a:pt x="6013" y="8476"/>
                    <a:pt x="6018" y="8476"/>
                  </a:cubicBezTo>
                  <a:cubicBezTo>
                    <a:pt x="6014" y="8476"/>
                    <a:pt x="6010" y="8476"/>
                    <a:pt x="6006" y="8476"/>
                  </a:cubicBezTo>
                  <a:lnTo>
                    <a:pt x="6006" y="8476"/>
                  </a:lnTo>
                  <a:cubicBezTo>
                    <a:pt x="8014" y="8469"/>
                    <a:pt x="9738" y="7402"/>
                    <a:pt x="10586" y="6774"/>
                  </a:cubicBezTo>
                  <a:close/>
                  <a:moveTo>
                    <a:pt x="347" y="1"/>
                  </a:moveTo>
                  <a:cubicBezTo>
                    <a:pt x="158" y="1"/>
                    <a:pt x="1" y="158"/>
                    <a:pt x="1" y="347"/>
                  </a:cubicBezTo>
                  <a:lnTo>
                    <a:pt x="1" y="1765"/>
                  </a:lnTo>
                  <a:cubicBezTo>
                    <a:pt x="1" y="1986"/>
                    <a:pt x="158" y="2143"/>
                    <a:pt x="347" y="2143"/>
                  </a:cubicBezTo>
                  <a:lnTo>
                    <a:pt x="694" y="2143"/>
                  </a:lnTo>
                  <a:lnTo>
                    <a:pt x="694" y="9925"/>
                  </a:lnTo>
                  <a:lnTo>
                    <a:pt x="347" y="9925"/>
                  </a:lnTo>
                  <a:cubicBezTo>
                    <a:pt x="158" y="9925"/>
                    <a:pt x="1" y="10082"/>
                    <a:pt x="1" y="10271"/>
                  </a:cubicBezTo>
                  <a:lnTo>
                    <a:pt x="1" y="11689"/>
                  </a:lnTo>
                  <a:cubicBezTo>
                    <a:pt x="1" y="11910"/>
                    <a:pt x="158" y="12036"/>
                    <a:pt x="347" y="12036"/>
                  </a:cubicBezTo>
                  <a:lnTo>
                    <a:pt x="1765" y="12036"/>
                  </a:lnTo>
                  <a:cubicBezTo>
                    <a:pt x="1986" y="12036"/>
                    <a:pt x="2112" y="11910"/>
                    <a:pt x="2112" y="11689"/>
                  </a:cubicBezTo>
                  <a:lnTo>
                    <a:pt x="2112" y="11343"/>
                  </a:lnTo>
                  <a:lnTo>
                    <a:pt x="9893" y="11343"/>
                  </a:lnTo>
                  <a:lnTo>
                    <a:pt x="9893" y="11689"/>
                  </a:lnTo>
                  <a:cubicBezTo>
                    <a:pt x="9893" y="11910"/>
                    <a:pt x="10051" y="12036"/>
                    <a:pt x="10240" y="12036"/>
                  </a:cubicBezTo>
                  <a:lnTo>
                    <a:pt x="11658" y="12036"/>
                  </a:lnTo>
                  <a:cubicBezTo>
                    <a:pt x="11847" y="12036"/>
                    <a:pt x="12004" y="11910"/>
                    <a:pt x="12004" y="11689"/>
                  </a:cubicBezTo>
                  <a:lnTo>
                    <a:pt x="12004" y="10271"/>
                  </a:lnTo>
                  <a:cubicBezTo>
                    <a:pt x="12004" y="10082"/>
                    <a:pt x="11847" y="9925"/>
                    <a:pt x="11658" y="9925"/>
                  </a:cubicBezTo>
                  <a:lnTo>
                    <a:pt x="11311" y="9925"/>
                  </a:lnTo>
                  <a:lnTo>
                    <a:pt x="11311" y="2143"/>
                  </a:lnTo>
                  <a:lnTo>
                    <a:pt x="11658" y="2143"/>
                  </a:lnTo>
                  <a:cubicBezTo>
                    <a:pt x="11847" y="2143"/>
                    <a:pt x="12004" y="1986"/>
                    <a:pt x="12004" y="1765"/>
                  </a:cubicBezTo>
                  <a:lnTo>
                    <a:pt x="12004" y="347"/>
                  </a:lnTo>
                  <a:cubicBezTo>
                    <a:pt x="12004" y="158"/>
                    <a:pt x="11847" y="1"/>
                    <a:pt x="11658" y="1"/>
                  </a:cubicBezTo>
                  <a:lnTo>
                    <a:pt x="10240" y="1"/>
                  </a:lnTo>
                  <a:cubicBezTo>
                    <a:pt x="10051" y="1"/>
                    <a:pt x="9893" y="158"/>
                    <a:pt x="9893" y="347"/>
                  </a:cubicBezTo>
                  <a:lnTo>
                    <a:pt x="9893" y="725"/>
                  </a:lnTo>
                  <a:lnTo>
                    <a:pt x="2112" y="725"/>
                  </a:lnTo>
                  <a:lnTo>
                    <a:pt x="2112" y="347"/>
                  </a:lnTo>
                  <a:cubicBezTo>
                    <a:pt x="2112"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4"/>
            <p:cNvSpPr/>
            <p:nvPr/>
          </p:nvSpPr>
          <p:spPr>
            <a:xfrm>
              <a:off x="-48524475" y="3306025"/>
              <a:ext cx="88225" cy="89050"/>
            </a:xfrm>
            <a:custGeom>
              <a:avLst/>
              <a:gdLst/>
              <a:ahLst/>
              <a:cxnLst/>
              <a:rect l="l" t="t" r="r" b="b"/>
              <a:pathLst>
                <a:path w="3529" h="3562" extrusionOk="0">
                  <a:moveTo>
                    <a:pt x="1765" y="726"/>
                  </a:moveTo>
                  <a:cubicBezTo>
                    <a:pt x="2363" y="726"/>
                    <a:pt x="2836" y="1198"/>
                    <a:pt x="2836" y="1765"/>
                  </a:cubicBezTo>
                  <a:cubicBezTo>
                    <a:pt x="2836" y="2364"/>
                    <a:pt x="2363" y="2836"/>
                    <a:pt x="1765" y="2836"/>
                  </a:cubicBezTo>
                  <a:cubicBezTo>
                    <a:pt x="1166" y="2836"/>
                    <a:pt x="694" y="2364"/>
                    <a:pt x="694" y="1765"/>
                  </a:cubicBezTo>
                  <a:cubicBezTo>
                    <a:pt x="694" y="1198"/>
                    <a:pt x="1166" y="726"/>
                    <a:pt x="1765" y="726"/>
                  </a:cubicBezTo>
                  <a:close/>
                  <a:moveTo>
                    <a:pt x="1765" y="1"/>
                  </a:moveTo>
                  <a:cubicBezTo>
                    <a:pt x="788" y="1"/>
                    <a:pt x="0" y="789"/>
                    <a:pt x="0" y="1765"/>
                  </a:cubicBezTo>
                  <a:cubicBezTo>
                    <a:pt x="0" y="2773"/>
                    <a:pt x="788" y="3561"/>
                    <a:pt x="1765" y="3561"/>
                  </a:cubicBezTo>
                  <a:cubicBezTo>
                    <a:pt x="2741" y="3561"/>
                    <a:pt x="3529" y="2773"/>
                    <a:pt x="3529" y="1765"/>
                  </a:cubicBezTo>
                  <a:cubicBezTo>
                    <a:pt x="3529" y="789"/>
                    <a:pt x="274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74"/>
            <p:cNvSpPr/>
            <p:nvPr/>
          </p:nvSpPr>
          <p:spPr>
            <a:xfrm>
              <a:off x="-48489025" y="3341475"/>
              <a:ext cx="17350" cy="18150"/>
            </a:xfrm>
            <a:custGeom>
              <a:avLst/>
              <a:gdLst/>
              <a:ahLst/>
              <a:cxnLst/>
              <a:rect l="l" t="t" r="r" b="b"/>
              <a:pathLst>
                <a:path w="694" h="726" extrusionOk="0">
                  <a:moveTo>
                    <a:pt x="347" y="1"/>
                  </a:moveTo>
                  <a:cubicBezTo>
                    <a:pt x="158" y="1"/>
                    <a:pt x="0" y="158"/>
                    <a:pt x="0" y="347"/>
                  </a:cubicBezTo>
                  <a:cubicBezTo>
                    <a:pt x="0" y="536"/>
                    <a:pt x="158" y="725"/>
                    <a:pt x="347" y="725"/>
                  </a:cubicBezTo>
                  <a:cubicBezTo>
                    <a:pt x="536" y="725"/>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9" name="Google Shape;7849;p74"/>
          <p:cNvGrpSpPr/>
          <p:nvPr/>
        </p:nvGrpSpPr>
        <p:grpSpPr>
          <a:xfrm>
            <a:off x="3049627" y="1843707"/>
            <a:ext cx="355258" cy="355258"/>
            <a:chOff x="-48630025" y="3569100"/>
            <a:chExt cx="300100" cy="300100"/>
          </a:xfrm>
        </p:grpSpPr>
        <p:sp>
          <p:nvSpPr>
            <p:cNvPr id="7850" name="Google Shape;7850;p74"/>
            <p:cNvSpPr/>
            <p:nvPr/>
          </p:nvSpPr>
          <p:spPr>
            <a:xfrm>
              <a:off x="-48400825" y="3710875"/>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1" name="Google Shape;7851;p74"/>
            <p:cNvSpPr/>
            <p:nvPr/>
          </p:nvSpPr>
          <p:spPr>
            <a:xfrm>
              <a:off x="-48400825" y="37817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74"/>
            <p:cNvSpPr/>
            <p:nvPr/>
          </p:nvSpPr>
          <p:spPr>
            <a:xfrm>
              <a:off x="-48488250" y="37108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36" y="694"/>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74"/>
            <p:cNvSpPr/>
            <p:nvPr/>
          </p:nvSpPr>
          <p:spPr>
            <a:xfrm>
              <a:off x="-48488250" y="36400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36" y="693"/>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74"/>
            <p:cNvSpPr/>
            <p:nvPr/>
          </p:nvSpPr>
          <p:spPr>
            <a:xfrm>
              <a:off x="-48400825" y="36400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74"/>
            <p:cNvSpPr/>
            <p:nvPr/>
          </p:nvSpPr>
          <p:spPr>
            <a:xfrm>
              <a:off x="-48541800" y="3569100"/>
              <a:ext cx="211875" cy="300100"/>
            </a:xfrm>
            <a:custGeom>
              <a:avLst/>
              <a:gdLst/>
              <a:ahLst/>
              <a:cxnLst/>
              <a:rect l="l" t="t" r="r" b="b"/>
              <a:pathLst>
                <a:path w="8475" h="12004" extrusionOk="0">
                  <a:moveTo>
                    <a:pt x="2489" y="2080"/>
                  </a:moveTo>
                  <a:cubicBezTo>
                    <a:pt x="3088" y="2080"/>
                    <a:pt x="3560" y="2552"/>
                    <a:pt x="3560" y="3151"/>
                  </a:cubicBezTo>
                  <a:cubicBezTo>
                    <a:pt x="3560" y="3750"/>
                    <a:pt x="3088" y="4222"/>
                    <a:pt x="2489" y="4222"/>
                  </a:cubicBezTo>
                  <a:cubicBezTo>
                    <a:pt x="1891" y="4222"/>
                    <a:pt x="1418" y="3750"/>
                    <a:pt x="1418" y="3151"/>
                  </a:cubicBezTo>
                  <a:cubicBezTo>
                    <a:pt x="1418" y="2552"/>
                    <a:pt x="1891" y="2080"/>
                    <a:pt x="2489" y="2080"/>
                  </a:cubicBezTo>
                  <a:close/>
                  <a:moveTo>
                    <a:pt x="6018" y="2080"/>
                  </a:moveTo>
                  <a:cubicBezTo>
                    <a:pt x="6585" y="2080"/>
                    <a:pt x="7057" y="2552"/>
                    <a:pt x="7057" y="3151"/>
                  </a:cubicBezTo>
                  <a:cubicBezTo>
                    <a:pt x="7057" y="3750"/>
                    <a:pt x="6585" y="4222"/>
                    <a:pt x="6018" y="4222"/>
                  </a:cubicBezTo>
                  <a:cubicBezTo>
                    <a:pt x="5419" y="4222"/>
                    <a:pt x="4947" y="3750"/>
                    <a:pt x="4947" y="3151"/>
                  </a:cubicBezTo>
                  <a:cubicBezTo>
                    <a:pt x="4947" y="2552"/>
                    <a:pt x="5419" y="2080"/>
                    <a:pt x="6018" y="2080"/>
                  </a:cubicBezTo>
                  <a:close/>
                  <a:moveTo>
                    <a:pt x="2489" y="4915"/>
                  </a:moveTo>
                  <a:cubicBezTo>
                    <a:pt x="3088" y="4915"/>
                    <a:pt x="3560" y="5388"/>
                    <a:pt x="3560" y="5987"/>
                  </a:cubicBezTo>
                  <a:cubicBezTo>
                    <a:pt x="3560" y="6585"/>
                    <a:pt x="3088" y="7058"/>
                    <a:pt x="2489" y="7058"/>
                  </a:cubicBezTo>
                  <a:cubicBezTo>
                    <a:pt x="1891" y="7058"/>
                    <a:pt x="1418" y="6585"/>
                    <a:pt x="1418" y="5987"/>
                  </a:cubicBezTo>
                  <a:cubicBezTo>
                    <a:pt x="1418" y="5388"/>
                    <a:pt x="1891" y="4915"/>
                    <a:pt x="2489" y="4915"/>
                  </a:cubicBezTo>
                  <a:close/>
                  <a:moveTo>
                    <a:pt x="6018" y="4915"/>
                  </a:moveTo>
                  <a:cubicBezTo>
                    <a:pt x="6585" y="4915"/>
                    <a:pt x="7057" y="5388"/>
                    <a:pt x="7057" y="5987"/>
                  </a:cubicBezTo>
                  <a:cubicBezTo>
                    <a:pt x="7057" y="6585"/>
                    <a:pt x="6585" y="7058"/>
                    <a:pt x="6018" y="7058"/>
                  </a:cubicBezTo>
                  <a:cubicBezTo>
                    <a:pt x="5419" y="7058"/>
                    <a:pt x="4947" y="6585"/>
                    <a:pt x="4947" y="5987"/>
                  </a:cubicBezTo>
                  <a:cubicBezTo>
                    <a:pt x="4947" y="5388"/>
                    <a:pt x="5419" y="4915"/>
                    <a:pt x="6018" y="4915"/>
                  </a:cubicBezTo>
                  <a:close/>
                  <a:moveTo>
                    <a:pt x="2489" y="7751"/>
                  </a:moveTo>
                  <a:cubicBezTo>
                    <a:pt x="3088" y="7751"/>
                    <a:pt x="3560" y="8223"/>
                    <a:pt x="3560" y="8822"/>
                  </a:cubicBezTo>
                  <a:cubicBezTo>
                    <a:pt x="3560" y="9421"/>
                    <a:pt x="3088" y="9862"/>
                    <a:pt x="2489" y="9862"/>
                  </a:cubicBezTo>
                  <a:cubicBezTo>
                    <a:pt x="1891" y="9862"/>
                    <a:pt x="1418" y="9421"/>
                    <a:pt x="1418" y="8822"/>
                  </a:cubicBezTo>
                  <a:cubicBezTo>
                    <a:pt x="1418" y="8223"/>
                    <a:pt x="1891" y="7751"/>
                    <a:pt x="2489" y="7751"/>
                  </a:cubicBezTo>
                  <a:close/>
                  <a:moveTo>
                    <a:pt x="6018" y="7751"/>
                  </a:moveTo>
                  <a:cubicBezTo>
                    <a:pt x="6585" y="7751"/>
                    <a:pt x="7057" y="8223"/>
                    <a:pt x="7057" y="8822"/>
                  </a:cubicBezTo>
                  <a:cubicBezTo>
                    <a:pt x="7057" y="9421"/>
                    <a:pt x="6585" y="9862"/>
                    <a:pt x="6018" y="9862"/>
                  </a:cubicBezTo>
                  <a:cubicBezTo>
                    <a:pt x="5419" y="9862"/>
                    <a:pt x="4947" y="9421"/>
                    <a:pt x="4947" y="8822"/>
                  </a:cubicBezTo>
                  <a:cubicBezTo>
                    <a:pt x="4947" y="8223"/>
                    <a:pt x="5419" y="7751"/>
                    <a:pt x="6018" y="7751"/>
                  </a:cubicBezTo>
                  <a:close/>
                  <a:moveTo>
                    <a:pt x="1796" y="1"/>
                  </a:moveTo>
                  <a:cubicBezTo>
                    <a:pt x="788" y="1"/>
                    <a:pt x="0" y="788"/>
                    <a:pt x="0" y="1765"/>
                  </a:cubicBezTo>
                  <a:lnTo>
                    <a:pt x="0" y="10240"/>
                  </a:lnTo>
                  <a:cubicBezTo>
                    <a:pt x="0" y="11216"/>
                    <a:pt x="788" y="12004"/>
                    <a:pt x="1796" y="12004"/>
                  </a:cubicBezTo>
                  <a:lnTo>
                    <a:pt x="6711" y="12004"/>
                  </a:lnTo>
                  <a:cubicBezTo>
                    <a:pt x="7687" y="12004"/>
                    <a:pt x="8475" y="11216"/>
                    <a:pt x="8475" y="10240"/>
                  </a:cubicBezTo>
                  <a:lnTo>
                    <a:pt x="8475" y="1765"/>
                  </a:lnTo>
                  <a:cubicBezTo>
                    <a:pt x="8475" y="788"/>
                    <a:pt x="7687"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74"/>
            <p:cNvSpPr/>
            <p:nvPr/>
          </p:nvSpPr>
          <p:spPr>
            <a:xfrm>
              <a:off x="-48488250" y="37817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694" y="536"/>
                    <a:pt x="694" y="347"/>
                  </a:cubicBez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74"/>
            <p:cNvSpPr/>
            <p:nvPr/>
          </p:nvSpPr>
          <p:spPr>
            <a:xfrm>
              <a:off x="-48630025" y="3569900"/>
              <a:ext cx="71700" cy="87450"/>
            </a:xfrm>
            <a:custGeom>
              <a:avLst/>
              <a:gdLst/>
              <a:ahLst/>
              <a:cxnLst/>
              <a:rect l="l" t="t" r="r" b="b"/>
              <a:pathLst>
                <a:path w="2868" h="3498" extrusionOk="0">
                  <a:moveTo>
                    <a:pt x="2490" y="0"/>
                  </a:moveTo>
                  <a:cubicBezTo>
                    <a:pt x="1765" y="0"/>
                    <a:pt x="1229" y="32"/>
                    <a:pt x="631" y="630"/>
                  </a:cubicBezTo>
                  <a:cubicBezTo>
                    <a:pt x="221" y="1040"/>
                    <a:pt x="1" y="1575"/>
                    <a:pt x="1" y="2142"/>
                  </a:cubicBezTo>
                  <a:cubicBezTo>
                    <a:pt x="1" y="2867"/>
                    <a:pt x="631" y="3497"/>
                    <a:pt x="1418" y="3497"/>
                  </a:cubicBezTo>
                  <a:cubicBezTo>
                    <a:pt x="2017" y="3497"/>
                    <a:pt x="2553" y="3119"/>
                    <a:pt x="2742" y="2552"/>
                  </a:cubicBezTo>
                  <a:cubicBezTo>
                    <a:pt x="2868" y="2237"/>
                    <a:pt x="2805" y="1922"/>
                    <a:pt x="2584" y="1701"/>
                  </a:cubicBezTo>
                  <a:cubicBezTo>
                    <a:pt x="2395" y="1449"/>
                    <a:pt x="2269" y="1134"/>
                    <a:pt x="2742" y="567"/>
                  </a:cubicBezTo>
                  <a:cubicBezTo>
                    <a:pt x="2836" y="441"/>
                    <a:pt x="2868" y="315"/>
                    <a:pt x="2805" y="189"/>
                  </a:cubicBezTo>
                  <a:cubicBezTo>
                    <a:pt x="2742" y="95"/>
                    <a:pt x="2584"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74"/>
            <p:cNvSpPr/>
            <p:nvPr/>
          </p:nvSpPr>
          <p:spPr>
            <a:xfrm>
              <a:off x="-48626875" y="3668350"/>
              <a:ext cx="64625" cy="42550"/>
            </a:xfrm>
            <a:custGeom>
              <a:avLst/>
              <a:gdLst/>
              <a:ahLst/>
              <a:cxnLst/>
              <a:rect l="l" t="t" r="r" b="b"/>
              <a:pathLst>
                <a:path w="2585" h="1702" extrusionOk="0">
                  <a:moveTo>
                    <a:pt x="316" y="0"/>
                  </a:moveTo>
                  <a:cubicBezTo>
                    <a:pt x="158" y="473"/>
                    <a:pt x="32" y="1103"/>
                    <a:pt x="1" y="1701"/>
                  </a:cubicBezTo>
                  <a:lnTo>
                    <a:pt x="2584" y="1701"/>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74"/>
            <p:cNvSpPr/>
            <p:nvPr/>
          </p:nvSpPr>
          <p:spPr>
            <a:xfrm>
              <a:off x="-48630025" y="3727425"/>
              <a:ext cx="70925" cy="141775"/>
            </a:xfrm>
            <a:custGeom>
              <a:avLst/>
              <a:gdLst/>
              <a:ahLst/>
              <a:cxnLst/>
              <a:rect l="l" t="t" r="r" b="b"/>
              <a:pathLst>
                <a:path w="2837" h="5671" extrusionOk="0">
                  <a:moveTo>
                    <a:pt x="32" y="0"/>
                  </a:moveTo>
                  <a:cubicBezTo>
                    <a:pt x="1" y="347"/>
                    <a:pt x="1" y="756"/>
                    <a:pt x="1" y="1071"/>
                  </a:cubicBezTo>
                  <a:cubicBezTo>
                    <a:pt x="1" y="2741"/>
                    <a:pt x="316" y="5671"/>
                    <a:pt x="1418" y="5671"/>
                  </a:cubicBezTo>
                  <a:cubicBezTo>
                    <a:pt x="2521" y="5671"/>
                    <a:pt x="2836" y="2804"/>
                    <a:pt x="2836" y="1071"/>
                  </a:cubicBezTo>
                  <a:cubicBezTo>
                    <a:pt x="2836" y="756"/>
                    <a:pt x="2836" y="378"/>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0" name="Google Shape;7860;p74"/>
          <p:cNvGrpSpPr/>
          <p:nvPr/>
        </p:nvGrpSpPr>
        <p:grpSpPr>
          <a:xfrm>
            <a:off x="3050101" y="2281003"/>
            <a:ext cx="354311" cy="353394"/>
            <a:chOff x="-48629225" y="3938500"/>
            <a:chExt cx="299300" cy="298525"/>
          </a:xfrm>
        </p:grpSpPr>
        <p:sp>
          <p:nvSpPr>
            <p:cNvPr id="7861" name="Google Shape;7861;p74"/>
            <p:cNvSpPr/>
            <p:nvPr/>
          </p:nvSpPr>
          <p:spPr>
            <a:xfrm>
              <a:off x="-48629225" y="3938500"/>
              <a:ext cx="299300" cy="298525"/>
            </a:xfrm>
            <a:custGeom>
              <a:avLst/>
              <a:gdLst/>
              <a:ahLst/>
              <a:cxnLst/>
              <a:rect l="l" t="t" r="r" b="b"/>
              <a:pathLst>
                <a:path w="11972" h="11941" extrusionOk="0">
                  <a:moveTo>
                    <a:pt x="5955" y="2111"/>
                  </a:moveTo>
                  <a:cubicBezTo>
                    <a:pt x="8097" y="2111"/>
                    <a:pt x="9830" y="3844"/>
                    <a:pt x="9830" y="5986"/>
                  </a:cubicBezTo>
                  <a:cubicBezTo>
                    <a:pt x="9798" y="8129"/>
                    <a:pt x="8066" y="9830"/>
                    <a:pt x="5955" y="9830"/>
                  </a:cubicBezTo>
                  <a:cubicBezTo>
                    <a:pt x="3875" y="9830"/>
                    <a:pt x="2080" y="8129"/>
                    <a:pt x="2080" y="5986"/>
                  </a:cubicBezTo>
                  <a:cubicBezTo>
                    <a:pt x="2080" y="3844"/>
                    <a:pt x="3812" y="2111"/>
                    <a:pt x="5955" y="2111"/>
                  </a:cubicBezTo>
                  <a:close/>
                  <a:moveTo>
                    <a:pt x="5293" y="0"/>
                  </a:moveTo>
                  <a:cubicBezTo>
                    <a:pt x="5167" y="0"/>
                    <a:pt x="5041" y="63"/>
                    <a:pt x="4978" y="189"/>
                  </a:cubicBezTo>
                  <a:lnTo>
                    <a:pt x="4631" y="882"/>
                  </a:lnTo>
                  <a:cubicBezTo>
                    <a:pt x="4190" y="1009"/>
                    <a:pt x="3749" y="1166"/>
                    <a:pt x="3371" y="1418"/>
                  </a:cubicBezTo>
                  <a:lnTo>
                    <a:pt x="2615" y="1166"/>
                  </a:lnTo>
                  <a:cubicBezTo>
                    <a:pt x="2584" y="1158"/>
                    <a:pt x="2550" y="1154"/>
                    <a:pt x="2517" y="1154"/>
                  </a:cubicBezTo>
                  <a:cubicBezTo>
                    <a:pt x="2416" y="1154"/>
                    <a:pt x="2316" y="1190"/>
                    <a:pt x="2269" y="1261"/>
                  </a:cubicBezTo>
                  <a:lnTo>
                    <a:pt x="1260" y="2237"/>
                  </a:lnTo>
                  <a:cubicBezTo>
                    <a:pt x="1197" y="2300"/>
                    <a:pt x="1166" y="2458"/>
                    <a:pt x="1197" y="2584"/>
                  </a:cubicBezTo>
                  <a:lnTo>
                    <a:pt x="1418" y="3340"/>
                  </a:lnTo>
                  <a:cubicBezTo>
                    <a:pt x="1197" y="3718"/>
                    <a:pt x="1040" y="4159"/>
                    <a:pt x="914" y="4600"/>
                  </a:cubicBezTo>
                  <a:lnTo>
                    <a:pt x="221" y="4947"/>
                  </a:lnTo>
                  <a:cubicBezTo>
                    <a:pt x="95" y="5010"/>
                    <a:pt x="0" y="5136"/>
                    <a:pt x="0" y="5262"/>
                  </a:cubicBezTo>
                  <a:lnTo>
                    <a:pt x="0" y="6679"/>
                  </a:lnTo>
                  <a:cubicBezTo>
                    <a:pt x="0" y="6805"/>
                    <a:pt x="95" y="6931"/>
                    <a:pt x="221" y="6994"/>
                  </a:cubicBezTo>
                  <a:lnTo>
                    <a:pt x="914" y="7341"/>
                  </a:lnTo>
                  <a:cubicBezTo>
                    <a:pt x="1040" y="7782"/>
                    <a:pt x="1229" y="8223"/>
                    <a:pt x="1418" y="8601"/>
                  </a:cubicBezTo>
                  <a:lnTo>
                    <a:pt x="1197" y="9357"/>
                  </a:lnTo>
                  <a:cubicBezTo>
                    <a:pt x="1166" y="9483"/>
                    <a:pt x="1197" y="9641"/>
                    <a:pt x="1260" y="9704"/>
                  </a:cubicBezTo>
                  <a:lnTo>
                    <a:pt x="2269" y="10680"/>
                  </a:lnTo>
                  <a:cubicBezTo>
                    <a:pt x="2316" y="10751"/>
                    <a:pt x="2416" y="10787"/>
                    <a:pt x="2517" y="10787"/>
                  </a:cubicBezTo>
                  <a:cubicBezTo>
                    <a:pt x="2550" y="10787"/>
                    <a:pt x="2584" y="10783"/>
                    <a:pt x="2615" y="10775"/>
                  </a:cubicBezTo>
                  <a:lnTo>
                    <a:pt x="3371" y="10523"/>
                  </a:lnTo>
                  <a:cubicBezTo>
                    <a:pt x="3749" y="10775"/>
                    <a:pt x="4190" y="10933"/>
                    <a:pt x="4631" y="11059"/>
                  </a:cubicBezTo>
                  <a:lnTo>
                    <a:pt x="4978" y="11752"/>
                  </a:lnTo>
                  <a:cubicBezTo>
                    <a:pt x="5041" y="11878"/>
                    <a:pt x="5167" y="11941"/>
                    <a:pt x="5293" y="11941"/>
                  </a:cubicBezTo>
                  <a:lnTo>
                    <a:pt x="6711" y="11941"/>
                  </a:lnTo>
                  <a:cubicBezTo>
                    <a:pt x="6837" y="11941"/>
                    <a:pt x="6931" y="11878"/>
                    <a:pt x="7026" y="11752"/>
                  </a:cubicBezTo>
                  <a:lnTo>
                    <a:pt x="7372" y="11059"/>
                  </a:lnTo>
                  <a:cubicBezTo>
                    <a:pt x="7813" y="10933"/>
                    <a:pt x="8255" y="10775"/>
                    <a:pt x="8633" y="10523"/>
                  </a:cubicBezTo>
                  <a:lnTo>
                    <a:pt x="9389" y="10775"/>
                  </a:lnTo>
                  <a:cubicBezTo>
                    <a:pt x="9420" y="10783"/>
                    <a:pt x="9452" y="10787"/>
                    <a:pt x="9483" y="10787"/>
                  </a:cubicBezTo>
                  <a:cubicBezTo>
                    <a:pt x="9576" y="10787"/>
                    <a:pt x="9664" y="10751"/>
                    <a:pt x="9735" y="10680"/>
                  </a:cubicBezTo>
                  <a:lnTo>
                    <a:pt x="10712" y="9704"/>
                  </a:lnTo>
                  <a:cubicBezTo>
                    <a:pt x="10806" y="9641"/>
                    <a:pt x="10838" y="9483"/>
                    <a:pt x="10806" y="9357"/>
                  </a:cubicBezTo>
                  <a:lnTo>
                    <a:pt x="10554" y="8601"/>
                  </a:lnTo>
                  <a:cubicBezTo>
                    <a:pt x="10806" y="8223"/>
                    <a:pt x="10964" y="7782"/>
                    <a:pt x="11058" y="7341"/>
                  </a:cubicBezTo>
                  <a:lnTo>
                    <a:pt x="11783" y="6994"/>
                  </a:lnTo>
                  <a:cubicBezTo>
                    <a:pt x="11909" y="6931"/>
                    <a:pt x="11972" y="6805"/>
                    <a:pt x="11972" y="6679"/>
                  </a:cubicBezTo>
                  <a:lnTo>
                    <a:pt x="11972" y="5262"/>
                  </a:lnTo>
                  <a:cubicBezTo>
                    <a:pt x="11972" y="5136"/>
                    <a:pt x="11909" y="5041"/>
                    <a:pt x="11783" y="4947"/>
                  </a:cubicBezTo>
                  <a:lnTo>
                    <a:pt x="11058" y="4600"/>
                  </a:lnTo>
                  <a:cubicBezTo>
                    <a:pt x="10964" y="4159"/>
                    <a:pt x="10743" y="3718"/>
                    <a:pt x="10554" y="3340"/>
                  </a:cubicBezTo>
                  <a:lnTo>
                    <a:pt x="10806" y="2584"/>
                  </a:lnTo>
                  <a:cubicBezTo>
                    <a:pt x="10838" y="2458"/>
                    <a:pt x="10806" y="2300"/>
                    <a:pt x="10712" y="2237"/>
                  </a:cubicBezTo>
                  <a:lnTo>
                    <a:pt x="9735" y="1261"/>
                  </a:lnTo>
                  <a:cubicBezTo>
                    <a:pt x="9664" y="1190"/>
                    <a:pt x="9558" y="1154"/>
                    <a:pt x="9469" y="1154"/>
                  </a:cubicBezTo>
                  <a:cubicBezTo>
                    <a:pt x="9440" y="1154"/>
                    <a:pt x="9412" y="1158"/>
                    <a:pt x="9389" y="1166"/>
                  </a:cubicBezTo>
                  <a:lnTo>
                    <a:pt x="8633" y="1418"/>
                  </a:lnTo>
                  <a:cubicBezTo>
                    <a:pt x="8255" y="1166"/>
                    <a:pt x="7813" y="1009"/>
                    <a:pt x="7372" y="882"/>
                  </a:cubicBezTo>
                  <a:lnTo>
                    <a:pt x="7026" y="189"/>
                  </a:lnTo>
                  <a:cubicBezTo>
                    <a:pt x="6931" y="63"/>
                    <a:pt x="6837" y="0"/>
                    <a:pt x="6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74"/>
            <p:cNvSpPr/>
            <p:nvPr/>
          </p:nvSpPr>
          <p:spPr>
            <a:xfrm>
              <a:off x="-48496900" y="4119650"/>
              <a:ext cx="35450" cy="47275"/>
            </a:xfrm>
            <a:custGeom>
              <a:avLst/>
              <a:gdLst/>
              <a:ahLst/>
              <a:cxnLst/>
              <a:rect l="l" t="t" r="r" b="b"/>
              <a:pathLst>
                <a:path w="1418" h="1891" extrusionOk="0">
                  <a:moveTo>
                    <a:pt x="0" y="0"/>
                  </a:moveTo>
                  <a:lnTo>
                    <a:pt x="0" y="1796"/>
                  </a:lnTo>
                  <a:cubicBezTo>
                    <a:pt x="221" y="1828"/>
                    <a:pt x="473" y="1891"/>
                    <a:pt x="693" y="1891"/>
                  </a:cubicBezTo>
                  <a:cubicBezTo>
                    <a:pt x="945" y="1891"/>
                    <a:pt x="1166" y="1828"/>
                    <a:pt x="1418" y="1796"/>
                  </a:cubicBezTo>
                  <a:lnTo>
                    <a:pt x="1418" y="0"/>
                  </a:lnTo>
                  <a:cubicBezTo>
                    <a:pt x="1166" y="63"/>
                    <a:pt x="945" y="95"/>
                    <a:pt x="693" y="95"/>
                  </a:cubicBezTo>
                  <a:cubicBezTo>
                    <a:pt x="473" y="95"/>
                    <a:pt x="189" y="63"/>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74"/>
            <p:cNvSpPr/>
            <p:nvPr/>
          </p:nvSpPr>
          <p:spPr>
            <a:xfrm>
              <a:off x="-48495325" y="4073175"/>
              <a:ext cx="29950" cy="31325"/>
            </a:xfrm>
            <a:custGeom>
              <a:avLst/>
              <a:gdLst/>
              <a:ahLst/>
              <a:cxnLst/>
              <a:rect l="l" t="t" r="r" b="b"/>
              <a:pathLst>
                <a:path w="1198" h="1253" extrusionOk="0">
                  <a:moveTo>
                    <a:pt x="599" y="1"/>
                  </a:moveTo>
                  <a:lnTo>
                    <a:pt x="0" y="1135"/>
                  </a:lnTo>
                  <a:cubicBezTo>
                    <a:pt x="205" y="1214"/>
                    <a:pt x="410" y="1253"/>
                    <a:pt x="610" y="1253"/>
                  </a:cubicBezTo>
                  <a:cubicBezTo>
                    <a:pt x="811" y="1253"/>
                    <a:pt x="1008" y="1214"/>
                    <a:pt x="1197"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74"/>
            <p:cNvSpPr/>
            <p:nvPr/>
          </p:nvSpPr>
          <p:spPr>
            <a:xfrm>
              <a:off x="-48559125" y="4009375"/>
              <a:ext cx="159900" cy="149675"/>
            </a:xfrm>
            <a:custGeom>
              <a:avLst/>
              <a:gdLst/>
              <a:ahLst/>
              <a:cxnLst/>
              <a:rect l="l" t="t" r="r" b="b"/>
              <a:pathLst>
                <a:path w="6396" h="5987" extrusionOk="0">
                  <a:moveTo>
                    <a:pt x="3151" y="1"/>
                  </a:moveTo>
                  <a:cubicBezTo>
                    <a:pt x="1418" y="1"/>
                    <a:pt x="0" y="1418"/>
                    <a:pt x="0" y="3151"/>
                  </a:cubicBezTo>
                  <a:cubicBezTo>
                    <a:pt x="0" y="4348"/>
                    <a:pt x="725" y="5420"/>
                    <a:pt x="1764" y="5987"/>
                  </a:cubicBezTo>
                  <a:lnTo>
                    <a:pt x="1764" y="3844"/>
                  </a:lnTo>
                  <a:cubicBezTo>
                    <a:pt x="1764" y="3687"/>
                    <a:pt x="2804" y="1734"/>
                    <a:pt x="2867" y="1608"/>
                  </a:cubicBezTo>
                  <a:cubicBezTo>
                    <a:pt x="2930" y="1482"/>
                    <a:pt x="3064" y="1418"/>
                    <a:pt x="3194" y="1418"/>
                  </a:cubicBezTo>
                  <a:cubicBezTo>
                    <a:pt x="3324" y="1418"/>
                    <a:pt x="3450" y="1482"/>
                    <a:pt x="3497" y="1608"/>
                  </a:cubicBezTo>
                  <a:cubicBezTo>
                    <a:pt x="3592" y="1734"/>
                    <a:pt x="4600" y="3718"/>
                    <a:pt x="4600" y="3844"/>
                  </a:cubicBezTo>
                  <a:lnTo>
                    <a:pt x="4600" y="5987"/>
                  </a:lnTo>
                  <a:cubicBezTo>
                    <a:pt x="5640" y="5451"/>
                    <a:pt x="6396" y="4411"/>
                    <a:pt x="6396" y="3151"/>
                  </a:cubicBezTo>
                  <a:cubicBezTo>
                    <a:pt x="6333" y="1418"/>
                    <a:pt x="4915"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5" name="Google Shape;7865;p74"/>
          <p:cNvGrpSpPr/>
          <p:nvPr/>
        </p:nvGrpSpPr>
        <p:grpSpPr>
          <a:xfrm>
            <a:off x="1785504" y="2752344"/>
            <a:ext cx="311458" cy="354341"/>
            <a:chOff x="-46762575" y="3200500"/>
            <a:chExt cx="263100" cy="299325"/>
          </a:xfrm>
        </p:grpSpPr>
        <p:sp>
          <p:nvSpPr>
            <p:cNvPr id="7866" name="Google Shape;7866;p74"/>
            <p:cNvSpPr/>
            <p:nvPr/>
          </p:nvSpPr>
          <p:spPr>
            <a:xfrm>
              <a:off x="-46762575" y="3393475"/>
              <a:ext cx="263100" cy="106350"/>
            </a:xfrm>
            <a:custGeom>
              <a:avLst/>
              <a:gdLst/>
              <a:ahLst/>
              <a:cxnLst/>
              <a:rect l="l" t="t" r="r" b="b"/>
              <a:pathLst>
                <a:path w="10524" h="4254" extrusionOk="0">
                  <a:moveTo>
                    <a:pt x="7814" y="1418"/>
                  </a:moveTo>
                  <a:lnTo>
                    <a:pt x="8003" y="2142"/>
                  </a:lnTo>
                  <a:lnTo>
                    <a:pt x="2553" y="2142"/>
                  </a:lnTo>
                  <a:lnTo>
                    <a:pt x="2710" y="1418"/>
                  </a:lnTo>
                  <a:close/>
                  <a:moveTo>
                    <a:pt x="726" y="0"/>
                  </a:moveTo>
                  <a:lnTo>
                    <a:pt x="726" y="725"/>
                  </a:lnTo>
                  <a:lnTo>
                    <a:pt x="379" y="725"/>
                  </a:lnTo>
                  <a:cubicBezTo>
                    <a:pt x="159" y="725"/>
                    <a:pt x="1" y="882"/>
                    <a:pt x="1" y="1071"/>
                  </a:cubicBezTo>
                  <a:cubicBezTo>
                    <a:pt x="1" y="1260"/>
                    <a:pt x="159" y="1418"/>
                    <a:pt x="379" y="1418"/>
                  </a:cubicBezTo>
                  <a:lnTo>
                    <a:pt x="2017" y="1418"/>
                  </a:lnTo>
                  <a:lnTo>
                    <a:pt x="1419" y="3844"/>
                  </a:lnTo>
                  <a:cubicBezTo>
                    <a:pt x="1387" y="4033"/>
                    <a:pt x="1513" y="4222"/>
                    <a:pt x="1671" y="4253"/>
                  </a:cubicBezTo>
                  <a:lnTo>
                    <a:pt x="1734" y="4253"/>
                  </a:lnTo>
                  <a:cubicBezTo>
                    <a:pt x="1891" y="4253"/>
                    <a:pt x="2049" y="4159"/>
                    <a:pt x="2112" y="4001"/>
                  </a:cubicBezTo>
                  <a:lnTo>
                    <a:pt x="2364" y="2804"/>
                  </a:lnTo>
                  <a:lnTo>
                    <a:pt x="8161" y="2804"/>
                  </a:lnTo>
                  <a:lnTo>
                    <a:pt x="8444" y="4001"/>
                  </a:lnTo>
                  <a:cubicBezTo>
                    <a:pt x="8476" y="4159"/>
                    <a:pt x="8633" y="4253"/>
                    <a:pt x="8791" y="4253"/>
                  </a:cubicBezTo>
                  <a:lnTo>
                    <a:pt x="8854" y="4253"/>
                  </a:lnTo>
                  <a:cubicBezTo>
                    <a:pt x="9074" y="4222"/>
                    <a:pt x="9169" y="4033"/>
                    <a:pt x="9106" y="3844"/>
                  </a:cubicBezTo>
                  <a:lnTo>
                    <a:pt x="8507" y="1418"/>
                  </a:lnTo>
                  <a:lnTo>
                    <a:pt x="10177" y="1418"/>
                  </a:lnTo>
                  <a:cubicBezTo>
                    <a:pt x="10366" y="1418"/>
                    <a:pt x="10524" y="1260"/>
                    <a:pt x="10524" y="1071"/>
                  </a:cubicBezTo>
                  <a:cubicBezTo>
                    <a:pt x="10524" y="882"/>
                    <a:pt x="10398" y="725"/>
                    <a:pt x="10209" y="725"/>
                  </a:cubicBezTo>
                  <a:lnTo>
                    <a:pt x="9862" y="725"/>
                  </a:lnTo>
                  <a:lnTo>
                    <a:pt x="98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74"/>
            <p:cNvSpPr/>
            <p:nvPr/>
          </p:nvSpPr>
          <p:spPr>
            <a:xfrm>
              <a:off x="-46743650" y="3200500"/>
              <a:ext cx="228425" cy="176450"/>
            </a:xfrm>
            <a:custGeom>
              <a:avLst/>
              <a:gdLst/>
              <a:ahLst/>
              <a:cxnLst/>
              <a:rect l="l" t="t" r="r" b="b"/>
              <a:pathLst>
                <a:path w="9137" h="7058" extrusionOk="0">
                  <a:moveTo>
                    <a:pt x="4568" y="725"/>
                  </a:moveTo>
                  <a:cubicBezTo>
                    <a:pt x="5041" y="725"/>
                    <a:pt x="5419" y="1040"/>
                    <a:pt x="5545" y="1418"/>
                  </a:cubicBezTo>
                  <a:lnTo>
                    <a:pt x="3592" y="1418"/>
                  </a:lnTo>
                  <a:cubicBezTo>
                    <a:pt x="3686" y="1040"/>
                    <a:pt x="4096" y="725"/>
                    <a:pt x="4568" y="725"/>
                  </a:cubicBezTo>
                  <a:close/>
                  <a:moveTo>
                    <a:pt x="4568" y="2804"/>
                  </a:moveTo>
                  <a:cubicBezTo>
                    <a:pt x="5167" y="2804"/>
                    <a:pt x="5640" y="3277"/>
                    <a:pt x="5640" y="3875"/>
                  </a:cubicBezTo>
                  <a:cubicBezTo>
                    <a:pt x="5576" y="4474"/>
                    <a:pt x="5104" y="4947"/>
                    <a:pt x="4568" y="4947"/>
                  </a:cubicBezTo>
                  <a:cubicBezTo>
                    <a:pt x="3970" y="4947"/>
                    <a:pt x="3497" y="4474"/>
                    <a:pt x="3497" y="3875"/>
                  </a:cubicBezTo>
                  <a:cubicBezTo>
                    <a:pt x="3497" y="3277"/>
                    <a:pt x="3970" y="2804"/>
                    <a:pt x="4568" y="2804"/>
                  </a:cubicBezTo>
                  <a:close/>
                  <a:moveTo>
                    <a:pt x="4568" y="0"/>
                  </a:moveTo>
                  <a:cubicBezTo>
                    <a:pt x="3718" y="0"/>
                    <a:pt x="2993" y="630"/>
                    <a:pt x="2836" y="1418"/>
                  </a:cubicBezTo>
                  <a:lnTo>
                    <a:pt x="1071" y="1418"/>
                  </a:lnTo>
                  <a:cubicBezTo>
                    <a:pt x="473" y="1418"/>
                    <a:pt x="0" y="1891"/>
                    <a:pt x="0" y="2489"/>
                  </a:cubicBezTo>
                  <a:lnTo>
                    <a:pt x="0" y="7057"/>
                  </a:lnTo>
                  <a:lnTo>
                    <a:pt x="914" y="7057"/>
                  </a:lnTo>
                  <a:lnTo>
                    <a:pt x="2899" y="5041"/>
                  </a:lnTo>
                  <a:cubicBezTo>
                    <a:pt x="2962" y="4978"/>
                    <a:pt x="3056" y="4947"/>
                    <a:pt x="3155" y="4947"/>
                  </a:cubicBezTo>
                  <a:cubicBezTo>
                    <a:pt x="3253" y="4947"/>
                    <a:pt x="3355" y="4978"/>
                    <a:pt x="3434" y="5041"/>
                  </a:cubicBezTo>
                  <a:lnTo>
                    <a:pt x="4600" y="6238"/>
                  </a:lnTo>
                  <a:lnTo>
                    <a:pt x="5703" y="5041"/>
                  </a:lnTo>
                  <a:cubicBezTo>
                    <a:pt x="5766" y="4962"/>
                    <a:pt x="5852" y="4923"/>
                    <a:pt x="5943" y="4923"/>
                  </a:cubicBezTo>
                  <a:cubicBezTo>
                    <a:pt x="6033" y="4923"/>
                    <a:pt x="6128" y="4962"/>
                    <a:pt x="6207" y="5041"/>
                  </a:cubicBezTo>
                  <a:lnTo>
                    <a:pt x="8223" y="7057"/>
                  </a:lnTo>
                  <a:lnTo>
                    <a:pt x="9137" y="7057"/>
                  </a:lnTo>
                  <a:lnTo>
                    <a:pt x="9137" y="2489"/>
                  </a:lnTo>
                  <a:cubicBezTo>
                    <a:pt x="9137" y="1891"/>
                    <a:pt x="8664" y="1418"/>
                    <a:pt x="8065" y="1418"/>
                  </a:cubicBezTo>
                  <a:lnTo>
                    <a:pt x="6301" y="1418"/>
                  </a:lnTo>
                  <a:cubicBezTo>
                    <a:pt x="6144" y="630"/>
                    <a:pt x="5450" y="0"/>
                    <a:pt x="4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74"/>
            <p:cNvSpPr/>
            <p:nvPr/>
          </p:nvSpPr>
          <p:spPr>
            <a:xfrm>
              <a:off x="-46638125" y="32895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74"/>
            <p:cNvSpPr/>
            <p:nvPr/>
          </p:nvSpPr>
          <p:spPr>
            <a:xfrm>
              <a:off x="-46696400" y="3345425"/>
              <a:ext cx="63025" cy="31525"/>
            </a:xfrm>
            <a:custGeom>
              <a:avLst/>
              <a:gdLst/>
              <a:ahLst/>
              <a:cxnLst/>
              <a:rect l="l" t="t" r="r" b="b"/>
              <a:pathLst>
                <a:path w="2521" h="1261" extrusionOk="0">
                  <a:moveTo>
                    <a:pt x="1261" y="0"/>
                  </a:moveTo>
                  <a:lnTo>
                    <a:pt x="0" y="1260"/>
                  </a:lnTo>
                  <a:lnTo>
                    <a:pt x="2521" y="1260"/>
                  </a:lnTo>
                  <a:lnTo>
                    <a:pt x="1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74"/>
            <p:cNvSpPr/>
            <p:nvPr/>
          </p:nvSpPr>
          <p:spPr>
            <a:xfrm>
              <a:off x="-46616850" y="3345425"/>
              <a:ext cx="53575" cy="31525"/>
            </a:xfrm>
            <a:custGeom>
              <a:avLst/>
              <a:gdLst/>
              <a:ahLst/>
              <a:cxnLst/>
              <a:rect l="l" t="t" r="r" b="b"/>
              <a:pathLst>
                <a:path w="2143" h="1261" extrusionOk="0">
                  <a:moveTo>
                    <a:pt x="883" y="0"/>
                  </a:moveTo>
                  <a:lnTo>
                    <a:pt x="0" y="945"/>
                  </a:lnTo>
                  <a:lnTo>
                    <a:pt x="315" y="1260"/>
                  </a:lnTo>
                  <a:lnTo>
                    <a:pt x="2143" y="1260"/>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1" name="Google Shape;7871;p74"/>
          <p:cNvGrpSpPr/>
          <p:nvPr/>
        </p:nvGrpSpPr>
        <p:grpSpPr>
          <a:xfrm>
            <a:off x="1763589" y="3211066"/>
            <a:ext cx="355288" cy="312375"/>
            <a:chOff x="-46779900" y="3588000"/>
            <a:chExt cx="300125" cy="263875"/>
          </a:xfrm>
        </p:grpSpPr>
        <p:sp>
          <p:nvSpPr>
            <p:cNvPr id="7872" name="Google Shape;7872;p74"/>
            <p:cNvSpPr/>
            <p:nvPr/>
          </p:nvSpPr>
          <p:spPr>
            <a:xfrm>
              <a:off x="-46746025" y="3588000"/>
              <a:ext cx="230800" cy="263875"/>
            </a:xfrm>
            <a:custGeom>
              <a:avLst/>
              <a:gdLst/>
              <a:ahLst/>
              <a:cxnLst/>
              <a:rect l="l" t="t" r="r" b="b"/>
              <a:pathLst>
                <a:path w="9232" h="10555" extrusionOk="0">
                  <a:moveTo>
                    <a:pt x="4632" y="1"/>
                  </a:moveTo>
                  <a:cubicBezTo>
                    <a:pt x="3309" y="1"/>
                    <a:pt x="2017" y="442"/>
                    <a:pt x="1040" y="1355"/>
                  </a:cubicBezTo>
                  <a:cubicBezTo>
                    <a:pt x="694" y="1670"/>
                    <a:pt x="599" y="2206"/>
                    <a:pt x="851" y="2679"/>
                  </a:cubicBezTo>
                  <a:cubicBezTo>
                    <a:pt x="284" y="3403"/>
                    <a:pt x="1" y="4317"/>
                    <a:pt x="1" y="5262"/>
                  </a:cubicBezTo>
                  <a:lnTo>
                    <a:pt x="1" y="9484"/>
                  </a:lnTo>
                  <a:cubicBezTo>
                    <a:pt x="1" y="10082"/>
                    <a:pt x="473" y="10555"/>
                    <a:pt x="1072" y="10555"/>
                  </a:cubicBezTo>
                  <a:cubicBezTo>
                    <a:pt x="1670" y="10555"/>
                    <a:pt x="2143" y="10082"/>
                    <a:pt x="2143" y="9484"/>
                  </a:cubicBezTo>
                  <a:lnTo>
                    <a:pt x="2143" y="6680"/>
                  </a:lnTo>
                  <a:cubicBezTo>
                    <a:pt x="2143" y="6081"/>
                    <a:pt x="1670" y="5609"/>
                    <a:pt x="1072" y="5609"/>
                  </a:cubicBezTo>
                  <a:cubicBezTo>
                    <a:pt x="946" y="5609"/>
                    <a:pt x="851" y="5672"/>
                    <a:pt x="725" y="5703"/>
                  </a:cubicBezTo>
                  <a:lnTo>
                    <a:pt x="725" y="5262"/>
                  </a:lnTo>
                  <a:cubicBezTo>
                    <a:pt x="725" y="4474"/>
                    <a:pt x="946" y="3750"/>
                    <a:pt x="1387" y="3151"/>
                  </a:cubicBezTo>
                  <a:cubicBezTo>
                    <a:pt x="1499" y="3182"/>
                    <a:pt x="1620" y="3199"/>
                    <a:pt x="1745" y="3199"/>
                  </a:cubicBezTo>
                  <a:cubicBezTo>
                    <a:pt x="2005" y="3199"/>
                    <a:pt x="2276" y="3123"/>
                    <a:pt x="2489" y="2931"/>
                  </a:cubicBezTo>
                  <a:cubicBezTo>
                    <a:pt x="3057" y="2427"/>
                    <a:pt x="3836" y="2175"/>
                    <a:pt x="4616" y="2175"/>
                  </a:cubicBezTo>
                  <a:cubicBezTo>
                    <a:pt x="5396" y="2175"/>
                    <a:pt x="6176" y="2427"/>
                    <a:pt x="6743" y="2931"/>
                  </a:cubicBezTo>
                  <a:cubicBezTo>
                    <a:pt x="6942" y="3107"/>
                    <a:pt x="7187" y="3207"/>
                    <a:pt x="7468" y="3207"/>
                  </a:cubicBezTo>
                  <a:cubicBezTo>
                    <a:pt x="7588" y="3207"/>
                    <a:pt x="7714" y="3189"/>
                    <a:pt x="7845" y="3151"/>
                  </a:cubicBezTo>
                  <a:cubicBezTo>
                    <a:pt x="8286" y="3781"/>
                    <a:pt x="8507" y="4506"/>
                    <a:pt x="8507" y="5262"/>
                  </a:cubicBezTo>
                  <a:lnTo>
                    <a:pt x="8507" y="5703"/>
                  </a:lnTo>
                  <a:cubicBezTo>
                    <a:pt x="8412" y="5640"/>
                    <a:pt x="8286" y="5609"/>
                    <a:pt x="8160" y="5609"/>
                  </a:cubicBezTo>
                  <a:cubicBezTo>
                    <a:pt x="7562" y="5609"/>
                    <a:pt x="7089" y="6081"/>
                    <a:pt x="7089" y="6680"/>
                  </a:cubicBezTo>
                  <a:lnTo>
                    <a:pt x="7089" y="9484"/>
                  </a:lnTo>
                  <a:cubicBezTo>
                    <a:pt x="7089" y="10082"/>
                    <a:pt x="7562" y="10555"/>
                    <a:pt x="8160" y="10555"/>
                  </a:cubicBezTo>
                  <a:cubicBezTo>
                    <a:pt x="8759" y="10555"/>
                    <a:pt x="9232" y="10082"/>
                    <a:pt x="9232" y="9484"/>
                  </a:cubicBezTo>
                  <a:lnTo>
                    <a:pt x="9232" y="5262"/>
                  </a:lnTo>
                  <a:cubicBezTo>
                    <a:pt x="9232" y="4317"/>
                    <a:pt x="8948" y="3466"/>
                    <a:pt x="8412" y="2679"/>
                  </a:cubicBezTo>
                  <a:cubicBezTo>
                    <a:pt x="8664" y="2206"/>
                    <a:pt x="8570" y="1670"/>
                    <a:pt x="8223" y="1355"/>
                  </a:cubicBezTo>
                  <a:cubicBezTo>
                    <a:pt x="7215" y="442"/>
                    <a:pt x="5955"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74"/>
            <p:cNvSpPr/>
            <p:nvPr/>
          </p:nvSpPr>
          <p:spPr>
            <a:xfrm>
              <a:off x="-46674350" y="3710075"/>
              <a:ext cx="91400" cy="122900"/>
            </a:xfrm>
            <a:custGeom>
              <a:avLst/>
              <a:gdLst/>
              <a:ahLst/>
              <a:cxnLst/>
              <a:rect l="l" t="t" r="r" b="b"/>
              <a:pathLst>
                <a:path w="3656" h="4916" extrusionOk="0">
                  <a:moveTo>
                    <a:pt x="1765" y="1"/>
                  </a:moveTo>
                  <a:cubicBezTo>
                    <a:pt x="1544" y="1"/>
                    <a:pt x="1418" y="158"/>
                    <a:pt x="1418" y="348"/>
                  </a:cubicBezTo>
                  <a:lnTo>
                    <a:pt x="1418" y="2868"/>
                  </a:lnTo>
                  <a:cubicBezTo>
                    <a:pt x="1292" y="2805"/>
                    <a:pt x="1166" y="2773"/>
                    <a:pt x="1040" y="2773"/>
                  </a:cubicBezTo>
                  <a:cubicBezTo>
                    <a:pt x="473" y="2773"/>
                    <a:pt x="1" y="3246"/>
                    <a:pt x="1" y="3845"/>
                  </a:cubicBezTo>
                  <a:cubicBezTo>
                    <a:pt x="1" y="4443"/>
                    <a:pt x="473" y="4916"/>
                    <a:pt x="1040" y="4916"/>
                  </a:cubicBezTo>
                  <a:cubicBezTo>
                    <a:pt x="1639" y="4916"/>
                    <a:pt x="2111" y="4443"/>
                    <a:pt x="2111" y="3845"/>
                  </a:cubicBezTo>
                  <a:lnTo>
                    <a:pt x="2111" y="1450"/>
                  </a:lnTo>
                  <a:cubicBezTo>
                    <a:pt x="2363" y="1513"/>
                    <a:pt x="2521" y="1639"/>
                    <a:pt x="2584" y="1797"/>
                  </a:cubicBezTo>
                  <a:cubicBezTo>
                    <a:pt x="2868" y="2112"/>
                    <a:pt x="2931" y="2584"/>
                    <a:pt x="2836" y="3057"/>
                  </a:cubicBezTo>
                  <a:cubicBezTo>
                    <a:pt x="2773" y="3246"/>
                    <a:pt x="2899" y="3435"/>
                    <a:pt x="3057" y="3498"/>
                  </a:cubicBezTo>
                  <a:lnTo>
                    <a:pt x="3151" y="3498"/>
                  </a:lnTo>
                  <a:cubicBezTo>
                    <a:pt x="3309" y="3498"/>
                    <a:pt x="3466" y="3372"/>
                    <a:pt x="3498" y="3214"/>
                  </a:cubicBezTo>
                  <a:cubicBezTo>
                    <a:pt x="3655" y="2553"/>
                    <a:pt x="3529" y="1828"/>
                    <a:pt x="3151" y="1324"/>
                  </a:cubicBezTo>
                  <a:cubicBezTo>
                    <a:pt x="2899" y="1041"/>
                    <a:pt x="2552" y="820"/>
                    <a:pt x="2111" y="726"/>
                  </a:cubicBezTo>
                  <a:lnTo>
                    <a:pt x="2111" y="348"/>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74"/>
            <p:cNvSpPr/>
            <p:nvPr/>
          </p:nvSpPr>
          <p:spPr>
            <a:xfrm>
              <a:off x="-46779900" y="3754200"/>
              <a:ext cx="17350" cy="70125"/>
            </a:xfrm>
            <a:custGeom>
              <a:avLst/>
              <a:gdLst/>
              <a:ahLst/>
              <a:cxnLst/>
              <a:rect l="l" t="t" r="r" b="b"/>
              <a:pathLst>
                <a:path w="694" h="2805" extrusionOk="0">
                  <a:moveTo>
                    <a:pt x="694" y="0"/>
                  </a:moveTo>
                  <a:cubicBezTo>
                    <a:pt x="253" y="347"/>
                    <a:pt x="1" y="819"/>
                    <a:pt x="1" y="1418"/>
                  </a:cubicBezTo>
                  <a:cubicBezTo>
                    <a:pt x="1" y="2017"/>
                    <a:pt x="253" y="2458"/>
                    <a:pt x="694" y="2804"/>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74"/>
            <p:cNvSpPr/>
            <p:nvPr/>
          </p:nvSpPr>
          <p:spPr>
            <a:xfrm>
              <a:off x="-46497925" y="3754200"/>
              <a:ext cx="18150" cy="70125"/>
            </a:xfrm>
            <a:custGeom>
              <a:avLst/>
              <a:gdLst/>
              <a:ahLst/>
              <a:cxnLst/>
              <a:rect l="l" t="t" r="r" b="b"/>
              <a:pathLst>
                <a:path w="726" h="2805" extrusionOk="0">
                  <a:moveTo>
                    <a:pt x="1" y="0"/>
                  </a:moveTo>
                  <a:lnTo>
                    <a:pt x="1" y="2804"/>
                  </a:lnTo>
                  <a:cubicBezTo>
                    <a:pt x="442" y="2489"/>
                    <a:pt x="725" y="1954"/>
                    <a:pt x="725" y="1418"/>
                  </a:cubicBezTo>
                  <a:cubicBezTo>
                    <a:pt x="725" y="851"/>
                    <a:pt x="442"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6" name="Google Shape;7876;p74"/>
          <p:cNvGrpSpPr/>
          <p:nvPr/>
        </p:nvGrpSpPr>
        <p:grpSpPr>
          <a:xfrm>
            <a:off x="1764062" y="3625988"/>
            <a:ext cx="354341" cy="353394"/>
            <a:chOff x="-46779100" y="3938500"/>
            <a:chExt cx="299325" cy="298525"/>
          </a:xfrm>
        </p:grpSpPr>
        <p:sp>
          <p:nvSpPr>
            <p:cNvPr id="7877" name="Google Shape;7877;p74"/>
            <p:cNvSpPr/>
            <p:nvPr/>
          </p:nvSpPr>
          <p:spPr>
            <a:xfrm>
              <a:off x="-46656225" y="4061375"/>
              <a:ext cx="53575" cy="52775"/>
            </a:xfrm>
            <a:custGeom>
              <a:avLst/>
              <a:gdLst/>
              <a:ahLst/>
              <a:cxnLst/>
              <a:rect l="l" t="t" r="r" b="b"/>
              <a:pathLst>
                <a:path w="2143" h="2111" extrusionOk="0">
                  <a:moveTo>
                    <a:pt x="1071" y="0"/>
                  </a:moveTo>
                  <a:cubicBezTo>
                    <a:pt x="473" y="0"/>
                    <a:pt x="0" y="473"/>
                    <a:pt x="0" y="1071"/>
                  </a:cubicBezTo>
                  <a:cubicBezTo>
                    <a:pt x="0" y="1638"/>
                    <a:pt x="473" y="2111"/>
                    <a:pt x="1071" y="2111"/>
                  </a:cubicBezTo>
                  <a:cubicBezTo>
                    <a:pt x="1670" y="2111"/>
                    <a:pt x="2143" y="1638"/>
                    <a:pt x="2143" y="1071"/>
                  </a:cubicBezTo>
                  <a:cubicBezTo>
                    <a:pt x="2079" y="473"/>
                    <a:pt x="1607"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74"/>
            <p:cNvSpPr/>
            <p:nvPr/>
          </p:nvSpPr>
          <p:spPr>
            <a:xfrm>
              <a:off x="-46779100" y="3938500"/>
              <a:ext cx="299325" cy="298525"/>
            </a:xfrm>
            <a:custGeom>
              <a:avLst/>
              <a:gdLst/>
              <a:ahLst/>
              <a:cxnLst/>
              <a:rect l="l" t="t" r="r" b="b"/>
              <a:pathLst>
                <a:path w="11973" h="11941" extrusionOk="0">
                  <a:moveTo>
                    <a:pt x="6301" y="1418"/>
                  </a:moveTo>
                  <a:cubicBezTo>
                    <a:pt x="8538" y="1607"/>
                    <a:pt x="10366" y="3371"/>
                    <a:pt x="10523" y="5608"/>
                  </a:cubicBezTo>
                  <a:lnTo>
                    <a:pt x="9798" y="5608"/>
                  </a:lnTo>
                  <a:cubicBezTo>
                    <a:pt x="9641" y="3781"/>
                    <a:pt x="8160" y="2300"/>
                    <a:pt x="6301" y="2111"/>
                  </a:cubicBezTo>
                  <a:lnTo>
                    <a:pt x="6301" y="1418"/>
                  </a:lnTo>
                  <a:close/>
                  <a:moveTo>
                    <a:pt x="5640" y="1450"/>
                  </a:moveTo>
                  <a:lnTo>
                    <a:pt x="5640" y="2143"/>
                  </a:lnTo>
                  <a:cubicBezTo>
                    <a:pt x="3781" y="2300"/>
                    <a:pt x="2332" y="3812"/>
                    <a:pt x="2111" y="5671"/>
                  </a:cubicBezTo>
                  <a:lnTo>
                    <a:pt x="1418" y="5671"/>
                  </a:lnTo>
                  <a:cubicBezTo>
                    <a:pt x="1576" y="3371"/>
                    <a:pt x="3371" y="1607"/>
                    <a:pt x="5640" y="1450"/>
                  </a:cubicBezTo>
                  <a:close/>
                  <a:moveTo>
                    <a:pt x="6333" y="2899"/>
                  </a:moveTo>
                  <a:cubicBezTo>
                    <a:pt x="7782" y="3056"/>
                    <a:pt x="8948" y="4190"/>
                    <a:pt x="9105" y="5671"/>
                  </a:cubicBezTo>
                  <a:lnTo>
                    <a:pt x="8790" y="5671"/>
                  </a:lnTo>
                  <a:cubicBezTo>
                    <a:pt x="8570" y="5671"/>
                    <a:pt x="8412" y="5829"/>
                    <a:pt x="8412" y="6018"/>
                  </a:cubicBezTo>
                  <a:cubicBezTo>
                    <a:pt x="8412" y="6175"/>
                    <a:pt x="8570" y="6333"/>
                    <a:pt x="8790" y="6333"/>
                  </a:cubicBezTo>
                  <a:lnTo>
                    <a:pt x="9105" y="6333"/>
                  </a:lnTo>
                  <a:cubicBezTo>
                    <a:pt x="8948" y="7782"/>
                    <a:pt x="7782" y="8916"/>
                    <a:pt x="6333" y="9137"/>
                  </a:cubicBezTo>
                  <a:lnTo>
                    <a:pt x="6333" y="8822"/>
                  </a:lnTo>
                  <a:cubicBezTo>
                    <a:pt x="6333" y="8601"/>
                    <a:pt x="6175" y="8444"/>
                    <a:pt x="5986" y="8444"/>
                  </a:cubicBezTo>
                  <a:cubicBezTo>
                    <a:pt x="5797" y="8444"/>
                    <a:pt x="5640" y="8601"/>
                    <a:pt x="5640" y="8822"/>
                  </a:cubicBezTo>
                  <a:lnTo>
                    <a:pt x="5640" y="9137"/>
                  </a:lnTo>
                  <a:cubicBezTo>
                    <a:pt x="4191" y="8979"/>
                    <a:pt x="3025" y="7814"/>
                    <a:pt x="2867" y="6364"/>
                  </a:cubicBezTo>
                  <a:lnTo>
                    <a:pt x="3182" y="6364"/>
                  </a:lnTo>
                  <a:cubicBezTo>
                    <a:pt x="3403" y="6364"/>
                    <a:pt x="3560" y="6207"/>
                    <a:pt x="3560" y="6018"/>
                  </a:cubicBezTo>
                  <a:cubicBezTo>
                    <a:pt x="3560" y="5829"/>
                    <a:pt x="3403" y="5671"/>
                    <a:pt x="3182" y="5671"/>
                  </a:cubicBezTo>
                  <a:lnTo>
                    <a:pt x="2867" y="5671"/>
                  </a:lnTo>
                  <a:cubicBezTo>
                    <a:pt x="3025" y="4190"/>
                    <a:pt x="4191" y="3056"/>
                    <a:pt x="5640" y="2899"/>
                  </a:cubicBezTo>
                  <a:lnTo>
                    <a:pt x="5640" y="3214"/>
                  </a:lnTo>
                  <a:cubicBezTo>
                    <a:pt x="5640" y="3403"/>
                    <a:pt x="5797" y="3560"/>
                    <a:pt x="5986" y="3560"/>
                  </a:cubicBezTo>
                  <a:cubicBezTo>
                    <a:pt x="6175" y="3560"/>
                    <a:pt x="6333" y="3403"/>
                    <a:pt x="6333" y="3214"/>
                  </a:cubicBezTo>
                  <a:lnTo>
                    <a:pt x="6333" y="2899"/>
                  </a:lnTo>
                  <a:close/>
                  <a:moveTo>
                    <a:pt x="2111" y="6333"/>
                  </a:moveTo>
                  <a:cubicBezTo>
                    <a:pt x="2269" y="8192"/>
                    <a:pt x="3781" y="9641"/>
                    <a:pt x="5640" y="9830"/>
                  </a:cubicBezTo>
                  <a:lnTo>
                    <a:pt x="5640" y="10554"/>
                  </a:lnTo>
                  <a:cubicBezTo>
                    <a:pt x="3371" y="10334"/>
                    <a:pt x="1576" y="8570"/>
                    <a:pt x="1418" y="6333"/>
                  </a:cubicBezTo>
                  <a:close/>
                  <a:moveTo>
                    <a:pt x="10523" y="6333"/>
                  </a:moveTo>
                  <a:cubicBezTo>
                    <a:pt x="10366" y="8570"/>
                    <a:pt x="8538" y="10334"/>
                    <a:pt x="6301" y="10554"/>
                  </a:cubicBezTo>
                  <a:lnTo>
                    <a:pt x="6301" y="9830"/>
                  </a:lnTo>
                  <a:cubicBezTo>
                    <a:pt x="8160" y="9672"/>
                    <a:pt x="9609" y="8192"/>
                    <a:pt x="9798" y="6333"/>
                  </a:cubicBezTo>
                  <a:close/>
                  <a:moveTo>
                    <a:pt x="5986" y="0"/>
                  </a:moveTo>
                  <a:cubicBezTo>
                    <a:pt x="5797" y="0"/>
                    <a:pt x="5640" y="158"/>
                    <a:pt x="5640" y="347"/>
                  </a:cubicBezTo>
                  <a:lnTo>
                    <a:pt x="5640" y="725"/>
                  </a:lnTo>
                  <a:cubicBezTo>
                    <a:pt x="2993" y="882"/>
                    <a:pt x="914" y="3025"/>
                    <a:pt x="757" y="5608"/>
                  </a:cubicBezTo>
                  <a:lnTo>
                    <a:pt x="347" y="5608"/>
                  </a:lnTo>
                  <a:cubicBezTo>
                    <a:pt x="158" y="5608"/>
                    <a:pt x="0" y="5766"/>
                    <a:pt x="0" y="5986"/>
                  </a:cubicBezTo>
                  <a:cubicBezTo>
                    <a:pt x="0" y="6175"/>
                    <a:pt x="158" y="6333"/>
                    <a:pt x="347" y="6333"/>
                  </a:cubicBezTo>
                  <a:lnTo>
                    <a:pt x="757" y="6333"/>
                  </a:lnTo>
                  <a:cubicBezTo>
                    <a:pt x="914" y="8979"/>
                    <a:pt x="3025" y="11059"/>
                    <a:pt x="5640" y="11216"/>
                  </a:cubicBezTo>
                  <a:lnTo>
                    <a:pt x="5640" y="11594"/>
                  </a:lnTo>
                  <a:cubicBezTo>
                    <a:pt x="5640" y="11783"/>
                    <a:pt x="5797" y="11941"/>
                    <a:pt x="5986" y="11941"/>
                  </a:cubicBezTo>
                  <a:cubicBezTo>
                    <a:pt x="6175" y="11941"/>
                    <a:pt x="6333" y="11783"/>
                    <a:pt x="6333" y="11594"/>
                  </a:cubicBezTo>
                  <a:lnTo>
                    <a:pt x="6333" y="11216"/>
                  </a:lnTo>
                  <a:cubicBezTo>
                    <a:pt x="8979" y="11059"/>
                    <a:pt x="11059" y="8916"/>
                    <a:pt x="11216" y="6333"/>
                  </a:cubicBezTo>
                  <a:lnTo>
                    <a:pt x="11626" y="6333"/>
                  </a:lnTo>
                  <a:cubicBezTo>
                    <a:pt x="11815" y="6333"/>
                    <a:pt x="11972" y="6175"/>
                    <a:pt x="11972" y="5986"/>
                  </a:cubicBezTo>
                  <a:cubicBezTo>
                    <a:pt x="11972" y="5766"/>
                    <a:pt x="11815" y="5608"/>
                    <a:pt x="11626" y="5608"/>
                  </a:cubicBezTo>
                  <a:lnTo>
                    <a:pt x="11216" y="5608"/>
                  </a:lnTo>
                  <a:cubicBezTo>
                    <a:pt x="11059" y="2993"/>
                    <a:pt x="8948" y="882"/>
                    <a:pt x="6333" y="725"/>
                  </a:cubicBezTo>
                  <a:lnTo>
                    <a:pt x="6333" y="347"/>
                  </a:lnTo>
                  <a:cubicBezTo>
                    <a:pt x="6333" y="158"/>
                    <a:pt x="6175" y="0"/>
                    <a:pt x="5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9" name="Google Shape;7879;p74"/>
          <p:cNvGrpSpPr/>
          <p:nvPr/>
        </p:nvGrpSpPr>
        <p:grpSpPr>
          <a:xfrm>
            <a:off x="3971800" y="2758855"/>
            <a:ext cx="355258" cy="355288"/>
            <a:chOff x="-44924250" y="3206000"/>
            <a:chExt cx="300100" cy="300125"/>
          </a:xfrm>
        </p:grpSpPr>
        <p:sp>
          <p:nvSpPr>
            <p:cNvPr id="7880" name="Google Shape;7880;p74"/>
            <p:cNvSpPr/>
            <p:nvPr/>
          </p:nvSpPr>
          <p:spPr>
            <a:xfrm>
              <a:off x="-44747025" y="3365100"/>
              <a:ext cx="122875" cy="87450"/>
            </a:xfrm>
            <a:custGeom>
              <a:avLst/>
              <a:gdLst/>
              <a:ahLst/>
              <a:cxnLst/>
              <a:rect l="l" t="t" r="r" b="b"/>
              <a:pathLst>
                <a:path w="4915" h="3498" extrusionOk="0">
                  <a:moveTo>
                    <a:pt x="0" y="1"/>
                  </a:moveTo>
                  <a:lnTo>
                    <a:pt x="0" y="3498"/>
                  </a:lnTo>
                  <a:lnTo>
                    <a:pt x="4915" y="3498"/>
                  </a:lnTo>
                  <a:lnTo>
                    <a:pt x="49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74"/>
            <p:cNvSpPr/>
            <p:nvPr/>
          </p:nvSpPr>
          <p:spPr>
            <a:xfrm>
              <a:off x="-44747025" y="3470650"/>
              <a:ext cx="122875" cy="35475"/>
            </a:xfrm>
            <a:custGeom>
              <a:avLst/>
              <a:gdLst/>
              <a:ahLst/>
              <a:cxnLst/>
              <a:rect l="l" t="t" r="r" b="b"/>
              <a:pathLst>
                <a:path w="4915" h="1419" extrusionOk="0">
                  <a:moveTo>
                    <a:pt x="0" y="0"/>
                  </a:moveTo>
                  <a:lnTo>
                    <a:pt x="0" y="347"/>
                  </a:lnTo>
                  <a:cubicBezTo>
                    <a:pt x="0" y="946"/>
                    <a:pt x="473" y="1418"/>
                    <a:pt x="1071" y="1418"/>
                  </a:cubicBezTo>
                  <a:lnTo>
                    <a:pt x="3875" y="1418"/>
                  </a:lnTo>
                  <a:cubicBezTo>
                    <a:pt x="4442" y="1418"/>
                    <a:pt x="4915" y="946"/>
                    <a:pt x="4915" y="347"/>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74"/>
            <p:cNvSpPr/>
            <p:nvPr/>
          </p:nvSpPr>
          <p:spPr>
            <a:xfrm>
              <a:off x="-44747025" y="3313125"/>
              <a:ext cx="122875" cy="35475"/>
            </a:xfrm>
            <a:custGeom>
              <a:avLst/>
              <a:gdLst/>
              <a:ahLst/>
              <a:cxnLst/>
              <a:rect l="l" t="t" r="r" b="b"/>
              <a:pathLst>
                <a:path w="4915" h="1419" extrusionOk="0">
                  <a:moveTo>
                    <a:pt x="1071" y="1"/>
                  </a:moveTo>
                  <a:cubicBezTo>
                    <a:pt x="473" y="1"/>
                    <a:pt x="0" y="473"/>
                    <a:pt x="0" y="1072"/>
                  </a:cubicBezTo>
                  <a:lnTo>
                    <a:pt x="0" y="1418"/>
                  </a:lnTo>
                  <a:lnTo>
                    <a:pt x="4915" y="1418"/>
                  </a:lnTo>
                  <a:lnTo>
                    <a:pt x="4915" y="1072"/>
                  </a:lnTo>
                  <a:cubicBezTo>
                    <a:pt x="4915" y="473"/>
                    <a:pt x="4442"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74"/>
            <p:cNvSpPr/>
            <p:nvPr/>
          </p:nvSpPr>
          <p:spPr>
            <a:xfrm>
              <a:off x="-44924250" y="3384000"/>
              <a:ext cx="159125" cy="69350"/>
            </a:xfrm>
            <a:custGeom>
              <a:avLst/>
              <a:gdLst/>
              <a:ahLst/>
              <a:cxnLst/>
              <a:rect l="l" t="t" r="r" b="b"/>
              <a:pathLst>
                <a:path w="6365" h="2774" extrusionOk="0">
                  <a:moveTo>
                    <a:pt x="1" y="1"/>
                  </a:moveTo>
                  <a:lnTo>
                    <a:pt x="1" y="316"/>
                  </a:lnTo>
                  <a:lnTo>
                    <a:pt x="32" y="316"/>
                  </a:lnTo>
                  <a:cubicBezTo>
                    <a:pt x="32" y="915"/>
                    <a:pt x="505" y="1387"/>
                    <a:pt x="1103" y="1387"/>
                  </a:cubicBezTo>
                  <a:lnTo>
                    <a:pt x="4254" y="1387"/>
                  </a:lnTo>
                  <a:lnTo>
                    <a:pt x="4254" y="2080"/>
                  </a:lnTo>
                  <a:lnTo>
                    <a:pt x="3183" y="2080"/>
                  </a:lnTo>
                  <a:cubicBezTo>
                    <a:pt x="2994" y="2080"/>
                    <a:pt x="2836" y="2238"/>
                    <a:pt x="2836" y="2427"/>
                  </a:cubicBezTo>
                  <a:cubicBezTo>
                    <a:pt x="2836" y="2647"/>
                    <a:pt x="2994" y="2773"/>
                    <a:pt x="3183" y="2773"/>
                  </a:cubicBezTo>
                  <a:lnTo>
                    <a:pt x="6365" y="2773"/>
                  </a:ln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74"/>
            <p:cNvSpPr/>
            <p:nvPr/>
          </p:nvSpPr>
          <p:spPr>
            <a:xfrm>
              <a:off x="-44924250" y="3206000"/>
              <a:ext cx="264675" cy="159125"/>
            </a:xfrm>
            <a:custGeom>
              <a:avLst/>
              <a:gdLst/>
              <a:ahLst/>
              <a:cxnLst/>
              <a:rect l="l" t="t" r="r" b="b"/>
              <a:pathLst>
                <a:path w="10587" h="6365" extrusionOk="0">
                  <a:moveTo>
                    <a:pt x="1072" y="1"/>
                  </a:moveTo>
                  <a:cubicBezTo>
                    <a:pt x="473" y="1"/>
                    <a:pt x="1" y="473"/>
                    <a:pt x="1" y="1041"/>
                  </a:cubicBezTo>
                  <a:lnTo>
                    <a:pt x="1" y="6365"/>
                  </a:lnTo>
                  <a:lnTo>
                    <a:pt x="6365" y="6365"/>
                  </a:lnTo>
                  <a:lnTo>
                    <a:pt x="6365" y="5357"/>
                  </a:lnTo>
                  <a:cubicBezTo>
                    <a:pt x="6365" y="4349"/>
                    <a:pt x="7152" y="3561"/>
                    <a:pt x="8160" y="3561"/>
                  </a:cubicBezTo>
                  <a:lnTo>
                    <a:pt x="10586" y="3561"/>
                  </a:lnTo>
                  <a:lnTo>
                    <a:pt x="10586" y="1041"/>
                  </a:lnTo>
                  <a:cubicBezTo>
                    <a:pt x="10586" y="473"/>
                    <a:pt x="1011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85" name="Google Shape;7885;p74"/>
          <p:cNvGrpSpPr/>
          <p:nvPr/>
        </p:nvGrpSpPr>
        <p:grpSpPr>
          <a:xfrm>
            <a:off x="1286286" y="1386849"/>
            <a:ext cx="355258" cy="355258"/>
            <a:chOff x="-50134375" y="3183175"/>
            <a:chExt cx="300100" cy="300100"/>
          </a:xfrm>
        </p:grpSpPr>
        <p:sp>
          <p:nvSpPr>
            <p:cNvPr id="7886" name="Google Shape;7886;p74"/>
            <p:cNvSpPr/>
            <p:nvPr/>
          </p:nvSpPr>
          <p:spPr>
            <a:xfrm>
              <a:off x="-50134375" y="3270600"/>
              <a:ext cx="87450" cy="53575"/>
            </a:xfrm>
            <a:custGeom>
              <a:avLst/>
              <a:gdLst/>
              <a:ahLst/>
              <a:cxnLst/>
              <a:rect l="l" t="t" r="r" b="b"/>
              <a:pathLst>
                <a:path w="3498" h="2143" extrusionOk="0">
                  <a:moveTo>
                    <a:pt x="0" y="0"/>
                  </a:moveTo>
                  <a:lnTo>
                    <a:pt x="0" y="2143"/>
                  </a:lnTo>
                  <a:lnTo>
                    <a:pt x="3497" y="2143"/>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74"/>
            <p:cNvSpPr/>
            <p:nvPr/>
          </p:nvSpPr>
          <p:spPr>
            <a:xfrm>
              <a:off x="-50134375" y="3340700"/>
              <a:ext cx="87450" cy="54375"/>
            </a:xfrm>
            <a:custGeom>
              <a:avLst/>
              <a:gdLst/>
              <a:ahLst/>
              <a:cxnLst/>
              <a:rect l="l" t="t" r="r" b="b"/>
              <a:pathLst>
                <a:path w="3498" h="2175" extrusionOk="0">
                  <a:moveTo>
                    <a:pt x="0" y="0"/>
                  </a:moveTo>
                  <a:lnTo>
                    <a:pt x="0" y="2174"/>
                  </a:lnTo>
                  <a:cubicBezTo>
                    <a:pt x="441" y="1701"/>
                    <a:pt x="1071" y="1418"/>
                    <a:pt x="1765" y="1418"/>
                  </a:cubicBezTo>
                  <a:cubicBezTo>
                    <a:pt x="2426" y="1418"/>
                    <a:pt x="3056" y="1670"/>
                    <a:pt x="3497" y="2174"/>
                  </a:cubicBez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4"/>
            <p:cNvSpPr/>
            <p:nvPr/>
          </p:nvSpPr>
          <p:spPr>
            <a:xfrm>
              <a:off x="-50134375" y="3183175"/>
              <a:ext cx="87450" cy="70125"/>
            </a:xfrm>
            <a:custGeom>
              <a:avLst/>
              <a:gdLst/>
              <a:ahLst/>
              <a:cxnLst/>
              <a:rect l="l" t="t" r="r" b="b"/>
              <a:pathLst>
                <a:path w="3498" h="2805" extrusionOk="0">
                  <a:moveTo>
                    <a:pt x="347" y="0"/>
                  </a:moveTo>
                  <a:cubicBezTo>
                    <a:pt x="158" y="0"/>
                    <a:pt x="0" y="158"/>
                    <a:pt x="0" y="347"/>
                  </a:cubicBezTo>
                  <a:lnTo>
                    <a:pt x="0" y="2804"/>
                  </a:lnTo>
                  <a:lnTo>
                    <a:pt x="3497" y="2804"/>
                  </a:lnTo>
                  <a:lnTo>
                    <a:pt x="3497" y="347"/>
                  </a:ln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4"/>
            <p:cNvSpPr/>
            <p:nvPr/>
          </p:nvSpPr>
          <p:spPr>
            <a:xfrm>
              <a:off x="-50028050" y="3363525"/>
              <a:ext cx="37050" cy="75650"/>
            </a:xfrm>
            <a:custGeom>
              <a:avLst/>
              <a:gdLst/>
              <a:ahLst/>
              <a:cxnLst/>
              <a:rect l="l" t="t" r="r" b="b"/>
              <a:pathLst>
                <a:path w="1482" h="3026" extrusionOk="0">
                  <a:moveTo>
                    <a:pt x="0" y="1"/>
                  </a:moveTo>
                  <a:lnTo>
                    <a:pt x="0" y="3025"/>
                  </a:lnTo>
                  <a:lnTo>
                    <a:pt x="1481" y="1482"/>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4"/>
            <p:cNvSpPr/>
            <p:nvPr/>
          </p:nvSpPr>
          <p:spPr>
            <a:xfrm>
              <a:off x="-50028050" y="3287125"/>
              <a:ext cx="88225" cy="101625"/>
            </a:xfrm>
            <a:custGeom>
              <a:avLst/>
              <a:gdLst/>
              <a:ahLst/>
              <a:cxnLst/>
              <a:rect l="l" t="t" r="r" b="b"/>
              <a:pathLst>
                <a:path w="3529" h="4065" extrusionOk="0">
                  <a:moveTo>
                    <a:pt x="1072" y="1"/>
                  </a:moveTo>
                  <a:lnTo>
                    <a:pt x="0" y="1104"/>
                  </a:lnTo>
                  <a:lnTo>
                    <a:pt x="0" y="2049"/>
                  </a:lnTo>
                  <a:lnTo>
                    <a:pt x="2017" y="4065"/>
                  </a:lnTo>
                  <a:lnTo>
                    <a:pt x="3529" y="2490"/>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4"/>
            <p:cNvSpPr/>
            <p:nvPr/>
          </p:nvSpPr>
          <p:spPr>
            <a:xfrm>
              <a:off x="-49988675" y="3225700"/>
              <a:ext cx="111875" cy="111875"/>
            </a:xfrm>
            <a:custGeom>
              <a:avLst/>
              <a:gdLst/>
              <a:ahLst/>
              <a:cxnLst/>
              <a:rect l="l" t="t" r="r" b="b"/>
              <a:pathLst>
                <a:path w="4475" h="4475" extrusionOk="0">
                  <a:moveTo>
                    <a:pt x="2155" y="0"/>
                  </a:moveTo>
                  <a:cubicBezTo>
                    <a:pt x="2064" y="0"/>
                    <a:pt x="1970" y="32"/>
                    <a:pt x="1891" y="95"/>
                  </a:cubicBezTo>
                  <a:lnTo>
                    <a:pt x="1" y="1985"/>
                  </a:lnTo>
                  <a:lnTo>
                    <a:pt x="2490" y="4474"/>
                  </a:lnTo>
                  <a:lnTo>
                    <a:pt x="4380" y="2584"/>
                  </a:lnTo>
                  <a:cubicBezTo>
                    <a:pt x="4474" y="2458"/>
                    <a:pt x="4474" y="2237"/>
                    <a:pt x="4380" y="2080"/>
                  </a:cubicBezTo>
                  <a:lnTo>
                    <a:pt x="2395" y="95"/>
                  </a:lnTo>
                  <a:cubicBezTo>
                    <a:pt x="2332" y="32"/>
                    <a:pt x="2245" y="0"/>
                    <a:pt x="21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4"/>
            <p:cNvSpPr/>
            <p:nvPr/>
          </p:nvSpPr>
          <p:spPr>
            <a:xfrm>
              <a:off x="-50134375" y="3395050"/>
              <a:ext cx="89025" cy="88225"/>
            </a:xfrm>
            <a:custGeom>
              <a:avLst/>
              <a:gdLst/>
              <a:ahLst/>
              <a:cxnLst/>
              <a:rect l="l" t="t" r="r" b="b"/>
              <a:pathLst>
                <a:path w="3561" h="3529" extrusionOk="0">
                  <a:moveTo>
                    <a:pt x="1765" y="1418"/>
                  </a:moveTo>
                  <a:cubicBezTo>
                    <a:pt x="1985" y="1418"/>
                    <a:pt x="2111" y="1575"/>
                    <a:pt x="2111" y="1764"/>
                  </a:cubicBezTo>
                  <a:cubicBezTo>
                    <a:pt x="2111" y="1953"/>
                    <a:pt x="1985" y="2111"/>
                    <a:pt x="1765" y="2111"/>
                  </a:cubicBezTo>
                  <a:cubicBezTo>
                    <a:pt x="1576" y="2111"/>
                    <a:pt x="1418" y="1953"/>
                    <a:pt x="1418" y="1764"/>
                  </a:cubicBezTo>
                  <a:cubicBezTo>
                    <a:pt x="1418" y="1575"/>
                    <a:pt x="1576" y="1418"/>
                    <a:pt x="1765" y="1418"/>
                  </a:cubicBezTo>
                  <a:close/>
                  <a:moveTo>
                    <a:pt x="1765" y="0"/>
                  </a:moveTo>
                  <a:cubicBezTo>
                    <a:pt x="788" y="0"/>
                    <a:pt x="0" y="788"/>
                    <a:pt x="0" y="1764"/>
                  </a:cubicBezTo>
                  <a:cubicBezTo>
                    <a:pt x="0" y="2741"/>
                    <a:pt x="788" y="3529"/>
                    <a:pt x="1765" y="3529"/>
                  </a:cubicBezTo>
                  <a:cubicBezTo>
                    <a:pt x="2773" y="3529"/>
                    <a:pt x="3560" y="2741"/>
                    <a:pt x="3560" y="1764"/>
                  </a:cubicBezTo>
                  <a:cubicBezTo>
                    <a:pt x="3497" y="788"/>
                    <a:pt x="2710"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3" name="Google Shape;7893;p74"/>
            <p:cNvSpPr/>
            <p:nvPr/>
          </p:nvSpPr>
          <p:spPr>
            <a:xfrm>
              <a:off x="-50045375" y="3428900"/>
              <a:ext cx="52800" cy="53600"/>
            </a:xfrm>
            <a:custGeom>
              <a:avLst/>
              <a:gdLst/>
              <a:ahLst/>
              <a:cxnLst/>
              <a:rect l="l" t="t" r="r" b="b"/>
              <a:pathLst>
                <a:path w="2112" h="2144" extrusionOk="0">
                  <a:moveTo>
                    <a:pt x="2111" y="1"/>
                  </a:move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74"/>
            <p:cNvSpPr/>
            <p:nvPr/>
          </p:nvSpPr>
          <p:spPr>
            <a:xfrm>
              <a:off x="-49975275" y="3395050"/>
              <a:ext cx="52775" cy="87450"/>
            </a:xfrm>
            <a:custGeom>
              <a:avLst/>
              <a:gdLst/>
              <a:ahLst/>
              <a:cxnLst/>
              <a:rect l="l" t="t" r="r" b="b"/>
              <a:pathLst>
                <a:path w="2111" h="3498" extrusionOk="0">
                  <a:moveTo>
                    <a:pt x="693" y="0"/>
                  </a:moveTo>
                  <a:lnTo>
                    <a:pt x="0" y="662"/>
                  </a:lnTo>
                  <a:lnTo>
                    <a:pt x="0" y="3497"/>
                  </a:lnTo>
                  <a:lnTo>
                    <a:pt x="2111" y="3497"/>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74"/>
            <p:cNvSpPr/>
            <p:nvPr/>
          </p:nvSpPr>
          <p:spPr>
            <a:xfrm>
              <a:off x="-49905175" y="3395050"/>
              <a:ext cx="70900" cy="87450"/>
            </a:xfrm>
            <a:custGeom>
              <a:avLst/>
              <a:gdLst/>
              <a:ahLst/>
              <a:cxnLst/>
              <a:rect l="l" t="t" r="r" b="b"/>
              <a:pathLst>
                <a:path w="2836" h="3498" extrusionOk="0">
                  <a:moveTo>
                    <a:pt x="0" y="0"/>
                  </a:moveTo>
                  <a:lnTo>
                    <a:pt x="0" y="3497"/>
                  </a:lnTo>
                  <a:lnTo>
                    <a:pt x="2489" y="3497"/>
                  </a:lnTo>
                  <a:cubicBezTo>
                    <a:pt x="2678" y="3497"/>
                    <a:pt x="2836" y="3340"/>
                    <a:pt x="2836" y="315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6" name="Google Shape;7896;p74"/>
          <p:cNvGrpSpPr/>
          <p:nvPr/>
        </p:nvGrpSpPr>
        <p:grpSpPr>
          <a:xfrm>
            <a:off x="1286286" y="1822251"/>
            <a:ext cx="355258" cy="355288"/>
            <a:chOff x="-50134375" y="3550975"/>
            <a:chExt cx="300100" cy="300125"/>
          </a:xfrm>
        </p:grpSpPr>
        <p:sp>
          <p:nvSpPr>
            <p:cNvPr id="7897" name="Google Shape;7897;p74"/>
            <p:cNvSpPr/>
            <p:nvPr/>
          </p:nvSpPr>
          <p:spPr>
            <a:xfrm>
              <a:off x="-50134375" y="3550975"/>
              <a:ext cx="300100" cy="300125"/>
            </a:xfrm>
            <a:custGeom>
              <a:avLst/>
              <a:gdLst/>
              <a:ahLst/>
              <a:cxnLst/>
              <a:rect l="l" t="t" r="r" b="b"/>
              <a:pathLst>
                <a:path w="12004" h="12005" extrusionOk="0">
                  <a:moveTo>
                    <a:pt x="9893" y="1419"/>
                  </a:moveTo>
                  <a:lnTo>
                    <a:pt x="9893" y="1797"/>
                  </a:lnTo>
                  <a:cubicBezTo>
                    <a:pt x="9893" y="1986"/>
                    <a:pt x="10050" y="2143"/>
                    <a:pt x="10239" y="2143"/>
                  </a:cubicBezTo>
                  <a:lnTo>
                    <a:pt x="10586" y="2143"/>
                  </a:lnTo>
                  <a:lnTo>
                    <a:pt x="10586" y="9893"/>
                  </a:lnTo>
                  <a:lnTo>
                    <a:pt x="10239" y="9893"/>
                  </a:lnTo>
                  <a:cubicBezTo>
                    <a:pt x="10050" y="9893"/>
                    <a:pt x="9893" y="10051"/>
                    <a:pt x="9893" y="10240"/>
                  </a:cubicBezTo>
                  <a:lnTo>
                    <a:pt x="9893" y="10587"/>
                  </a:lnTo>
                  <a:lnTo>
                    <a:pt x="2143" y="10587"/>
                  </a:lnTo>
                  <a:lnTo>
                    <a:pt x="2143" y="10240"/>
                  </a:lnTo>
                  <a:cubicBezTo>
                    <a:pt x="2143" y="10051"/>
                    <a:pt x="1985" y="9893"/>
                    <a:pt x="1765" y="9893"/>
                  </a:cubicBezTo>
                  <a:lnTo>
                    <a:pt x="1418" y="9893"/>
                  </a:lnTo>
                  <a:lnTo>
                    <a:pt x="1418" y="2143"/>
                  </a:lnTo>
                  <a:lnTo>
                    <a:pt x="1765" y="2143"/>
                  </a:lnTo>
                  <a:cubicBezTo>
                    <a:pt x="1985" y="2143"/>
                    <a:pt x="2143" y="1986"/>
                    <a:pt x="2143" y="1797"/>
                  </a:cubicBezTo>
                  <a:lnTo>
                    <a:pt x="2143" y="1419"/>
                  </a:lnTo>
                  <a:close/>
                  <a:moveTo>
                    <a:pt x="347" y="1"/>
                  </a:moveTo>
                  <a:cubicBezTo>
                    <a:pt x="158" y="1"/>
                    <a:pt x="0" y="159"/>
                    <a:pt x="0" y="348"/>
                  </a:cubicBezTo>
                  <a:lnTo>
                    <a:pt x="0" y="1797"/>
                  </a:lnTo>
                  <a:cubicBezTo>
                    <a:pt x="0" y="1986"/>
                    <a:pt x="158" y="2143"/>
                    <a:pt x="347" y="2143"/>
                  </a:cubicBezTo>
                  <a:lnTo>
                    <a:pt x="693" y="2143"/>
                  </a:lnTo>
                  <a:lnTo>
                    <a:pt x="693" y="9893"/>
                  </a:lnTo>
                  <a:lnTo>
                    <a:pt x="347" y="9893"/>
                  </a:lnTo>
                  <a:cubicBezTo>
                    <a:pt x="158" y="9893"/>
                    <a:pt x="0" y="10051"/>
                    <a:pt x="0" y="10240"/>
                  </a:cubicBezTo>
                  <a:lnTo>
                    <a:pt x="0" y="11658"/>
                  </a:lnTo>
                  <a:cubicBezTo>
                    <a:pt x="0" y="11847"/>
                    <a:pt x="158" y="12004"/>
                    <a:pt x="347" y="12004"/>
                  </a:cubicBezTo>
                  <a:lnTo>
                    <a:pt x="1765" y="12004"/>
                  </a:lnTo>
                  <a:cubicBezTo>
                    <a:pt x="1985" y="12004"/>
                    <a:pt x="2111" y="11847"/>
                    <a:pt x="2111" y="11658"/>
                  </a:cubicBezTo>
                  <a:lnTo>
                    <a:pt x="2111" y="11311"/>
                  </a:lnTo>
                  <a:lnTo>
                    <a:pt x="9893" y="11311"/>
                  </a:lnTo>
                  <a:lnTo>
                    <a:pt x="9893" y="11658"/>
                  </a:lnTo>
                  <a:cubicBezTo>
                    <a:pt x="9893" y="11847"/>
                    <a:pt x="10050" y="12004"/>
                    <a:pt x="10239" y="12004"/>
                  </a:cubicBezTo>
                  <a:lnTo>
                    <a:pt x="11657" y="12004"/>
                  </a:lnTo>
                  <a:cubicBezTo>
                    <a:pt x="11846" y="12004"/>
                    <a:pt x="12004" y="11847"/>
                    <a:pt x="12004" y="11658"/>
                  </a:cubicBezTo>
                  <a:lnTo>
                    <a:pt x="12004" y="10240"/>
                  </a:lnTo>
                  <a:cubicBezTo>
                    <a:pt x="12004" y="10051"/>
                    <a:pt x="11846" y="9893"/>
                    <a:pt x="11657" y="9893"/>
                  </a:cubicBezTo>
                  <a:lnTo>
                    <a:pt x="11311" y="9893"/>
                  </a:lnTo>
                  <a:lnTo>
                    <a:pt x="11311" y="2143"/>
                  </a:lnTo>
                  <a:lnTo>
                    <a:pt x="11657" y="2143"/>
                  </a:lnTo>
                  <a:cubicBezTo>
                    <a:pt x="11846" y="2143"/>
                    <a:pt x="12004" y="1986"/>
                    <a:pt x="12004" y="1797"/>
                  </a:cubicBezTo>
                  <a:lnTo>
                    <a:pt x="12004" y="348"/>
                  </a:lnTo>
                  <a:cubicBezTo>
                    <a:pt x="12004" y="159"/>
                    <a:pt x="11846" y="1"/>
                    <a:pt x="11657" y="1"/>
                  </a:cubicBezTo>
                  <a:lnTo>
                    <a:pt x="10239" y="1"/>
                  </a:lnTo>
                  <a:cubicBezTo>
                    <a:pt x="10050" y="1"/>
                    <a:pt x="9893" y="159"/>
                    <a:pt x="9893" y="348"/>
                  </a:cubicBezTo>
                  <a:lnTo>
                    <a:pt x="9893" y="726"/>
                  </a:lnTo>
                  <a:lnTo>
                    <a:pt x="2111" y="726"/>
                  </a:lnTo>
                  <a:lnTo>
                    <a:pt x="2111" y="348"/>
                  </a:lnTo>
                  <a:cubicBezTo>
                    <a:pt x="2111" y="159"/>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4"/>
            <p:cNvSpPr/>
            <p:nvPr/>
          </p:nvSpPr>
          <p:spPr>
            <a:xfrm>
              <a:off x="-50054825" y="3603750"/>
              <a:ext cx="141800" cy="194575"/>
            </a:xfrm>
            <a:custGeom>
              <a:avLst/>
              <a:gdLst/>
              <a:ahLst/>
              <a:cxnLst/>
              <a:rect l="l" t="t" r="r" b="b"/>
              <a:pathLst>
                <a:path w="5672" h="7783" extrusionOk="0">
                  <a:moveTo>
                    <a:pt x="347" y="1"/>
                  </a:moveTo>
                  <a:cubicBezTo>
                    <a:pt x="158" y="1"/>
                    <a:pt x="0" y="158"/>
                    <a:pt x="0" y="347"/>
                  </a:cubicBezTo>
                  <a:lnTo>
                    <a:pt x="0" y="1765"/>
                  </a:lnTo>
                  <a:cubicBezTo>
                    <a:pt x="0" y="1873"/>
                    <a:pt x="74" y="1922"/>
                    <a:pt x="151" y="1922"/>
                  </a:cubicBezTo>
                  <a:cubicBezTo>
                    <a:pt x="186" y="1922"/>
                    <a:pt x="222" y="1911"/>
                    <a:pt x="252" y="1891"/>
                  </a:cubicBezTo>
                  <a:lnTo>
                    <a:pt x="725" y="1419"/>
                  </a:lnTo>
                  <a:lnTo>
                    <a:pt x="2143" y="1419"/>
                  </a:lnTo>
                  <a:lnTo>
                    <a:pt x="2143" y="7089"/>
                  </a:lnTo>
                  <a:lnTo>
                    <a:pt x="1670" y="7562"/>
                  </a:lnTo>
                  <a:cubicBezTo>
                    <a:pt x="1576" y="7625"/>
                    <a:pt x="1670" y="7782"/>
                    <a:pt x="1765" y="7782"/>
                  </a:cubicBezTo>
                  <a:lnTo>
                    <a:pt x="3907" y="7782"/>
                  </a:lnTo>
                  <a:cubicBezTo>
                    <a:pt x="4064" y="7782"/>
                    <a:pt x="4096" y="7625"/>
                    <a:pt x="4033" y="7562"/>
                  </a:cubicBezTo>
                  <a:lnTo>
                    <a:pt x="3560" y="7089"/>
                  </a:lnTo>
                  <a:lnTo>
                    <a:pt x="3560" y="1419"/>
                  </a:lnTo>
                  <a:lnTo>
                    <a:pt x="4978" y="1419"/>
                  </a:lnTo>
                  <a:lnTo>
                    <a:pt x="5451" y="1891"/>
                  </a:lnTo>
                  <a:cubicBezTo>
                    <a:pt x="5467" y="1908"/>
                    <a:pt x="5491" y="1916"/>
                    <a:pt x="5517" y="1916"/>
                  </a:cubicBezTo>
                  <a:cubicBezTo>
                    <a:pt x="5587" y="1916"/>
                    <a:pt x="5671" y="1857"/>
                    <a:pt x="5671" y="1765"/>
                  </a:cubicBezTo>
                  <a:lnTo>
                    <a:pt x="5671" y="347"/>
                  </a:lnTo>
                  <a:cubicBezTo>
                    <a:pt x="5671" y="158"/>
                    <a:pt x="5514"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9" name="Google Shape;7899;p74"/>
          <p:cNvGrpSpPr/>
          <p:nvPr/>
        </p:nvGrpSpPr>
        <p:grpSpPr>
          <a:xfrm>
            <a:off x="1286286" y="2259783"/>
            <a:ext cx="355258" cy="355051"/>
            <a:chOff x="-50134375" y="3920575"/>
            <a:chExt cx="300100" cy="299925"/>
          </a:xfrm>
        </p:grpSpPr>
        <p:sp>
          <p:nvSpPr>
            <p:cNvPr id="7900" name="Google Shape;7900;p74"/>
            <p:cNvSpPr/>
            <p:nvPr/>
          </p:nvSpPr>
          <p:spPr>
            <a:xfrm>
              <a:off x="-49985525" y="3920575"/>
              <a:ext cx="151250" cy="151850"/>
            </a:xfrm>
            <a:custGeom>
              <a:avLst/>
              <a:gdLst/>
              <a:ahLst/>
              <a:cxnLst/>
              <a:rect l="l" t="t" r="r" b="b"/>
              <a:pathLst>
                <a:path w="6050" h="6074" extrusionOk="0">
                  <a:moveTo>
                    <a:pt x="1986" y="1"/>
                  </a:moveTo>
                  <a:cubicBezTo>
                    <a:pt x="1537" y="1"/>
                    <a:pt x="1088" y="166"/>
                    <a:pt x="757" y="497"/>
                  </a:cubicBezTo>
                  <a:lnTo>
                    <a:pt x="1" y="1284"/>
                  </a:lnTo>
                  <a:lnTo>
                    <a:pt x="4758" y="6073"/>
                  </a:lnTo>
                  <a:lnTo>
                    <a:pt x="5546" y="5317"/>
                  </a:lnTo>
                  <a:cubicBezTo>
                    <a:pt x="5861" y="5002"/>
                    <a:pt x="6050" y="4529"/>
                    <a:pt x="6050" y="4057"/>
                  </a:cubicBezTo>
                  <a:cubicBezTo>
                    <a:pt x="6050" y="3616"/>
                    <a:pt x="5861" y="3143"/>
                    <a:pt x="5546" y="2828"/>
                  </a:cubicBezTo>
                  <a:lnTo>
                    <a:pt x="3214" y="497"/>
                  </a:lnTo>
                  <a:cubicBezTo>
                    <a:pt x="2883" y="166"/>
                    <a:pt x="2434" y="1"/>
                    <a:pt x="1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4"/>
            <p:cNvSpPr/>
            <p:nvPr/>
          </p:nvSpPr>
          <p:spPr>
            <a:xfrm>
              <a:off x="-50134375" y="4069250"/>
              <a:ext cx="151250" cy="151250"/>
            </a:xfrm>
            <a:custGeom>
              <a:avLst/>
              <a:gdLst/>
              <a:ahLst/>
              <a:cxnLst/>
              <a:rect l="l" t="t" r="r" b="b"/>
              <a:pathLst>
                <a:path w="6050" h="6050" extrusionOk="0">
                  <a:moveTo>
                    <a:pt x="1292" y="0"/>
                  </a:moveTo>
                  <a:lnTo>
                    <a:pt x="504" y="756"/>
                  </a:lnTo>
                  <a:cubicBezTo>
                    <a:pt x="189" y="1071"/>
                    <a:pt x="0" y="1544"/>
                    <a:pt x="0" y="2016"/>
                  </a:cubicBezTo>
                  <a:cubicBezTo>
                    <a:pt x="0" y="2489"/>
                    <a:pt x="189" y="2899"/>
                    <a:pt x="504" y="3277"/>
                  </a:cubicBezTo>
                  <a:lnTo>
                    <a:pt x="2804" y="5545"/>
                  </a:lnTo>
                  <a:cubicBezTo>
                    <a:pt x="3119" y="5860"/>
                    <a:pt x="3592" y="6049"/>
                    <a:pt x="4064" y="6049"/>
                  </a:cubicBezTo>
                  <a:cubicBezTo>
                    <a:pt x="4537" y="6049"/>
                    <a:pt x="4947" y="5860"/>
                    <a:pt x="5325" y="5545"/>
                  </a:cubicBezTo>
                  <a:lnTo>
                    <a:pt x="6049" y="4757"/>
                  </a:lnTo>
                  <a:lnTo>
                    <a:pt x="12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4"/>
            <p:cNvSpPr/>
            <p:nvPr/>
          </p:nvSpPr>
          <p:spPr>
            <a:xfrm>
              <a:off x="-50090275" y="3964500"/>
              <a:ext cx="211100" cy="211100"/>
            </a:xfrm>
            <a:custGeom>
              <a:avLst/>
              <a:gdLst/>
              <a:ahLst/>
              <a:cxnLst/>
              <a:rect l="l" t="t" r="r" b="b"/>
              <a:pathLst>
                <a:path w="8444" h="8444" extrusionOk="0">
                  <a:moveTo>
                    <a:pt x="2446" y="4316"/>
                  </a:moveTo>
                  <a:cubicBezTo>
                    <a:pt x="2537" y="4316"/>
                    <a:pt x="2631" y="4348"/>
                    <a:pt x="2710" y="4411"/>
                  </a:cubicBezTo>
                  <a:lnTo>
                    <a:pt x="4033" y="5734"/>
                  </a:lnTo>
                  <a:cubicBezTo>
                    <a:pt x="4191" y="5828"/>
                    <a:pt x="4191" y="6080"/>
                    <a:pt x="4033" y="6238"/>
                  </a:cubicBezTo>
                  <a:cubicBezTo>
                    <a:pt x="3970" y="6301"/>
                    <a:pt x="3884" y="6332"/>
                    <a:pt x="3789" y="6332"/>
                  </a:cubicBezTo>
                  <a:cubicBezTo>
                    <a:pt x="3694" y="6332"/>
                    <a:pt x="3592" y="6301"/>
                    <a:pt x="3498" y="6238"/>
                  </a:cubicBezTo>
                  <a:lnTo>
                    <a:pt x="2206" y="4946"/>
                  </a:lnTo>
                  <a:cubicBezTo>
                    <a:pt x="2080" y="4820"/>
                    <a:pt x="2080" y="4568"/>
                    <a:pt x="2206" y="4411"/>
                  </a:cubicBezTo>
                  <a:cubicBezTo>
                    <a:pt x="2269" y="4348"/>
                    <a:pt x="2356" y="4316"/>
                    <a:pt x="2446" y="4316"/>
                  </a:cubicBezTo>
                  <a:close/>
                  <a:moveTo>
                    <a:pt x="3687" y="0"/>
                  </a:moveTo>
                  <a:lnTo>
                    <a:pt x="1" y="3686"/>
                  </a:lnTo>
                  <a:lnTo>
                    <a:pt x="4789" y="8443"/>
                  </a:lnTo>
                  <a:lnTo>
                    <a:pt x="8444" y="4789"/>
                  </a:lnTo>
                  <a:lnTo>
                    <a:pt x="36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03" name="Google Shape;7903;p74"/>
          <p:cNvGrpSpPr/>
          <p:nvPr/>
        </p:nvGrpSpPr>
        <p:grpSpPr>
          <a:xfrm>
            <a:off x="3497010" y="1407358"/>
            <a:ext cx="357123" cy="355258"/>
            <a:chOff x="-48262200" y="3200500"/>
            <a:chExt cx="301675" cy="300100"/>
          </a:xfrm>
        </p:grpSpPr>
        <p:sp>
          <p:nvSpPr>
            <p:cNvPr id="7904" name="Google Shape;7904;p74"/>
            <p:cNvSpPr/>
            <p:nvPr/>
          </p:nvSpPr>
          <p:spPr>
            <a:xfrm>
              <a:off x="-48191325" y="3288700"/>
              <a:ext cx="51225" cy="51225"/>
            </a:xfrm>
            <a:custGeom>
              <a:avLst/>
              <a:gdLst/>
              <a:ahLst/>
              <a:cxnLst/>
              <a:rect l="l" t="t" r="r" b="b"/>
              <a:pathLst>
                <a:path w="2049" h="2049" extrusionOk="0">
                  <a:moveTo>
                    <a:pt x="1072" y="1"/>
                  </a:moveTo>
                  <a:cubicBezTo>
                    <a:pt x="474" y="1"/>
                    <a:pt x="1" y="473"/>
                    <a:pt x="1" y="1041"/>
                  </a:cubicBezTo>
                  <a:cubicBezTo>
                    <a:pt x="1" y="1513"/>
                    <a:pt x="285" y="1891"/>
                    <a:pt x="726" y="2049"/>
                  </a:cubicBezTo>
                  <a:lnTo>
                    <a:pt x="726" y="1041"/>
                  </a:lnTo>
                  <a:cubicBezTo>
                    <a:pt x="726" y="852"/>
                    <a:pt x="883" y="694"/>
                    <a:pt x="1072" y="694"/>
                  </a:cubicBezTo>
                  <a:lnTo>
                    <a:pt x="2049" y="694"/>
                  </a:lnTo>
                  <a:cubicBezTo>
                    <a:pt x="1891" y="253"/>
                    <a:pt x="151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4"/>
            <p:cNvSpPr/>
            <p:nvPr/>
          </p:nvSpPr>
          <p:spPr>
            <a:xfrm>
              <a:off x="-48155875" y="3324150"/>
              <a:ext cx="15775" cy="15775"/>
            </a:xfrm>
            <a:custGeom>
              <a:avLst/>
              <a:gdLst/>
              <a:ahLst/>
              <a:cxnLst/>
              <a:rect l="l" t="t" r="r" b="b"/>
              <a:pathLst>
                <a:path w="631" h="631" extrusionOk="0">
                  <a:moveTo>
                    <a:pt x="1" y="1"/>
                  </a:moveTo>
                  <a:lnTo>
                    <a:pt x="1" y="631"/>
                  </a:lnTo>
                  <a:cubicBezTo>
                    <a:pt x="284" y="505"/>
                    <a:pt x="536"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74"/>
            <p:cNvSpPr/>
            <p:nvPr/>
          </p:nvSpPr>
          <p:spPr>
            <a:xfrm>
              <a:off x="-48085775" y="3206000"/>
              <a:ext cx="47275" cy="47300"/>
            </a:xfrm>
            <a:custGeom>
              <a:avLst/>
              <a:gdLst/>
              <a:ahLst/>
              <a:cxnLst/>
              <a:rect l="l" t="t" r="r" b="b"/>
              <a:pathLst>
                <a:path w="1891" h="1892" extrusionOk="0">
                  <a:moveTo>
                    <a:pt x="1" y="1"/>
                  </a:moveTo>
                  <a:lnTo>
                    <a:pt x="1" y="1891"/>
                  </a:lnTo>
                  <a:lnTo>
                    <a:pt x="1891" y="189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74"/>
            <p:cNvSpPr/>
            <p:nvPr/>
          </p:nvSpPr>
          <p:spPr>
            <a:xfrm>
              <a:off x="-48262200" y="3200500"/>
              <a:ext cx="228425" cy="300100"/>
            </a:xfrm>
            <a:custGeom>
              <a:avLst/>
              <a:gdLst/>
              <a:ahLst/>
              <a:cxnLst/>
              <a:rect l="l" t="t" r="r" b="b"/>
              <a:pathLst>
                <a:path w="9137" h="12004" extrusionOk="0">
                  <a:moveTo>
                    <a:pt x="3907" y="2773"/>
                  </a:moveTo>
                  <a:cubicBezTo>
                    <a:pt x="4789" y="2773"/>
                    <a:pt x="5482" y="3371"/>
                    <a:pt x="5640" y="4190"/>
                  </a:cubicBezTo>
                  <a:lnTo>
                    <a:pt x="6743" y="4190"/>
                  </a:lnTo>
                  <a:cubicBezTo>
                    <a:pt x="6900" y="4222"/>
                    <a:pt x="7058" y="4380"/>
                    <a:pt x="7058" y="4569"/>
                  </a:cubicBezTo>
                  <a:lnTo>
                    <a:pt x="7058" y="7372"/>
                  </a:lnTo>
                  <a:cubicBezTo>
                    <a:pt x="7058" y="7562"/>
                    <a:pt x="6900" y="7719"/>
                    <a:pt x="6711" y="7719"/>
                  </a:cubicBezTo>
                  <a:lnTo>
                    <a:pt x="3907" y="7719"/>
                  </a:lnTo>
                  <a:cubicBezTo>
                    <a:pt x="3718" y="7719"/>
                    <a:pt x="3561" y="7562"/>
                    <a:pt x="3561" y="7372"/>
                  </a:cubicBezTo>
                  <a:lnTo>
                    <a:pt x="3561" y="6270"/>
                  </a:lnTo>
                  <a:cubicBezTo>
                    <a:pt x="2773" y="6112"/>
                    <a:pt x="2143" y="5419"/>
                    <a:pt x="2143" y="4537"/>
                  </a:cubicBezTo>
                  <a:cubicBezTo>
                    <a:pt x="2143" y="3560"/>
                    <a:pt x="2931" y="2773"/>
                    <a:pt x="3907" y="2773"/>
                  </a:cubicBezTo>
                  <a:close/>
                  <a:moveTo>
                    <a:pt x="5293" y="8475"/>
                  </a:moveTo>
                  <a:cubicBezTo>
                    <a:pt x="5482" y="8475"/>
                    <a:pt x="5640" y="8633"/>
                    <a:pt x="5640" y="8822"/>
                  </a:cubicBezTo>
                  <a:cubicBezTo>
                    <a:pt x="5640" y="9042"/>
                    <a:pt x="5482" y="9200"/>
                    <a:pt x="5293" y="9200"/>
                  </a:cubicBezTo>
                  <a:lnTo>
                    <a:pt x="2489" y="9200"/>
                  </a:lnTo>
                  <a:cubicBezTo>
                    <a:pt x="2300" y="9200"/>
                    <a:pt x="2143" y="9042"/>
                    <a:pt x="2143" y="8822"/>
                  </a:cubicBezTo>
                  <a:cubicBezTo>
                    <a:pt x="2143" y="8633"/>
                    <a:pt x="2300" y="8475"/>
                    <a:pt x="2489" y="8475"/>
                  </a:cubicBezTo>
                  <a:close/>
                  <a:moveTo>
                    <a:pt x="6711" y="8475"/>
                  </a:moveTo>
                  <a:cubicBezTo>
                    <a:pt x="6900" y="8475"/>
                    <a:pt x="7058" y="8633"/>
                    <a:pt x="7058" y="8822"/>
                  </a:cubicBezTo>
                  <a:cubicBezTo>
                    <a:pt x="7058" y="9042"/>
                    <a:pt x="6900" y="9200"/>
                    <a:pt x="6711" y="9200"/>
                  </a:cubicBezTo>
                  <a:cubicBezTo>
                    <a:pt x="6522" y="9200"/>
                    <a:pt x="6365" y="9042"/>
                    <a:pt x="6365" y="8822"/>
                  </a:cubicBezTo>
                  <a:cubicBezTo>
                    <a:pt x="6365" y="8633"/>
                    <a:pt x="6522" y="8475"/>
                    <a:pt x="6711" y="8475"/>
                  </a:cubicBezTo>
                  <a:close/>
                  <a:moveTo>
                    <a:pt x="6711" y="9893"/>
                  </a:moveTo>
                  <a:cubicBezTo>
                    <a:pt x="6900" y="9893"/>
                    <a:pt x="7058" y="10050"/>
                    <a:pt x="7058" y="10239"/>
                  </a:cubicBezTo>
                  <a:cubicBezTo>
                    <a:pt x="7058" y="10428"/>
                    <a:pt x="6900" y="10617"/>
                    <a:pt x="6711" y="10617"/>
                  </a:cubicBezTo>
                  <a:lnTo>
                    <a:pt x="2489" y="10617"/>
                  </a:lnTo>
                  <a:cubicBezTo>
                    <a:pt x="2300" y="10617"/>
                    <a:pt x="2143" y="10460"/>
                    <a:pt x="2143" y="10239"/>
                  </a:cubicBezTo>
                  <a:cubicBezTo>
                    <a:pt x="2143" y="10050"/>
                    <a:pt x="2300" y="9893"/>
                    <a:pt x="2489" y="9893"/>
                  </a:cubicBezTo>
                  <a:close/>
                  <a:moveTo>
                    <a:pt x="379" y="0"/>
                  </a:moveTo>
                  <a:cubicBezTo>
                    <a:pt x="158" y="0"/>
                    <a:pt x="1" y="158"/>
                    <a:pt x="1" y="378"/>
                  </a:cubicBezTo>
                  <a:lnTo>
                    <a:pt x="1" y="11657"/>
                  </a:lnTo>
                  <a:cubicBezTo>
                    <a:pt x="1" y="11878"/>
                    <a:pt x="158" y="12004"/>
                    <a:pt x="379" y="12004"/>
                  </a:cubicBezTo>
                  <a:lnTo>
                    <a:pt x="8790" y="12004"/>
                  </a:lnTo>
                  <a:cubicBezTo>
                    <a:pt x="8979" y="12004"/>
                    <a:pt x="9137" y="11878"/>
                    <a:pt x="9137" y="11657"/>
                  </a:cubicBezTo>
                  <a:lnTo>
                    <a:pt x="9137" y="2804"/>
                  </a:lnTo>
                  <a:lnTo>
                    <a:pt x="6711" y="2804"/>
                  </a:lnTo>
                  <a:cubicBezTo>
                    <a:pt x="6522" y="2804"/>
                    <a:pt x="6365" y="2647"/>
                    <a:pt x="6365" y="2458"/>
                  </a:cubicBezTo>
                  <a:lnTo>
                    <a:pt x="63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74"/>
            <p:cNvSpPr/>
            <p:nvPr/>
          </p:nvSpPr>
          <p:spPr>
            <a:xfrm>
              <a:off x="-48155075" y="3322575"/>
              <a:ext cx="52775" cy="53575"/>
            </a:xfrm>
            <a:custGeom>
              <a:avLst/>
              <a:gdLst/>
              <a:ahLst/>
              <a:cxnLst/>
              <a:rect l="l" t="t" r="r" b="b"/>
              <a:pathLst>
                <a:path w="2111" h="2143" extrusionOk="0">
                  <a:moveTo>
                    <a:pt x="1355" y="1"/>
                  </a:moveTo>
                  <a:cubicBezTo>
                    <a:pt x="1197" y="725"/>
                    <a:pt x="662" y="1261"/>
                    <a:pt x="0" y="1387"/>
                  </a:cubicBez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74"/>
            <p:cNvSpPr/>
            <p:nvPr/>
          </p:nvSpPr>
          <p:spPr>
            <a:xfrm>
              <a:off x="-48014100" y="3417100"/>
              <a:ext cx="53575" cy="18125"/>
            </a:xfrm>
            <a:custGeom>
              <a:avLst/>
              <a:gdLst/>
              <a:ahLst/>
              <a:cxnLst/>
              <a:rect l="l" t="t" r="r" b="b"/>
              <a:pathLst>
                <a:path w="2143" h="725" extrusionOk="0">
                  <a:moveTo>
                    <a:pt x="1" y="0"/>
                  </a:moveTo>
                  <a:lnTo>
                    <a:pt x="1" y="725"/>
                  </a:lnTo>
                  <a:lnTo>
                    <a:pt x="2143" y="725"/>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74"/>
            <p:cNvSpPr/>
            <p:nvPr/>
          </p:nvSpPr>
          <p:spPr>
            <a:xfrm>
              <a:off x="-48014100" y="3289500"/>
              <a:ext cx="53575" cy="110300"/>
            </a:xfrm>
            <a:custGeom>
              <a:avLst/>
              <a:gdLst/>
              <a:ahLst/>
              <a:cxnLst/>
              <a:rect l="l" t="t" r="r" b="b"/>
              <a:pathLst>
                <a:path w="2143" h="4412" extrusionOk="0">
                  <a:moveTo>
                    <a:pt x="1" y="0"/>
                  </a:moveTo>
                  <a:lnTo>
                    <a:pt x="1" y="4411"/>
                  </a:lnTo>
                  <a:lnTo>
                    <a:pt x="2143" y="4411"/>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4"/>
            <p:cNvSpPr/>
            <p:nvPr/>
          </p:nvSpPr>
          <p:spPr>
            <a:xfrm>
              <a:off x="-48014100" y="3451750"/>
              <a:ext cx="53575" cy="48075"/>
            </a:xfrm>
            <a:custGeom>
              <a:avLst/>
              <a:gdLst/>
              <a:ahLst/>
              <a:cxnLst/>
              <a:rect l="l" t="t" r="r" b="b"/>
              <a:pathLst>
                <a:path w="2143" h="1923" extrusionOk="0">
                  <a:moveTo>
                    <a:pt x="1" y="0"/>
                  </a:moveTo>
                  <a:lnTo>
                    <a:pt x="1" y="883"/>
                  </a:lnTo>
                  <a:cubicBezTo>
                    <a:pt x="1" y="1450"/>
                    <a:pt x="473" y="1922"/>
                    <a:pt x="1072" y="1922"/>
                  </a:cubicBezTo>
                  <a:cubicBezTo>
                    <a:pt x="1670" y="1922"/>
                    <a:pt x="2143" y="1450"/>
                    <a:pt x="2143" y="883"/>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4"/>
            <p:cNvSpPr/>
            <p:nvPr/>
          </p:nvSpPr>
          <p:spPr>
            <a:xfrm>
              <a:off x="-48011725" y="3220375"/>
              <a:ext cx="48050" cy="51025"/>
            </a:xfrm>
            <a:custGeom>
              <a:avLst/>
              <a:gdLst/>
              <a:ahLst/>
              <a:cxnLst/>
              <a:rect l="l" t="t" r="r" b="b"/>
              <a:pathLst>
                <a:path w="1922" h="2041" extrusionOk="0">
                  <a:moveTo>
                    <a:pt x="985" y="1"/>
                  </a:moveTo>
                  <a:cubicBezTo>
                    <a:pt x="843" y="1"/>
                    <a:pt x="693" y="72"/>
                    <a:pt x="630" y="213"/>
                  </a:cubicBezTo>
                  <a:lnTo>
                    <a:pt x="0" y="2041"/>
                  </a:lnTo>
                  <a:lnTo>
                    <a:pt x="1922" y="2041"/>
                  </a:lnTo>
                  <a:lnTo>
                    <a:pt x="1292" y="213"/>
                  </a:lnTo>
                  <a:cubicBezTo>
                    <a:pt x="1260" y="72"/>
                    <a:pt x="1126" y="1"/>
                    <a:pt x="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3" name="Google Shape;7913;p74"/>
          <p:cNvGrpSpPr/>
          <p:nvPr/>
        </p:nvGrpSpPr>
        <p:grpSpPr>
          <a:xfrm>
            <a:off x="3526383" y="1844447"/>
            <a:ext cx="298377" cy="354519"/>
            <a:chOff x="-48233050" y="3569725"/>
            <a:chExt cx="252050" cy="299475"/>
          </a:xfrm>
        </p:grpSpPr>
        <p:sp>
          <p:nvSpPr>
            <p:cNvPr id="7914" name="Google Shape;7914;p74"/>
            <p:cNvSpPr/>
            <p:nvPr/>
          </p:nvSpPr>
          <p:spPr>
            <a:xfrm>
              <a:off x="-48233050" y="3569725"/>
              <a:ext cx="252050" cy="299475"/>
            </a:xfrm>
            <a:custGeom>
              <a:avLst/>
              <a:gdLst/>
              <a:ahLst/>
              <a:cxnLst/>
              <a:rect l="l" t="t" r="r" b="b"/>
              <a:pathLst>
                <a:path w="10082" h="11979" extrusionOk="0">
                  <a:moveTo>
                    <a:pt x="5230" y="1393"/>
                  </a:moveTo>
                  <a:cubicBezTo>
                    <a:pt x="5419" y="1393"/>
                    <a:pt x="5577" y="1551"/>
                    <a:pt x="5577" y="1740"/>
                  </a:cubicBezTo>
                  <a:lnTo>
                    <a:pt x="5577" y="1960"/>
                  </a:lnTo>
                  <a:cubicBezTo>
                    <a:pt x="5703" y="2023"/>
                    <a:pt x="5829" y="2086"/>
                    <a:pt x="5923" y="2181"/>
                  </a:cubicBezTo>
                  <a:lnTo>
                    <a:pt x="6144" y="2055"/>
                  </a:lnTo>
                  <a:cubicBezTo>
                    <a:pt x="6194" y="2025"/>
                    <a:pt x="6251" y="2011"/>
                    <a:pt x="6308" y="2011"/>
                  </a:cubicBezTo>
                  <a:cubicBezTo>
                    <a:pt x="6430" y="2011"/>
                    <a:pt x="6552" y="2074"/>
                    <a:pt x="6616" y="2181"/>
                  </a:cubicBezTo>
                  <a:lnTo>
                    <a:pt x="7309" y="3410"/>
                  </a:lnTo>
                  <a:cubicBezTo>
                    <a:pt x="7467" y="3725"/>
                    <a:pt x="7246" y="3819"/>
                    <a:pt x="6963" y="3977"/>
                  </a:cubicBezTo>
                  <a:lnTo>
                    <a:pt x="6963" y="4386"/>
                  </a:lnTo>
                  <a:cubicBezTo>
                    <a:pt x="7246" y="4544"/>
                    <a:pt x="7467" y="4670"/>
                    <a:pt x="7309" y="4985"/>
                  </a:cubicBezTo>
                  <a:lnTo>
                    <a:pt x="6616" y="6182"/>
                  </a:lnTo>
                  <a:cubicBezTo>
                    <a:pt x="6531" y="6289"/>
                    <a:pt x="6417" y="6366"/>
                    <a:pt x="6303" y="6366"/>
                  </a:cubicBezTo>
                  <a:cubicBezTo>
                    <a:pt x="6249" y="6366"/>
                    <a:pt x="6195" y="6349"/>
                    <a:pt x="6144" y="6308"/>
                  </a:cubicBezTo>
                  <a:lnTo>
                    <a:pt x="5923" y="6182"/>
                  </a:lnTo>
                  <a:cubicBezTo>
                    <a:pt x="5829" y="6277"/>
                    <a:pt x="5703" y="6340"/>
                    <a:pt x="5577" y="6403"/>
                  </a:cubicBezTo>
                  <a:lnTo>
                    <a:pt x="5577" y="6623"/>
                  </a:lnTo>
                  <a:cubicBezTo>
                    <a:pt x="5577" y="6812"/>
                    <a:pt x="5419" y="6970"/>
                    <a:pt x="5230" y="6970"/>
                  </a:cubicBezTo>
                  <a:lnTo>
                    <a:pt x="3812" y="6970"/>
                  </a:lnTo>
                  <a:cubicBezTo>
                    <a:pt x="3623" y="6970"/>
                    <a:pt x="3466" y="6812"/>
                    <a:pt x="3466" y="6623"/>
                  </a:cubicBezTo>
                  <a:lnTo>
                    <a:pt x="3466" y="6403"/>
                  </a:lnTo>
                  <a:cubicBezTo>
                    <a:pt x="3340" y="6340"/>
                    <a:pt x="3214" y="6277"/>
                    <a:pt x="3119" y="6182"/>
                  </a:cubicBezTo>
                  <a:lnTo>
                    <a:pt x="2899" y="6308"/>
                  </a:lnTo>
                  <a:cubicBezTo>
                    <a:pt x="2848" y="6338"/>
                    <a:pt x="2791" y="6352"/>
                    <a:pt x="2734" y="6352"/>
                  </a:cubicBezTo>
                  <a:cubicBezTo>
                    <a:pt x="2613" y="6352"/>
                    <a:pt x="2490" y="6289"/>
                    <a:pt x="2426" y="6182"/>
                  </a:cubicBezTo>
                  <a:lnTo>
                    <a:pt x="1733" y="4985"/>
                  </a:lnTo>
                  <a:cubicBezTo>
                    <a:pt x="1638" y="4827"/>
                    <a:pt x="1670" y="4575"/>
                    <a:pt x="1859" y="4512"/>
                  </a:cubicBezTo>
                  <a:lnTo>
                    <a:pt x="2048" y="4386"/>
                  </a:lnTo>
                  <a:lnTo>
                    <a:pt x="2048" y="3977"/>
                  </a:lnTo>
                  <a:lnTo>
                    <a:pt x="1859" y="3882"/>
                  </a:lnTo>
                  <a:cubicBezTo>
                    <a:pt x="1702" y="3788"/>
                    <a:pt x="1607" y="3536"/>
                    <a:pt x="1733" y="3410"/>
                  </a:cubicBezTo>
                  <a:lnTo>
                    <a:pt x="2426" y="2181"/>
                  </a:lnTo>
                  <a:cubicBezTo>
                    <a:pt x="2490" y="2074"/>
                    <a:pt x="2612" y="1997"/>
                    <a:pt x="2733" y="1997"/>
                  </a:cubicBezTo>
                  <a:cubicBezTo>
                    <a:pt x="2790" y="1997"/>
                    <a:pt x="2848" y="2014"/>
                    <a:pt x="2899" y="2055"/>
                  </a:cubicBezTo>
                  <a:lnTo>
                    <a:pt x="3119" y="2181"/>
                  </a:lnTo>
                  <a:cubicBezTo>
                    <a:pt x="3214" y="2086"/>
                    <a:pt x="3340" y="2023"/>
                    <a:pt x="3466" y="1960"/>
                  </a:cubicBezTo>
                  <a:lnTo>
                    <a:pt x="3466" y="1740"/>
                  </a:lnTo>
                  <a:cubicBezTo>
                    <a:pt x="3466" y="1551"/>
                    <a:pt x="3623" y="1393"/>
                    <a:pt x="3812" y="1393"/>
                  </a:cubicBezTo>
                  <a:close/>
                  <a:moveTo>
                    <a:pt x="4547" y="0"/>
                  </a:moveTo>
                  <a:cubicBezTo>
                    <a:pt x="3499" y="0"/>
                    <a:pt x="2484" y="337"/>
                    <a:pt x="1670" y="984"/>
                  </a:cubicBezTo>
                  <a:cubicBezTo>
                    <a:pt x="630" y="1866"/>
                    <a:pt x="0" y="3158"/>
                    <a:pt x="0" y="4544"/>
                  </a:cubicBezTo>
                  <a:cubicBezTo>
                    <a:pt x="0" y="5804"/>
                    <a:pt x="504" y="6970"/>
                    <a:pt x="1418" y="7852"/>
                  </a:cubicBezTo>
                  <a:lnTo>
                    <a:pt x="1418" y="11632"/>
                  </a:lnTo>
                  <a:cubicBezTo>
                    <a:pt x="1418" y="11821"/>
                    <a:pt x="1575" y="11979"/>
                    <a:pt x="1765" y="11979"/>
                  </a:cubicBezTo>
                  <a:lnTo>
                    <a:pt x="5986" y="11979"/>
                  </a:lnTo>
                  <a:cubicBezTo>
                    <a:pt x="6175" y="11979"/>
                    <a:pt x="6333" y="11821"/>
                    <a:pt x="6333" y="11632"/>
                  </a:cubicBezTo>
                  <a:lnTo>
                    <a:pt x="6333" y="10530"/>
                  </a:lnTo>
                  <a:lnTo>
                    <a:pt x="8097" y="10530"/>
                  </a:lnTo>
                  <a:cubicBezTo>
                    <a:pt x="8286" y="10530"/>
                    <a:pt x="8444" y="10372"/>
                    <a:pt x="8444" y="10183"/>
                  </a:cubicBezTo>
                  <a:lnTo>
                    <a:pt x="8444" y="8387"/>
                  </a:lnTo>
                  <a:lnTo>
                    <a:pt x="9042" y="8387"/>
                  </a:lnTo>
                  <a:cubicBezTo>
                    <a:pt x="9389" y="8387"/>
                    <a:pt x="9767" y="8198"/>
                    <a:pt x="9956" y="7883"/>
                  </a:cubicBezTo>
                  <a:cubicBezTo>
                    <a:pt x="10082" y="7568"/>
                    <a:pt x="10082" y="7190"/>
                    <a:pt x="9924" y="6875"/>
                  </a:cubicBezTo>
                  <a:lnTo>
                    <a:pt x="9042" y="5237"/>
                  </a:lnTo>
                  <a:cubicBezTo>
                    <a:pt x="9137" y="4701"/>
                    <a:pt x="9137" y="4134"/>
                    <a:pt x="9011" y="3599"/>
                  </a:cubicBezTo>
                  <a:cubicBezTo>
                    <a:pt x="8664" y="1866"/>
                    <a:pt x="7246" y="480"/>
                    <a:pt x="5545" y="102"/>
                  </a:cubicBezTo>
                  <a:cubicBezTo>
                    <a:pt x="5213" y="34"/>
                    <a:pt x="4878" y="0"/>
                    <a:pt x="4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4"/>
            <p:cNvSpPr/>
            <p:nvPr/>
          </p:nvSpPr>
          <p:spPr>
            <a:xfrm>
              <a:off x="-48170050" y="3622650"/>
              <a:ext cx="100050" cy="103225"/>
            </a:xfrm>
            <a:custGeom>
              <a:avLst/>
              <a:gdLst/>
              <a:ahLst/>
              <a:cxnLst/>
              <a:rect l="l" t="t" r="r" b="b"/>
              <a:pathLst>
                <a:path w="4002" h="4129" extrusionOk="0">
                  <a:moveTo>
                    <a:pt x="1985" y="1009"/>
                  </a:moveTo>
                  <a:cubicBezTo>
                    <a:pt x="2584" y="1009"/>
                    <a:pt x="3057" y="1482"/>
                    <a:pt x="3057" y="2080"/>
                  </a:cubicBezTo>
                  <a:cubicBezTo>
                    <a:pt x="3057" y="2647"/>
                    <a:pt x="2584" y="3120"/>
                    <a:pt x="1985" y="3120"/>
                  </a:cubicBezTo>
                  <a:cubicBezTo>
                    <a:pt x="1418" y="3120"/>
                    <a:pt x="946" y="2647"/>
                    <a:pt x="946" y="2080"/>
                  </a:cubicBezTo>
                  <a:cubicBezTo>
                    <a:pt x="946" y="1482"/>
                    <a:pt x="1418" y="1009"/>
                    <a:pt x="1985" y="1009"/>
                  </a:cubicBezTo>
                  <a:close/>
                  <a:moveTo>
                    <a:pt x="1639" y="1"/>
                  </a:moveTo>
                  <a:lnTo>
                    <a:pt x="1639" y="127"/>
                  </a:lnTo>
                  <a:cubicBezTo>
                    <a:pt x="1639" y="284"/>
                    <a:pt x="1576" y="410"/>
                    <a:pt x="1418" y="442"/>
                  </a:cubicBezTo>
                  <a:cubicBezTo>
                    <a:pt x="1198" y="537"/>
                    <a:pt x="1009" y="631"/>
                    <a:pt x="851" y="757"/>
                  </a:cubicBezTo>
                  <a:cubicBezTo>
                    <a:pt x="770" y="818"/>
                    <a:pt x="689" y="853"/>
                    <a:pt x="607" y="853"/>
                  </a:cubicBezTo>
                  <a:cubicBezTo>
                    <a:pt x="562" y="853"/>
                    <a:pt x="518" y="842"/>
                    <a:pt x="473" y="820"/>
                  </a:cubicBezTo>
                  <a:lnTo>
                    <a:pt x="347" y="726"/>
                  </a:lnTo>
                  <a:lnTo>
                    <a:pt x="1" y="1324"/>
                  </a:lnTo>
                  <a:lnTo>
                    <a:pt x="127" y="1387"/>
                  </a:lnTo>
                  <a:cubicBezTo>
                    <a:pt x="221" y="1482"/>
                    <a:pt x="316" y="1639"/>
                    <a:pt x="253" y="1765"/>
                  </a:cubicBezTo>
                  <a:cubicBezTo>
                    <a:pt x="221" y="1986"/>
                    <a:pt x="221" y="2143"/>
                    <a:pt x="253" y="2395"/>
                  </a:cubicBezTo>
                  <a:cubicBezTo>
                    <a:pt x="316" y="2553"/>
                    <a:pt x="221" y="2647"/>
                    <a:pt x="127" y="2742"/>
                  </a:cubicBezTo>
                  <a:lnTo>
                    <a:pt x="1" y="2805"/>
                  </a:lnTo>
                  <a:lnTo>
                    <a:pt x="347" y="3403"/>
                  </a:lnTo>
                  <a:lnTo>
                    <a:pt x="473" y="3340"/>
                  </a:lnTo>
                  <a:cubicBezTo>
                    <a:pt x="532" y="3297"/>
                    <a:pt x="590" y="3273"/>
                    <a:pt x="649" y="3273"/>
                  </a:cubicBezTo>
                  <a:cubicBezTo>
                    <a:pt x="716" y="3273"/>
                    <a:pt x="784" y="3304"/>
                    <a:pt x="851" y="3372"/>
                  </a:cubicBezTo>
                  <a:cubicBezTo>
                    <a:pt x="1009" y="3529"/>
                    <a:pt x="1198" y="3592"/>
                    <a:pt x="1418" y="3687"/>
                  </a:cubicBezTo>
                  <a:cubicBezTo>
                    <a:pt x="1576" y="3718"/>
                    <a:pt x="1639" y="3876"/>
                    <a:pt x="1639" y="4002"/>
                  </a:cubicBezTo>
                  <a:lnTo>
                    <a:pt x="1639" y="4128"/>
                  </a:lnTo>
                  <a:lnTo>
                    <a:pt x="2364" y="4128"/>
                  </a:lnTo>
                  <a:lnTo>
                    <a:pt x="2364" y="4002"/>
                  </a:lnTo>
                  <a:cubicBezTo>
                    <a:pt x="2364" y="3845"/>
                    <a:pt x="2427" y="3718"/>
                    <a:pt x="2584" y="3687"/>
                  </a:cubicBezTo>
                  <a:cubicBezTo>
                    <a:pt x="2805" y="3592"/>
                    <a:pt x="2994" y="3498"/>
                    <a:pt x="3151" y="3372"/>
                  </a:cubicBezTo>
                  <a:cubicBezTo>
                    <a:pt x="3224" y="3317"/>
                    <a:pt x="3298" y="3283"/>
                    <a:pt x="3371" y="3283"/>
                  </a:cubicBezTo>
                  <a:cubicBezTo>
                    <a:pt x="3424" y="3283"/>
                    <a:pt x="3476" y="3301"/>
                    <a:pt x="3529" y="3340"/>
                  </a:cubicBezTo>
                  <a:lnTo>
                    <a:pt x="3655" y="3403"/>
                  </a:lnTo>
                  <a:lnTo>
                    <a:pt x="4002" y="2805"/>
                  </a:lnTo>
                  <a:lnTo>
                    <a:pt x="3876" y="2742"/>
                  </a:lnTo>
                  <a:cubicBezTo>
                    <a:pt x="3781" y="2647"/>
                    <a:pt x="3687" y="2490"/>
                    <a:pt x="3750" y="2395"/>
                  </a:cubicBezTo>
                  <a:cubicBezTo>
                    <a:pt x="3781" y="2143"/>
                    <a:pt x="3781" y="1986"/>
                    <a:pt x="3750" y="1765"/>
                  </a:cubicBezTo>
                  <a:cubicBezTo>
                    <a:pt x="3687" y="1608"/>
                    <a:pt x="3781" y="1482"/>
                    <a:pt x="3876" y="1387"/>
                  </a:cubicBezTo>
                  <a:lnTo>
                    <a:pt x="4002" y="1324"/>
                  </a:lnTo>
                  <a:lnTo>
                    <a:pt x="3655" y="726"/>
                  </a:lnTo>
                  <a:lnTo>
                    <a:pt x="3529" y="820"/>
                  </a:lnTo>
                  <a:cubicBezTo>
                    <a:pt x="3477" y="846"/>
                    <a:pt x="3425" y="861"/>
                    <a:pt x="3373" y="861"/>
                  </a:cubicBezTo>
                  <a:cubicBezTo>
                    <a:pt x="3299" y="861"/>
                    <a:pt x="3225" y="831"/>
                    <a:pt x="3151" y="757"/>
                  </a:cubicBezTo>
                  <a:cubicBezTo>
                    <a:pt x="2994" y="600"/>
                    <a:pt x="2805" y="537"/>
                    <a:pt x="2584" y="442"/>
                  </a:cubicBezTo>
                  <a:cubicBezTo>
                    <a:pt x="2427" y="410"/>
                    <a:pt x="2364" y="253"/>
                    <a:pt x="2364" y="127"/>
                  </a:cubicBezTo>
                  <a:lnTo>
                    <a:pt x="23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4"/>
            <p:cNvSpPr/>
            <p:nvPr/>
          </p:nvSpPr>
          <p:spPr>
            <a:xfrm>
              <a:off x="-48129100" y="3665200"/>
              <a:ext cx="18150" cy="18125"/>
            </a:xfrm>
            <a:custGeom>
              <a:avLst/>
              <a:gdLst/>
              <a:ahLst/>
              <a:cxnLst/>
              <a:rect l="l" t="t" r="r" b="b"/>
              <a:pathLst>
                <a:path w="726" h="725" extrusionOk="0">
                  <a:moveTo>
                    <a:pt x="347" y="0"/>
                  </a:moveTo>
                  <a:cubicBezTo>
                    <a:pt x="158" y="0"/>
                    <a:pt x="1" y="158"/>
                    <a:pt x="1" y="378"/>
                  </a:cubicBezTo>
                  <a:cubicBezTo>
                    <a:pt x="1" y="567"/>
                    <a:pt x="158" y="725"/>
                    <a:pt x="347" y="725"/>
                  </a:cubicBezTo>
                  <a:cubicBezTo>
                    <a:pt x="568" y="725"/>
                    <a:pt x="726" y="567"/>
                    <a:pt x="726" y="378"/>
                  </a:cubicBezTo>
                  <a:cubicBezTo>
                    <a:pt x="726"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7" name="Google Shape;7917;p74"/>
          <p:cNvGrpSpPr/>
          <p:nvPr/>
        </p:nvGrpSpPr>
        <p:grpSpPr>
          <a:xfrm>
            <a:off x="3550148" y="2278191"/>
            <a:ext cx="250847" cy="358070"/>
            <a:chOff x="-48216525" y="3936125"/>
            <a:chExt cx="211900" cy="302475"/>
          </a:xfrm>
        </p:grpSpPr>
        <p:sp>
          <p:nvSpPr>
            <p:cNvPr id="7918" name="Google Shape;7918;p74"/>
            <p:cNvSpPr/>
            <p:nvPr/>
          </p:nvSpPr>
          <p:spPr>
            <a:xfrm>
              <a:off x="-48207850" y="3955825"/>
              <a:ext cx="105550" cy="158325"/>
            </a:xfrm>
            <a:custGeom>
              <a:avLst/>
              <a:gdLst/>
              <a:ahLst/>
              <a:cxnLst/>
              <a:rect l="l" t="t" r="r" b="b"/>
              <a:pathLst>
                <a:path w="4222" h="6333" extrusionOk="0">
                  <a:moveTo>
                    <a:pt x="2080" y="2080"/>
                  </a:moveTo>
                  <a:cubicBezTo>
                    <a:pt x="2300" y="2080"/>
                    <a:pt x="2458" y="2237"/>
                    <a:pt x="2458" y="2458"/>
                  </a:cubicBezTo>
                  <a:lnTo>
                    <a:pt x="2458" y="3151"/>
                  </a:lnTo>
                  <a:cubicBezTo>
                    <a:pt x="2458" y="3340"/>
                    <a:pt x="2300" y="3497"/>
                    <a:pt x="2080" y="3497"/>
                  </a:cubicBezTo>
                  <a:cubicBezTo>
                    <a:pt x="1891" y="3497"/>
                    <a:pt x="1733" y="3340"/>
                    <a:pt x="1733" y="3151"/>
                  </a:cubicBezTo>
                  <a:lnTo>
                    <a:pt x="1733" y="2458"/>
                  </a:lnTo>
                  <a:cubicBezTo>
                    <a:pt x="1733" y="2237"/>
                    <a:pt x="1891" y="2080"/>
                    <a:pt x="2080" y="2080"/>
                  </a:cubicBezTo>
                  <a:close/>
                  <a:moveTo>
                    <a:pt x="2080" y="4222"/>
                  </a:moveTo>
                  <a:cubicBezTo>
                    <a:pt x="2300" y="4222"/>
                    <a:pt x="2458" y="4380"/>
                    <a:pt x="2458" y="4569"/>
                  </a:cubicBezTo>
                  <a:lnTo>
                    <a:pt x="2458" y="5293"/>
                  </a:lnTo>
                  <a:cubicBezTo>
                    <a:pt x="2458" y="5482"/>
                    <a:pt x="2300" y="5640"/>
                    <a:pt x="2080" y="5640"/>
                  </a:cubicBezTo>
                  <a:cubicBezTo>
                    <a:pt x="1891" y="5640"/>
                    <a:pt x="1733" y="5482"/>
                    <a:pt x="1733" y="5293"/>
                  </a:cubicBezTo>
                  <a:lnTo>
                    <a:pt x="1733" y="4569"/>
                  </a:lnTo>
                  <a:cubicBezTo>
                    <a:pt x="1733" y="4380"/>
                    <a:pt x="1891" y="4222"/>
                    <a:pt x="2080" y="4222"/>
                  </a:cubicBezTo>
                  <a:close/>
                  <a:moveTo>
                    <a:pt x="2111" y="0"/>
                  </a:moveTo>
                  <a:cubicBezTo>
                    <a:pt x="1891" y="0"/>
                    <a:pt x="1733" y="158"/>
                    <a:pt x="1733" y="347"/>
                  </a:cubicBezTo>
                  <a:lnTo>
                    <a:pt x="1733" y="757"/>
                  </a:lnTo>
                  <a:cubicBezTo>
                    <a:pt x="1544" y="788"/>
                    <a:pt x="1355" y="914"/>
                    <a:pt x="1198" y="1072"/>
                  </a:cubicBezTo>
                  <a:lnTo>
                    <a:pt x="883" y="757"/>
                  </a:lnTo>
                  <a:cubicBezTo>
                    <a:pt x="820" y="694"/>
                    <a:pt x="733" y="662"/>
                    <a:pt x="642" y="662"/>
                  </a:cubicBezTo>
                  <a:cubicBezTo>
                    <a:pt x="552" y="662"/>
                    <a:pt x="457" y="694"/>
                    <a:pt x="378" y="757"/>
                  </a:cubicBezTo>
                  <a:cubicBezTo>
                    <a:pt x="252" y="883"/>
                    <a:pt x="252" y="1103"/>
                    <a:pt x="378" y="1261"/>
                  </a:cubicBezTo>
                  <a:lnTo>
                    <a:pt x="788" y="1702"/>
                  </a:lnTo>
                  <a:cubicBezTo>
                    <a:pt x="757" y="1859"/>
                    <a:pt x="725" y="2017"/>
                    <a:pt x="725" y="2174"/>
                  </a:cubicBezTo>
                  <a:lnTo>
                    <a:pt x="378" y="2174"/>
                  </a:lnTo>
                  <a:cubicBezTo>
                    <a:pt x="158" y="2174"/>
                    <a:pt x="0" y="2332"/>
                    <a:pt x="0" y="2521"/>
                  </a:cubicBezTo>
                  <a:cubicBezTo>
                    <a:pt x="0" y="2710"/>
                    <a:pt x="158" y="2867"/>
                    <a:pt x="378" y="2867"/>
                  </a:cubicBezTo>
                  <a:lnTo>
                    <a:pt x="725" y="2867"/>
                  </a:lnTo>
                  <a:lnTo>
                    <a:pt x="725" y="3592"/>
                  </a:lnTo>
                  <a:lnTo>
                    <a:pt x="378" y="3592"/>
                  </a:lnTo>
                  <a:cubicBezTo>
                    <a:pt x="158" y="3592"/>
                    <a:pt x="0" y="3750"/>
                    <a:pt x="0" y="3939"/>
                  </a:cubicBezTo>
                  <a:cubicBezTo>
                    <a:pt x="0" y="4128"/>
                    <a:pt x="158" y="4285"/>
                    <a:pt x="378" y="4285"/>
                  </a:cubicBezTo>
                  <a:lnTo>
                    <a:pt x="725" y="4285"/>
                  </a:lnTo>
                  <a:lnTo>
                    <a:pt x="725" y="5010"/>
                  </a:lnTo>
                  <a:lnTo>
                    <a:pt x="347" y="5010"/>
                  </a:lnTo>
                  <a:lnTo>
                    <a:pt x="347" y="4915"/>
                  </a:lnTo>
                  <a:cubicBezTo>
                    <a:pt x="158" y="4915"/>
                    <a:pt x="0" y="5073"/>
                    <a:pt x="0" y="5293"/>
                  </a:cubicBezTo>
                  <a:cubicBezTo>
                    <a:pt x="0" y="5482"/>
                    <a:pt x="158" y="5640"/>
                    <a:pt x="347" y="5640"/>
                  </a:cubicBezTo>
                  <a:lnTo>
                    <a:pt x="725" y="5640"/>
                  </a:lnTo>
                  <a:lnTo>
                    <a:pt x="725" y="6333"/>
                  </a:lnTo>
                  <a:lnTo>
                    <a:pt x="3497" y="6333"/>
                  </a:lnTo>
                  <a:lnTo>
                    <a:pt x="3497" y="5640"/>
                  </a:lnTo>
                  <a:lnTo>
                    <a:pt x="3876" y="5640"/>
                  </a:lnTo>
                  <a:cubicBezTo>
                    <a:pt x="4065" y="5640"/>
                    <a:pt x="4222" y="5482"/>
                    <a:pt x="4222" y="5293"/>
                  </a:cubicBezTo>
                  <a:cubicBezTo>
                    <a:pt x="4222" y="5073"/>
                    <a:pt x="4065" y="4915"/>
                    <a:pt x="3876" y="4915"/>
                  </a:cubicBezTo>
                  <a:lnTo>
                    <a:pt x="3497" y="4915"/>
                  </a:lnTo>
                  <a:lnTo>
                    <a:pt x="3497" y="4222"/>
                  </a:lnTo>
                  <a:lnTo>
                    <a:pt x="3876" y="4222"/>
                  </a:lnTo>
                  <a:cubicBezTo>
                    <a:pt x="4065" y="4222"/>
                    <a:pt x="4222" y="4065"/>
                    <a:pt x="4222" y="3876"/>
                  </a:cubicBezTo>
                  <a:cubicBezTo>
                    <a:pt x="4222" y="3655"/>
                    <a:pt x="4065" y="3497"/>
                    <a:pt x="3876" y="3497"/>
                  </a:cubicBezTo>
                  <a:lnTo>
                    <a:pt x="3497" y="3497"/>
                  </a:lnTo>
                  <a:lnTo>
                    <a:pt x="3497" y="2804"/>
                  </a:lnTo>
                  <a:lnTo>
                    <a:pt x="3876" y="2804"/>
                  </a:lnTo>
                  <a:cubicBezTo>
                    <a:pt x="4065" y="2804"/>
                    <a:pt x="4222" y="2647"/>
                    <a:pt x="4222" y="2458"/>
                  </a:cubicBezTo>
                  <a:cubicBezTo>
                    <a:pt x="4222" y="2237"/>
                    <a:pt x="4065" y="2080"/>
                    <a:pt x="3876" y="2080"/>
                  </a:cubicBezTo>
                  <a:lnTo>
                    <a:pt x="3497" y="2080"/>
                  </a:lnTo>
                  <a:cubicBezTo>
                    <a:pt x="3497" y="1418"/>
                    <a:pt x="3088" y="914"/>
                    <a:pt x="2458" y="757"/>
                  </a:cubicBezTo>
                  <a:lnTo>
                    <a:pt x="2458" y="347"/>
                  </a:lnTo>
                  <a:cubicBezTo>
                    <a:pt x="2458" y="158"/>
                    <a:pt x="2300"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74"/>
            <p:cNvSpPr/>
            <p:nvPr/>
          </p:nvSpPr>
          <p:spPr>
            <a:xfrm>
              <a:off x="-48192100" y="4184225"/>
              <a:ext cx="163850" cy="54375"/>
            </a:xfrm>
            <a:custGeom>
              <a:avLst/>
              <a:gdLst/>
              <a:ahLst/>
              <a:cxnLst/>
              <a:rect l="l" t="t" r="r" b="b"/>
              <a:pathLst>
                <a:path w="6554" h="2175" extrusionOk="0">
                  <a:moveTo>
                    <a:pt x="0" y="1"/>
                  </a:moveTo>
                  <a:lnTo>
                    <a:pt x="442" y="1891"/>
                  </a:lnTo>
                  <a:cubicBezTo>
                    <a:pt x="473" y="2049"/>
                    <a:pt x="631" y="2175"/>
                    <a:pt x="788" y="2175"/>
                  </a:cubicBezTo>
                  <a:lnTo>
                    <a:pt x="5703" y="2175"/>
                  </a:lnTo>
                  <a:cubicBezTo>
                    <a:pt x="5860" y="2175"/>
                    <a:pt x="6018" y="2049"/>
                    <a:pt x="6081" y="1891"/>
                  </a:cubicBezTo>
                  <a:lnTo>
                    <a:pt x="65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74"/>
            <p:cNvSpPr/>
            <p:nvPr/>
          </p:nvSpPr>
          <p:spPr>
            <a:xfrm>
              <a:off x="-48216525" y="4131475"/>
              <a:ext cx="211900" cy="34675"/>
            </a:xfrm>
            <a:custGeom>
              <a:avLst/>
              <a:gdLst/>
              <a:ahLst/>
              <a:cxnLst/>
              <a:rect l="l" t="t" r="r" b="b"/>
              <a:pathLst>
                <a:path w="8476" h="1387" extrusionOk="0">
                  <a:moveTo>
                    <a:pt x="347" y="0"/>
                  </a:moveTo>
                  <a:cubicBezTo>
                    <a:pt x="158" y="0"/>
                    <a:pt x="1" y="126"/>
                    <a:pt x="1" y="347"/>
                  </a:cubicBezTo>
                  <a:cubicBezTo>
                    <a:pt x="1" y="914"/>
                    <a:pt x="473" y="1386"/>
                    <a:pt x="1072" y="1386"/>
                  </a:cubicBezTo>
                  <a:lnTo>
                    <a:pt x="7405" y="1386"/>
                  </a:lnTo>
                  <a:cubicBezTo>
                    <a:pt x="8003" y="1386"/>
                    <a:pt x="8476" y="914"/>
                    <a:pt x="8476" y="347"/>
                  </a:cubicBez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4"/>
            <p:cNvSpPr/>
            <p:nvPr/>
          </p:nvSpPr>
          <p:spPr>
            <a:xfrm>
              <a:off x="-48113350" y="3936125"/>
              <a:ext cx="98475" cy="178025"/>
            </a:xfrm>
            <a:custGeom>
              <a:avLst/>
              <a:gdLst/>
              <a:ahLst/>
              <a:cxnLst/>
              <a:rect l="l" t="t" r="r" b="b"/>
              <a:pathLst>
                <a:path w="3939" h="7121" extrusionOk="0">
                  <a:moveTo>
                    <a:pt x="1860" y="2175"/>
                  </a:moveTo>
                  <a:cubicBezTo>
                    <a:pt x="2049" y="2175"/>
                    <a:pt x="2206" y="2332"/>
                    <a:pt x="2206" y="2521"/>
                  </a:cubicBezTo>
                  <a:lnTo>
                    <a:pt x="2206" y="3246"/>
                  </a:lnTo>
                  <a:cubicBezTo>
                    <a:pt x="2206" y="3435"/>
                    <a:pt x="2049" y="3592"/>
                    <a:pt x="1860" y="3592"/>
                  </a:cubicBezTo>
                  <a:cubicBezTo>
                    <a:pt x="1671" y="3592"/>
                    <a:pt x="1513" y="3435"/>
                    <a:pt x="1513" y="3246"/>
                  </a:cubicBezTo>
                  <a:lnTo>
                    <a:pt x="1513" y="2521"/>
                  </a:lnTo>
                  <a:cubicBezTo>
                    <a:pt x="1513" y="2332"/>
                    <a:pt x="1671" y="2175"/>
                    <a:pt x="1860" y="2175"/>
                  </a:cubicBezTo>
                  <a:close/>
                  <a:moveTo>
                    <a:pt x="1860" y="4285"/>
                  </a:moveTo>
                  <a:cubicBezTo>
                    <a:pt x="2049" y="4285"/>
                    <a:pt x="2206" y="4443"/>
                    <a:pt x="2206" y="4632"/>
                  </a:cubicBezTo>
                  <a:lnTo>
                    <a:pt x="2206" y="5357"/>
                  </a:lnTo>
                  <a:cubicBezTo>
                    <a:pt x="2206" y="5546"/>
                    <a:pt x="2049" y="5703"/>
                    <a:pt x="1860" y="5703"/>
                  </a:cubicBezTo>
                  <a:cubicBezTo>
                    <a:pt x="1671" y="5703"/>
                    <a:pt x="1513" y="5546"/>
                    <a:pt x="1513" y="5357"/>
                  </a:cubicBezTo>
                  <a:lnTo>
                    <a:pt x="1513" y="4632"/>
                  </a:lnTo>
                  <a:cubicBezTo>
                    <a:pt x="1513" y="4443"/>
                    <a:pt x="1671" y="4285"/>
                    <a:pt x="1860" y="4285"/>
                  </a:cubicBezTo>
                  <a:close/>
                  <a:moveTo>
                    <a:pt x="1860" y="1"/>
                  </a:moveTo>
                  <a:cubicBezTo>
                    <a:pt x="1671" y="1"/>
                    <a:pt x="1513" y="158"/>
                    <a:pt x="1513" y="347"/>
                  </a:cubicBezTo>
                  <a:lnTo>
                    <a:pt x="1513" y="757"/>
                  </a:lnTo>
                  <a:cubicBezTo>
                    <a:pt x="1324" y="788"/>
                    <a:pt x="1104" y="914"/>
                    <a:pt x="946" y="1072"/>
                  </a:cubicBezTo>
                  <a:lnTo>
                    <a:pt x="631" y="757"/>
                  </a:lnTo>
                  <a:cubicBezTo>
                    <a:pt x="584" y="694"/>
                    <a:pt x="497" y="662"/>
                    <a:pt x="403" y="662"/>
                  </a:cubicBezTo>
                  <a:cubicBezTo>
                    <a:pt x="308" y="662"/>
                    <a:pt x="206" y="694"/>
                    <a:pt x="127" y="757"/>
                  </a:cubicBezTo>
                  <a:cubicBezTo>
                    <a:pt x="1" y="883"/>
                    <a:pt x="1" y="1104"/>
                    <a:pt x="127" y="1261"/>
                  </a:cubicBezTo>
                  <a:lnTo>
                    <a:pt x="505" y="1702"/>
                  </a:lnTo>
                  <a:cubicBezTo>
                    <a:pt x="474" y="1860"/>
                    <a:pt x="442" y="2017"/>
                    <a:pt x="442" y="2175"/>
                  </a:cubicBezTo>
                  <a:lnTo>
                    <a:pt x="442" y="2238"/>
                  </a:lnTo>
                  <a:cubicBezTo>
                    <a:pt x="820" y="2395"/>
                    <a:pt x="1135" y="2742"/>
                    <a:pt x="1135" y="3214"/>
                  </a:cubicBezTo>
                  <a:cubicBezTo>
                    <a:pt x="1135" y="3498"/>
                    <a:pt x="1041" y="3750"/>
                    <a:pt x="883" y="3939"/>
                  </a:cubicBezTo>
                  <a:cubicBezTo>
                    <a:pt x="1041" y="4128"/>
                    <a:pt x="1135" y="4380"/>
                    <a:pt x="1135" y="4632"/>
                  </a:cubicBezTo>
                  <a:cubicBezTo>
                    <a:pt x="1135" y="4916"/>
                    <a:pt x="1041" y="5168"/>
                    <a:pt x="883" y="5357"/>
                  </a:cubicBezTo>
                  <a:cubicBezTo>
                    <a:pt x="1041" y="5546"/>
                    <a:pt x="1135" y="5798"/>
                    <a:pt x="1135" y="6081"/>
                  </a:cubicBezTo>
                  <a:cubicBezTo>
                    <a:pt x="1135" y="6554"/>
                    <a:pt x="883" y="6932"/>
                    <a:pt x="442" y="7058"/>
                  </a:cubicBezTo>
                  <a:lnTo>
                    <a:pt x="442" y="7121"/>
                  </a:lnTo>
                  <a:lnTo>
                    <a:pt x="3246" y="7121"/>
                  </a:lnTo>
                  <a:lnTo>
                    <a:pt x="3246" y="5703"/>
                  </a:lnTo>
                  <a:lnTo>
                    <a:pt x="3593" y="5703"/>
                  </a:lnTo>
                  <a:cubicBezTo>
                    <a:pt x="3782" y="5703"/>
                    <a:pt x="3939" y="5546"/>
                    <a:pt x="3939" y="5357"/>
                  </a:cubicBezTo>
                  <a:cubicBezTo>
                    <a:pt x="3939" y="5168"/>
                    <a:pt x="3782" y="5010"/>
                    <a:pt x="3593" y="5010"/>
                  </a:cubicBezTo>
                  <a:lnTo>
                    <a:pt x="3246" y="5010"/>
                  </a:lnTo>
                  <a:lnTo>
                    <a:pt x="3246" y="4285"/>
                  </a:lnTo>
                  <a:lnTo>
                    <a:pt x="3593" y="4285"/>
                  </a:lnTo>
                  <a:cubicBezTo>
                    <a:pt x="3782" y="4285"/>
                    <a:pt x="3939" y="4128"/>
                    <a:pt x="3939" y="3939"/>
                  </a:cubicBezTo>
                  <a:cubicBezTo>
                    <a:pt x="3939" y="3750"/>
                    <a:pt x="3782" y="3592"/>
                    <a:pt x="3593" y="3592"/>
                  </a:cubicBezTo>
                  <a:lnTo>
                    <a:pt x="3246" y="3592"/>
                  </a:lnTo>
                  <a:lnTo>
                    <a:pt x="3246" y="2868"/>
                  </a:lnTo>
                  <a:lnTo>
                    <a:pt x="3593" y="2868"/>
                  </a:lnTo>
                  <a:cubicBezTo>
                    <a:pt x="3782" y="2868"/>
                    <a:pt x="3939" y="2710"/>
                    <a:pt x="3939" y="2521"/>
                  </a:cubicBezTo>
                  <a:cubicBezTo>
                    <a:pt x="3939" y="2332"/>
                    <a:pt x="3782" y="2175"/>
                    <a:pt x="3593" y="2175"/>
                  </a:cubicBezTo>
                  <a:lnTo>
                    <a:pt x="3246" y="2175"/>
                  </a:lnTo>
                  <a:cubicBezTo>
                    <a:pt x="3246" y="2017"/>
                    <a:pt x="3183" y="1860"/>
                    <a:pt x="3151" y="1702"/>
                  </a:cubicBezTo>
                  <a:lnTo>
                    <a:pt x="3593" y="1261"/>
                  </a:lnTo>
                  <a:cubicBezTo>
                    <a:pt x="3719" y="1135"/>
                    <a:pt x="3719" y="914"/>
                    <a:pt x="3593" y="757"/>
                  </a:cubicBezTo>
                  <a:cubicBezTo>
                    <a:pt x="3530" y="694"/>
                    <a:pt x="3443" y="662"/>
                    <a:pt x="3352" y="662"/>
                  </a:cubicBezTo>
                  <a:cubicBezTo>
                    <a:pt x="3262" y="662"/>
                    <a:pt x="3167" y="694"/>
                    <a:pt x="3088" y="757"/>
                  </a:cubicBezTo>
                  <a:lnTo>
                    <a:pt x="2773" y="1072"/>
                  </a:lnTo>
                  <a:cubicBezTo>
                    <a:pt x="2616" y="946"/>
                    <a:pt x="2427" y="820"/>
                    <a:pt x="2206" y="757"/>
                  </a:cubicBezTo>
                  <a:lnTo>
                    <a:pt x="2206" y="347"/>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2" name="Google Shape;7922;p74"/>
          <p:cNvGrpSpPr/>
          <p:nvPr/>
        </p:nvGrpSpPr>
        <p:grpSpPr>
          <a:xfrm>
            <a:off x="2205866" y="2753261"/>
            <a:ext cx="355258" cy="355288"/>
            <a:chOff x="-46410500" y="3201275"/>
            <a:chExt cx="300100" cy="300125"/>
          </a:xfrm>
        </p:grpSpPr>
        <p:sp>
          <p:nvSpPr>
            <p:cNvPr id="7923" name="Google Shape;7923;p74"/>
            <p:cNvSpPr/>
            <p:nvPr/>
          </p:nvSpPr>
          <p:spPr>
            <a:xfrm>
              <a:off x="-46358500" y="3201275"/>
              <a:ext cx="37825" cy="87450"/>
            </a:xfrm>
            <a:custGeom>
              <a:avLst/>
              <a:gdLst/>
              <a:ahLst/>
              <a:cxnLst/>
              <a:rect l="l" t="t" r="r" b="b"/>
              <a:pathLst>
                <a:path w="1513" h="3498" extrusionOk="0">
                  <a:moveTo>
                    <a:pt x="768" y="1"/>
                  </a:moveTo>
                  <a:cubicBezTo>
                    <a:pt x="677" y="1"/>
                    <a:pt x="583" y="32"/>
                    <a:pt x="504" y="95"/>
                  </a:cubicBezTo>
                  <a:cubicBezTo>
                    <a:pt x="0" y="599"/>
                    <a:pt x="0" y="1482"/>
                    <a:pt x="504" y="1986"/>
                  </a:cubicBezTo>
                  <a:cubicBezTo>
                    <a:pt x="725" y="2238"/>
                    <a:pt x="725" y="2616"/>
                    <a:pt x="504" y="2899"/>
                  </a:cubicBezTo>
                  <a:cubicBezTo>
                    <a:pt x="378" y="3025"/>
                    <a:pt x="378" y="3246"/>
                    <a:pt x="504" y="3403"/>
                  </a:cubicBezTo>
                  <a:cubicBezTo>
                    <a:pt x="567" y="3466"/>
                    <a:pt x="654" y="3498"/>
                    <a:pt x="744" y="3498"/>
                  </a:cubicBezTo>
                  <a:cubicBezTo>
                    <a:pt x="835" y="3498"/>
                    <a:pt x="929" y="3466"/>
                    <a:pt x="1008" y="3403"/>
                  </a:cubicBezTo>
                  <a:cubicBezTo>
                    <a:pt x="1512" y="2899"/>
                    <a:pt x="1512" y="2017"/>
                    <a:pt x="1008" y="1513"/>
                  </a:cubicBezTo>
                  <a:cubicBezTo>
                    <a:pt x="788" y="1293"/>
                    <a:pt x="788" y="851"/>
                    <a:pt x="1008" y="599"/>
                  </a:cubicBezTo>
                  <a:cubicBezTo>
                    <a:pt x="1134" y="505"/>
                    <a:pt x="1134" y="253"/>
                    <a:pt x="1008" y="95"/>
                  </a:cubicBezTo>
                  <a:cubicBezTo>
                    <a:pt x="945" y="32"/>
                    <a:pt x="859" y="1"/>
                    <a:pt x="7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4"/>
            <p:cNvSpPr/>
            <p:nvPr/>
          </p:nvSpPr>
          <p:spPr>
            <a:xfrm>
              <a:off x="-46307325" y="3201275"/>
              <a:ext cx="38625" cy="88250"/>
            </a:xfrm>
            <a:custGeom>
              <a:avLst/>
              <a:gdLst/>
              <a:ahLst/>
              <a:cxnLst/>
              <a:rect l="l" t="t" r="r" b="b"/>
              <a:pathLst>
                <a:path w="1545" h="3530" extrusionOk="0">
                  <a:moveTo>
                    <a:pt x="781" y="1"/>
                  </a:moveTo>
                  <a:cubicBezTo>
                    <a:pt x="686" y="1"/>
                    <a:pt x="584" y="32"/>
                    <a:pt x="505" y="95"/>
                  </a:cubicBezTo>
                  <a:cubicBezTo>
                    <a:pt x="1" y="599"/>
                    <a:pt x="1" y="1482"/>
                    <a:pt x="505" y="1986"/>
                  </a:cubicBezTo>
                  <a:cubicBezTo>
                    <a:pt x="788" y="2238"/>
                    <a:pt x="788" y="2616"/>
                    <a:pt x="536" y="2899"/>
                  </a:cubicBezTo>
                  <a:cubicBezTo>
                    <a:pt x="410" y="3025"/>
                    <a:pt x="410" y="3246"/>
                    <a:pt x="536" y="3403"/>
                  </a:cubicBezTo>
                  <a:cubicBezTo>
                    <a:pt x="631" y="3498"/>
                    <a:pt x="694" y="3529"/>
                    <a:pt x="788" y="3529"/>
                  </a:cubicBezTo>
                  <a:cubicBezTo>
                    <a:pt x="851" y="3529"/>
                    <a:pt x="978" y="3498"/>
                    <a:pt x="1009" y="3403"/>
                  </a:cubicBezTo>
                  <a:cubicBezTo>
                    <a:pt x="1545" y="2899"/>
                    <a:pt x="1545" y="2017"/>
                    <a:pt x="1009" y="1513"/>
                  </a:cubicBezTo>
                  <a:cubicBezTo>
                    <a:pt x="788" y="1293"/>
                    <a:pt x="788" y="851"/>
                    <a:pt x="1009" y="599"/>
                  </a:cubicBezTo>
                  <a:cubicBezTo>
                    <a:pt x="1135" y="505"/>
                    <a:pt x="1135" y="253"/>
                    <a:pt x="1009" y="95"/>
                  </a:cubicBezTo>
                  <a:cubicBezTo>
                    <a:pt x="962" y="32"/>
                    <a:pt x="875" y="1"/>
                    <a:pt x="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74"/>
            <p:cNvSpPr/>
            <p:nvPr/>
          </p:nvSpPr>
          <p:spPr>
            <a:xfrm>
              <a:off x="-46253750" y="3201275"/>
              <a:ext cx="38600" cy="87450"/>
            </a:xfrm>
            <a:custGeom>
              <a:avLst/>
              <a:gdLst/>
              <a:ahLst/>
              <a:cxnLst/>
              <a:rect l="l" t="t" r="r" b="b"/>
              <a:pathLst>
                <a:path w="1544" h="3498" extrusionOk="0">
                  <a:moveTo>
                    <a:pt x="800" y="1"/>
                  </a:moveTo>
                  <a:cubicBezTo>
                    <a:pt x="709" y="1"/>
                    <a:pt x="615" y="32"/>
                    <a:pt x="536" y="95"/>
                  </a:cubicBezTo>
                  <a:cubicBezTo>
                    <a:pt x="0" y="599"/>
                    <a:pt x="0" y="1482"/>
                    <a:pt x="536" y="1986"/>
                  </a:cubicBezTo>
                  <a:cubicBezTo>
                    <a:pt x="756" y="2238"/>
                    <a:pt x="756" y="2616"/>
                    <a:pt x="536" y="2899"/>
                  </a:cubicBezTo>
                  <a:cubicBezTo>
                    <a:pt x="410" y="3025"/>
                    <a:pt x="410" y="3246"/>
                    <a:pt x="536" y="3403"/>
                  </a:cubicBezTo>
                  <a:cubicBezTo>
                    <a:pt x="599" y="3466"/>
                    <a:pt x="685" y="3498"/>
                    <a:pt x="776" y="3498"/>
                  </a:cubicBezTo>
                  <a:cubicBezTo>
                    <a:pt x="867" y="3498"/>
                    <a:pt x="961" y="3466"/>
                    <a:pt x="1040" y="3403"/>
                  </a:cubicBezTo>
                  <a:cubicBezTo>
                    <a:pt x="1544" y="2899"/>
                    <a:pt x="1544" y="2017"/>
                    <a:pt x="1040" y="1513"/>
                  </a:cubicBezTo>
                  <a:cubicBezTo>
                    <a:pt x="788" y="1293"/>
                    <a:pt x="788" y="851"/>
                    <a:pt x="1040" y="599"/>
                  </a:cubicBezTo>
                  <a:cubicBezTo>
                    <a:pt x="1166" y="505"/>
                    <a:pt x="1166" y="253"/>
                    <a:pt x="1040" y="95"/>
                  </a:cubicBezTo>
                  <a:cubicBezTo>
                    <a:pt x="977" y="32"/>
                    <a:pt x="890" y="1"/>
                    <a:pt x="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74"/>
            <p:cNvSpPr/>
            <p:nvPr/>
          </p:nvSpPr>
          <p:spPr>
            <a:xfrm>
              <a:off x="-46410500" y="3306025"/>
              <a:ext cx="300100" cy="141025"/>
            </a:xfrm>
            <a:custGeom>
              <a:avLst/>
              <a:gdLst/>
              <a:ahLst/>
              <a:cxnLst/>
              <a:rect l="l" t="t" r="r" b="b"/>
              <a:pathLst>
                <a:path w="12004" h="5641" extrusionOk="0">
                  <a:moveTo>
                    <a:pt x="10933" y="1419"/>
                  </a:moveTo>
                  <a:cubicBezTo>
                    <a:pt x="11122" y="1419"/>
                    <a:pt x="11279" y="1576"/>
                    <a:pt x="11279" y="1765"/>
                  </a:cubicBezTo>
                  <a:cubicBezTo>
                    <a:pt x="11248" y="3057"/>
                    <a:pt x="10208" y="4128"/>
                    <a:pt x="8980" y="4223"/>
                  </a:cubicBezTo>
                  <a:cubicBezTo>
                    <a:pt x="9389" y="3404"/>
                    <a:pt x="9673" y="2458"/>
                    <a:pt x="9799" y="1419"/>
                  </a:cubicBezTo>
                  <a:close/>
                  <a:moveTo>
                    <a:pt x="347" y="1"/>
                  </a:moveTo>
                  <a:cubicBezTo>
                    <a:pt x="158" y="1"/>
                    <a:pt x="1" y="159"/>
                    <a:pt x="1" y="348"/>
                  </a:cubicBezTo>
                  <a:cubicBezTo>
                    <a:pt x="1" y="2458"/>
                    <a:pt x="694" y="4412"/>
                    <a:pt x="1923" y="5640"/>
                  </a:cubicBezTo>
                  <a:lnTo>
                    <a:pt x="7971" y="5640"/>
                  </a:lnTo>
                  <a:cubicBezTo>
                    <a:pt x="8192" y="5420"/>
                    <a:pt x="8381" y="5168"/>
                    <a:pt x="8539" y="4916"/>
                  </a:cubicBezTo>
                  <a:lnTo>
                    <a:pt x="8854" y="4916"/>
                  </a:lnTo>
                  <a:cubicBezTo>
                    <a:pt x="10586" y="4916"/>
                    <a:pt x="12004" y="3498"/>
                    <a:pt x="12004" y="1765"/>
                  </a:cubicBezTo>
                  <a:cubicBezTo>
                    <a:pt x="11941" y="1198"/>
                    <a:pt x="11469" y="726"/>
                    <a:pt x="10933" y="726"/>
                  </a:cubicBezTo>
                  <a:lnTo>
                    <a:pt x="9862" y="726"/>
                  </a:lnTo>
                  <a:lnTo>
                    <a:pt x="9862" y="348"/>
                  </a:lnTo>
                  <a:cubicBezTo>
                    <a:pt x="9862" y="159"/>
                    <a:pt x="970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74"/>
            <p:cNvSpPr/>
            <p:nvPr/>
          </p:nvSpPr>
          <p:spPr>
            <a:xfrm>
              <a:off x="-46401050" y="3465925"/>
              <a:ext cx="226075" cy="35475"/>
            </a:xfrm>
            <a:custGeom>
              <a:avLst/>
              <a:gdLst/>
              <a:ahLst/>
              <a:cxnLst/>
              <a:rect l="l" t="t" r="r" b="b"/>
              <a:pathLst>
                <a:path w="9043" h="1419" extrusionOk="0">
                  <a:moveTo>
                    <a:pt x="473" y="0"/>
                  </a:moveTo>
                  <a:cubicBezTo>
                    <a:pt x="158" y="0"/>
                    <a:pt x="1" y="379"/>
                    <a:pt x="221" y="631"/>
                  </a:cubicBezTo>
                  <a:cubicBezTo>
                    <a:pt x="757" y="1135"/>
                    <a:pt x="1450" y="1418"/>
                    <a:pt x="2206" y="1418"/>
                  </a:cubicBezTo>
                  <a:lnTo>
                    <a:pt x="6837" y="1418"/>
                  </a:lnTo>
                  <a:cubicBezTo>
                    <a:pt x="7593" y="1418"/>
                    <a:pt x="8318" y="1135"/>
                    <a:pt x="8822" y="631"/>
                  </a:cubicBezTo>
                  <a:cubicBezTo>
                    <a:pt x="9043" y="379"/>
                    <a:pt x="8948" y="0"/>
                    <a:pt x="8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8" name="Google Shape;7928;p74"/>
          <p:cNvGrpSpPr/>
          <p:nvPr/>
        </p:nvGrpSpPr>
        <p:grpSpPr>
          <a:xfrm>
            <a:off x="2205866" y="3188692"/>
            <a:ext cx="355258" cy="356205"/>
            <a:chOff x="-46409700" y="3569100"/>
            <a:chExt cx="300100" cy="300900"/>
          </a:xfrm>
        </p:grpSpPr>
        <p:sp>
          <p:nvSpPr>
            <p:cNvPr id="7929" name="Google Shape;7929;p74"/>
            <p:cNvSpPr/>
            <p:nvPr/>
          </p:nvSpPr>
          <p:spPr>
            <a:xfrm>
              <a:off x="-46234850" y="3569100"/>
              <a:ext cx="18125" cy="52800"/>
            </a:xfrm>
            <a:custGeom>
              <a:avLst/>
              <a:gdLst/>
              <a:ahLst/>
              <a:cxnLst/>
              <a:rect l="l" t="t" r="r" b="b"/>
              <a:pathLst>
                <a:path w="725" h="2112" extrusionOk="0">
                  <a:moveTo>
                    <a:pt x="0" y="1"/>
                  </a:moveTo>
                  <a:lnTo>
                    <a:pt x="0" y="2111"/>
                  </a:lnTo>
                  <a:lnTo>
                    <a:pt x="725" y="2111"/>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74"/>
            <p:cNvSpPr/>
            <p:nvPr/>
          </p:nvSpPr>
          <p:spPr>
            <a:xfrm>
              <a:off x="-46270300" y="37455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74"/>
            <p:cNvSpPr/>
            <p:nvPr/>
          </p:nvSpPr>
          <p:spPr>
            <a:xfrm>
              <a:off x="-46305750" y="3710875"/>
              <a:ext cx="89025" cy="88225"/>
            </a:xfrm>
            <a:custGeom>
              <a:avLst/>
              <a:gdLst/>
              <a:ahLst/>
              <a:cxnLst/>
              <a:rect l="l" t="t" r="r" b="b"/>
              <a:pathLst>
                <a:path w="3561" h="3529" extrusionOk="0">
                  <a:moveTo>
                    <a:pt x="1765" y="662"/>
                  </a:moveTo>
                  <a:cubicBezTo>
                    <a:pt x="2364" y="662"/>
                    <a:pt x="2836" y="1135"/>
                    <a:pt x="2836" y="1733"/>
                  </a:cubicBezTo>
                  <a:cubicBezTo>
                    <a:pt x="2836" y="2332"/>
                    <a:pt x="2364" y="2804"/>
                    <a:pt x="1765" y="2804"/>
                  </a:cubicBezTo>
                  <a:cubicBezTo>
                    <a:pt x="1198" y="2804"/>
                    <a:pt x="725" y="2332"/>
                    <a:pt x="725" y="1733"/>
                  </a:cubicBezTo>
                  <a:cubicBezTo>
                    <a:pt x="725" y="1135"/>
                    <a:pt x="1198" y="662"/>
                    <a:pt x="1765" y="662"/>
                  </a:cubicBezTo>
                  <a:close/>
                  <a:moveTo>
                    <a:pt x="1765" y="0"/>
                  </a:moveTo>
                  <a:cubicBezTo>
                    <a:pt x="788" y="0"/>
                    <a:pt x="1" y="788"/>
                    <a:pt x="1" y="1765"/>
                  </a:cubicBezTo>
                  <a:cubicBezTo>
                    <a:pt x="1" y="2741"/>
                    <a:pt x="788" y="3529"/>
                    <a:pt x="1765" y="3529"/>
                  </a:cubicBezTo>
                  <a:cubicBezTo>
                    <a:pt x="2773" y="3529"/>
                    <a:pt x="3561" y="2741"/>
                    <a:pt x="3561" y="1765"/>
                  </a:cubicBezTo>
                  <a:cubicBezTo>
                    <a:pt x="3561" y="788"/>
                    <a:pt x="2773"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74"/>
            <p:cNvSpPr/>
            <p:nvPr/>
          </p:nvSpPr>
          <p:spPr>
            <a:xfrm>
              <a:off x="-46409700" y="3569900"/>
              <a:ext cx="300100" cy="300100"/>
            </a:xfrm>
            <a:custGeom>
              <a:avLst/>
              <a:gdLst/>
              <a:ahLst/>
              <a:cxnLst/>
              <a:rect l="l" t="t" r="r" b="b"/>
              <a:pathLst>
                <a:path w="12004" h="12004" extrusionOk="0">
                  <a:moveTo>
                    <a:pt x="5923" y="4978"/>
                  </a:moveTo>
                  <a:cubicBezTo>
                    <a:pt x="7278" y="4978"/>
                    <a:pt x="8381" y="6081"/>
                    <a:pt x="8381" y="7404"/>
                  </a:cubicBezTo>
                  <a:cubicBezTo>
                    <a:pt x="8412" y="8758"/>
                    <a:pt x="7309" y="9830"/>
                    <a:pt x="5923" y="9830"/>
                  </a:cubicBezTo>
                  <a:cubicBezTo>
                    <a:pt x="4600" y="9830"/>
                    <a:pt x="3497" y="8727"/>
                    <a:pt x="3497" y="7404"/>
                  </a:cubicBezTo>
                  <a:cubicBezTo>
                    <a:pt x="3497" y="6081"/>
                    <a:pt x="4600" y="4978"/>
                    <a:pt x="5923" y="4978"/>
                  </a:cubicBezTo>
                  <a:close/>
                  <a:moveTo>
                    <a:pt x="2426" y="9861"/>
                  </a:moveTo>
                  <a:cubicBezTo>
                    <a:pt x="2647" y="9861"/>
                    <a:pt x="2773" y="10019"/>
                    <a:pt x="2773" y="10208"/>
                  </a:cubicBezTo>
                  <a:cubicBezTo>
                    <a:pt x="2773" y="10397"/>
                    <a:pt x="2647" y="10554"/>
                    <a:pt x="2426" y="10554"/>
                  </a:cubicBezTo>
                  <a:lnTo>
                    <a:pt x="1733" y="10554"/>
                  </a:lnTo>
                  <a:cubicBezTo>
                    <a:pt x="1512" y="10554"/>
                    <a:pt x="1386" y="10397"/>
                    <a:pt x="1386" y="10208"/>
                  </a:cubicBezTo>
                  <a:cubicBezTo>
                    <a:pt x="1386" y="10019"/>
                    <a:pt x="1512" y="9861"/>
                    <a:pt x="1733" y="9861"/>
                  </a:cubicBezTo>
                  <a:close/>
                  <a:moveTo>
                    <a:pt x="347" y="0"/>
                  </a:moveTo>
                  <a:cubicBezTo>
                    <a:pt x="158" y="0"/>
                    <a:pt x="0" y="158"/>
                    <a:pt x="0" y="347"/>
                  </a:cubicBezTo>
                  <a:lnTo>
                    <a:pt x="0" y="11657"/>
                  </a:lnTo>
                  <a:cubicBezTo>
                    <a:pt x="0" y="11846"/>
                    <a:pt x="158" y="12003"/>
                    <a:pt x="347" y="12003"/>
                  </a:cubicBezTo>
                  <a:lnTo>
                    <a:pt x="11657" y="12003"/>
                  </a:lnTo>
                  <a:cubicBezTo>
                    <a:pt x="11846" y="12003"/>
                    <a:pt x="12004" y="11846"/>
                    <a:pt x="12004" y="11657"/>
                  </a:cubicBezTo>
                  <a:lnTo>
                    <a:pt x="12004" y="2489"/>
                  </a:lnTo>
                  <a:cubicBezTo>
                    <a:pt x="11909" y="2331"/>
                    <a:pt x="11878" y="2237"/>
                    <a:pt x="11846" y="2205"/>
                  </a:cubicBezTo>
                  <a:lnTo>
                    <a:pt x="9830" y="189"/>
                  </a:lnTo>
                  <a:lnTo>
                    <a:pt x="9830" y="3875"/>
                  </a:lnTo>
                  <a:cubicBezTo>
                    <a:pt x="9830" y="4064"/>
                    <a:pt x="9672" y="4222"/>
                    <a:pt x="9483" y="4222"/>
                  </a:cubicBezTo>
                  <a:lnTo>
                    <a:pt x="2458" y="4222"/>
                  </a:lnTo>
                  <a:cubicBezTo>
                    <a:pt x="2269" y="4222"/>
                    <a:pt x="2111" y="4064"/>
                    <a:pt x="2111" y="3875"/>
                  </a:cubicBez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3" name="Google Shape;7933;p74"/>
            <p:cNvSpPr/>
            <p:nvPr/>
          </p:nvSpPr>
          <p:spPr>
            <a:xfrm>
              <a:off x="-46341175" y="3569100"/>
              <a:ext cx="159125" cy="87450"/>
            </a:xfrm>
            <a:custGeom>
              <a:avLst/>
              <a:gdLst/>
              <a:ahLst/>
              <a:cxnLst/>
              <a:rect l="l" t="t" r="r" b="b"/>
              <a:pathLst>
                <a:path w="6365" h="3498" extrusionOk="0">
                  <a:moveTo>
                    <a:pt x="0" y="1"/>
                  </a:moveTo>
                  <a:lnTo>
                    <a:pt x="0" y="3498"/>
                  </a:lnTo>
                  <a:lnTo>
                    <a:pt x="6364" y="3498"/>
                  </a:lnTo>
                  <a:lnTo>
                    <a:pt x="6364" y="1"/>
                  </a:lnTo>
                  <a:lnTo>
                    <a:pt x="5640" y="1"/>
                  </a:lnTo>
                  <a:lnTo>
                    <a:pt x="5640" y="2426"/>
                  </a:lnTo>
                  <a:cubicBezTo>
                    <a:pt x="5640" y="2647"/>
                    <a:pt x="5482" y="2773"/>
                    <a:pt x="5293" y="2773"/>
                  </a:cubicBezTo>
                  <a:lnTo>
                    <a:pt x="3875" y="2773"/>
                  </a:lnTo>
                  <a:cubicBezTo>
                    <a:pt x="3655" y="2773"/>
                    <a:pt x="3497" y="2647"/>
                    <a:pt x="3497" y="2426"/>
                  </a:cubicBezTo>
                  <a:lnTo>
                    <a:pt x="34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4" name="Google Shape;7934;p74"/>
          <p:cNvGrpSpPr/>
          <p:nvPr/>
        </p:nvGrpSpPr>
        <p:grpSpPr>
          <a:xfrm>
            <a:off x="2193747" y="3624124"/>
            <a:ext cx="379497" cy="358070"/>
            <a:chOff x="-46422300" y="3936925"/>
            <a:chExt cx="320575" cy="302475"/>
          </a:xfrm>
        </p:grpSpPr>
        <p:sp>
          <p:nvSpPr>
            <p:cNvPr id="7935" name="Google Shape;7935;p74"/>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4"/>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7" name="Google Shape;7937;p74"/>
          <p:cNvGrpSpPr/>
          <p:nvPr/>
        </p:nvGrpSpPr>
        <p:grpSpPr>
          <a:xfrm>
            <a:off x="3971326" y="3178452"/>
            <a:ext cx="356205" cy="355258"/>
            <a:chOff x="-44914800" y="3560450"/>
            <a:chExt cx="300900" cy="300100"/>
          </a:xfrm>
        </p:grpSpPr>
        <p:sp>
          <p:nvSpPr>
            <p:cNvPr id="7938" name="Google Shape;7938;p74"/>
            <p:cNvSpPr/>
            <p:nvPr/>
          </p:nvSpPr>
          <p:spPr>
            <a:xfrm>
              <a:off x="-44914800" y="3560450"/>
              <a:ext cx="300900" cy="300100"/>
            </a:xfrm>
            <a:custGeom>
              <a:avLst/>
              <a:gdLst/>
              <a:ahLst/>
              <a:cxnLst/>
              <a:rect l="l" t="t" r="r" b="b"/>
              <a:pathLst>
                <a:path w="12036" h="12004" extrusionOk="0">
                  <a:moveTo>
                    <a:pt x="9893" y="1418"/>
                  </a:moveTo>
                  <a:lnTo>
                    <a:pt x="9893" y="1764"/>
                  </a:lnTo>
                  <a:cubicBezTo>
                    <a:pt x="9893" y="1953"/>
                    <a:pt x="10051" y="2111"/>
                    <a:pt x="10240" y="2111"/>
                  </a:cubicBezTo>
                  <a:lnTo>
                    <a:pt x="10618" y="2111"/>
                  </a:lnTo>
                  <a:lnTo>
                    <a:pt x="10618" y="9924"/>
                  </a:lnTo>
                  <a:lnTo>
                    <a:pt x="10240" y="9924"/>
                  </a:lnTo>
                  <a:cubicBezTo>
                    <a:pt x="10051" y="9924"/>
                    <a:pt x="9893" y="10082"/>
                    <a:pt x="9893" y="10271"/>
                  </a:cubicBezTo>
                  <a:lnTo>
                    <a:pt x="9893" y="10617"/>
                  </a:lnTo>
                  <a:lnTo>
                    <a:pt x="2143" y="10617"/>
                  </a:lnTo>
                  <a:lnTo>
                    <a:pt x="2143" y="10271"/>
                  </a:lnTo>
                  <a:cubicBezTo>
                    <a:pt x="2143" y="10082"/>
                    <a:pt x="1985" y="9924"/>
                    <a:pt x="1796" y="9924"/>
                  </a:cubicBezTo>
                  <a:lnTo>
                    <a:pt x="1450" y="9924"/>
                  </a:lnTo>
                  <a:lnTo>
                    <a:pt x="1450" y="2142"/>
                  </a:lnTo>
                  <a:lnTo>
                    <a:pt x="1796" y="2142"/>
                  </a:lnTo>
                  <a:cubicBezTo>
                    <a:pt x="1985" y="2142"/>
                    <a:pt x="2143" y="1985"/>
                    <a:pt x="2143" y="1796"/>
                  </a:cubicBezTo>
                  <a:lnTo>
                    <a:pt x="2143" y="1418"/>
                  </a:lnTo>
                  <a:close/>
                  <a:moveTo>
                    <a:pt x="379" y="0"/>
                  </a:moveTo>
                  <a:cubicBezTo>
                    <a:pt x="158" y="0"/>
                    <a:pt x="1" y="158"/>
                    <a:pt x="1" y="347"/>
                  </a:cubicBezTo>
                  <a:lnTo>
                    <a:pt x="1" y="1764"/>
                  </a:lnTo>
                  <a:cubicBezTo>
                    <a:pt x="1" y="1953"/>
                    <a:pt x="158" y="2111"/>
                    <a:pt x="379" y="2111"/>
                  </a:cubicBezTo>
                  <a:lnTo>
                    <a:pt x="725" y="2111"/>
                  </a:lnTo>
                  <a:lnTo>
                    <a:pt x="725" y="9861"/>
                  </a:lnTo>
                  <a:lnTo>
                    <a:pt x="379" y="9861"/>
                  </a:lnTo>
                  <a:cubicBezTo>
                    <a:pt x="158" y="9861"/>
                    <a:pt x="1" y="10019"/>
                    <a:pt x="1" y="10208"/>
                  </a:cubicBezTo>
                  <a:lnTo>
                    <a:pt x="1" y="11657"/>
                  </a:lnTo>
                  <a:cubicBezTo>
                    <a:pt x="1" y="11846"/>
                    <a:pt x="158" y="12003"/>
                    <a:pt x="379" y="12003"/>
                  </a:cubicBezTo>
                  <a:lnTo>
                    <a:pt x="1796" y="12003"/>
                  </a:lnTo>
                  <a:cubicBezTo>
                    <a:pt x="1985" y="12003"/>
                    <a:pt x="2143" y="11846"/>
                    <a:pt x="2143" y="11657"/>
                  </a:cubicBezTo>
                  <a:lnTo>
                    <a:pt x="2143" y="11279"/>
                  </a:lnTo>
                  <a:lnTo>
                    <a:pt x="9893" y="11279"/>
                  </a:lnTo>
                  <a:lnTo>
                    <a:pt x="9893" y="11657"/>
                  </a:lnTo>
                  <a:cubicBezTo>
                    <a:pt x="9893" y="11846"/>
                    <a:pt x="10051" y="12003"/>
                    <a:pt x="10240" y="12003"/>
                  </a:cubicBezTo>
                  <a:lnTo>
                    <a:pt x="11657" y="12003"/>
                  </a:lnTo>
                  <a:cubicBezTo>
                    <a:pt x="11878" y="12003"/>
                    <a:pt x="12036" y="11846"/>
                    <a:pt x="12036" y="11657"/>
                  </a:cubicBezTo>
                  <a:lnTo>
                    <a:pt x="12036" y="10208"/>
                  </a:lnTo>
                  <a:cubicBezTo>
                    <a:pt x="12036" y="10019"/>
                    <a:pt x="11878" y="9861"/>
                    <a:pt x="11657" y="9861"/>
                  </a:cubicBezTo>
                  <a:lnTo>
                    <a:pt x="11311" y="9861"/>
                  </a:lnTo>
                  <a:lnTo>
                    <a:pt x="11311" y="2111"/>
                  </a:lnTo>
                  <a:lnTo>
                    <a:pt x="11657" y="2111"/>
                  </a:lnTo>
                  <a:cubicBezTo>
                    <a:pt x="11878" y="2111"/>
                    <a:pt x="12036" y="1953"/>
                    <a:pt x="12036" y="1764"/>
                  </a:cubicBezTo>
                  <a:lnTo>
                    <a:pt x="12036" y="347"/>
                  </a:lnTo>
                  <a:cubicBezTo>
                    <a:pt x="12036" y="158"/>
                    <a:pt x="11878" y="0"/>
                    <a:pt x="11657" y="0"/>
                  </a:cubicBezTo>
                  <a:lnTo>
                    <a:pt x="10240" y="0"/>
                  </a:lnTo>
                  <a:cubicBezTo>
                    <a:pt x="10051" y="0"/>
                    <a:pt x="9893" y="158"/>
                    <a:pt x="9893" y="347"/>
                  </a:cubicBezTo>
                  <a:lnTo>
                    <a:pt x="9893" y="693"/>
                  </a:ln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74"/>
            <p:cNvSpPr/>
            <p:nvPr/>
          </p:nvSpPr>
          <p:spPr>
            <a:xfrm>
              <a:off x="-44861250" y="3632100"/>
              <a:ext cx="193800" cy="146525"/>
            </a:xfrm>
            <a:custGeom>
              <a:avLst/>
              <a:gdLst/>
              <a:ahLst/>
              <a:cxnLst/>
              <a:rect l="l" t="t" r="r" b="b"/>
              <a:pathLst>
                <a:path w="7752" h="5861" extrusionOk="0">
                  <a:moveTo>
                    <a:pt x="3845" y="1009"/>
                  </a:moveTo>
                  <a:cubicBezTo>
                    <a:pt x="4443" y="1009"/>
                    <a:pt x="4916" y="1482"/>
                    <a:pt x="4916" y="2080"/>
                  </a:cubicBezTo>
                  <a:cubicBezTo>
                    <a:pt x="4916" y="2679"/>
                    <a:pt x="4443" y="3151"/>
                    <a:pt x="3845" y="3151"/>
                  </a:cubicBezTo>
                  <a:cubicBezTo>
                    <a:pt x="3277" y="3151"/>
                    <a:pt x="2805" y="2679"/>
                    <a:pt x="2805" y="2080"/>
                  </a:cubicBezTo>
                  <a:cubicBezTo>
                    <a:pt x="2805" y="1482"/>
                    <a:pt x="3277" y="1009"/>
                    <a:pt x="3845" y="1009"/>
                  </a:cubicBezTo>
                  <a:close/>
                  <a:moveTo>
                    <a:pt x="348" y="1"/>
                  </a:moveTo>
                  <a:cubicBezTo>
                    <a:pt x="158" y="1"/>
                    <a:pt x="1" y="159"/>
                    <a:pt x="1" y="348"/>
                  </a:cubicBezTo>
                  <a:lnTo>
                    <a:pt x="1" y="5829"/>
                  </a:lnTo>
                  <a:lnTo>
                    <a:pt x="2206" y="3624"/>
                  </a:lnTo>
                  <a:cubicBezTo>
                    <a:pt x="2269" y="3561"/>
                    <a:pt x="2356" y="3530"/>
                    <a:pt x="2447" y="3530"/>
                  </a:cubicBezTo>
                  <a:cubicBezTo>
                    <a:pt x="2537" y="3530"/>
                    <a:pt x="2632" y="3561"/>
                    <a:pt x="2710" y="3624"/>
                  </a:cubicBezTo>
                  <a:lnTo>
                    <a:pt x="3939" y="4821"/>
                  </a:lnTo>
                  <a:lnTo>
                    <a:pt x="5042" y="3656"/>
                  </a:lnTo>
                  <a:cubicBezTo>
                    <a:pt x="5136" y="3561"/>
                    <a:pt x="5199" y="3530"/>
                    <a:pt x="5294" y="3530"/>
                  </a:cubicBezTo>
                  <a:cubicBezTo>
                    <a:pt x="5388" y="3530"/>
                    <a:pt x="5483" y="3561"/>
                    <a:pt x="5546" y="3656"/>
                  </a:cubicBezTo>
                  <a:lnTo>
                    <a:pt x="7751" y="5861"/>
                  </a:lnTo>
                  <a:lnTo>
                    <a:pt x="7751" y="379"/>
                  </a:lnTo>
                  <a:cubicBezTo>
                    <a:pt x="7720" y="159"/>
                    <a:pt x="7562"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0" name="Google Shape;7940;p74"/>
            <p:cNvSpPr/>
            <p:nvPr/>
          </p:nvSpPr>
          <p:spPr>
            <a:xfrm>
              <a:off x="-44773800" y="3675425"/>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4"/>
            <p:cNvSpPr/>
            <p:nvPr/>
          </p:nvSpPr>
          <p:spPr>
            <a:xfrm>
              <a:off x="-44750975" y="3741600"/>
              <a:ext cx="70900" cy="48050"/>
            </a:xfrm>
            <a:custGeom>
              <a:avLst/>
              <a:gdLst/>
              <a:ahLst/>
              <a:cxnLst/>
              <a:rect l="l" t="t" r="r" b="b"/>
              <a:pathLst>
                <a:path w="2836" h="1922" extrusionOk="0">
                  <a:moveTo>
                    <a:pt x="883" y="0"/>
                  </a:moveTo>
                  <a:lnTo>
                    <a:pt x="1" y="945"/>
                  </a:lnTo>
                  <a:lnTo>
                    <a:pt x="1009" y="1922"/>
                  </a:lnTo>
                  <a:lnTo>
                    <a:pt x="2836" y="1922"/>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4"/>
            <p:cNvSpPr/>
            <p:nvPr/>
          </p:nvSpPr>
          <p:spPr>
            <a:xfrm>
              <a:off x="-44848625" y="3740025"/>
              <a:ext cx="97675" cy="49625"/>
            </a:xfrm>
            <a:custGeom>
              <a:avLst/>
              <a:gdLst/>
              <a:ahLst/>
              <a:cxnLst/>
              <a:rect l="l" t="t" r="r" b="b"/>
              <a:pathLst>
                <a:path w="3907" h="1985" extrusionOk="0">
                  <a:moveTo>
                    <a:pt x="1985" y="0"/>
                  </a:moveTo>
                  <a:lnTo>
                    <a:pt x="0" y="1985"/>
                  </a:lnTo>
                  <a:lnTo>
                    <a:pt x="3907" y="1985"/>
                  </a:ln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74"/>
          <p:cNvGrpSpPr/>
          <p:nvPr/>
        </p:nvGrpSpPr>
        <p:grpSpPr>
          <a:xfrm>
            <a:off x="1726378" y="1387086"/>
            <a:ext cx="354311" cy="354104"/>
            <a:chOff x="-49764975" y="3183375"/>
            <a:chExt cx="299300" cy="299125"/>
          </a:xfrm>
        </p:grpSpPr>
        <p:sp>
          <p:nvSpPr>
            <p:cNvPr id="7944" name="Google Shape;7944;p74"/>
            <p:cNvSpPr/>
            <p:nvPr/>
          </p:nvSpPr>
          <p:spPr>
            <a:xfrm>
              <a:off x="-49606675" y="3233575"/>
              <a:ext cx="70125" cy="103200"/>
            </a:xfrm>
            <a:custGeom>
              <a:avLst/>
              <a:gdLst/>
              <a:ahLst/>
              <a:cxnLst/>
              <a:rect l="l" t="t" r="r" b="b"/>
              <a:pathLst>
                <a:path w="2805" h="4128" extrusionOk="0">
                  <a:moveTo>
                    <a:pt x="2805" y="1"/>
                  </a:moveTo>
                  <a:lnTo>
                    <a:pt x="1" y="1355"/>
                  </a:lnTo>
                  <a:lnTo>
                    <a:pt x="1" y="4128"/>
                  </a:lnTo>
                  <a:lnTo>
                    <a:pt x="2805" y="2710"/>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4"/>
            <p:cNvSpPr/>
            <p:nvPr/>
          </p:nvSpPr>
          <p:spPr>
            <a:xfrm>
              <a:off x="-49676775" y="3364325"/>
              <a:ext cx="52000" cy="118175"/>
            </a:xfrm>
            <a:custGeom>
              <a:avLst/>
              <a:gdLst/>
              <a:ahLst/>
              <a:cxnLst/>
              <a:rect l="l" t="t" r="r" b="b"/>
              <a:pathLst>
                <a:path w="2080" h="4727" extrusionOk="0">
                  <a:moveTo>
                    <a:pt x="2080" y="0"/>
                  </a:moveTo>
                  <a:lnTo>
                    <a:pt x="1" y="1072"/>
                  </a:lnTo>
                  <a:lnTo>
                    <a:pt x="1" y="4726"/>
                  </a:lnTo>
                  <a:lnTo>
                    <a:pt x="2080" y="3529"/>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6" name="Google Shape;7946;p74"/>
            <p:cNvSpPr/>
            <p:nvPr/>
          </p:nvSpPr>
          <p:spPr>
            <a:xfrm>
              <a:off x="-49694100" y="3233575"/>
              <a:ext cx="69325" cy="103200"/>
            </a:xfrm>
            <a:custGeom>
              <a:avLst/>
              <a:gdLst/>
              <a:ahLst/>
              <a:cxnLst/>
              <a:rect l="l" t="t" r="r" b="b"/>
              <a:pathLst>
                <a:path w="2773" h="4128" extrusionOk="0">
                  <a:moveTo>
                    <a:pt x="1" y="1"/>
                  </a:moveTo>
                  <a:lnTo>
                    <a:pt x="1" y="2710"/>
                  </a:lnTo>
                  <a:lnTo>
                    <a:pt x="2773" y="4128"/>
                  </a:lnTo>
                  <a:lnTo>
                    <a:pt x="2773" y="135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7" name="Google Shape;7947;p74"/>
            <p:cNvSpPr/>
            <p:nvPr/>
          </p:nvSpPr>
          <p:spPr>
            <a:xfrm>
              <a:off x="-49756325" y="3314700"/>
              <a:ext cx="121325" cy="61450"/>
            </a:xfrm>
            <a:custGeom>
              <a:avLst/>
              <a:gdLst/>
              <a:ahLst/>
              <a:cxnLst/>
              <a:rect l="l" t="t" r="r" b="b"/>
              <a:pathLst>
                <a:path w="4853" h="2458" extrusionOk="0">
                  <a:moveTo>
                    <a:pt x="2048" y="1"/>
                  </a:moveTo>
                  <a:lnTo>
                    <a:pt x="1" y="1040"/>
                  </a:lnTo>
                  <a:lnTo>
                    <a:pt x="2836" y="2458"/>
                  </a:lnTo>
                  <a:lnTo>
                    <a:pt x="4852" y="1418"/>
                  </a:lnTo>
                  <a:lnTo>
                    <a:pt x="204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74"/>
            <p:cNvSpPr/>
            <p:nvPr/>
          </p:nvSpPr>
          <p:spPr>
            <a:xfrm>
              <a:off x="-49606675" y="3364325"/>
              <a:ext cx="52000" cy="118175"/>
            </a:xfrm>
            <a:custGeom>
              <a:avLst/>
              <a:gdLst/>
              <a:ahLst/>
              <a:cxnLst/>
              <a:rect l="l" t="t" r="r" b="b"/>
              <a:pathLst>
                <a:path w="2080" h="4727" extrusionOk="0">
                  <a:moveTo>
                    <a:pt x="1" y="0"/>
                  </a:moveTo>
                  <a:lnTo>
                    <a:pt x="1" y="3529"/>
                  </a:lnTo>
                  <a:lnTo>
                    <a:pt x="2080" y="4726"/>
                  </a:lnTo>
                  <a:lnTo>
                    <a:pt x="2080" y="107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4"/>
            <p:cNvSpPr/>
            <p:nvPr/>
          </p:nvSpPr>
          <p:spPr>
            <a:xfrm>
              <a:off x="-49595650" y="3314700"/>
              <a:ext cx="121325" cy="61450"/>
            </a:xfrm>
            <a:custGeom>
              <a:avLst/>
              <a:gdLst/>
              <a:ahLst/>
              <a:cxnLst/>
              <a:rect l="l" t="t" r="r" b="b"/>
              <a:pathLst>
                <a:path w="4853" h="2458" extrusionOk="0">
                  <a:moveTo>
                    <a:pt x="2773" y="1"/>
                  </a:moveTo>
                  <a:lnTo>
                    <a:pt x="1" y="1418"/>
                  </a:lnTo>
                  <a:lnTo>
                    <a:pt x="1985" y="2458"/>
                  </a:lnTo>
                  <a:lnTo>
                    <a:pt x="4852" y="1040"/>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4"/>
            <p:cNvSpPr/>
            <p:nvPr/>
          </p:nvSpPr>
          <p:spPr>
            <a:xfrm>
              <a:off x="-49764975" y="3355650"/>
              <a:ext cx="70100" cy="126850"/>
            </a:xfrm>
            <a:custGeom>
              <a:avLst/>
              <a:gdLst/>
              <a:ahLst/>
              <a:cxnLst/>
              <a:rect l="l" t="t" r="r" b="b"/>
              <a:pathLst>
                <a:path w="2804" h="5074" extrusionOk="0">
                  <a:moveTo>
                    <a:pt x="0" y="1"/>
                  </a:moveTo>
                  <a:lnTo>
                    <a:pt x="0" y="3309"/>
                  </a:lnTo>
                  <a:cubicBezTo>
                    <a:pt x="0" y="3403"/>
                    <a:pt x="63" y="3529"/>
                    <a:pt x="189" y="3624"/>
                  </a:cubicBezTo>
                  <a:lnTo>
                    <a:pt x="2804" y="5073"/>
                  </a:lnTo>
                  <a:lnTo>
                    <a:pt x="2804" y="141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74"/>
            <p:cNvSpPr/>
            <p:nvPr/>
          </p:nvSpPr>
          <p:spPr>
            <a:xfrm>
              <a:off x="-49535775" y="3355650"/>
              <a:ext cx="70100" cy="126850"/>
            </a:xfrm>
            <a:custGeom>
              <a:avLst/>
              <a:gdLst/>
              <a:ahLst/>
              <a:cxnLst/>
              <a:rect l="l" t="t" r="r" b="b"/>
              <a:pathLst>
                <a:path w="2804" h="5074" extrusionOk="0">
                  <a:moveTo>
                    <a:pt x="2804" y="1"/>
                  </a:moveTo>
                  <a:lnTo>
                    <a:pt x="0" y="1419"/>
                  </a:lnTo>
                  <a:lnTo>
                    <a:pt x="0" y="5073"/>
                  </a:lnTo>
                  <a:lnTo>
                    <a:pt x="2583" y="3624"/>
                  </a:lnTo>
                  <a:cubicBezTo>
                    <a:pt x="2709" y="3529"/>
                    <a:pt x="2804" y="3403"/>
                    <a:pt x="2804" y="3309"/>
                  </a:cubicBez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2" name="Google Shape;7952;p74"/>
            <p:cNvSpPr/>
            <p:nvPr/>
          </p:nvSpPr>
          <p:spPr>
            <a:xfrm>
              <a:off x="-49685425" y="3183375"/>
              <a:ext cx="140200" cy="69925"/>
            </a:xfrm>
            <a:custGeom>
              <a:avLst/>
              <a:gdLst/>
              <a:ahLst/>
              <a:cxnLst/>
              <a:rect l="l" t="t" r="r" b="b"/>
              <a:pathLst>
                <a:path w="5608" h="2797" extrusionOk="0">
                  <a:moveTo>
                    <a:pt x="2792" y="0"/>
                  </a:moveTo>
                  <a:cubicBezTo>
                    <a:pt x="2741" y="0"/>
                    <a:pt x="2694" y="8"/>
                    <a:pt x="2647" y="24"/>
                  </a:cubicBezTo>
                  <a:lnTo>
                    <a:pt x="0" y="1378"/>
                  </a:lnTo>
                  <a:lnTo>
                    <a:pt x="2804" y="2796"/>
                  </a:lnTo>
                  <a:lnTo>
                    <a:pt x="5608" y="1378"/>
                  </a:lnTo>
                  <a:lnTo>
                    <a:pt x="2962" y="24"/>
                  </a:lnTo>
                  <a:cubicBezTo>
                    <a:pt x="2899" y="8"/>
                    <a:pt x="2843" y="0"/>
                    <a:pt x="27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3" name="Google Shape;7953;p74"/>
          <p:cNvGrpSpPr/>
          <p:nvPr/>
        </p:nvGrpSpPr>
        <p:grpSpPr>
          <a:xfrm>
            <a:off x="1726378" y="1822547"/>
            <a:ext cx="354311" cy="355909"/>
            <a:chOff x="-49764975" y="3551225"/>
            <a:chExt cx="299300" cy="300650"/>
          </a:xfrm>
        </p:grpSpPr>
        <p:sp>
          <p:nvSpPr>
            <p:cNvPr id="7954" name="Google Shape;7954;p74"/>
            <p:cNvSpPr/>
            <p:nvPr/>
          </p:nvSpPr>
          <p:spPr>
            <a:xfrm>
              <a:off x="-4976497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40" y="725"/>
                  </a:lnTo>
                  <a:cubicBezTo>
                    <a:pt x="1260" y="725"/>
                    <a:pt x="1418" y="567"/>
                    <a:pt x="1418" y="378"/>
                  </a:cubicBezTo>
                  <a:cubicBezTo>
                    <a:pt x="1386" y="158"/>
                    <a:pt x="119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5" name="Google Shape;7955;p74"/>
            <p:cNvSpPr/>
            <p:nvPr/>
          </p:nvSpPr>
          <p:spPr>
            <a:xfrm>
              <a:off x="-49763400" y="3598250"/>
              <a:ext cx="31525" cy="29950"/>
            </a:xfrm>
            <a:custGeom>
              <a:avLst/>
              <a:gdLst/>
              <a:ahLst/>
              <a:cxnLst/>
              <a:rect l="l" t="t" r="r" b="b"/>
              <a:pathLst>
                <a:path w="1261" h="1198" extrusionOk="0">
                  <a:moveTo>
                    <a:pt x="390" y="0"/>
                  </a:moveTo>
                  <a:cubicBezTo>
                    <a:pt x="299" y="0"/>
                    <a:pt x="205" y="32"/>
                    <a:pt x="126" y="95"/>
                  </a:cubicBezTo>
                  <a:cubicBezTo>
                    <a:pt x="0" y="221"/>
                    <a:pt x="0" y="441"/>
                    <a:pt x="126" y="599"/>
                  </a:cubicBezTo>
                  <a:lnTo>
                    <a:pt x="630" y="1103"/>
                  </a:lnTo>
                  <a:cubicBezTo>
                    <a:pt x="693" y="1166"/>
                    <a:pt x="780" y="1197"/>
                    <a:pt x="870" y="1197"/>
                  </a:cubicBezTo>
                  <a:cubicBezTo>
                    <a:pt x="961" y="1197"/>
                    <a:pt x="1056" y="1166"/>
                    <a:pt x="1134" y="1103"/>
                  </a:cubicBezTo>
                  <a:cubicBezTo>
                    <a:pt x="1260" y="1008"/>
                    <a:pt x="1260" y="756"/>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6" name="Google Shape;7956;p74"/>
            <p:cNvSpPr/>
            <p:nvPr/>
          </p:nvSpPr>
          <p:spPr>
            <a:xfrm>
              <a:off x="-49763400" y="3703975"/>
              <a:ext cx="31525" cy="30550"/>
            </a:xfrm>
            <a:custGeom>
              <a:avLst/>
              <a:gdLst/>
              <a:ahLst/>
              <a:cxnLst/>
              <a:rect l="l" t="t" r="r" b="b"/>
              <a:pathLst>
                <a:path w="1261" h="1222" extrusionOk="0">
                  <a:moveTo>
                    <a:pt x="882" y="1"/>
                  </a:moveTo>
                  <a:cubicBezTo>
                    <a:pt x="796" y="1"/>
                    <a:pt x="709" y="40"/>
                    <a:pt x="630" y="119"/>
                  </a:cubicBezTo>
                  <a:lnTo>
                    <a:pt x="126" y="623"/>
                  </a:lnTo>
                  <a:cubicBezTo>
                    <a:pt x="0" y="749"/>
                    <a:pt x="0" y="970"/>
                    <a:pt x="126" y="1127"/>
                  </a:cubicBezTo>
                  <a:cubicBezTo>
                    <a:pt x="189" y="1190"/>
                    <a:pt x="276" y="1222"/>
                    <a:pt x="366" y="1222"/>
                  </a:cubicBezTo>
                  <a:cubicBezTo>
                    <a:pt x="457" y="1222"/>
                    <a:pt x="551" y="1190"/>
                    <a:pt x="630" y="1127"/>
                  </a:cubicBezTo>
                  <a:lnTo>
                    <a:pt x="1134" y="623"/>
                  </a:lnTo>
                  <a:cubicBezTo>
                    <a:pt x="1260" y="497"/>
                    <a:pt x="1260" y="276"/>
                    <a:pt x="1134" y="119"/>
                  </a:cubicBezTo>
                  <a:cubicBezTo>
                    <a:pt x="1056" y="40"/>
                    <a:pt x="969" y="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4"/>
            <p:cNvSpPr/>
            <p:nvPr/>
          </p:nvSpPr>
          <p:spPr>
            <a:xfrm>
              <a:off x="-4950112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4"/>
            <p:cNvSpPr/>
            <p:nvPr/>
          </p:nvSpPr>
          <p:spPr>
            <a:xfrm>
              <a:off x="-49499550" y="3598250"/>
              <a:ext cx="31525" cy="30550"/>
            </a:xfrm>
            <a:custGeom>
              <a:avLst/>
              <a:gdLst/>
              <a:ahLst/>
              <a:cxnLst/>
              <a:rect l="l" t="t" r="r" b="b"/>
              <a:pathLst>
                <a:path w="1261" h="1222" extrusionOk="0">
                  <a:moveTo>
                    <a:pt x="906" y="0"/>
                  </a:moveTo>
                  <a:cubicBezTo>
                    <a:pt x="812" y="0"/>
                    <a:pt x="709" y="32"/>
                    <a:pt x="630" y="95"/>
                  </a:cubicBezTo>
                  <a:lnTo>
                    <a:pt x="126" y="599"/>
                  </a:lnTo>
                  <a:cubicBezTo>
                    <a:pt x="0" y="725"/>
                    <a:pt x="0" y="945"/>
                    <a:pt x="126" y="1103"/>
                  </a:cubicBezTo>
                  <a:cubicBezTo>
                    <a:pt x="205" y="1182"/>
                    <a:pt x="292" y="1221"/>
                    <a:pt x="378" y="1221"/>
                  </a:cubicBezTo>
                  <a:cubicBezTo>
                    <a:pt x="465" y="1221"/>
                    <a:pt x="552" y="1182"/>
                    <a:pt x="630" y="1103"/>
                  </a:cubicBezTo>
                  <a:lnTo>
                    <a:pt x="1134" y="599"/>
                  </a:lnTo>
                  <a:cubicBezTo>
                    <a:pt x="1260" y="473"/>
                    <a:pt x="1260" y="252"/>
                    <a:pt x="1134" y="95"/>
                  </a:cubicBezTo>
                  <a:cubicBezTo>
                    <a:pt x="1087" y="32"/>
                    <a:pt x="1001" y="0"/>
                    <a:pt x="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9" name="Google Shape;7959;p74"/>
            <p:cNvSpPr/>
            <p:nvPr/>
          </p:nvSpPr>
          <p:spPr>
            <a:xfrm>
              <a:off x="-49499550" y="3704575"/>
              <a:ext cx="31525" cy="29950"/>
            </a:xfrm>
            <a:custGeom>
              <a:avLst/>
              <a:gdLst/>
              <a:ahLst/>
              <a:cxnLst/>
              <a:rect l="l" t="t" r="r" b="b"/>
              <a:pathLst>
                <a:path w="1261" h="1198" extrusionOk="0">
                  <a:moveTo>
                    <a:pt x="390" y="0"/>
                  </a:moveTo>
                  <a:cubicBezTo>
                    <a:pt x="300" y="0"/>
                    <a:pt x="205" y="32"/>
                    <a:pt x="126" y="95"/>
                  </a:cubicBezTo>
                  <a:cubicBezTo>
                    <a:pt x="0" y="221"/>
                    <a:pt x="0" y="441"/>
                    <a:pt x="126" y="599"/>
                  </a:cubicBezTo>
                  <a:lnTo>
                    <a:pt x="630" y="1103"/>
                  </a:lnTo>
                  <a:cubicBezTo>
                    <a:pt x="693" y="1166"/>
                    <a:pt x="780" y="1198"/>
                    <a:pt x="871" y="1198"/>
                  </a:cubicBezTo>
                  <a:cubicBezTo>
                    <a:pt x="961" y="1198"/>
                    <a:pt x="1056" y="1166"/>
                    <a:pt x="1134" y="1103"/>
                  </a:cubicBezTo>
                  <a:cubicBezTo>
                    <a:pt x="1260" y="1009"/>
                    <a:pt x="1260" y="757"/>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74"/>
            <p:cNvSpPr/>
            <p:nvPr/>
          </p:nvSpPr>
          <p:spPr>
            <a:xfrm>
              <a:off x="-49725600" y="3551225"/>
              <a:ext cx="215050" cy="210875"/>
            </a:xfrm>
            <a:custGeom>
              <a:avLst/>
              <a:gdLst/>
              <a:ahLst/>
              <a:cxnLst/>
              <a:rect l="l" t="t" r="r" b="b"/>
              <a:pathLst>
                <a:path w="8602" h="8435" extrusionOk="0">
                  <a:moveTo>
                    <a:pt x="4354" y="0"/>
                  </a:moveTo>
                  <a:cubicBezTo>
                    <a:pt x="4070" y="0"/>
                    <a:pt x="3783" y="28"/>
                    <a:pt x="3497" y="86"/>
                  </a:cubicBezTo>
                  <a:cubicBezTo>
                    <a:pt x="1922" y="401"/>
                    <a:pt x="630" y="1724"/>
                    <a:pt x="252" y="3299"/>
                  </a:cubicBezTo>
                  <a:cubicBezTo>
                    <a:pt x="0" y="4654"/>
                    <a:pt x="347" y="6040"/>
                    <a:pt x="1261" y="7017"/>
                  </a:cubicBezTo>
                  <a:cubicBezTo>
                    <a:pt x="1607" y="7395"/>
                    <a:pt x="1828" y="7930"/>
                    <a:pt x="1922" y="8434"/>
                  </a:cubicBezTo>
                  <a:lnTo>
                    <a:pt x="3025" y="8434"/>
                  </a:lnTo>
                  <a:lnTo>
                    <a:pt x="3025" y="5284"/>
                  </a:lnTo>
                  <a:cubicBezTo>
                    <a:pt x="3025" y="5158"/>
                    <a:pt x="4064" y="3141"/>
                    <a:pt x="4127" y="3047"/>
                  </a:cubicBezTo>
                  <a:cubicBezTo>
                    <a:pt x="4190" y="2921"/>
                    <a:pt x="4317" y="2858"/>
                    <a:pt x="4443" y="2858"/>
                  </a:cubicBezTo>
                  <a:cubicBezTo>
                    <a:pt x="4569" y="2858"/>
                    <a:pt x="4695" y="2921"/>
                    <a:pt x="4758" y="3047"/>
                  </a:cubicBezTo>
                  <a:cubicBezTo>
                    <a:pt x="4852" y="3141"/>
                    <a:pt x="5860" y="5158"/>
                    <a:pt x="5860" y="5284"/>
                  </a:cubicBezTo>
                  <a:lnTo>
                    <a:pt x="5860" y="8434"/>
                  </a:lnTo>
                  <a:lnTo>
                    <a:pt x="6963" y="8434"/>
                  </a:lnTo>
                  <a:cubicBezTo>
                    <a:pt x="7057" y="7930"/>
                    <a:pt x="7278" y="7395"/>
                    <a:pt x="7625" y="6985"/>
                  </a:cubicBezTo>
                  <a:cubicBezTo>
                    <a:pt x="8255" y="6260"/>
                    <a:pt x="8601" y="5284"/>
                    <a:pt x="8601" y="4244"/>
                  </a:cubicBezTo>
                  <a:cubicBezTo>
                    <a:pt x="8601" y="2984"/>
                    <a:pt x="8066" y="1787"/>
                    <a:pt x="7026" y="936"/>
                  </a:cubicBezTo>
                  <a:cubicBezTo>
                    <a:pt x="6270" y="327"/>
                    <a:pt x="5327" y="0"/>
                    <a:pt x="43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4"/>
            <p:cNvSpPr/>
            <p:nvPr/>
          </p:nvSpPr>
          <p:spPr>
            <a:xfrm>
              <a:off x="-49633450" y="3697475"/>
              <a:ext cx="35475" cy="65400"/>
            </a:xfrm>
            <a:custGeom>
              <a:avLst/>
              <a:gdLst/>
              <a:ahLst/>
              <a:cxnLst/>
              <a:rect l="l" t="t" r="r" b="b"/>
              <a:pathLst>
                <a:path w="1419" h="2616" extrusionOk="0">
                  <a:moveTo>
                    <a:pt x="0" y="1"/>
                  </a:moveTo>
                  <a:lnTo>
                    <a:pt x="0" y="2616"/>
                  </a:lnTo>
                  <a:lnTo>
                    <a:pt x="1418" y="2616"/>
                  </a:lnTo>
                  <a:lnTo>
                    <a:pt x="1418" y="1"/>
                  </a:lnTo>
                  <a:cubicBezTo>
                    <a:pt x="1198" y="95"/>
                    <a:pt x="946" y="127"/>
                    <a:pt x="725" y="127"/>
                  </a:cubicBezTo>
                  <a:cubicBezTo>
                    <a:pt x="473" y="127"/>
                    <a:pt x="252" y="95"/>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2" name="Google Shape;7962;p74"/>
            <p:cNvSpPr/>
            <p:nvPr/>
          </p:nvSpPr>
          <p:spPr>
            <a:xfrm>
              <a:off x="-49676775" y="3780975"/>
              <a:ext cx="123675" cy="34675"/>
            </a:xfrm>
            <a:custGeom>
              <a:avLst/>
              <a:gdLst/>
              <a:ahLst/>
              <a:cxnLst/>
              <a:rect l="l" t="t" r="r" b="b"/>
              <a:pathLst>
                <a:path w="4947" h="1387" extrusionOk="0">
                  <a:moveTo>
                    <a:pt x="1" y="0"/>
                  </a:moveTo>
                  <a:lnTo>
                    <a:pt x="1" y="347"/>
                  </a:lnTo>
                  <a:cubicBezTo>
                    <a:pt x="1" y="946"/>
                    <a:pt x="473" y="1387"/>
                    <a:pt x="1072" y="1387"/>
                  </a:cubicBezTo>
                  <a:lnTo>
                    <a:pt x="3876" y="1387"/>
                  </a:lnTo>
                  <a:cubicBezTo>
                    <a:pt x="4474" y="1387"/>
                    <a:pt x="4947" y="946"/>
                    <a:pt x="4947" y="347"/>
                  </a:cubicBezTo>
                  <a:lnTo>
                    <a:pt x="4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74"/>
            <p:cNvSpPr/>
            <p:nvPr/>
          </p:nvSpPr>
          <p:spPr>
            <a:xfrm>
              <a:off x="-49630300" y="3651800"/>
              <a:ext cx="29150" cy="31325"/>
            </a:xfrm>
            <a:custGeom>
              <a:avLst/>
              <a:gdLst/>
              <a:ahLst/>
              <a:cxnLst/>
              <a:rect l="l" t="t" r="r" b="b"/>
              <a:pathLst>
                <a:path w="1166" h="1253" extrusionOk="0">
                  <a:moveTo>
                    <a:pt x="599" y="1"/>
                  </a:moveTo>
                  <a:lnTo>
                    <a:pt x="0" y="1135"/>
                  </a:lnTo>
                  <a:cubicBezTo>
                    <a:pt x="189" y="1214"/>
                    <a:pt x="386" y="1253"/>
                    <a:pt x="583" y="1253"/>
                  </a:cubicBezTo>
                  <a:cubicBezTo>
                    <a:pt x="780" y="1253"/>
                    <a:pt x="977" y="1214"/>
                    <a:pt x="1166"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4" name="Google Shape;7964;p74"/>
            <p:cNvSpPr/>
            <p:nvPr/>
          </p:nvSpPr>
          <p:spPr>
            <a:xfrm>
              <a:off x="-49657875" y="3833750"/>
              <a:ext cx="85100" cy="18125"/>
            </a:xfrm>
            <a:custGeom>
              <a:avLst/>
              <a:gdLst/>
              <a:ahLst/>
              <a:cxnLst/>
              <a:rect l="l" t="t" r="r" b="b"/>
              <a:pathLst>
                <a:path w="3404" h="725" extrusionOk="0">
                  <a:moveTo>
                    <a:pt x="1" y="0"/>
                  </a:moveTo>
                  <a:cubicBezTo>
                    <a:pt x="158" y="410"/>
                    <a:pt x="536" y="725"/>
                    <a:pt x="977" y="725"/>
                  </a:cubicBezTo>
                  <a:lnTo>
                    <a:pt x="2395" y="725"/>
                  </a:lnTo>
                  <a:cubicBezTo>
                    <a:pt x="2868" y="725"/>
                    <a:pt x="3246" y="410"/>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5" name="Google Shape;7965;p74"/>
          <p:cNvGrpSpPr/>
          <p:nvPr/>
        </p:nvGrpSpPr>
        <p:grpSpPr>
          <a:xfrm>
            <a:off x="1724040" y="2259310"/>
            <a:ext cx="358987" cy="355525"/>
            <a:chOff x="-49766550" y="3920175"/>
            <a:chExt cx="303250" cy="300325"/>
          </a:xfrm>
        </p:grpSpPr>
        <p:sp>
          <p:nvSpPr>
            <p:cNvPr id="7966" name="Google Shape;7966;p74"/>
            <p:cNvSpPr/>
            <p:nvPr/>
          </p:nvSpPr>
          <p:spPr>
            <a:xfrm>
              <a:off x="-49764975" y="3920175"/>
              <a:ext cx="228425" cy="89225"/>
            </a:xfrm>
            <a:custGeom>
              <a:avLst/>
              <a:gdLst/>
              <a:ahLst/>
              <a:cxnLst/>
              <a:rect l="l" t="t" r="r" b="b"/>
              <a:pathLst>
                <a:path w="9137" h="3569" extrusionOk="0">
                  <a:moveTo>
                    <a:pt x="4568" y="1"/>
                  </a:moveTo>
                  <a:cubicBezTo>
                    <a:pt x="2284" y="1"/>
                    <a:pt x="0" y="592"/>
                    <a:pt x="0" y="1773"/>
                  </a:cubicBezTo>
                  <a:cubicBezTo>
                    <a:pt x="0" y="2970"/>
                    <a:pt x="2300" y="3569"/>
                    <a:pt x="4568" y="3569"/>
                  </a:cubicBezTo>
                  <a:cubicBezTo>
                    <a:pt x="6837" y="3569"/>
                    <a:pt x="9137" y="2970"/>
                    <a:pt x="9137" y="1773"/>
                  </a:cubicBezTo>
                  <a:cubicBezTo>
                    <a:pt x="9137" y="592"/>
                    <a:pt x="6852"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4"/>
            <p:cNvSpPr/>
            <p:nvPr/>
          </p:nvSpPr>
          <p:spPr>
            <a:xfrm>
              <a:off x="-49764975" y="3998350"/>
              <a:ext cx="141775" cy="115800"/>
            </a:xfrm>
            <a:custGeom>
              <a:avLst/>
              <a:gdLst/>
              <a:ahLst/>
              <a:cxnLst/>
              <a:rect l="l" t="t" r="r" b="b"/>
              <a:pathLst>
                <a:path w="5671" h="4632" extrusionOk="0">
                  <a:moveTo>
                    <a:pt x="0" y="1"/>
                  </a:moveTo>
                  <a:lnTo>
                    <a:pt x="0" y="3939"/>
                  </a:lnTo>
                  <a:cubicBezTo>
                    <a:pt x="0" y="4317"/>
                    <a:pt x="315" y="4632"/>
                    <a:pt x="693" y="4632"/>
                  </a:cubicBezTo>
                  <a:cubicBezTo>
                    <a:pt x="1103" y="4632"/>
                    <a:pt x="1418" y="4317"/>
                    <a:pt x="1418" y="3939"/>
                  </a:cubicBezTo>
                  <a:lnTo>
                    <a:pt x="1418" y="2868"/>
                  </a:lnTo>
                  <a:cubicBezTo>
                    <a:pt x="1418" y="2269"/>
                    <a:pt x="1890" y="1796"/>
                    <a:pt x="2457" y="1796"/>
                  </a:cubicBezTo>
                  <a:cubicBezTo>
                    <a:pt x="3056" y="1796"/>
                    <a:pt x="3529" y="2269"/>
                    <a:pt x="3529" y="2868"/>
                  </a:cubicBezTo>
                  <a:lnTo>
                    <a:pt x="3529" y="3592"/>
                  </a:lnTo>
                  <a:cubicBezTo>
                    <a:pt x="3529" y="3781"/>
                    <a:pt x="3686" y="3939"/>
                    <a:pt x="3875" y="3939"/>
                  </a:cubicBezTo>
                  <a:cubicBezTo>
                    <a:pt x="4096" y="3939"/>
                    <a:pt x="4253" y="3781"/>
                    <a:pt x="4253" y="3592"/>
                  </a:cubicBezTo>
                  <a:lnTo>
                    <a:pt x="4253" y="2868"/>
                  </a:lnTo>
                  <a:cubicBezTo>
                    <a:pt x="4253" y="2427"/>
                    <a:pt x="4568" y="1954"/>
                    <a:pt x="5041" y="1828"/>
                  </a:cubicBezTo>
                  <a:cubicBezTo>
                    <a:pt x="5104" y="1796"/>
                    <a:pt x="5198" y="1796"/>
                    <a:pt x="5293" y="1796"/>
                  </a:cubicBezTo>
                  <a:cubicBezTo>
                    <a:pt x="5513" y="1796"/>
                    <a:pt x="5671" y="1639"/>
                    <a:pt x="5671" y="1450"/>
                  </a:cubicBezTo>
                  <a:lnTo>
                    <a:pt x="5671" y="1040"/>
                  </a:lnTo>
                  <a:cubicBezTo>
                    <a:pt x="5293" y="1103"/>
                    <a:pt x="4946" y="1103"/>
                    <a:pt x="4600" y="1103"/>
                  </a:cubicBezTo>
                  <a:cubicBezTo>
                    <a:pt x="2899" y="1103"/>
                    <a:pt x="1008" y="78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8" name="Google Shape;7968;p74"/>
            <p:cNvSpPr/>
            <p:nvPr/>
          </p:nvSpPr>
          <p:spPr>
            <a:xfrm>
              <a:off x="-49627150" y="3996000"/>
              <a:ext cx="163850" cy="148100"/>
            </a:xfrm>
            <a:custGeom>
              <a:avLst/>
              <a:gdLst/>
              <a:ahLst/>
              <a:cxnLst/>
              <a:rect l="l" t="t" r="r" b="b"/>
              <a:pathLst>
                <a:path w="6554" h="5924" extrusionOk="0">
                  <a:moveTo>
                    <a:pt x="3655" y="725"/>
                  </a:moveTo>
                  <a:cubicBezTo>
                    <a:pt x="4348" y="1040"/>
                    <a:pt x="5041" y="1544"/>
                    <a:pt x="5451" y="2206"/>
                  </a:cubicBezTo>
                  <a:cubicBezTo>
                    <a:pt x="5766" y="2678"/>
                    <a:pt x="5860" y="3308"/>
                    <a:pt x="5671" y="3875"/>
                  </a:cubicBezTo>
                  <a:cubicBezTo>
                    <a:pt x="5451" y="4411"/>
                    <a:pt x="5041" y="4852"/>
                    <a:pt x="4443" y="5041"/>
                  </a:cubicBezTo>
                  <a:cubicBezTo>
                    <a:pt x="4171" y="5132"/>
                    <a:pt x="3899" y="5193"/>
                    <a:pt x="3655" y="5198"/>
                  </a:cubicBezTo>
                  <a:lnTo>
                    <a:pt x="3655" y="5198"/>
                  </a:lnTo>
                  <a:lnTo>
                    <a:pt x="3655" y="725"/>
                  </a:lnTo>
                  <a:close/>
                  <a:moveTo>
                    <a:pt x="3718" y="0"/>
                  </a:moveTo>
                  <a:cubicBezTo>
                    <a:pt x="3088" y="599"/>
                    <a:pt x="1985" y="914"/>
                    <a:pt x="820" y="1071"/>
                  </a:cubicBezTo>
                  <a:lnTo>
                    <a:pt x="820" y="1544"/>
                  </a:lnTo>
                  <a:cubicBezTo>
                    <a:pt x="820" y="2048"/>
                    <a:pt x="473" y="2489"/>
                    <a:pt x="0" y="2584"/>
                  </a:cubicBezTo>
                  <a:lnTo>
                    <a:pt x="1009" y="3938"/>
                  </a:lnTo>
                  <a:cubicBezTo>
                    <a:pt x="1619" y="4793"/>
                    <a:pt x="2554" y="5263"/>
                    <a:pt x="3557" y="5263"/>
                  </a:cubicBezTo>
                  <a:cubicBezTo>
                    <a:pt x="3579" y="5263"/>
                    <a:pt x="3601" y="5263"/>
                    <a:pt x="3624" y="5262"/>
                  </a:cubicBezTo>
                  <a:lnTo>
                    <a:pt x="3624" y="5262"/>
                  </a:lnTo>
                  <a:lnTo>
                    <a:pt x="3624" y="5923"/>
                  </a:lnTo>
                  <a:cubicBezTo>
                    <a:pt x="3970" y="5923"/>
                    <a:pt x="4317" y="5829"/>
                    <a:pt x="4632" y="5734"/>
                  </a:cubicBezTo>
                  <a:cubicBezTo>
                    <a:pt x="5419" y="5451"/>
                    <a:pt x="6018" y="4852"/>
                    <a:pt x="6301" y="4096"/>
                  </a:cubicBezTo>
                  <a:cubicBezTo>
                    <a:pt x="6553" y="3371"/>
                    <a:pt x="6459" y="2521"/>
                    <a:pt x="6018" y="1859"/>
                  </a:cubicBezTo>
                  <a:cubicBezTo>
                    <a:pt x="5451" y="1040"/>
                    <a:pt x="4632" y="41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74"/>
            <p:cNvSpPr/>
            <p:nvPr/>
          </p:nvSpPr>
          <p:spPr>
            <a:xfrm>
              <a:off x="-49766550" y="4061375"/>
              <a:ext cx="230000" cy="159125"/>
            </a:xfrm>
            <a:custGeom>
              <a:avLst/>
              <a:gdLst/>
              <a:ahLst/>
              <a:cxnLst/>
              <a:rect l="l" t="t" r="r" b="b"/>
              <a:pathLst>
                <a:path w="9200" h="6365" extrusionOk="0">
                  <a:moveTo>
                    <a:pt x="2489" y="0"/>
                  </a:moveTo>
                  <a:cubicBezTo>
                    <a:pt x="2300" y="0"/>
                    <a:pt x="2142" y="158"/>
                    <a:pt x="2142" y="347"/>
                  </a:cubicBezTo>
                  <a:lnTo>
                    <a:pt x="2142" y="1418"/>
                  </a:lnTo>
                  <a:cubicBezTo>
                    <a:pt x="2142" y="2205"/>
                    <a:pt x="1481" y="2836"/>
                    <a:pt x="725" y="2836"/>
                  </a:cubicBezTo>
                  <a:cubicBezTo>
                    <a:pt x="441" y="2836"/>
                    <a:pt x="221" y="2741"/>
                    <a:pt x="0" y="2647"/>
                  </a:cubicBezTo>
                  <a:lnTo>
                    <a:pt x="0" y="4600"/>
                  </a:lnTo>
                  <a:cubicBezTo>
                    <a:pt x="0" y="5734"/>
                    <a:pt x="2331" y="6364"/>
                    <a:pt x="4631" y="6364"/>
                  </a:cubicBezTo>
                  <a:cubicBezTo>
                    <a:pt x="6900" y="6364"/>
                    <a:pt x="9200" y="5797"/>
                    <a:pt x="9200" y="4600"/>
                  </a:cubicBezTo>
                  <a:lnTo>
                    <a:pt x="9200" y="3340"/>
                  </a:lnTo>
                  <a:cubicBezTo>
                    <a:pt x="9121" y="3353"/>
                    <a:pt x="9033" y="3360"/>
                    <a:pt x="8938" y="3360"/>
                  </a:cubicBezTo>
                  <a:cubicBezTo>
                    <a:pt x="8153" y="3360"/>
                    <a:pt x="6857" y="2888"/>
                    <a:pt x="5986" y="1764"/>
                  </a:cubicBezTo>
                  <a:lnTo>
                    <a:pt x="4978" y="378"/>
                  </a:lnTo>
                  <a:lnTo>
                    <a:pt x="4978" y="1071"/>
                  </a:lnTo>
                  <a:cubicBezTo>
                    <a:pt x="4978" y="1638"/>
                    <a:pt x="4505" y="2111"/>
                    <a:pt x="3907" y="2111"/>
                  </a:cubicBezTo>
                  <a:cubicBezTo>
                    <a:pt x="3308" y="2111"/>
                    <a:pt x="2836" y="1638"/>
                    <a:pt x="2836" y="107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74"/>
          <p:cNvGrpSpPr/>
          <p:nvPr/>
        </p:nvGrpSpPr>
        <p:grpSpPr>
          <a:xfrm>
            <a:off x="3939571" y="1407358"/>
            <a:ext cx="357123" cy="354341"/>
            <a:chOff x="-47892800" y="3200500"/>
            <a:chExt cx="301675" cy="299325"/>
          </a:xfrm>
        </p:grpSpPr>
        <p:sp>
          <p:nvSpPr>
            <p:cNvPr id="7971" name="Google Shape;7971;p74"/>
            <p:cNvSpPr/>
            <p:nvPr/>
          </p:nvSpPr>
          <p:spPr>
            <a:xfrm>
              <a:off x="-47892800" y="3200500"/>
              <a:ext cx="301675" cy="177225"/>
            </a:xfrm>
            <a:custGeom>
              <a:avLst/>
              <a:gdLst/>
              <a:ahLst/>
              <a:cxnLst/>
              <a:rect l="l" t="t" r="r" b="b"/>
              <a:pathLst>
                <a:path w="12067" h="7089" extrusionOk="0">
                  <a:moveTo>
                    <a:pt x="347" y="0"/>
                  </a:moveTo>
                  <a:cubicBezTo>
                    <a:pt x="158" y="0"/>
                    <a:pt x="0" y="158"/>
                    <a:pt x="0" y="378"/>
                  </a:cubicBezTo>
                  <a:lnTo>
                    <a:pt x="0" y="1796"/>
                  </a:lnTo>
                  <a:cubicBezTo>
                    <a:pt x="0" y="1985"/>
                    <a:pt x="158" y="2143"/>
                    <a:pt x="347" y="2143"/>
                  </a:cubicBezTo>
                  <a:lnTo>
                    <a:pt x="1765" y="2143"/>
                  </a:lnTo>
                  <a:cubicBezTo>
                    <a:pt x="1985" y="2143"/>
                    <a:pt x="2143" y="1985"/>
                    <a:pt x="2143" y="1796"/>
                  </a:cubicBezTo>
                  <a:lnTo>
                    <a:pt x="2143" y="1418"/>
                  </a:lnTo>
                  <a:lnTo>
                    <a:pt x="5010" y="1418"/>
                  </a:lnTo>
                  <a:cubicBezTo>
                    <a:pt x="4915" y="1576"/>
                    <a:pt x="3277" y="4506"/>
                    <a:pt x="3182" y="4663"/>
                  </a:cubicBezTo>
                  <a:lnTo>
                    <a:pt x="4821" y="7089"/>
                  </a:lnTo>
                  <a:lnTo>
                    <a:pt x="5671" y="7089"/>
                  </a:lnTo>
                  <a:lnTo>
                    <a:pt x="5671" y="5577"/>
                  </a:lnTo>
                  <a:cubicBezTo>
                    <a:pt x="5293" y="5419"/>
                    <a:pt x="4978" y="5010"/>
                    <a:pt x="4978" y="4569"/>
                  </a:cubicBezTo>
                  <a:cubicBezTo>
                    <a:pt x="4978" y="4001"/>
                    <a:pt x="5451" y="3529"/>
                    <a:pt x="6018" y="3529"/>
                  </a:cubicBezTo>
                  <a:cubicBezTo>
                    <a:pt x="6616" y="3529"/>
                    <a:pt x="7089" y="4001"/>
                    <a:pt x="7089" y="4569"/>
                  </a:cubicBezTo>
                  <a:cubicBezTo>
                    <a:pt x="7089" y="5041"/>
                    <a:pt x="6805" y="5419"/>
                    <a:pt x="6396" y="5577"/>
                  </a:cubicBezTo>
                  <a:lnTo>
                    <a:pt x="6396" y="7026"/>
                  </a:lnTo>
                  <a:lnTo>
                    <a:pt x="7247" y="7026"/>
                  </a:lnTo>
                  <a:lnTo>
                    <a:pt x="8853" y="4569"/>
                  </a:lnTo>
                  <a:cubicBezTo>
                    <a:pt x="8790" y="4411"/>
                    <a:pt x="7120" y="1513"/>
                    <a:pt x="7057" y="1355"/>
                  </a:cubicBezTo>
                  <a:lnTo>
                    <a:pt x="9924" y="1355"/>
                  </a:lnTo>
                  <a:lnTo>
                    <a:pt x="9924" y="1702"/>
                  </a:lnTo>
                  <a:cubicBezTo>
                    <a:pt x="9924" y="1891"/>
                    <a:pt x="10082" y="2048"/>
                    <a:pt x="10271" y="2048"/>
                  </a:cubicBezTo>
                  <a:lnTo>
                    <a:pt x="11689" y="2048"/>
                  </a:lnTo>
                  <a:cubicBezTo>
                    <a:pt x="11909" y="2048"/>
                    <a:pt x="12067" y="1891"/>
                    <a:pt x="12067" y="1702"/>
                  </a:cubicBezTo>
                  <a:lnTo>
                    <a:pt x="12067" y="284"/>
                  </a:lnTo>
                  <a:cubicBezTo>
                    <a:pt x="12004" y="158"/>
                    <a:pt x="11846" y="0"/>
                    <a:pt x="11657" y="0"/>
                  </a:cubicBezTo>
                  <a:lnTo>
                    <a:pt x="10239" y="0"/>
                  </a:lnTo>
                  <a:cubicBezTo>
                    <a:pt x="10050" y="0"/>
                    <a:pt x="9893" y="158"/>
                    <a:pt x="9893" y="378"/>
                  </a:cubicBezTo>
                  <a:lnTo>
                    <a:pt x="9893" y="725"/>
                  </a:lnTo>
                  <a:lnTo>
                    <a:pt x="6616" y="725"/>
                  </a:lnTo>
                  <a:lnTo>
                    <a:pt x="6301" y="221"/>
                  </a:lnTo>
                  <a:cubicBezTo>
                    <a:pt x="6238" y="95"/>
                    <a:pt x="6120" y="32"/>
                    <a:pt x="6002" y="32"/>
                  </a:cubicBezTo>
                  <a:cubicBezTo>
                    <a:pt x="5884" y="32"/>
                    <a:pt x="5766" y="95"/>
                    <a:pt x="5703" y="221"/>
                  </a:cubicBezTo>
                  <a:lnTo>
                    <a:pt x="5388" y="725"/>
                  </a:ln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74"/>
            <p:cNvSpPr/>
            <p:nvPr/>
          </p:nvSpPr>
          <p:spPr>
            <a:xfrm>
              <a:off x="-47751825" y="3306025"/>
              <a:ext cx="17350" cy="18150"/>
            </a:xfrm>
            <a:custGeom>
              <a:avLst/>
              <a:gdLst/>
              <a:ahLst/>
              <a:cxnLst/>
              <a:rect l="l" t="t" r="r" b="b"/>
              <a:pathLst>
                <a:path w="694" h="726" extrusionOk="0">
                  <a:moveTo>
                    <a:pt x="347" y="1"/>
                  </a:moveTo>
                  <a:cubicBezTo>
                    <a:pt x="158" y="1"/>
                    <a:pt x="1" y="159"/>
                    <a:pt x="1" y="348"/>
                  </a:cubicBezTo>
                  <a:cubicBezTo>
                    <a:pt x="1" y="568"/>
                    <a:pt x="158" y="726"/>
                    <a:pt x="347" y="726"/>
                  </a:cubicBezTo>
                  <a:cubicBezTo>
                    <a:pt x="536" y="726"/>
                    <a:pt x="694" y="568"/>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3" name="Google Shape;7973;p74"/>
            <p:cNvSpPr/>
            <p:nvPr/>
          </p:nvSpPr>
          <p:spPr>
            <a:xfrm>
              <a:off x="-47786475" y="3395050"/>
              <a:ext cx="87450" cy="17350"/>
            </a:xfrm>
            <a:custGeom>
              <a:avLst/>
              <a:gdLst/>
              <a:ahLst/>
              <a:cxnLst/>
              <a:rect l="l" t="t" r="r" b="b"/>
              <a:pathLst>
                <a:path w="3498" h="694" extrusionOk="0">
                  <a:moveTo>
                    <a:pt x="347" y="0"/>
                  </a:moveTo>
                  <a:cubicBezTo>
                    <a:pt x="158" y="0"/>
                    <a:pt x="1" y="158"/>
                    <a:pt x="1" y="347"/>
                  </a:cubicBezTo>
                  <a:lnTo>
                    <a:pt x="1" y="693"/>
                  </a:lnTo>
                  <a:lnTo>
                    <a:pt x="3498" y="693"/>
                  </a:lnTo>
                  <a:lnTo>
                    <a:pt x="3498" y="347"/>
                  </a:lnTo>
                  <a:cubicBezTo>
                    <a:pt x="3498" y="158"/>
                    <a:pt x="337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4"/>
            <p:cNvSpPr/>
            <p:nvPr/>
          </p:nvSpPr>
          <p:spPr>
            <a:xfrm>
              <a:off x="-47692750" y="3271375"/>
              <a:ext cx="101625" cy="140225"/>
            </a:xfrm>
            <a:custGeom>
              <a:avLst/>
              <a:gdLst/>
              <a:ahLst/>
              <a:cxnLst/>
              <a:rect l="l" t="t" r="r" b="b"/>
              <a:pathLst>
                <a:path w="4065" h="5609" extrusionOk="0">
                  <a:moveTo>
                    <a:pt x="631" y="1"/>
                  </a:moveTo>
                  <a:lnTo>
                    <a:pt x="1576" y="1639"/>
                  </a:lnTo>
                  <a:cubicBezTo>
                    <a:pt x="1639" y="1734"/>
                    <a:pt x="1639" y="1891"/>
                    <a:pt x="1576" y="1986"/>
                  </a:cubicBezTo>
                  <a:lnTo>
                    <a:pt x="1" y="4348"/>
                  </a:lnTo>
                  <a:cubicBezTo>
                    <a:pt x="316" y="4537"/>
                    <a:pt x="505" y="4853"/>
                    <a:pt x="505" y="5262"/>
                  </a:cubicBezTo>
                  <a:lnTo>
                    <a:pt x="505" y="5609"/>
                  </a:lnTo>
                  <a:lnTo>
                    <a:pt x="4065" y="5609"/>
                  </a:lnTo>
                  <a:lnTo>
                    <a:pt x="4065" y="1040"/>
                  </a:lnTo>
                  <a:cubicBezTo>
                    <a:pt x="4002" y="473"/>
                    <a:pt x="3561" y="1"/>
                    <a:pt x="2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4"/>
            <p:cNvSpPr/>
            <p:nvPr/>
          </p:nvSpPr>
          <p:spPr>
            <a:xfrm>
              <a:off x="-47891225" y="3272950"/>
              <a:ext cx="100050" cy="140225"/>
            </a:xfrm>
            <a:custGeom>
              <a:avLst/>
              <a:gdLst/>
              <a:ahLst/>
              <a:cxnLst/>
              <a:rect l="l" t="t" r="r" b="b"/>
              <a:pathLst>
                <a:path w="4002" h="5609" extrusionOk="0">
                  <a:moveTo>
                    <a:pt x="1040" y="1"/>
                  </a:moveTo>
                  <a:cubicBezTo>
                    <a:pt x="473" y="1"/>
                    <a:pt x="0" y="442"/>
                    <a:pt x="0" y="1040"/>
                  </a:cubicBezTo>
                  <a:lnTo>
                    <a:pt x="0" y="5609"/>
                  </a:lnTo>
                  <a:lnTo>
                    <a:pt x="3529" y="5609"/>
                  </a:lnTo>
                  <a:lnTo>
                    <a:pt x="3529" y="5231"/>
                  </a:lnTo>
                  <a:lnTo>
                    <a:pt x="3497" y="5231"/>
                  </a:lnTo>
                  <a:cubicBezTo>
                    <a:pt x="3497" y="4821"/>
                    <a:pt x="3686" y="4506"/>
                    <a:pt x="4002" y="4317"/>
                  </a:cubicBezTo>
                  <a:lnTo>
                    <a:pt x="2426" y="1954"/>
                  </a:lnTo>
                  <a:cubicBezTo>
                    <a:pt x="2363" y="1828"/>
                    <a:pt x="2363" y="1734"/>
                    <a:pt x="2426" y="1608"/>
                  </a:cubicBezTo>
                  <a:lnTo>
                    <a:pt x="33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6" name="Google Shape;7976;p74"/>
            <p:cNvSpPr/>
            <p:nvPr/>
          </p:nvSpPr>
          <p:spPr>
            <a:xfrm>
              <a:off x="-47892800" y="3428900"/>
              <a:ext cx="300100" cy="70925"/>
            </a:xfrm>
            <a:custGeom>
              <a:avLst/>
              <a:gdLst/>
              <a:ahLst/>
              <a:cxnLst/>
              <a:rect l="l" t="t" r="r" b="b"/>
              <a:pathLst>
                <a:path w="12004" h="2837" extrusionOk="0">
                  <a:moveTo>
                    <a:pt x="0" y="1"/>
                  </a:moveTo>
                  <a:lnTo>
                    <a:pt x="0" y="379"/>
                  </a:lnTo>
                  <a:cubicBezTo>
                    <a:pt x="0" y="946"/>
                    <a:pt x="473" y="1418"/>
                    <a:pt x="1072" y="1418"/>
                  </a:cubicBezTo>
                  <a:lnTo>
                    <a:pt x="4978" y="1418"/>
                  </a:lnTo>
                  <a:lnTo>
                    <a:pt x="4978" y="2143"/>
                  </a:lnTo>
                  <a:lnTo>
                    <a:pt x="3907" y="2143"/>
                  </a:lnTo>
                  <a:cubicBezTo>
                    <a:pt x="3718" y="2143"/>
                    <a:pt x="3560" y="2301"/>
                    <a:pt x="3560" y="2490"/>
                  </a:cubicBezTo>
                  <a:cubicBezTo>
                    <a:pt x="3560" y="2679"/>
                    <a:pt x="3718" y="2836"/>
                    <a:pt x="3907" y="2836"/>
                  </a:cubicBezTo>
                  <a:lnTo>
                    <a:pt x="8129" y="2836"/>
                  </a:lnTo>
                  <a:cubicBezTo>
                    <a:pt x="8318" y="2836"/>
                    <a:pt x="8475" y="2679"/>
                    <a:pt x="8475" y="2490"/>
                  </a:cubicBezTo>
                  <a:cubicBezTo>
                    <a:pt x="8475" y="2301"/>
                    <a:pt x="8318" y="2143"/>
                    <a:pt x="8129" y="2143"/>
                  </a:cubicBezTo>
                  <a:lnTo>
                    <a:pt x="7057" y="2143"/>
                  </a:lnTo>
                  <a:lnTo>
                    <a:pt x="7057" y="1418"/>
                  </a:lnTo>
                  <a:lnTo>
                    <a:pt x="10964" y="1418"/>
                  </a:lnTo>
                  <a:cubicBezTo>
                    <a:pt x="11531" y="1418"/>
                    <a:pt x="12004" y="946"/>
                    <a:pt x="12004" y="379"/>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7" name="Google Shape;7977;p74"/>
          <p:cNvGrpSpPr/>
          <p:nvPr/>
        </p:nvGrpSpPr>
        <p:grpSpPr>
          <a:xfrm>
            <a:off x="4003437" y="1843707"/>
            <a:ext cx="229391" cy="355258"/>
            <a:chOff x="-47839250" y="3569100"/>
            <a:chExt cx="193775" cy="300100"/>
          </a:xfrm>
        </p:grpSpPr>
        <p:sp>
          <p:nvSpPr>
            <p:cNvPr id="7978" name="Google Shape;7978;p74"/>
            <p:cNvSpPr/>
            <p:nvPr/>
          </p:nvSpPr>
          <p:spPr>
            <a:xfrm>
              <a:off x="-47786475" y="3657325"/>
              <a:ext cx="51225" cy="51200"/>
            </a:xfrm>
            <a:custGeom>
              <a:avLst/>
              <a:gdLst/>
              <a:ahLst/>
              <a:cxnLst/>
              <a:rect l="l" t="t" r="r" b="b"/>
              <a:pathLst>
                <a:path w="2049" h="2048" extrusionOk="0">
                  <a:moveTo>
                    <a:pt x="1072" y="0"/>
                  </a:moveTo>
                  <a:cubicBezTo>
                    <a:pt x="473" y="0"/>
                    <a:pt x="1" y="473"/>
                    <a:pt x="1" y="1071"/>
                  </a:cubicBezTo>
                  <a:cubicBezTo>
                    <a:pt x="1" y="1544"/>
                    <a:pt x="284" y="1890"/>
                    <a:pt x="725" y="2048"/>
                  </a:cubicBezTo>
                  <a:lnTo>
                    <a:pt x="725" y="1071"/>
                  </a:lnTo>
                  <a:cubicBezTo>
                    <a:pt x="725" y="882"/>
                    <a:pt x="883" y="725"/>
                    <a:pt x="1072" y="725"/>
                  </a:cubicBezTo>
                  <a:lnTo>
                    <a:pt x="2048" y="725"/>
                  </a:lnTo>
                  <a:cubicBezTo>
                    <a:pt x="1891" y="315"/>
                    <a:pt x="1513"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9" name="Google Shape;7979;p74"/>
            <p:cNvSpPr/>
            <p:nvPr/>
          </p:nvSpPr>
          <p:spPr>
            <a:xfrm>
              <a:off x="-47751025" y="3692750"/>
              <a:ext cx="15775" cy="15775"/>
            </a:xfrm>
            <a:custGeom>
              <a:avLst/>
              <a:gdLst/>
              <a:ahLst/>
              <a:cxnLst/>
              <a:rect l="l" t="t" r="r" b="b"/>
              <a:pathLst>
                <a:path w="631" h="631" extrusionOk="0">
                  <a:moveTo>
                    <a:pt x="0" y="1"/>
                  </a:moveTo>
                  <a:lnTo>
                    <a:pt x="0" y="631"/>
                  </a:lnTo>
                  <a:cubicBezTo>
                    <a:pt x="315" y="536"/>
                    <a:pt x="504" y="284"/>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0" name="Google Shape;7980;p74"/>
            <p:cNvSpPr/>
            <p:nvPr/>
          </p:nvSpPr>
          <p:spPr>
            <a:xfrm>
              <a:off x="-47838450" y="3569100"/>
              <a:ext cx="192975" cy="35475"/>
            </a:xfrm>
            <a:custGeom>
              <a:avLst/>
              <a:gdLst/>
              <a:ahLst/>
              <a:cxnLst/>
              <a:rect l="l" t="t" r="r" b="b"/>
              <a:pathLst>
                <a:path w="7719" h="1419" extrusionOk="0">
                  <a:moveTo>
                    <a:pt x="347" y="1"/>
                  </a:moveTo>
                  <a:cubicBezTo>
                    <a:pt x="158" y="1"/>
                    <a:pt x="0" y="158"/>
                    <a:pt x="0" y="347"/>
                  </a:cubicBezTo>
                  <a:lnTo>
                    <a:pt x="0" y="1418"/>
                  </a:lnTo>
                  <a:lnTo>
                    <a:pt x="7719" y="1418"/>
                  </a:lnTo>
                  <a:lnTo>
                    <a:pt x="7719" y="347"/>
                  </a:lnTo>
                  <a:cubicBezTo>
                    <a:pt x="7719" y="158"/>
                    <a:pt x="7561" y="1"/>
                    <a:pt x="7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74"/>
            <p:cNvSpPr/>
            <p:nvPr/>
          </p:nvSpPr>
          <p:spPr>
            <a:xfrm>
              <a:off x="-47751025" y="3691975"/>
              <a:ext cx="53575" cy="53575"/>
            </a:xfrm>
            <a:custGeom>
              <a:avLst/>
              <a:gdLst/>
              <a:ahLst/>
              <a:cxnLst/>
              <a:rect l="l" t="t" r="r" b="b"/>
              <a:pathLst>
                <a:path w="2143" h="2143" extrusionOk="0">
                  <a:moveTo>
                    <a:pt x="1386" y="0"/>
                  </a:moveTo>
                  <a:cubicBezTo>
                    <a:pt x="1229" y="662"/>
                    <a:pt x="725" y="1229"/>
                    <a:pt x="0" y="1387"/>
                  </a:cubicBezTo>
                  <a:lnTo>
                    <a:pt x="0" y="2143"/>
                  </a:lnTo>
                  <a:lnTo>
                    <a:pt x="2143" y="2143"/>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4"/>
            <p:cNvSpPr/>
            <p:nvPr/>
          </p:nvSpPr>
          <p:spPr>
            <a:xfrm>
              <a:off x="-47839250" y="3621875"/>
              <a:ext cx="193000" cy="159125"/>
            </a:xfrm>
            <a:custGeom>
              <a:avLst/>
              <a:gdLst/>
              <a:ahLst/>
              <a:cxnLst/>
              <a:rect l="l" t="t" r="r" b="b"/>
              <a:pathLst>
                <a:path w="7720" h="6365" extrusionOk="0">
                  <a:moveTo>
                    <a:pt x="3183" y="725"/>
                  </a:moveTo>
                  <a:cubicBezTo>
                    <a:pt x="4033" y="725"/>
                    <a:pt x="4758" y="1324"/>
                    <a:pt x="4915" y="2143"/>
                  </a:cubicBezTo>
                  <a:lnTo>
                    <a:pt x="6018" y="2143"/>
                  </a:lnTo>
                  <a:cubicBezTo>
                    <a:pt x="6207" y="2143"/>
                    <a:pt x="6365" y="2300"/>
                    <a:pt x="6365" y="2489"/>
                  </a:cubicBezTo>
                  <a:lnTo>
                    <a:pt x="6365" y="5293"/>
                  </a:lnTo>
                  <a:cubicBezTo>
                    <a:pt x="6365" y="5482"/>
                    <a:pt x="6207" y="5640"/>
                    <a:pt x="6018" y="5640"/>
                  </a:cubicBezTo>
                  <a:lnTo>
                    <a:pt x="3214" y="5640"/>
                  </a:lnTo>
                  <a:cubicBezTo>
                    <a:pt x="3025" y="5640"/>
                    <a:pt x="2868" y="5482"/>
                    <a:pt x="2868" y="5293"/>
                  </a:cubicBezTo>
                  <a:lnTo>
                    <a:pt x="2868" y="4191"/>
                  </a:lnTo>
                  <a:cubicBezTo>
                    <a:pt x="2080" y="4033"/>
                    <a:pt x="1450" y="3308"/>
                    <a:pt x="1450" y="2458"/>
                  </a:cubicBezTo>
                  <a:cubicBezTo>
                    <a:pt x="1418" y="1513"/>
                    <a:pt x="2206" y="725"/>
                    <a:pt x="3183" y="725"/>
                  </a:cubicBezTo>
                  <a:close/>
                  <a:moveTo>
                    <a:pt x="1" y="0"/>
                  </a:moveTo>
                  <a:lnTo>
                    <a:pt x="1" y="6364"/>
                  </a:lnTo>
                  <a:lnTo>
                    <a:pt x="7719" y="6364"/>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4"/>
            <p:cNvSpPr/>
            <p:nvPr/>
          </p:nvSpPr>
          <p:spPr>
            <a:xfrm>
              <a:off x="-47839250" y="3799075"/>
              <a:ext cx="193000" cy="70125"/>
            </a:xfrm>
            <a:custGeom>
              <a:avLst/>
              <a:gdLst/>
              <a:ahLst/>
              <a:cxnLst/>
              <a:rect l="l" t="t" r="r" b="b"/>
              <a:pathLst>
                <a:path w="7720" h="2805" extrusionOk="0">
                  <a:moveTo>
                    <a:pt x="4600" y="663"/>
                  </a:moveTo>
                  <a:cubicBezTo>
                    <a:pt x="4789" y="663"/>
                    <a:pt x="4947" y="820"/>
                    <a:pt x="4947" y="1041"/>
                  </a:cubicBezTo>
                  <a:cubicBezTo>
                    <a:pt x="4947" y="1230"/>
                    <a:pt x="4789" y="1387"/>
                    <a:pt x="4600" y="1387"/>
                  </a:cubicBezTo>
                  <a:lnTo>
                    <a:pt x="3183" y="1387"/>
                  </a:lnTo>
                  <a:cubicBezTo>
                    <a:pt x="2994" y="1387"/>
                    <a:pt x="2836" y="1230"/>
                    <a:pt x="2836" y="1041"/>
                  </a:cubicBezTo>
                  <a:cubicBezTo>
                    <a:pt x="2836" y="852"/>
                    <a:pt x="2994" y="663"/>
                    <a:pt x="3183" y="663"/>
                  </a:cubicBezTo>
                  <a:close/>
                  <a:moveTo>
                    <a:pt x="1" y="1"/>
                  </a:moveTo>
                  <a:lnTo>
                    <a:pt x="1" y="2458"/>
                  </a:lnTo>
                  <a:cubicBezTo>
                    <a:pt x="1" y="2647"/>
                    <a:pt x="158" y="2805"/>
                    <a:pt x="347" y="2805"/>
                  </a:cubicBezTo>
                  <a:lnTo>
                    <a:pt x="7341" y="2805"/>
                  </a:lnTo>
                  <a:cubicBezTo>
                    <a:pt x="7562" y="2805"/>
                    <a:pt x="7719" y="2647"/>
                    <a:pt x="7719" y="2458"/>
                  </a:cubicBez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4" name="Google Shape;7984;p74"/>
          <p:cNvGrpSpPr/>
          <p:nvPr/>
        </p:nvGrpSpPr>
        <p:grpSpPr>
          <a:xfrm>
            <a:off x="3940503" y="2280056"/>
            <a:ext cx="355258" cy="356205"/>
            <a:chOff x="-47892800" y="3937700"/>
            <a:chExt cx="300100" cy="300900"/>
          </a:xfrm>
        </p:grpSpPr>
        <p:sp>
          <p:nvSpPr>
            <p:cNvPr id="7985" name="Google Shape;7985;p74"/>
            <p:cNvSpPr/>
            <p:nvPr/>
          </p:nvSpPr>
          <p:spPr>
            <a:xfrm>
              <a:off x="-47858150" y="3937700"/>
              <a:ext cx="70900" cy="44150"/>
            </a:xfrm>
            <a:custGeom>
              <a:avLst/>
              <a:gdLst/>
              <a:ahLst/>
              <a:cxnLst/>
              <a:rect l="l" t="t" r="r" b="b"/>
              <a:pathLst>
                <a:path w="2836" h="1766" extrusionOk="0">
                  <a:moveTo>
                    <a:pt x="1418" y="1"/>
                  </a:moveTo>
                  <a:cubicBezTo>
                    <a:pt x="631" y="1"/>
                    <a:pt x="1" y="694"/>
                    <a:pt x="1" y="1419"/>
                  </a:cubicBezTo>
                  <a:lnTo>
                    <a:pt x="1" y="1765"/>
                  </a:lnTo>
                  <a:cubicBezTo>
                    <a:pt x="442" y="1545"/>
                    <a:pt x="914" y="1419"/>
                    <a:pt x="1418" y="1419"/>
                  </a:cubicBezTo>
                  <a:cubicBezTo>
                    <a:pt x="1922" y="1419"/>
                    <a:pt x="2395" y="1545"/>
                    <a:pt x="2836" y="1765"/>
                  </a:cubicBezTo>
                  <a:lnTo>
                    <a:pt x="2836" y="1419"/>
                  </a:ln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4"/>
            <p:cNvSpPr/>
            <p:nvPr/>
          </p:nvSpPr>
          <p:spPr>
            <a:xfrm>
              <a:off x="-47892800" y="3991275"/>
              <a:ext cx="141000" cy="105550"/>
            </a:xfrm>
            <a:custGeom>
              <a:avLst/>
              <a:gdLst/>
              <a:ahLst/>
              <a:cxnLst/>
              <a:rect l="l" t="t" r="r" b="b"/>
              <a:pathLst>
                <a:path w="5640" h="4222" extrusionOk="0">
                  <a:moveTo>
                    <a:pt x="2836" y="0"/>
                  </a:moveTo>
                  <a:cubicBezTo>
                    <a:pt x="1292" y="0"/>
                    <a:pt x="32" y="1260"/>
                    <a:pt x="32" y="2804"/>
                  </a:cubicBezTo>
                  <a:lnTo>
                    <a:pt x="32" y="3875"/>
                  </a:lnTo>
                  <a:cubicBezTo>
                    <a:pt x="0" y="4064"/>
                    <a:pt x="158" y="4222"/>
                    <a:pt x="347" y="4222"/>
                  </a:cubicBezTo>
                  <a:lnTo>
                    <a:pt x="5293" y="4222"/>
                  </a:lnTo>
                  <a:cubicBezTo>
                    <a:pt x="5482" y="4222"/>
                    <a:pt x="5640" y="4064"/>
                    <a:pt x="5640" y="3875"/>
                  </a:cubicBezTo>
                  <a:lnTo>
                    <a:pt x="5640" y="2804"/>
                  </a:lnTo>
                  <a:cubicBezTo>
                    <a:pt x="5640" y="1260"/>
                    <a:pt x="4380"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74"/>
            <p:cNvSpPr/>
            <p:nvPr/>
          </p:nvSpPr>
          <p:spPr>
            <a:xfrm>
              <a:off x="-47773875" y="3956600"/>
              <a:ext cx="119750" cy="89025"/>
            </a:xfrm>
            <a:custGeom>
              <a:avLst/>
              <a:gdLst/>
              <a:ahLst/>
              <a:cxnLst/>
              <a:rect l="l" t="t" r="r" b="b"/>
              <a:pathLst>
                <a:path w="4790" h="3561" extrusionOk="0">
                  <a:moveTo>
                    <a:pt x="1" y="1"/>
                  </a:moveTo>
                  <a:cubicBezTo>
                    <a:pt x="95" y="253"/>
                    <a:pt x="127" y="474"/>
                    <a:pt x="127" y="726"/>
                  </a:cubicBezTo>
                  <a:lnTo>
                    <a:pt x="127" y="1419"/>
                  </a:lnTo>
                  <a:lnTo>
                    <a:pt x="158" y="1419"/>
                  </a:lnTo>
                  <a:cubicBezTo>
                    <a:pt x="442" y="1639"/>
                    <a:pt x="694" y="1860"/>
                    <a:pt x="883" y="2143"/>
                  </a:cubicBezTo>
                  <a:cubicBezTo>
                    <a:pt x="1702" y="2301"/>
                    <a:pt x="2427" y="2805"/>
                    <a:pt x="2805" y="3561"/>
                  </a:cubicBezTo>
                  <a:cubicBezTo>
                    <a:pt x="3214" y="3120"/>
                    <a:pt x="3750" y="2805"/>
                    <a:pt x="4380" y="2805"/>
                  </a:cubicBezTo>
                  <a:cubicBezTo>
                    <a:pt x="4506" y="2805"/>
                    <a:pt x="4663" y="2805"/>
                    <a:pt x="4789" y="2836"/>
                  </a:cubicBezTo>
                  <a:cubicBezTo>
                    <a:pt x="4033" y="1167"/>
                    <a:pt x="2332"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8" name="Google Shape;7988;p74"/>
            <p:cNvSpPr/>
            <p:nvPr/>
          </p:nvSpPr>
          <p:spPr>
            <a:xfrm>
              <a:off x="-47699050" y="4043250"/>
              <a:ext cx="71700" cy="70900"/>
            </a:xfrm>
            <a:custGeom>
              <a:avLst/>
              <a:gdLst/>
              <a:ahLst/>
              <a:cxnLst/>
              <a:rect l="l" t="t" r="r" b="b"/>
              <a:pathLst>
                <a:path w="2868" h="2836" extrusionOk="0">
                  <a:moveTo>
                    <a:pt x="1450" y="0"/>
                  </a:moveTo>
                  <a:cubicBezTo>
                    <a:pt x="662" y="0"/>
                    <a:pt x="1" y="694"/>
                    <a:pt x="1" y="1418"/>
                  </a:cubicBezTo>
                  <a:cubicBezTo>
                    <a:pt x="1" y="2206"/>
                    <a:pt x="662" y="2836"/>
                    <a:pt x="1450" y="2836"/>
                  </a:cubicBezTo>
                  <a:cubicBezTo>
                    <a:pt x="2237" y="2836"/>
                    <a:pt x="2868" y="2206"/>
                    <a:pt x="2868" y="1418"/>
                  </a:cubicBezTo>
                  <a:cubicBezTo>
                    <a:pt x="2868" y="631"/>
                    <a:pt x="2237"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9" name="Google Shape;7989;p74"/>
            <p:cNvSpPr/>
            <p:nvPr/>
          </p:nvSpPr>
          <p:spPr>
            <a:xfrm>
              <a:off x="-47770725" y="4124375"/>
              <a:ext cx="178025" cy="114225"/>
            </a:xfrm>
            <a:custGeom>
              <a:avLst/>
              <a:gdLst/>
              <a:ahLst/>
              <a:cxnLst/>
              <a:rect l="l" t="t" r="r" b="b"/>
              <a:pathLst>
                <a:path w="7121" h="4569" extrusionOk="0">
                  <a:moveTo>
                    <a:pt x="3183" y="0"/>
                  </a:moveTo>
                  <a:lnTo>
                    <a:pt x="3183" y="2426"/>
                  </a:lnTo>
                  <a:lnTo>
                    <a:pt x="2490" y="2426"/>
                  </a:lnTo>
                  <a:lnTo>
                    <a:pt x="2490" y="2080"/>
                  </a:lnTo>
                  <a:cubicBezTo>
                    <a:pt x="2490" y="1891"/>
                    <a:pt x="2332" y="1733"/>
                    <a:pt x="2143" y="1733"/>
                  </a:cubicBezTo>
                  <a:cubicBezTo>
                    <a:pt x="1954" y="1733"/>
                    <a:pt x="1796" y="1891"/>
                    <a:pt x="1796" y="2080"/>
                  </a:cubicBezTo>
                  <a:lnTo>
                    <a:pt x="1796" y="2426"/>
                  </a:lnTo>
                  <a:cubicBezTo>
                    <a:pt x="788" y="2426"/>
                    <a:pt x="1" y="3214"/>
                    <a:pt x="1" y="4222"/>
                  </a:cubicBezTo>
                  <a:cubicBezTo>
                    <a:pt x="1" y="4411"/>
                    <a:pt x="158" y="4569"/>
                    <a:pt x="379" y="4569"/>
                  </a:cubicBezTo>
                  <a:lnTo>
                    <a:pt x="6711" y="4569"/>
                  </a:lnTo>
                  <a:cubicBezTo>
                    <a:pt x="6900" y="4569"/>
                    <a:pt x="7058" y="4411"/>
                    <a:pt x="7058" y="4222"/>
                  </a:cubicBezTo>
                  <a:cubicBezTo>
                    <a:pt x="7121" y="3214"/>
                    <a:pt x="6302" y="2426"/>
                    <a:pt x="5325" y="2426"/>
                  </a:cubicBezTo>
                  <a:lnTo>
                    <a:pt x="5325" y="0"/>
                  </a:lnTo>
                  <a:cubicBezTo>
                    <a:pt x="5010" y="190"/>
                    <a:pt x="4663" y="284"/>
                    <a:pt x="4254" y="284"/>
                  </a:cubicBezTo>
                  <a:cubicBezTo>
                    <a:pt x="3876" y="284"/>
                    <a:pt x="3529" y="158"/>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74"/>
            <p:cNvSpPr/>
            <p:nvPr/>
          </p:nvSpPr>
          <p:spPr>
            <a:xfrm>
              <a:off x="-47830575" y="41322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1" name="Google Shape;7991;p74"/>
            <p:cNvSpPr/>
            <p:nvPr/>
          </p:nvSpPr>
          <p:spPr>
            <a:xfrm>
              <a:off x="-47785675" y="4112375"/>
              <a:ext cx="37825" cy="36250"/>
            </a:xfrm>
            <a:custGeom>
              <a:avLst/>
              <a:gdLst/>
              <a:ahLst/>
              <a:cxnLst/>
              <a:rect l="l" t="t" r="r" b="b"/>
              <a:pathLst>
                <a:path w="1513" h="1450" extrusionOk="0">
                  <a:moveTo>
                    <a:pt x="402" y="0"/>
                  </a:moveTo>
                  <a:cubicBezTo>
                    <a:pt x="307" y="0"/>
                    <a:pt x="205" y="24"/>
                    <a:pt x="126" y="71"/>
                  </a:cubicBezTo>
                  <a:cubicBezTo>
                    <a:pt x="0" y="197"/>
                    <a:pt x="0" y="449"/>
                    <a:pt x="126" y="607"/>
                  </a:cubicBezTo>
                  <a:lnTo>
                    <a:pt x="882" y="1331"/>
                  </a:lnTo>
                  <a:cubicBezTo>
                    <a:pt x="961" y="1410"/>
                    <a:pt x="1055" y="1449"/>
                    <a:pt x="1146" y="1449"/>
                  </a:cubicBezTo>
                  <a:cubicBezTo>
                    <a:pt x="1237" y="1449"/>
                    <a:pt x="1323" y="1410"/>
                    <a:pt x="1386" y="1331"/>
                  </a:cubicBezTo>
                  <a:cubicBezTo>
                    <a:pt x="1512" y="1237"/>
                    <a:pt x="1512" y="985"/>
                    <a:pt x="1386" y="827"/>
                  </a:cubicBezTo>
                  <a:lnTo>
                    <a:pt x="630" y="71"/>
                  </a:lnTo>
                  <a:cubicBezTo>
                    <a:pt x="583" y="24"/>
                    <a:pt x="496" y="0"/>
                    <a:pt x="4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2" name="Google Shape;7992;p74"/>
            <p:cNvSpPr/>
            <p:nvPr/>
          </p:nvSpPr>
          <p:spPr>
            <a:xfrm>
              <a:off x="-47892800" y="4112750"/>
              <a:ext cx="37825" cy="36250"/>
            </a:xfrm>
            <a:custGeom>
              <a:avLst/>
              <a:gdLst/>
              <a:ahLst/>
              <a:cxnLst/>
              <a:rect l="l" t="t" r="r" b="b"/>
              <a:pathLst>
                <a:path w="1513" h="1450" extrusionOk="0">
                  <a:moveTo>
                    <a:pt x="1111" y="1"/>
                  </a:moveTo>
                  <a:cubicBezTo>
                    <a:pt x="1016" y="1"/>
                    <a:pt x="930" y="40"/>
                    <a:pt x="883" y="119"/>
                  </a:cubicBezTo>
                  <a:lnTo>
                    <a:pt x="126" y="844"/>
                  </a:lnTo>
                  <a:cubicBezTo>
                    <a:pt x="0" y="970"/>
                    <a:pt x="0" y="1222"/>
                    <a:pt x="126" y="1379"/>
                  </a:cubicBezTo>
                  <a:cubicBezTo>
                    <a:pt x="189" y="1426"/>
                    <a:pt x="276" y="1450"/>
                    <a:pt x="367" y="1450"/>
                  </a:cubicBezTo>
                  <a:cubicBezTo>
                    <a:pt x="457" y="1450"/>
                    <a:pt x="552" y="1426"/>
                    <a:pt x="630" y="1379"/>
                  </a:cubicBezTo>
                  <a:lnTo>
                    <a:pt x="1387" y="623"/>
                  </a:lnTo>
                  <a:cubicBezTo>
                    <a:pt x="1513" y="497"/>
                    <a:pt x="1513" y="276"/>
                    <a:pt x="1387" y="119"/>
                  </a:cubicBezTo>
                  <a:cubicBezTo>
                    <a:pt x="1308" y="40"/>
                    <a:pt x="1205" y="1"/>
                    <a:pt x="1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3" name="Google Shape;7993;p74"/>
          <p:cNvGrpSpPr/>
          <p:nvPr/>
        </p:nvGrpSpPr>
        <p:grpSpPr>
          <a:xfrm>
            <a:off x="2645798" y="2773770"/>
            <a:ext cx="355258" cy="311458"/>
            <a:chOff x="-46042675" y="3218600"/>
            <a:chExt cx="300100" cy="263100"/>
          </a:xfrm>
        </p:grpSpPr>
        <p:sp>
          <p:nvSpPr>
            <p:cNvPr id="7994" name="Google Shape;7994;p74"/>
            <p:cNvSpPr/>
            <p:nvPr/>
          </p:nvSpPr>
          <p:spPr>
            <a:xfrm>
              <a:off x="-46042675" y="3302875"/>
              <a:ext cx="35475" cy="130000"/>
            </a:xfrm>
            <a:custGeom>
              <a:avLst/>
              <a:gdLst/>
              <a:ahLst/>
              <a:cxnLst/>
              <a:rect l="l" t="t" r="r" b="b"/>
              <a:pathLst>
                <a:path w="1419" h="5200" extrusionOk="0">
                  <a:moveTo>
                    <a:pt x="1" y="1"/>
                  </a:moveTo>
                  <a:lnTo>
                    <a:pt x="1" y="5199"/>
                  </a:lnTo>
                  <a:lnTo>
                    <a:pt x="1418" y="4506"/>
                  </a:lnTo>
                  <a:lnTo>
                    <a:pt x="1418" y="72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5" name="Google Shape;7995;p74"/>
            <p:cNvSpPr/>
            <p:nvPr/>
          </p:nvSpPr>
          <p:spPr>
            <a:xfrm>
              <a:off x="-45919025" y="3341475"/>
              <a:ext cx="53600" cy="52800"/>
            </a:xfrm>
            <a:custGeom>
              <a:avLst/>
              <a:gdLst/>
              <a:ahLst/>
              <a:cxnLst/>
              <a:rect l="l" t="t" r="r" b="b"/>
              <a:pathLst>
                <a:path w="2144" h="2112" extrusionOk="0">
                  <a:moveTo>
                    <a:pt x="1072" y="1"/>
                  </a:moveTo>
                  <a:cubicBezTo>
                    <a:pt x="473" y="1"/>
                    <a:pt x="1" y="473"/>
                    <a:pt x="1" y="1072"/>
                  </a:cubicBezTo>
                  <a:cubicBezTo>
                    <a:pt x="1" y="1639"/>
                    <a:pt x="473" y="2112"/>
                    <a:pt x="1072" y="2112"/>
                  </a:cubicBezTo>
                  <a:cubicBezTo>
                    <a:pt x="1671" y="2112"/>
                    <a:pt x="2143" y="1639"/>
                    <a:pt x="2143" y="1072"/>
                  </a:cubicBezTo>
                  <a:cubicBezTo>
                    <a:pt x="2143"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74"/>
            <p:cNvSpPr/>
            <p:nvPr/>
          </p:nvSpPr>
          <p:spPr>
            <a:xfrm>
              <a:off x="-45778025" y="3302875"/>
              <a:ext cx="35450" cy="130000"/>
            </a:xfrm>
            <a:custGeom>
              <a:avLst/>
              <a:gdLst/>
              <a:ahLst/>
              <a:cxnLst/>
              <a:rect l="l" t="t" r="r" b="b"/>
              <a:pathLst>
                <a:path w="1418" h="5200" extrusionOk="0">
                  <a:moveTo>
                    <a:pt x="1418" y="1"/>
                  </a:moveTo>
                  <a:lnTo>
                    <a:pt x="0" y="726"/>
                  </a:lnTo>
                  <a:lnTo>
                    <a:pt x="0" y="4506"/>
                  </a:lnTo>
                  <a:lnTo>
                    <a:pt x="1418" y="5199"/>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7" name="Google Shape;7997;p74"/>
            <p:cNvSpPr/>
            <p:nvPr/>
          </p:nvSpPr>
          <p:spPr>
            <a:xfrm>
              <a:off x="-46042675" y="3235950"/>
              <a:ext cx="300100" cy="245750"/>
            </a:xfrm>
            <a:custGeom>
              <a:avLst/>
              <a:gdLst/>
              <a:ahLst/>
              <a:cxnLst/>
              <a:rect l="l" t="t" r="r" b="b"/>
              <a:pathLst>
                <a:path w="12004" h="9830" extrusionOk="0">
                  <a:moveTo>
                    <a:pt x="6018" y="2142"/>
                  </a:moveTo>
                  <a:cubicBezTo>
                    <a:pt x="7751" y="2142"/>
                    <a:pt x="9168" y="3560"/>
                    <a:pt x="9168" y="5293"/>
                  </a:cubicBezTo>
                  <a:cubicBezTo>
                    <a:pt x="9168" y="7026"/>
                    <a:pt x="7751" y="8443"/>
                    <a:pt x="6018" y="8443"/>
                  </a:cubicBezTo>
                  <a:cubicBezTo>
                    <a:pt x="4285" y="8443"/>
                    <a:pt x="2867" y="7026"/>
                    <a:pt x="2867" y="5293"/>
                  </a:cubicBezTo>
                  <a:cubicBezTo>
                    <a:pt x="2867" y="3560"/>
                    <a:pt x="4285" y="2142"/>
                    <a:pt x="6018" y="2142"/>
                  </a:cubicBezTo>
                  <a:close/>
                  <a:moveTo>
                    <a:pt x="1765" y="0"/>
                  </a:moveTo>
                  <a:cubicBezTo>
                    <a:pt x="1576" y="0"/>
                    <a:pt x="1418" y="158"/>
                    <a:pt x="1418" y="378"/>
                  </a:cubicBezTo>
                  <a:lnTo>
                    <a:pt x="1418" y="725"/>
                  </a:lnTo>
                  <a:lnTo>
                    <a:pt x="1072" y="725"/>
                  </a:lnTo>
                  <a:cubicBezTo>
                    <a:pt x="473" y="725"/>
                    <a:pt x="1" y="1197"/>
                    <a:pt x="1" y="1796"/>
                  </a:cubicBezTo>
                  <a:lnTo>
                    <a:pt x="1" y="1890"/>
                  </a:lnTo>
                  <a:lnTo>
                    <a:pt x="1922" y="2835"/>
                  </a:lnTo>
                  <a:cubicBezTo>
                    <a:pt x="2048" y="2930"/>
                    <a:pt x="2143" y="3056"/>
                    <a:pt x="2143" y="3151"/>
                  </a:cubicBezTo>
                  <a:lnTo>
                    <a:pt x="2143" y="7372"/>
                  </a:lnTo>
                  <a:cubicBezTo>
                    <a:pt x="2143" y="7498"/>
                    <a:pt x="2048" y="7624"/>
                    <a:pt x="1922" y="7687"/>
                  </a:cubicBezTo>
                  <a:lnTo>
                    <a:pt x="1" y="8632"/>
                  </a:lnTo>
                  <a:lnTo>
                    <a:pt x="1" y="8758"/>
                  </a:lnTo>
                  <a:cubicBezTo>
                    <a:pt x="1" y="9357"/>
                    <a:pt x="473" y="9830"/>
                    <a:pt x="1072" y="9830"/>
                  </a:cubicBezTo>
                  <a:lnTo>
                    <a:pt x="10964" y="9830"/>
                  </a:lnTo>
                  <a:cubicBezTo>
                    <a:pt x="11531" y="9830"/>
                    <a:pt x="12004" y="9357"/>
                    <a:pt x="12004" y="8758"/>
                  </a:cubicBezTo>
                  <a:lnTo>
                    <a:pt x="12004" y="8632"/>
                  </a:lnTo>
                  <a:lnTo>
                    <a:pt x="10082" y="7687"/>
                  </a:lnTo>
                  <a:cubicBezTo>
                    <a:pt x="9956" y="7624"/>
                    <a:pt x="9893" y="7498"/>
                    <a:pt x="9893" y="7372"/>
                  </a:cubicBezTo>
                  <a:lnTo>
                    <a:pt x="9893" y="3151"/>
                  </a:lnTo>
                  <a:cubicBezTo>
                    <a:pt x="9893" y="3056"/>
                    <a:pt x="9956" y="2930"/>
                    <a:pt x="10082" y="2835"/>
                  </a:cubicBezTo>
                  <a:lnTo>
                    <a:pt x="12004" y="1890"/>
                  </a:lnTo>
                  <a:lnTo>
                    <a:pt x="12004" y="1796"/>
                  </a:lnTo>
                  <a:cubicBezTo>
                    <a:pt x="12004" y="1197"/>
                    <a:pt x="11531" y="725"/>
                    <a:pt x="10933" y="725"/>
                  </a:cubicBez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8" name="Google Shape;7998;p74"/>
            <p:cNvSpPr/>
            <p:nvPr/>
          </p:nvSpPr>
          <p:spPr>
            <a:xfrm>
              <a:off x="-45952875" y="3306025"/>
              <a:ext cx="122100" cy="122125"/>
            </a:xfrm>
            <a:custGeom>
              <a:avLst/>
              <a:gdLst/>
              <a:ahLst/>
              <a:cxnLst/>
              <a:rect l="l" t="t" r="r" b="b"/>
              <a:pathLst>
                <a:path w="4884" h="4885" extrusionOk="0">
                  <a:moveTo>
                    <a:pt x="2426" y="663"/>
                  </a:moveTo>
                  <a:cubicBezTo>
                    <a:pt x="3403" y="663"/>
                    <a:pt x="4190" y="1450"/>
                    <a:pt x="4190" y="2458"/>
                  </a:cubicBezTo>
                  <a:cubicBezTo>
                    <a:pt x="4159" y="3435"/>
                    <a:pt x="3371" y="4223"/>
                    <a:pt x="2426" y="4223"/>
                  </a:cubicBezTo>
                  <a:cubicBezTo>
                    <a:pt x="1449" y="4223"/>
                    <a:pt x="662" y="3435"/>
                    <a:pt x="662" y="2458"/>
                  </a:cubicBezTo>
                  <a:cubicBezTo>
                    <a:pt x="662" y="1450"/>
                    <a:pt x="1449" y="663"/>
                    <a:pt x="2426" y="663"/>
                  </a:cubicBezTo>
                  <a:close/>
                  <a:moveTo>
                    <a:pt x="2426" y="1"/>
                  </a:moveTo>
                  <a:cubicBezTo>
                    <a:pt x="1103" y="1"/>
                    <a:pt x="0" y="1104"/>
                    <a:pt x="0" y="2458"/>
                  </a:cubicBezTo>
                  <a:cubicBezTo>
                    <a:pt x="0" y="3782"/>
                    <a:pt x="1103" y="4884"/>
                    <a:pt x="2426" y="4884"/>
                  </a:cubicBezTo>
                  <a:cubicBezTo>
                    <a:pt x="3781" y="4884"/>
                    <a:pt x="4883" y="3782"/>
                    <a:pt x="4883" y="2458"/>
                  </a:cubicBezTo>
                  <a:cubicBezTo>
                    <a:pt x="4883"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74"/>
            <p:cNvSpPr/>
            <p:nvPr/>
          </p:nvSpPr>
          <p:spPr>
            <a:xfrm>
              <a:off x="-45941075" y="3218600"/>
              <a:ext cx="98475" cy="17375"/>
            </a:xfrm>
            <a:custGeom>
              <a:avLst/>
              <a:gdLst/>
              <a:ahLst/>
              <a:cxnLst/>
              <a:rect l="l" t="t" r="r" b="b"/>
              <a:pathLst>
                <a:path w="3939" h="695" extrusionOk="0">
                  <a:moveTo>
                    <a:pt x="536" y="1"/>
                  </a:moveTo>
                  <a:cubicBezTo>
                    <a:pt x="410" y="1"/>
                    <a:pt x="316" y="64"/>
                    <a:pt x="221" y="190"/>
                  </a:cubicBezTo>
                  <a:lnTo>
                    <a:pt x="1" y="694"/>
                  </a:lnTo>
                  <a:lnTo>
                    <a:pt x="3939" y="694"/>
                  </a:lnTo>
                  <a:lnTo>
                    <a:pt x="3655" y="190"/>
                  </a:lnTo>
                  <a:cubicBezTo>
                    <a:pt x="3592" y="64"/>
                    <a:pt x="3466" y="1"/>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74"/>
          <p:cNvGrpSpPr/>
          <p:nvPr/>
        </p:nvGrpSpPr>
        <p:grpSpPr>
          <a:xfrm>
            <a:off x="2645798" y="3188219"/>
            <a:ext cx="355258" cy="323118"/>
            <a:chOff x="-46042675" y="3568700"/>
            <a:chExt cx="300100" cy="272950"/>
          </a:xfrm>
        </p:grpSpPr>
        <p:sp>
          <p:nvSpPr>
            <p:cNvPr id="8001" name="Google Shape;8001;p74"/>
            <p:cNvSpPr/>
            <p:nvPr/>
          </p:nvSpPr>
          <p:spPr>
            <a:xfrm>
              <a:off x="-46042675" y="3758125"/>
              <a:ext cx="115025" cy="83525"/>
            </a:xfrm>
            <a:custGeom>
              <a:avLst/>
              <a:gdLst/>
              <a:ahLst/>
              <a:cxnLst/>
              <a:rect l="l" t="t" r="r" b="b"/>
              <a:pathLst>
                <a:path w="4601" h="3341" extrusionOk="0">
                  <a:moveTo>
                    <a:pt x="1985" y="1"/>
                  </a:moveTo>
                  <a:lnTo>
                    <a:pt x="127" y="1797"/>
                  </a:lnTo>
                  <a:cubicBezTo>
                    <a:pt x="32" y="1891"/>
                    <a:pt x="1" y="2017"/>
                    <a:pt x="32" y="2112"/>
                  </a:cubicBezTo>
                  <a:cubicBezTo>
                    <a:pt x="95" y="2238"/>
                    <a:pt x="158" y="2332"/>
                    <a:pt x="284" y="2364"/>
                  </a:cubicBezTo>
                  <a:lnTo>
                    <a:pt x="3277" y="3340"/>
                  </a:lnTo>
                  <a:lnTo>
                    <a:pt x="3403" y="3340"/>
                  </a:lnTo>
                  <a:cubicBezTo>
                    <a:pt x="3466" y="3340"/>
                    <a:pt x="3592" y="3309"/>
                    <a:pt x="3624" y="3214"/>
                  </a:cubicBezTo>
                  <a:lnTo>
                    <a:pt x="4600" y="2238"/>
                  </a:lnTo>
                  <a:lnTo>
                    <a:pt x="2395" y="1639"/>
                  </a:lnTo>
                  <a:cubicBezTo>
                    <a:pt x="2367" y="1650"/>
                    <a:pt x="2340" y="1656"/>
                    <a:pt x="2316" y="1656"/>
                  </a:cubicBezTo>
                  <a:cubicBezTo>
                    <a:pt x="2206" y="1656"/>
                    <a:pt x="2143" y="1548"/>
                    <a:pt x="2143" y="1418"/>
                  </a:cubicBezTo>
                  <a:lnTo>
                    <a:pt x="19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74"/>
            <p:cNvSpPr/>
            <p:nvPr/>
          </p:nvSpPr>
          <p:spPr>
            <a:xfrm>
              <a:off x="-45866250" y="3654175"/>
              <a:ext cx="37825" cy="37825"/>
            </a:xfrm>
            <a:custGeom>
              <a:avLst/>
              <a:gdLst/>
              <a:ahLst/>
              <a:cxnLst/>
              <a:rect l="l" t="t" r="r" b="b"/>
              <a:pathLst>
                <a:path w="1513" h="1513" extrusionOk="0">
                  <a:moveTo>
                    <a:pt x="1009" y="0"/>
                  </a:moveTo>
                  <a:lnTo>
                    <a:pt x="1" y="1008"/>
                  </a:lnTo>
                  <a:lnTo>
                    <a:pt x="505" y="1512"/>
                  </a:lnTo>
                  <a:lnTo>
                    <a:pt x="1513" y="504"/>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4"/>
            <p:cNvSpPr/>
            <p:nvPr/>
          </p:nvSpPr>
          <p:spPr>
            <a:xfrm>
              <a:off x="-45828450" y="3629750"/>
              <a:ext cx="25225" cy="25225"/>
            </a:xfrm>
            <a:custGeom>
              <a:avLst/>
              <a:gdLst/>
              <a:ahLst/>
              <a:cxnLst/>
              <a:rect l="l" t="t" r="r" b="b"/>
              <a:pathLst>
                <a:path w="1009" h="1009" extrusionOk="0">
                  <a:moveTo>
                    <a:pt x="505" y="0"/>
                  </a:moveTo>
                  <a:lnTo>
                    <a:pt x="1" y="505"/>
                  </a:lnTo>
                  <a:lnTo>
                    <a:pt x="505" y="1009"/>
                  </a:lnTo>
                  <a:lnTo>
                    <a:pt x="1009" y="505"/>
                  </a:lnTo>
                  <a:lnTo>
                    <a:pt x="5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4"/>
            <p:cNvSpPr/>
            <p:nvPr/>
          </p:nvSpPr>
          <p:spPr>
            <a:xfrm>
              <a:off x="-45979675" y="3568700"/>
              <a:ext cx="237100" cy="237800"/>
            </a:xfrm>
            <a:custGeom>
              <a:avLst/>
              <a:gdLst/>
              <a:ahLst/>
              <a:cxnLst/>
              <a:rect l="l" t="t" r="r" b="b"/>
              <a:pathLst>
                <a:path w="9484" h="9512" extrusionOk="0">
                  <a:moveTo>
                    <a:pt x="6499" y="1615"/>
                  </a:moveTo>
                  <a:cubicBezTo>
                    <a:pt x="6593" y="1615"/>
                    <a:pt x="6696" y="1639"/>
                    <a:pt x="6774" y="1686"/>
                  </a:cubicBezTo>
                  <a:lnTo>
                    <a:pt x="7751" y="2695"/>
                  </a:lnTo>
                  <a:cubicBezTo>
                    <a:pt x="7909" y="2852"/>
                    <a:pt x="7909" y="3073"/>
                    <a:pt x="7751" y="3199"/>
                  </a:cubicBezTo>
                  <a:lnTo>
                    <a:pt x="5262" y="5687"/>
                  </a:lnTo>
                  <a:cubicBezTo>
                    <a:pt x="5215" y="5750"/>
                    <a:pt x="5128" y="5782"/>
                    <a:pt x="5034" y="5782"/>
                  </a:cubicBezTo>
                  <a:cubicBezTo>
                    <a:pt x="4939" y="5782"/>
                    <a:pt x="4837" y="5750"/>
                    <a:pt x="4758" y="5687"/>
                  </a:cubicBezTo>
                  <a:lnTo>
                    <a:pt x="3782" y="4711"/>
                  </a:lnTo>
                  <a:cubicBezTo>
                    <a:pt x="3656" y="4585"/>
                    <a:pt x="3656" y="4333"/>
                    <a:pt x="3782" y="4175"/>
                  </a:cubicBezTo>
                  <a:lnTo>
                    <a:pt x="6270" y="1686"/>
                  </a:lnTo>
                  <a:cubicBezTo>
                    <a:pt x="6318" y="1639"/>
                    <a:pt x="6404" y="1615"/>
                    <a:pt x="6499" y="1615"/>
                  </a:cubicBezTo>
                  <a:close/>
                  <a:moveTo>
                    <a:pt x="3506" y="5593"/>
                  </a:moveTo>
                  <a:cubicBezTo>
                    <a:pt x="3600" y="5593"/>
                    <a:pt x="3703" y="5624"/>
                    <a:pt x="3782" y="5687"/>
                  </a:cubicBezTo>
                  <a:cubicBezTo>
                    <a:pt x="3939" y="5845"/>
                    <a:pt x="3939" y="6034"/>
                    <a:pt x="3782" y="6192"/>
                  </a:cubicBezTo>
                  <a:lnTo>
                    <a:pt x="2553" y="7420"/>
                  </a:lnTo>
                  <a:cubicBezTo>
                    <a:pt x="2490" y="7483"/>
                    <a:pt x="2403" y="7515"/>
                    <a:pt x="2313" y="7515"/>
                  </a:cubicBezTo>
                  <a:cubicBezTo>
                    <a:pt x="2222" y="7515"/>
                    <a:pt x="2128" y="7483"/>
                    <a:pt x="2049" y="7420"/>
                  </a:cubicBezTo>
                  <a:cubicBezTo>
                    <a:pt x="1923" y="7294"/>
                    <a:pt x="1923" y="7074"/>
                    <a:pt x="2049" y="6916"/>
                  </a:cubicBezTo>
                  <a:lnTo>
                    <a:pt x="3277" y="5687"/>
                  </a:lnTo>
                  <a:cubicBezTo>
                    <a:pt x="3325" y="5624"/>
                    <a:pt x="3411" y="5593"/>
                    <a:pt x="3506" y="5593"/>
                  </a:cubicBezTo>
                  <a:close/>
                  <a:moveTo>
                    <a:pt x="7034" y="1"/>
                  </a:moveTo>
                  <a:cubicBezTo>
                    <a:pt x="6396" y="1"/>
                    <a:pt x="5766" y="237"/>
                    <a:pt x="5325" y="710"/>
                  </a:cubicBezTo>
                  <a:lnTo>
                    <a:pt x="127" y="5908"/>
                  </a:lnTo>
                  <a:cubicBezTo>
                    <a:pt x="32" y="6003"/>
                    <a:pt x="1" y="6129"/>
                    <a:pt x="1" y="6192"/>
                  </a:cubicBezTo>
                  <a:lnTo>
                    <a:pt x="221" y="8428"/>
                  </a:lnTo>
                  <a:cubicBezTo>
                    <a:pt x="221" y="8586"/>
                    <a:pt x="347" y="8712"/>
                    <a:pt x="505" y="8743"/>
                  </a:cubicBezTo>
                  <a:lnTo>
                    <a:pt x="3214" y="9500"/>
                  </a:lnTo>
                  <a:cubicBezTo>
                    <a:pt x="3248" y="9508"/>
                    <a:pt x="3282" y="9512"/>
                    <a:pt x="3316" y="9512"/>
                  </a:cubicBezTo>
                  <a:cubicBezTo>
                    <a:pt x="3408" y="9512"/>
                    <a:pt x="3500" y="9483"/>
                    <a:pt x="3592" y="9437"/>
                  </a:cubicBezTo>
                  <a:lnTo>
                    <a:pt x="8791" y="4238"/>
                  </a:lnTo>
                  <a:cubicBezTo>
                    <a:pt x="9263" y="3766"/>
                    <a:pt x="9484" y="3167"/>
                    <a:pt x="9484" y="2505"/>
                  </a:cubicBezTo>
                  <a:cubicBezTo>
                    <a:pt x="9484" y="1812"/>
                    <a:pt x="9200" y="1182"/>
                    <a:pt x="8791" y="710"/>
                  </a:cubicBezTo>
                  <a:cubicBezTo>
                    <a:pt x="8318" y="237"/>
                    <a:pt x="7672" y="1"/>
                    <a:pt x="70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5" name="Google Shape;8005;p74"/>
          <p:cNvGrpSpPr/>
          <p:nvPr/>
        </p:nvGrpSpPr>
        <p:grpSpPr>
          <a:xfrm>
            <a:off x="2687749" y="3625189"/>
            <a:ext cx="271357" cy="356057"/>
            <a:chOff x="-46007225" y="3937825"/>
            <a:chExt cx="229225" cy="300775"/>
          </a:xfrm>
        </p:grpSpPr>
        <p:sp>
          <p:nvSpPr>
            <p:cNvPr id="8006" name="Google Shape;8006;p74"/>
            <p:cNvSpPr/>
            <p:nvPr/>
          </p:nvSpPr>
          <p:spPr>
            <a:xfrm>
              <a:off x="-45813475" y="3990475"/>
              <a:ext cx="35475" cy="17350"/>
            </a:xfrm>
            <a:custGeom>
              <a:avLst/>
              <a:gdLst/>
              <a:ahLst/>
              <a:cxnLst/>
              <a:rect l="l" t="t" r="r" b="b"/>
              <a:pathLst>
                <a:path w="1419"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4"/>
            <p:cNvSpPr/>
            <p:nvPr/>
          </p:nvSpPr>
          <p:spPr>
            <a:xfrm>
              <a:off x="-46007225" y="39904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4"/>
            <p:cNvSpPr/>
            <p:nvPr/>
          </p:nvSpPr>
          <p:spPr>
            <a:xfrm>
              <a:off x="-45826875" y="3937825"/>
              <a:ext cx="35475" cy="26750"/>
            </a:xfrm>
            <a:custGeom>
              <a:avLst/>
              <a:gdLst/>
              <a:ahLst/>
              <a:cxnLst/>
              <a:rect l="l" t="t" r="r" b="b"/>
              <a:pathLst>
                <a:path w="1419" h="1070" extrusionOk="0">
                  <a:moveTo>
                    <a:pt x="993" y="0"/>
                  </a:moveTo>
                  <a:cubicBezTo>
                    <a:pt x="932" y="0"/>
                    <a:pt x="871" y="18"/>
                    <a:pt x="820" y="59"/>
                  </a:cubicBezTo>
                  <a:lnTo>
                    <a:pt x="221" y="405"/>
                  </a:lnTo>
                  <a:cubicBezTo>
                    <a:pt x="64" y="500"/>
                    <a:pt x="1" y="720"/>
                    <a:pt x="127" y="878"/>
                  </a:cubicBezTo>
                  <a:cubicBezTo>
                    <a:pt x="188" y="1000"/>
                    <a:pt x="288" y="1070"/>
                    <a:pt x="403" y="1070"/>
                  </a:cubicBezTo>
                  <a:cubicBezTo>
                    <a:pt x="466" y="1070"/>
                    <a:pt x="533" y="1049"/>
                    <a:pt x="599" y="1004"/>
                  </a:cubicBezTo>
                  <a:lnTo>
                    <a:pt x="1167" y="657"/>
                  </a:lnTo>
                  <a:cubicBezTo>
                    <a:pt x="1324" y="563"/>
                    <a:pt x="1419" y="342"/>
                    <a:pt x="1293" y="185"/>
                  </a:cubicBezTo>
                  <a:cubicBezTo>
                    <a:pt x="1250" y="78"/>
                    <a:pt x="1121" y="0"/>
                    <a:pt x="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4"/>
            <p:cNvSpPr/>
            <p:nvPr/>
          </p:nvSpPr>
          <p:spPr>
            <a:xfrm>
              <a:off x="-45993850" y="4034625"/>
              <a:ext cx="35475" cy="25850"/>
            </a:xfrm>
            <a:custGeom>
              <a:avLst/>
              <a:gdLst/>
              <a:ahLst/>
              <a:cxnLst/>
              <a:rect l="l" t="t" r="r" b="b"/>
              <a:pathLst>
                <a:path w="1419" h="1034" extrusionOk="0">
                  <a:moveTo>
                    <a:pt x="1014" y="0"/>
                  </a:moveTo>
                  <a:cubicBezTo>
                    <a:pt x="958" y="0"/>
                    <a:pt x="901" y="10"/>
                    <a:pt x="851" y="30"/>
                  </a:cubicBezTo>
                  <a:lnTo>
                    <a:pt x="253" y="377"/>
                  </a:lnTo>
                  <a:cubicBezTo>
                    <a:pt x="95" y="472"/>
                    <a:pt x="1" y="692"/>
                    <a:pt x="127" y="850"/>
                  </a:cubicBezTo>
                  <a:cubicBezTo>
                    <a:pt x="191" y="956"/>
                    <a:pt x="313" y="1034"/>
                    <a:pt x="433" y="1034"/>
                  </a:cubicBezTo>
                  <a:cubicBezTo>
                    <a:pt x="491" y="1034"/>
                    <a:pt x="549" y="1016"/>
                    <a:pt x="599" y="976"/>
                  </a:cubicBezTo>
                  <a:lnTo>
                    <a:pt x="1198" y="629"/>
                  </a:lnTo>
                  <a:cubicBezTo>
                    <a:pt x="1356" y="566"/>
                    <a:pt x="1419" y="314"/>
                    <a:pt x="1324" y="156"/>
                  </a:cubicBezTo>
                  <a:cubicBezTo>
                    <a:pt x="1259" y="49"/>
                    <a:pt x="1136" y="0"/>
                    <a:pt x="10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4"/>
            <p:cNvSpPr/>
            <p:nvPr/>
          </p:nvSpPr>
          <p:spPr>
            <a:xfrm>
              <a:off x="-45825300" y="4034625"/>
              <a:ext cx="34675" cy="25725"/>
            </a:xfrm>
            <a:custGeom>
              <a:avLst/>
              <a:gdLst/>
              <a:ahLst/>
              <a:cxnLst/>
              <a:rect l="l" t="t" r="r" b="b"/>
              <a:pathLst>
                <a:path w="1387" h="1029" extrusionOk="0">
                  <a:moveTo>
                    <a:pt x="399" y="0"/>
                  </a:moveTo>
                  <a:cubicBezTo>
                    <a:pt x="270" y="0"/>
                    <a:pt x="138" y="49"/>
                    <a:pt x="95" y="156"/>
                  </a:cubicBezTo>
                  <a:cubicBezTo>
                    <a:pt x="1" y="314"/>
                    <a:pt x="32" y="566"/>
                    <a:pt x="190" y="629"/>
                  </a:cubicBezTo>
                  <a:lnTo>
                    <a:pt x="789" y="976"/>
                  </a:lnTo>
                  <a:cubicBezTo>
                    <a:pt x="848" y="1011"/>
                    <a:pt x="920" y="1029"/>
                    <a:pt x="991" y="1029"/>
                  </a:cubicBezTo>
                  <a:cubicBezTo>
                    <a:pt x="1108" y="1029"/>
                    <a:pt x="1222" y="980"/>
                    <a:pt x="1261" y="881"/>
                  </a:cubicBezTo>
                  <a:cubicBezTo>
                    <a:pt x="1387" y="692"/>
                    <a:pt x="1324" y="503"/>
                    <a:pt x="1135" y="408"/>
                  </a:cubicBezTo>
                  <a:lnTo>
                    <a:pt x="568" y="30"/>
                  </a:lnTo>
                  <a:cubicBezTo>
                    <a:pt x="518" y="10"/>
                    <a:pt x="459" y="0"/>
                    <a:pt x="3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4"/>
            <p:cNvSpPr/>
            <p:nvPr/>
          </p:nvSpPr>
          <p:spPr>
            <a:xfrm>
              <a:off x="-45992275" y="3938175"/>
              <a:ext cx="33900" cy="25525"/>
            </a:xfrm>
            <a:custGeom>
              <a:avLst/>
              <a:gdLst/>
              <a:ahLst/>
              <a:cxnLst/>
              <a:rect l="l" t="t" r="r" b="b"/>
              <a:pathLst>
                <a:path w="1356" h="1021" extrusionOk="0">
                  <a:moveTo>
                    <a:pt x="372" y="0"/>
                  </a:moveTo>
                  <a:cubicBezTo>
                    <a:pt x="250" y="0"/>
                    <a:pt x="128" y="64"/>
                    <a:pt x="64" y="171"/>
                  </a:cubicBezTo>
                  <a:cubicBezTo>
                    <a:pt x="1" y="328"/>
                    <a:pt x="32" y="549"/>
                    <a:pt x="190" y="643"/>
                  </a:cubicBezTo>
                  <a:lnTo>
                    <a:pt x="788" y="990"/>
                  </a:lnTo>
                  <a:cubicBezTo>
                    <a:pt x="838" y="1010"/>
                    <a:pt x="895" y="1020"/>
                    <a:pt x="951" y="1020"/>
                  </a:cubicBezTo>
                  <a:cubicBezTo>
                    <a:pt x="1073" y="1020"/>
                    <a:pt x="1196" y="972"/>
                    <a:pt x="1261" y="864"/>
                  </a:cubicBezTo>
                  <a:cubicBezTo>
                    <a:pt x="1356" y="706"/>
                    <a:pt x="1293" y="517"/>
                    <a:pt x="1135" y="391"/>
                  </a:cubicBezTo>
                  <a:lnTo>
                    <a:pt x="536" y="45"/>
                  </a:lnTo>
                  <a:cubicBezTo>
                    <a:pt x="486" y="15"/>
                    <a:pt x="429" y="0"/>
                    <a:pt x="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4"/>
            <p:cNvSpPr/>
            <p:nvPr/>
          </p:nvSpPr>
          <p:spPr>
            <a:xfrm>
              <a:off x="-45953675" y="4078700"/>
              <a:ext cx="122900" cy="35450"/>
            </a:xfrm>
            <a:custGeom>
              <a:avLst/>
              <a:gdLst/>
              <a:ahLst/>
              <a:cxnLst/>
              <a:rect l="l" t="t" r="r" b="b"/>
              <a:pathLst>
                <a:path w="4916" h="1418" extrusionOk="0">
                  <a:moveTo>
                    <a:pt x="347" y="0"/>
                  </a:moveTo>
                  <a:cubicBezTo>
                    <a:pt x="158" y="0"/>
                    <a:pt x="1" y="158"/>
                    <a:pt x="1" y="378"/>
                  </a:cubicBezTo>
                  <a:cubicBezTo>
                    <a:pt x="1" y="567"/>
                    <a:pt x="158" y="725"/>
                    <a:pt x="347" y="725"/>
                  </a:cubicBezTo>
                  <a:lnTo>
                    <a:pt x="1040" y="725"/>
                  </a:lnTo>
                  <a:lnTo>
                    <a:pt x="1040" y="1418"/>
                  </a:lnTo>
                  <a:lnTo>
                    <a:pt x="3844" y="1418"/>
                  </a:lnTo>
                  <a:lnTo>
                    <a:pt x="3844" y="725"/>
                  </a:lnTo>
                  <a:lnTo>
                    <a:pt x="4569" y="725"/>
                  </a:lnTo>
                  <a:cubicBezTo>
                    <a:pt x="4758" y="725"/>
                    <a:pt x="4915" y="567"/>
                    <a:pt x="4915" y="378"/>
                  </a:cubicBezTo>
                  <a:cubicBezTo>
                    <a:pt x="4915" y="158"/>
                    <a:pt x="4758"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4"/>
            <p:cNvSpPr/>
            <p:nvPr/>
          </p:nvSpPr>
          <p:spPr>
            <a:xfrm>
              <a:off x="-45956025" y="3938325"/>
              <a:ext cx="126025" cy="123075"/>
            </a:xfrm>
            <a:custGeom>
              <a:avLst/>
              <a:gdLst/>
              <a:ahLst/>
              <a:cxnLst/>
              <a:rect l="l" t="t" r="r" b="b"/>
              <a:pathLst>
                <a:path w="5041" h="4923" extrusionOk="0">
                  <a:moveTo>
                    <a:pt x="2557" y="1"/>
                  </a:moveTo>
                  <a:cubicBezTo>
                    <a:pt x="2408" y="1"/>
                    <a:pt x="2259" y="13"/>
                    <a:pt x="2111" y="39"/>
                  </a:cubicBezTo>
                  <a:cubicBezTo>
                    <a:pt x="1134" y="196"/>
                    <a:pt x="315" y="1016"/>
                    <a:pt x="158" y="1992"/>
                  </a:cubicBezTo>
                  <a:cubicBezTo>
                    <a:pt x="0" y="2874"/>
                    <a:pt x="284" y="3410"/>
                    <a:pt x="693" y="4103"/>
                  </a:cubicBezTo>
                  <a:cubicBezTo>
                    <a:pt x="914" y="4355"/>
                    <a:pt x="1071" y="4639"/>
                    <a:pt x="1134" y="4922"/>
                  </a:cubicBezTo>
                  <a:lnTo>
                    <a:pt x="2237" y="4922"/>
                  </a:lnTo>
                  <a:lnTo>
                    <a:pt x="2237" y="2780"/>
                  </a:lnTo>
                  <a:lnTo>
                    <a:pt x="1890" y="2780"/>
                  </a:lnTo>
                  <a:cubicBezTo>
                    <a:pt x="1701" y="2780"/>
                    <a:pt x="1544" y="2622"/>
                    <a:pt x="1544" y="2433"/>
                  </a:cubicBezTo>
                  <a:cubicBezTo>
                    <a:pt x="1544" y="2244"/>
                    <a:pt x="1701" y="2087"/>
                    <a:pt x="1890" y="2087"/>
                  </a:cubicBezTo>
                  <a:lnTo>
                    <a:pt x="3308" y="2087"/>
                  </a:lnTo>
                  <a:cubicBezTo>
                    <a:pt x="3497" y="2087"/>
                    <a:pt x="3655" y="2244"/>
                    <a:pt x="3655" y="2433"/>
                  </a:cubicBezTo>
                  <a:cubicBezTo>
                    <a:pt x="3655" y="2622"/>
                    <a:pt x="3497" y="2780"/>
                    <a:pt x="3308" y="2780"/>
                  </a:cubicBezTo>
                  <a:lnTo>
                    <a:pt x="2962" y="2780"/>
                  </a:lnTo>
                  <a:lnTo>
                    <a:pt x="2962" y="4922"/>
                  </a:lnTo>
                  <a:lnTo>
                    <a:pt x="4064" y="4922"/>
                  </a:lnTo>
                  <a:cubicBezTo>
                    <a:pt x="4127" y="4639"/>
                    <a:pt x="4348" y="4355"/>
                    <a:pt x="4505" y="4040"/>
                  </a:cubicBezTo>
                  <a:cubicBezTo>
                    <a:pt x="4820" y="3536"/>
                    <a:pt x="5041" y="3158"/>
                    <a:pt x="5041" y="2433"/>
                  </a:cubicBezTo>
                  <a:cubicBezTo>
                    <a:pt x="5041" y="1740"/>
                    <a:pt x="4726" y="1016"/>
                    <a:pt x="4190" y="543"/>
                  </a:cubicBezTo>
                  <a:cubicBezTo>
                    <a:pt x="3714" y="192"/>
                    <a:pt x="3138" y="1"/>
                    <a:pt x="25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4"/>
            <p:cNvSpPr/>
            <p:nvPr/>
          </p:nvSpPr>
          <p:spPr>
            <a:xfrm>
              <a:off x="-45927675" y="4132250"/>
              <a:ext cx="70125" cy="39400"/>
            </a:xfrm>
            <a:custGeom>
              <a:avLst/>
              <a:gdLst/>
              <a:ahLst/>
              <a:cxnLst/>
              <a:rect l="l" t="t" r="r" b="b"/>
              <a:pathLst>
                <a:path w="2805" h="1576" extrusionOk="0">
                  <a:moveTo>
                    <a:pt x="0" y="1"/>
                  </a:moveTo>
                  <a:lnTo>
                    <a:pt x="0" y="1576"/>
                  </a:lnTo>
                  <a:lnTo>
                    <a:pt x="158" y="1450"/>
                  </a:lnTo>
                  <a:cubicBezTo>
                    <a:pt x="536" y="1198"/>
                    <a:pt x="969" y="1072"/>
                    <a:pt x="1402" y="1072"/>
                  </a:cubicBezTo>
                  <a:cubicBezTo>
                    <a:pt x="1835" y="1072"/>
                    <a:pt x="2269" y="1198"/>
                    <a:pt x="2647" y="1450"/>
                  </a:cubicBezTo>
                  <a:lnTo>
                    <a:pt x="2804" y="1576"/>
                  </a:ln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4"/>
            <p:cNvSpPr/>
            <p:nvPr/>
          </p:nvSpPr>
          <p:spPr>
            <a:xfrm>
              <a:off x="-45921375" y="4176950"/>
              <a:ext cx="59100" cy="61650"/>
            </a:xfrm>
            <a:custGeom>
              <a:avLst/>
              <a:gdLst/>
              <a:ahLst/>
              <a:cxnLst/>
              <a:rect l="l" t="t" r="r" b="b"/>
              <a:pathLst>
                <a:path w="2364" h="2466" extrusionOk="0">
                  <a:moveTo>
                    <a:pt x="1158" y="0"/>
                  </a:moveTo>
                  <a:cubicBezTo>
                    <a:pt x="859" y="0"/>
                    <a:pt x="567" y="87"/>
                    <a:pt x="315" y="260"/>
                  </a:cubicBezTo>
                  <a:lnTo>
                    <a:pt x="0" y="481"/>
                  </a:lnTo>
                  <a:lnTo>
                    <a:pt x="851" y="2277"/>
                  </a:lnTo>
                  <a:cubicBezTo>
                    <a:pt x="945" y="2371"/>
                    <a:pt x="1040" y="2466"/>
                    <a:pt x="1166" y="2466"/>
                  </a:cubicBezTo>
                  <a:cubicBezTo>
                    <a:pt x="1292" y="2466"/>
                    <a:pt x="1418" y="2371"/>
                    <a:pt x="1481" y="2277"/>
                  </a:cubicBezTo>
                  <a:lnTo>
                    <a:pt x="2363" y="481"/>
                  </a:lnTo>
                  <a:lnTo>
                    <a:pt x="2048" y="260"/>
                  </a:lnTo>
                  <a:cubicBezTo>
                    <a:pt x="1765" y="87"/>
                    <a:pt x="1457" y="0"/>
                    <a:pt x="1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6" name="Google Shape;8016;p74"/>
          <p:cNvGrpSpPr/>
          <p:nvPr/>
        </p:nvGrpSpPr>
        <p:grpSpPr>
          <a:xfrm>
            <a:off x="3993241" y="3615275"/>
            <a:ext cx="312375" cy="357596"/>
            <a:chOff x="-44895900" y="3929450"/>
            <a:chExt cx="263875" cy="302075"/>
          </a:xfrm>
        </p:grpSpPr>
        <p:sp>
          <p:nvSpPr>
            <p:cNvPr id="8017" name="Google Shape;8017;p74"/>
            <p:cNvSpPr/>
            <p:nvPr/>
          </p:nvSpPr>
          <p:spPr>
            <a:xfrm>
              <a:off x="-44813975" y="4100750"/>
              <a:ext cx="101625" cy="50425"/>
            </a:xfrm>
            <a:custGeom>
              <a:avLst/>
              <a:gdLst/>
              <a:ahLst/>
              <a:cxnLst/>
              <a:rect l="l" t="t" r="r" b="b"/>
              <a:pathLst>
                <a:path w="4065" h="2017" extrusionOk="0">
                  <a:moveTo>
                    <a:pt x="2017" y="0"/>
                  </a:moveTo>
                  <a:lnTo>
                    <a:pt x="0" y="977"/>
                  </a:lnTo>
                  <a:lnTo>
                    <a:pt x="2017" y="2017"/>
                  </a:lnTo>
                  <a:lnTo>
                    <a:pt x="4064" y="977"/>
                  </a:ln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4"/>
            <p:cNvSpPr/>
            <p:nvPr/>
          </p:nvSpPr>
          <p:spPr>
            <a:xfrm>
              <a:off x="-44885650" y="3929450"/>
              <a:ext cx="244175" cy="87825"/>
            </a:xfrm>
            <a:custGeom>
              <a:avLst/>
              <a:gdLst/>
              <a:ahLst/>
              <a:cxnLst/>
              <a:rect l="l" t="t" r="r" b="b"/>
              <a:pathLst>
                <a:path w="9767" h="3513" extrusionOk="0">
                  <a:moveTo>
                    <a:pt x="4832" y="0"/>
                  </a:moveTo>
                  <a:cubicBezTo>
                    <a:pt x="4781" y="0"/>
                    <a:pt x="4726" y="16"/>
                    <a:pt x="4663" y="47"/>
                  </a:cubicBezTo>
                  <a:lnTo>
                    <a:pt x="0" y="2410"/>
                  </a:lnTo>
                  <a:lnTo>
                    <a:pt x="2080" y="3513"/>
                  </a:lnTo>
                  <a:lnTo>
                    <a:pt x="4726" y="2158"/>
                  </a:lnTo>
                  <a:cubicBezTo>
                    <a:pt x="4758" y="2142"/>
                    <a:pt x="4805" y="2134"/>
                    <a:pt x="4852" y="2134"/>
                  </a:cubicBezTo>
                  <a:cubicBezTo>
                    <a:pt x="4899" y="2134"/>
                    <a:pt x="4947" y="2142"/>
                    <a:pt x="4978" y="2158"/>
                  </a:cubicBezTo>
                  <a:lnTo>
                    <a:pt x="7625" y="3513"/>
                  </a:lnTo>
                  <a:lnTo>
                    <a:pt x="9767" y="2442"/>
                  </a:lnTo>
                  <a:lnTo>
                    <a:pt x="4978" y="47"/>
                  </a:lnTo>
                  <a:cubicBezTo>
                    <a:pt x="4931" y="16"/>
                    <a:pt x="4884" y="0"/>
                    <a:pt x="4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4"/>
            <p:cNvSpPr/>
            <p:nvPr/>
          </p:nvSpPr>
          <p:spPr>
            <a:xfrm>
              <a:off x="-44825000" y="4006225"/>
              <a:ext cx="52000" cy="105575"/>
            </a:xfrm>
            <a:custGeom>
              <a:avLst/>
              <a:gdLst/>
              <a:ahLst/>
              <a:cxnLst/>
              <a:rect l="l" t="t" r="r" b="b"/>
              <a:pathLst>
                <a:path w="2080" h="4223" extrusionOk="0">
                  <a:moveTo>
                    <a:pt x="2080" y="1"/>
                  </a:moveTo>
                  <a:lnTo>
                    <a:pt x="0" y="1009"/>
                  </a:lnTo>
                  <a:lnTo>
                    <a:pt x="0" y="4222"/>
                  </a:lnTo>
                  <a:lnTo>
                    <a:pt x="2080" y="315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4"/>
            <p:cNvSpPr/>
            <p:nvPr/>
          </p:nvSpPr>
          <p:spPr>
            <a:xfrm>
              <a:off x="-44754900" y="4005450"/>
              <a:ext cx="122875" cy="222925"/>
            </a:xfrm>
            <a:custGeom>
              <a:avLst/>
              <a:gdLst/>
              <a:ahLst/>
              <a:cxnLst/>
              <a:rect l="l" t="t" r="r" b="b"/>
              <a:pathLst>
                <a:path w="4915" h="8917" extrusionOk="0">
                  <a:moveTo>
                    <a:pt x="4915" y="0"/>
                  </a:moveTo>
                  <a:lnTo>
                    <a:pt x="2804" y="1040"/>
                  </a:lnTo>
                  <a:lnTo>
                    <a:pt x="2804" y="4789"/>
                  </a:lnTo>
                  <a:cubicBezTo>
                    <a:pt x="2804" y="4915"/>
                    <a:pt x="2710" y="5041"/>
                    <a:pt x="2615" y="5104"/>
                  </a:cubicBezTo>
                  <a:lnTo>
                    <a:pt x="0" y="6396"/>
                  </a:lnTo>
                  <a:lnTo>
                    <a:pt x="0" y="8916"/>
                  </a:lnTo>
                  <a:lnTo>
                    <a:pt x="4726" y="6396"/>
                  </a:lnTo>
                  <a:cubicBezTo>
                    <a:pt x="4852" y="6333"/>
                    <a:pt x="4915" y="6207"/>
                    <a:pt x="4915" y="6081"/>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4"/>
            <p:cNvSpPr/>
            <p:nvPr/>
          </p:nvSpPr>
          <p:spPr>
            <a:xfrm>
              <a:off x="-44754900" y="4006225"/>
              <a:ext cx="52775" cy="105575"/>
            </a:xfrm>
            <a:custGeom>
              <a:avLst/>
              <a:gdLst/>
              <a:ahLst/>
              <a:cxnLst/>
              <a:rect l="l" t="t" r="r" b="b"/>
              <a:pathLst>
                <a:path w="2111" h="4223" extrusionOk="0">
                  <a:moveTo>
                    <a:pt x="0" y="1"/>
                  </a:moveTo>
                  <a:lnTo>
                    <a:pt x="0" y="3151"/>
                  </a:lnTo>
                  <a:lnTo>
                    <a:pt x="2111" y="4222"/>
                  </a:lnTo>
                  <a:lnTo>
                    <a:pt x="2111" y="100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2" name="Google Shape;8022;p74"/>
            <p:cNvSpPr/>
            <p:nvPr/>
          </p:nvSpPr>
          <p:spPr>
            <a:xfrm>
              <a:off x="-44895900" y="4006225"/>
              <a:ext cx="122900" cy="225300"/>
            </a:xfrm>
            <a:custGeom>
              <a:avLst/>
              <a:gdLst/>
              <a:ahLst/>
              <a:cxnLst/>
              <a:rect l="l" t="t" r="r" b="b"/>
              <a:pathLst>
                <a:path w="4916" h="9012" extrusionOk="0">
                  <a:moveTo>
                    <a:pt x="1" y="1"/>
                  </a:moveTo>
                  <a:lnTo>
                    <a:pt x="1" y="6176"/>
                  </a:lnTo>
                  <a:cubicBezTo>
                    <a:pt x="1" y="6302"/>
                    <a:pt x="95" y="6428"/>
                    <a:pt x="190" y="6491"/>
                  </a:cubicBezTo>
                  <a:lnTo>
                    <a:pt x="4916" y="9011"/>
                  </a:lnTo>
                  <a:lnTo>
                    <a:pt x="4916" y="6428"/>
                  </a:lnTo>
                  <a:lnTo>
                    <a:pt x="2332" y="5105"/>
                  </a:lnTo>
                  <a:lnTo>
                    <a:pt x="2301" y="5105"/>
                  </a:lnTo>
                  <a:cubicBezTo>
                    <a:pt x="2206" y="5073"/>
                    <a:pt x="2143" y="4947"/>
                    <a:pt x="2143" y="4853"/>
                  </a:cubicBezTo>
                  <a:lnTo>
                    <a:pt x="2143" y="110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3" name="Google Shape;8023;p74"/>
          <p:cNvGrpSpPr/>
          <p:nvPr/>
        </p:nvGrpSpPr>
        <p:grpSpPr>
          <a:xfrm>
            <a:off x="2167060" y="1398036"/>
            <a:ext cx="356205" cy="332885"/>
            <a:chOff x="-49397175" y="3192625"/>
            <a:chExt cx="300900" cy="281200"/>
          </a:xfrm>
        </p:grpSpPr>
        <p:sp>
          <p:nvSpPr>
            <p:cNvPr id="8024" name="Google Shape;8024;p74"/>
            <p:cNvSpPr/>
            <p:nvPr/>
          </p:nvSpPr>
          <p:spPr>
            <a:xfrm>
              <a:off x="-49325500" y="3297975"/>
              <a:ext cx="64625" cy="58500"/>
            </a:xfrm>
            <a:custGeom>
              <a:avLst/>
              <a:gdLst/>
              <a:ahLst/>
              <a:cxnLst/>
              <a:rect l="l" t="t" r="r" b="b"/>
              <a:pathLst>
                <a:path w="2585" h="2340" extrusionOk="0">
                  <a:moveTo>
                    <a:pt x="1045" y="1"/>
                  </a:moveTo>
                  <a:cubicBezTo>
                    <a:pt x="692" y="1"/>
                    <a:pt x="336" y="54"/>
                    <a:pt x="1" y="165"/>
                  </a:cubicBezTo>
                  <a:cubicBezTo>
                    <a:pt x="158" y="1079"/>
                    <a:pt x="694" y="1867"/>
                    <a:pt x="1482" y="2339"/>
                  </a:cubicBezTo>
                  <a:cubicBezTo>
                    <a:pt x="1639" y="1583"/>
                    <a:pt x="2017" y="890"/>
                    <a:pt x="2584" y="354"/>
                  </a:cubicBezTo>
                  <a:cubicBezTo>
                    <a:pt x="2126" y="126"/>
                    <a:pt x="1588" y="1"/>
                    <a:pt x="1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5" name="Google Shape;8025;p74"/>
            <p:cNvSpPr/>
            <p:nvPr/>
          </p:nvSpPr>
          <p:spPr>
            <a:xfrm>
              <a:off x="-49345975" y="3192625"/>
              <a:ext cx="199300" cy="103975"/>
            </a:xfrm>
            <a:custGeom>
              <a:avLst/>
              <a:gdLst/>
              <a:ahLst/>
              <a:cxnLst/>
              <a:rect l="l" t="t" r="r" b="b"/>
              <a:pathLst>
                <a:path w="7972" h="4159" extrusionOk="0">
                  <a:moveTo>
                    <a:pt x="3970" y="0"/>
                  </a:moveTo>
                  <a:cubicBezTo>
                    <a:pt x="1670" y="0"/>
                    <a:pt x="1" y="2048"/>
                    <a:pt x="127" y="3907"/>
                  </a:cubicBezTo>
                  <a:cubicBezTo>
                    <a:pt x="743" y="3639"/>
                    <a:pt x="1342" y="3513"/>
                    <a:pt x="1908" y="3513"/>
                  </a:cubicBezTo>
                  <a:cubicBezTo>
                    <a:pt x="2671" y="3513"/>
                    <a:pt x="3373" y="3743"/>
                    <a:pt x="3970" y="4159"/>
                  </a:cubicBezTo>
                  <a:cubicBezTo>
                    <a:pt x="4586" y="3743"/>
                    <a:pt x="5274" y="3513"/>
                    <a:pt x="6036" y="3513"/>
                  </a:cubicBezTo>
                  <a:cubicBezTo>
                    <a:pt x="6599" y="3513"/>
                    <a:pt x="7202" y="3639"/>
                    <a:pt x="7845" y="3907"/>
                  </a:cubicBezTo>
                  <a:cubicBezTo>
                    <a:pt x="7971" y="2048"/>
                    <a:pt x="6302"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4"/>
            <p:cNvSpPr/>
            <p:nvPr/>
          </p:nvSpPr>
          <p:spPr>
            <a:xfrm>
              <a:off x="-49272725" y="3381650"/>
              <a:ext cx="52800" cy="53575"/>
            </a:xfrm>
            <a:custGeom>
              <a:avLst/>
              <a:gdLst/>
              <a:ahLst/>
              <a:cxnLst/>
              <a:rect l="l" t="t" r="r" b="b"/>
              <a:pathLst>
                <a:path w="2112" h="2143" extrusionOk="0">
                  <a:moveTo>
                    <a:pt x="2112" y="0"/>
                  </a:moveTo>
                  <a:cubicBezTo>
                    <a:pt x="1765" y="111"/>
                    <a:pt x="1403" y="166"/>
                    <a:pt x="1044" y="166"/>
                  </a:cubicBezTo>
                  <a:cubicBezTo>
                    <a:pt x="686" y="166"/>
                    <a:pt x="331" y="111"/>
                    <a:pt x="1" y="0"/>
                  </a:cubicBezTo>
                  <a:lnTo>
                    <a:pt x="1" y="0"/>
                  </a:lnTo>
                  <a:cubicBezTo>
                    <a:pt x="32" y="851"/>
                    <a:pt x="442" y="1576"/>
                    <a:pt x="1040" y="2143"/>
                  </a:cubicBezTo>
                  <a:cubicBezTo>
                    <a:pt x="1702" y="1576"/>
                    <a:pt x="2049" y="788"/>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4"/>
            <p:cNvSpPr/>
            <p:nvPr/>
          </p:nvSpPr>
          <p:spPr>
            <a:xfrm>
              <a:off x="-49231775" y="3298075"/>
              <a:ext cx="63050" cy="58400"/>
            </a:xfrm>
            <a:custGeom>
              <a:avLst/>
              <a:gdLst/>
              <a:ahLst/>
              <a:cxnLst/>
              <a:rect l="l" t="t" r="r" b="b"/>
              <a:pathLst>
                <a:path w="2522" h="2336" extrusionOk="0">
                  <a:moveTo>
                    <a:pt x="1547" y="0"/>
                  </a:moveTo>
                  <a:cubicBezTo>
                    <a:pt x="1009" y="0"/>
                    <a:pt x="469" y="141"/>
                    <a:pt x="1" y="414"/>
                  </a:cubicBezTo>
                  <a:cubicBezTo>
                    <a:pt x="568" y="918"/>
                    <a:pt x="915" y="1611"/>
                    <a:pt x="1072" y="2335"/>
                  </a:cubicBezTo>
                  <a:cubicBezTo>
                    <a:pt x="1860" y="1863"/>
                    <a:pt x="2364" y="1075"/>
                    <a:pt x="2521" y="161"/>
                  </a:cubicBezTo>
                  <a:cubicBezTo>
                    <a:pt x="2209" y="53"/>
                    <a:pt x="1879" y="0"/>
                    <a:pt x="1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4"/>
            <p:cNvSpPr/>
            <p:nvPr/>
          </p:nvSpPr>
          <p:spPr>
            <a:xfrm>
              <a:off x="-49271925" y="3317850"/>
              <a:ext cx="48850" cy="49850"/>
            </a:xfrm>
            <a:custGeom>
              <a:avLst/>
              <a:gdLst/>
              <a:ahLst/>
              <a:cxnLst/>
              <a:rect l="l" t="t" r="r" b="b"/>
              <a:pathLst>
                <a:path w="1954" h="1994" extrusionOk="0">
                  <a:moveTo>
                    <a:pt x="977" y="1"/>
                  </a:moveTo>
                  <a:cubicBezTo>
                    <a:pt x="441" y="505"/>
                    <a:pt x="158" y="1040"/>
                    <a:pt x="0" y="1828"/>
                  </a:cubicBezTo>
                  <a:cubicBezTo>
                    <a:pt x="347" y="1938"/>
                    <a:pt x="670" y="1993"/>
                    <a:pt x="989" y="1993"/>
                  </a:cubicBezTo>
                  <a:cubicBezTo>
                    <a:pt x="1308" y="1993"/>
                    <a:pt x="1623" y="1938"/>
                    <a:pt x="1953" y="1828"/>
                  </a:cubicBezTo>
                  <a:cubicBezTo>
                    <a:pt x="1859" y="1103"/>
                    <a:pt x="1607" y="568"/>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4"/>
            <p:cNvSpPr/>
            <p:nvPr/>
          </p:nvSpPr>
          <p:spPr>
            <a:xfrm>
              <a:off x="-49245950" y="3291075"/>
              <a:ext cx="149675" cy="182750"/>
            </a:xfrm>
            <a:custGeom>
              <a:avLst/>
              <a:gdLst/>
              <a:ahLst/>
              <a:cxnLst/>
              <a:rect l="l" t="t" r="r" b="b"/>
              <a:pathLst>
                <a:path w="5987" h="7310" extrusionOk="0">
                  <a:moveTo>
                    <a:pt x="3844" y="0"/>
                  </a:moveTo>
                  <a:cubicBezTo>
                    <a:pt x="3718" y="1670"/>
                    <a:pt x="2899" y="2773"/>
                    <a:pt x="1734" y="3371"/>
                  </a:cubicBezTo>
                  <a:cubicBezTo>
                    <a:pt x="1765" y="4537"/>
                    <a:pt x="1261" y="5734"/>
                    <a:pt x="1" y="6679"/>
                  </a:cubicBezTo>
                  <a:cubicBezTo>
                    <a:pt x="631" y="7057"/>
                    <a:pt x="1324" y="7310"/>
                    <a:pt x="2080" y="7310"/>
                  </a:cubicBezTo>
                  <a:cubicBezTo>
                    <a:pt x="4191" y="7310"/>
                    <a:pt x="5987" y="5577"/>
                    <a:pt x="5987" y="3434"/>
                  </a:cubicBezTo>
                  <a:cubicBezTo>
                    <a:pt x="5955" y="1985"/>
                    <a:pt x="5105" y="63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4"/>
            <p:cNvSpPr/>
            <p:nvPr/>
          </p:nvSpPr>
          <p:spPr>
            <a:xfrm>
              <a:off x="-49397175" y="3291075"/>
              <a:ext cx="149675" cy="182750"/>
            </a:xfrm>
            <a:custGeom>
              <a:avLst/>
              <a:gdLst/>
              <a:ahLst/>
              <a:cxnLst/>
              <a:rect l="l" t="t" r="r" b="b"/>
              <a:pathLst>
                <a:path w="5987" h="7310" extrusionOk="0">
                  <a:moveTo>
                    <a:pt x="2143" y="0"/>
                  </a:moveTo>
                  <a:cubicBezTo>
                    <a:pt x="852" y="694"/>
                    <a:pt x="1" y="1985"/>
                    <a:pt x="1" y="3434"/>
                  </a:cubicBezTo>
                  <a:cubicBezTo>
                    <a:pt x="1" y="5577"/>
                    <a:pt x="1797" y="7310"/>
                    <a:pt x="3908" y="7310"/>
                  </a:cubicBezTo>
                  <a:cubicBezTo>
                    <a:pt x="4664" y="7310"/>
                    <a:pt x="5357" y="7057"/>
                    <a:pt x="5987" y="6679"/>
                  </a:cubicBezTo>
                  <a:cubicBezTo>
                    <a:pt x="4727" y="5734"/>
                    <a:pt x="4223" y="4537"/>
                    <a:pt x="4254" y="3371"/>
                  </a:cubicBezTo>
                  <a:cubicBezTo>
                    <a:pt x="3088" y="2773"/>
                    <a:pt x="2301" y="167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1" name="Google Shape;8031;p74"/>
          <p:cNvGrpSpPr/>
          <p:nvPr/>
        </p:nvGrpSpPr>
        <p:grpSpPr>
          <a:xfrm>
            <a:off x="2193163" y="1822251"/>
            <a:ext cx="304000" cy="356205"/>
            <a:chOff x="-49375900" y="3550975"/>
            <a:chExt cx="256800" cy="300900"/>
          </a:xfrm>
        </p:grpSpPr>
        <p:sp>
          <p:nvSpPr>
            <p:cNvPr id="8032" name="Google Shape;8032;p74"/>
            <p:cNvSpPr/>
            <p:nvPr/>
          </p:nvSpPr>
          <p:spPr>
            <a:xfrm>
              <a:off x="-49231775" y="3638425"/>
              <a:ext cx="59100" cy="59075"/>
            </a:xfrm>
            <a:custGeom>
              <a:avLst/>
              <a:gdLst/>
              <a:ahLst/>
              <a:cxnLst/>
              <a:rect l="l" t="t" r="r" b="b"/>
              <a:pathLst>
                <a:path w="2364" h="2363" extrusionOk="0">
                  <a:moveTo>
                    <a:pt x="1" y="0"/>
                  </a:moveTo>
                  <a:lnTo>
                    <a:pt x="1513" y="2363"/>
                  </a:lnTo>
                  <a:lnTo>
                    <a:pt x="2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4"/>
            <p:cNvSpPr/>
            <p:nvPr/>
          </p:nvSpPr>
          <p:spPr>
            <a:xfrm>
              <a:off x="-49291625" y="3726625"/>
              <a:ext cx="87450" cy="123675"/>
            </a:xfrm>
            <a:custGeom>
              <a:avLst/>
              <a:gdLst/>
              <a:ahLst/>
              <a:cxnLst/>
              <a:rect l="l" t="t" r="r" b="b"/>
              <a:pathLst>
                <a:path w="3498" h="4947" extrusionOk="0">
                  <a:moveTo>
                    <a:pt x="1" y="1"/>
                  </a:moveTo>
                  <a:lnTo>
                    <a:pt x="1733" y="4947"/>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4"/>
            <p:cNvSpPr/>
            <p:nvPr/>
          </p:nvSpPr>
          <p:spPr>
            <a:xfrm>
              <a:off x="-49288475" y="3647075"/>
              <a:ext cx="81150" cy="61450"/>
            </a:xfrm>
            <a:custGeom>
              <a:avLst/>
              <a:gdLst/>
              <a:ahLst/>
              <a:cxnLst/>
              <a:rect l="l" t="t" r="r" b="b"/>
              <a:pathLst>
                <a:path w="3246" h="2458" extrusionOk="0">
                  <a:moveTo>
                    <a:pt x="1607" y="1"/>
                  </a:moveTo>
                  <a:lnTo>
                    <a:pt x="1" y="2458"/>
                  </a:lnTo>
                  <a:lnTo>
                    <a:pt x="3246" y="2458"/>
                  </a:lnTo>
                  <a:lnTo>
                    <a:pt x="16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4"/>
            <p:cNvSpPr/>
            <p:nvPr/>
          </p:nvSpPr>
          <p:spPr>
            <a:xfrm>
              <a:off x="-49375900" y="3648650"/>
              <a:ext cx="59100" cy="59875"/>
            </a:xfrm>
            <a:custGeom>
              <a:avLst/>
              <a:gdLst/>
              <a:ahLst/>
              <a:cxnLst/>
              <a:rect l="l" t="t" r="r" b="b"/>
              <a:pathLst>
                <a:path w="2364" h="2395" extrusionOk="0">
                  <a:moveTo>
                    <a:pt x="1513" y="1"/>
                  </a:moveTo>
                  <a:lnTo>
                    <a:pt x="1" y="2395"/>
                  </a:lnTo>
                  <a:lnTo>
                    <a:pt x="2363" y="2395"/>
                  </a:ln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4"/>
            <p:cNvSpPr/>
            <p:nvPr/>
          </p:nvSpPr>
          <p:spPr>
            <a:xfrm>
              <a:off x="-49229400" y="3726625"/>
              <a:ext cx="109500" cy="125250"/>
            </a:xfrm>
            <a:custGeom>
              <a:avLst/>
              <a:gdLst/>
              <a:ahLst/>
              <a:cxnLst/>
              <a:rect l="l" t="t" r="r" b="b"/>
              <a:pathLst>
                <a:path w="4380" h="5010" extrusionOk="0">
                  <a:moveTo>
                    <a:pt x="1765" y="1"/>
                  </a:moveTo>
                  <a:lnTo>
                    <a:pt x="0" y="5010"/>
                  </a:lnTo>
                  <a:lnTo>
                    <a:pt x="43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4"/>
            <p:cNvSpPr/>
            <p:nvPr/>
          </p:nvSpPr>
          <p:spPr>
            <a:xfrm>
              <a:off x="-49179000" y="3648650"/>
              <a:ext cx="59900" cy="59875"/>
            </a:xfrm>
            <a:custGeom>
              <a:avLst/>
              <a:gdLst/>
              <a:ahLst/>
              <a:cxnLst/>
              <a:rect l="l" t="t" r="r" b="b"/>
              <a:pathLst>
                <a:path w="2396" h="2395" extrusionOk="0">
                  <a:moveTo>
                    <a:pt x="851" y="1"/>
                  </a:moveTo>
                  <a:lnTo>
                    <a:pt x="1" y="2395"/>
                  </a:lnTo>
                  <a:lnTo>
                    <a:pt x="2395" y="2395"/>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4"/>
            <p:cNvSpPr/>
            <p:nvPr/>
          </p:nvSpPr>
          <p:spPr>
            <a:xfrm>
              <a:off x="-49323125" y="3638425"/>
              <a:ext cx="59100" cy="59075"/>
            </a:xfrm>
            <a:custGeom>
              <a:avLst/>
              <a:gdLst/>
              <a:ahLst/>
              <a:cxnLst/>
              <a:rect l="l" t="t" r="r" b="b"/>
              <a:pathLst>
                <a:path w="2364" h="2363" extrusionOk="0">
                  <a:moveTo>
                    <a:pt x="0" y="0"/>
                  </a:moveTo>
                  <a:lnTo>
                    <a:pt x="819" y="2363"/>
                  </a:ln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4"/>
            <p:cNvSpPr/>
            <p:nvPr/>
          </p:nvSpPr>
          <p:spPr>
            <a:xfrm>
              <a:off x="-49375100" y="3726625"/>
              <a:ext cx="108700" cy="125250"/>
            </a:xfrm>
            <a:custGeom>
              <a:avLst/>
              <a:gdLst/>
              <a:ahLst/>
              <a:cxnLst/>
              <a:rect l="l" t="t" r="r" b="b"/>
              <a:pathLst>
                <a:path w="4348" h="5010" extrusionOk="0">
                  <a:moveTo>
                    <a:pt x="0" y="1"/>
                  </a:moveTo>
                  <a:lnTo>
                    <a:pt x="4348" y="5010"/>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4"/>
            <p:cNvSpPr/>
            <p:nvPr/>
          </p:nvSpPr>
          <p:spPr>
            <a:xfrm>
              <a:off x="-49256975" y="3550975"/>
              <a:ext cx="17350" cy="53600"/>
            </a:xfrm>
            <a:custGeom>
              <a:avLst/>
              <a:gdLst/>
              <a:ahLst/>
              <a:cxnLst/>
              <a:rect l="l" t="t" r="r" b="b"/>
              <a:pathLst>
                <a:path w="694" h="2144" extrusionOk="0">
                  <a:moveTo>
                    <a:pt x="347" y="1"/>
                  </a:moveTo>
                  <a:cubicBezTo>
                    <a:pt x="158" y="1"/>
                    <a:pt x="1" y="159"/>
                    <a:pt x="1" y="348"/>
                  </a:cubicBezTo>
                  <a:lnTo>
                    <a:pt x="1" y="1797"/>
                  </a:lnTo>
                  <a:cubicBezTo>
                    <a:pt x="1" y="1986"/>
                    <a:pt x="158" y="2143"/>
                    <a:pt x="347" y="2143"/>
                  </a:cubicBezTo>
                  <a:cubicBezTo>
                    <a:pt x="536" y="2143"/>
                    <a:pt x="694" y="1986"/>
                    <a:pt x="694" y="1797"/>
                  </a:cubicBezTo>
                  <a:lnTo>
                    <a:pt x="694" y="348"/>
                  </a:ln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4"/>
            <p:cNvSpPr/>
            <p:nvPr/>
          </p:nvSpPr>
          <p:spPr>
            <a:xfrm>
              <a:off x="-49323125" y="3575850"/>
              <a:ext cx="43350" cy="32650"/>
            </a:xfrm>
            <a:custGeom>
              <a:avLst/>
              <a:gdLst/>
              <a:ahLst/>
              <a:cxnLst/>
              <a:rect l="l" t="t" r="r" b="b"/>
              <a:pathLst>
                <a:path w="1734" h="1306" extrusionOk="0">
                  <a:moveTo>
                    <a:pt x="371" y="0"/>
                  </a:moveTo>
                  <a:cubicBezTo>
                    <a:pt x="259" y="0"/>
                    <a:pt x="147" y="56"/>
                    <a:pt x="63" y="140"/>
                  </a:cubicBezTo>
                  <a:cubicBezTo>
                    <a:pt x="0" y="298"/>
                    <a:pt x="32" y="518"/>
                    <a:pt x="189" y="613"/>
                  </a:cubicBezTo>
                  <a:lnTo>
                    <a:pt x="1166" y="1274"/>
                  </a:lnTo>
                  <a:cubicBezTo>
                    <a:pt x="1261" y="1306"/>
                    <a:pt x="1292" y="1306"/>
                    <a:pt x="1387" y="1306"/>
                  </a:cubicBezTo>
                  <a:cubicBezTo>
                    <a:pt x="1481" y="1306"/>
                    <a:pt x="1607" y="1211"/>
                    <a:pt x="1639" y="1148"/>
                  </a:cubicBezTo>
                  <a:cubicBezTo>
                    <a:pt x="1733" y="991"/>
                    <a:pt x="1702" y="802"/>
                    <a:pt x="1544" y="676"/>
                  </a:cubicBezTo>
                  <a:lnTo>
                    <a:pt x="536" y="46"/>
                  </a:lnTo>
                  <a:cubicBezTo>
                    <a:pt x="483" y="14"/>
                    <a:pt x="427" y="0"/>
                    <a:pt x="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4"/>
            <p:cNvSpPr/>
            <p:nvPr/>
          </p:nvSpPr>
          <p:spPr>
            <a:xfrm>
              <a:off x="-49217575" y="3575525"/>
              <a:ext cx="44900" cy="32975"/>
            </a:xfrm>
            <a:custGeom>
              <a:avLst/>
              <a:gdLst/>
              <a:ahLst/>
              <a:cxnLst/>
              <a:rect l="l" t="t" r="r" b="b"/>
              <a:pathLst>
                <a:path w="1796" h="1319" extrusionOk="0">
                  <a:moveTo>
                    <a:pt x="1370" y="0"/>
                  </a:moveTo>
                  <a:cubicBezTo>
                    <a:pt x="1309" y="0"/>
                    <a:pt x="1248" y="18"/>
                    <a:pt x="1197" y="59"/>
                  </a:cubicBezTo>
                  <a:lnTo>
                    <a:pt x="221" y="689"/>
                  </a:lnTo>
                  <a:cubicBezTo>
                    <a:pt x="63" y="752"/>
                    <a:pt x="0" y="1004"/>
                    <a:pt x="95" y="1161"/>
                  </a:cubicBezTo>
                  <a:cubicBezTo>
                    <a:pt x="158" y="1287"/>
                    <a:pt x="252" y="1319"/>
                    <a:pt x="378" y="1319"/>
                  </a:cubicBezTo>
                  <a:cubicBezTo>
                    <a:pt x="473" y="1319"/>
                    <a:pt x="536" y="1287"/>
                    <a:pt x="567" y="1287"/>
                  </a:cubicBezTo>
                  <a:lnTo>
                    <a:pt x="1575" y="657"/>
                  </a:lnTo>
                  <a:cubicBezTo>
                    <a:pt x="1733" y="563"/>
                    <a:pt x="1796" y="342"/>
                    <a:pt x="1670" y="185"/>
                  </a:cubicBezTo>
                  <a:cubicBezTo>
                    <a:pt x="1627" y="78"/>
                    <a:pt x="1498" y="0"/>
                    <a:pt x="13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3" name="Google Shape;8043;p74"/>
          <p:cNvGrpSpPr/>
          <p:nvPr/>
        </p:nvGrpSpPr>
        <p:grpSpPr>
          <a:xfrm>
            <a:off x="2188516" y="2259546"/>
            <a:ext cx="313293" cy="356205"/>
            <a:chOff x="-49378250" y="3920375"/>
            <a:chExt cx="264650" cy="300900"/>
          </a:xfrm>
        </p:grpSpPr>
        <p:sp>
          <p:nvSpPr>
            <p:cNvPr id="8044" name="Google Shape;8044;p74"/>
            <p:cNvSpPr/>
            <p:nvPr/>
          </p:nvSpPr>
          <p:spPr>
            <a:xfrm>
              <a:off x="-49272725" y="4185025"/>
              <a:ext cx="70925" cy="35475"/>
            </a:xfrm>
            <a:custGeom>
              <a:avLst/>
              <a:gdLst/>
              <a:ahLst/>
              <a:cxnLst/>
              <a:rect l="l" t="t" r="r" b="b"/>
              <a:pathLst>
                <a:path w="2837" h="1419" extrusionOk="0">
                  <a:moveTo>
                    <a:pt x="32" y="0"/>
                  </a:moveTo>
                  <a:lnTo>
                    <a:pt x="32" y="378"/>
                  </a:lnTo>
                  <a:lnTo>
                    <a:pt x="1" y="378"/>
                  </a:lnTo>
                  <a:cubicBezTo>
                    <a:pt x="1" y="945"/>
                    <a:pt x="473" y="1418"/>
                    <a:pt x="1040" y="1418"/>
                  </a:cubicBezTo>
                  <a:lnTo>
                    <a:pt x="1765" y="1418"/>
                  </a:lnTo>
                  <a:cubicBezTo>
                    <a:pt x="2364" y="1418"/>
                    <a:pt x="2836" y="945"/>
                    <a:pt x="2836" y="378"/>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4"/>
            <p:cNvSpPr/>
            <p:nvPr/>
          </p:nvSpPr>
          <p:spPr>
            <a:xfrm>
              <a:off x="-49378250" y="3920375"/>
              <a:ext cx="87425" cy="300900"/>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4"/>
            <p:cNvSpPr/>
            <p:nvPr/>
          </p:nvSpPr>
          <p:spPr>
            <a:xfrm>
              <a:off x="-49185300" y="3920375"/>
              <a:ext cx="71700" cy="87450"/>
            </a:xfrm>
            <a:custGeom>
              <a:avLst/>
              <a:gdLst/>
              <a:ahLst/>
              <a:cxnLst/>
              <a:rect l="l" t="t" r="r" b="b"/>
              <a:pathLst>
                <a:path w="2868" h="3498" extrusionOk="0">
                  <a:moveTo>
                    <a:pt x="2490" y="1"/>
                  </a:moveTo>
                  <a:cubicBezTo>
                    <a:pt x="1765" y="1"/>
                    <a:pt x="1229" y="32"/>
                    <a:pt x="631" y="631"/>
                  </a:cubicBezTo>
                  <a:cubicBezTo>
                    <a:pt x="253" y="1040"/>
                    <a:pt x="1" y="1576"/>
                    <a:pt x="1" y="2143"/>
                  </a:cubicBezTo>
                  <a:cubicBezTo>
                    <a:pt x="1" y="2868"/>
                    <a:pt x="631" y="3498"/>
                    <a:pt x="1418" y="3498"/>
                  </a:cubicBezTo>
                  <a:cubicBezTo>
                    <a:pt x="2017" y="3498"/>
                    <a:pt x="2553" y="3120"/>
                    <a:pt x="2742" y="2553"/>
                  </a:cubicBezTo>
                  <a:cubicBezTo>
                    <a:pt x="2868" y="2238"/>
                    <a:pt x="2805" y="1923"/>
                    <a:pt x="2616" y="1702"/>
                  </a:cubicBezTo>
                  <a:cubicBezTo>
                    <a:pt x="2395" y="1450"/>
                    <a:pt x="2269" y="1135"/>
                    <a:pt x="2742" y="568"/>
                  </a:cubicBezTo>
                  <a:cubicBezTo>
                    <a:pt x="2836" y="442"/>
                    <a:pt x="2868" y="316"/>
                    <a:pt x="2805" y="190"/>
                  </a:cubicBezTo>
                  <a:cubicBezTo>
                    <a:pt x="2742" y="95"/>
                    <a:pt x="261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4"/>
            <p:cNvSpPr/>
            <p:nvPr/>
          </p:nvSpPr>
          <p:spPr>
            <a:xfrm>
              <a:off x="-49182150" y="4019625"/>
              <a:ext cx="64625" cy="42550"/>
            </a:xfrm>
            <a:custGeom>
              <a:avLst/>
              <a:gdLst/>
              <a:ahLst/>
              <a:cxnLst/>
              <a:rect l="l" t="t" r="r" b="b"/>
              <a:pathLst>
                <a:path w="2585" h="1702" extrusionOk="0">
                  <a:moveTo>
                    <a:pt x="316" y="0"/>
                  </a:moveTo>
                  <a:cubicBezTo>
                    <a:pt x="158" y="473"/>
                    <a:pt x="32" y="1103"/>
                    <a:pt x="1" y="1702"/>
                  </a:cubicBezTo>
                  <a:lnTo>
                    <a:pt x="2584" y="1702"/>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4"/>
            <p:cNvSpPr/>
            <p:nvPr/>
          </p:nvSpPr>
          <p:spPr>
            <a:xfrm>
              <a:off x="-49185300" y="4078700"/>
              <a:ext cx="70925" cy="141800"/>
            </a:xfrm>
            <a:custGeom>
              <a:avLst/>
              <a:gdLst/>
              <a:ahLst/>
              <a:cxnLst/>
              <a:rect l="l" t="t" r="r" b="b"/>
              <a:pathLst>
                <a:path w="2837" h="5672" extrusionOk="0">
                  <a:moveTo>
                    <a:pt x="32" y="0"/>
                  </a:moveTo>
                  <a:cubicBezTo>
                    <a:pt x="1" y="378"/>
                    <a:pt x="1" y="756"/>
                    <a:pt x="1" y="1071"/>
                  </a:cubicBezTo>
                  <a:cubicBezTo>
                    <a:pt x="1" y="2773"/>
                    <a:pt x="316" y="5671"/>
                    <a:pt x="1418" y="5671"/>
                  </a:cubicBezTo>
                  <a:cubicBezTo>
                    <a:pt x="2521" y="5671"/>
                    <a:pt x="2836" y="2804"/>
                    <a:pt x="2836" y="1071"/>
                  </a:cubicBezTo>
                  <a:cubicBezTo>
                    <a:pt x="2805" y="756"/>
                    <a:pt x="2805" y="41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9" name="Google Shape;8049;p74"/>
            <p:cNvSpPr/>
            <p:nvPr/>
          </p:nvSpPr>
          <p:spPr>
            <a:xfrm>
              <a:off x="-49271150" y="3920375"/>
              <a:ext cx="65400" cy="70125"/>
            </a:xfrm>
            <a:custGeom>
              <a:avLst/>
              <a:gdLst/>
              <a:ahLst/>
              <a:cxnLst/>
              <a:rect l="l" t="t" r="r" b="b"/>
              <a:pathLst>
                <a:path w="2616" h="2805" extrusionOk="0">
                  <a:moveTo>
                    <a:pt x="1324" y="1"/>
                  </a:moveTo>
                  <a:cubicBezTo>
                    <a:pt x="1182" y="1"/>
                    <a:pt x="1040" y="64"/>
                    <a:pt x="977" y="190"/>
                  </a:cubicBezTo>
                  <a:lnTo>
                    <a:pt x="1" y="2805"/>
                  </a:lnTo>
                  <a:lnTo>
                    <a:pt x="2616" y="2805"/>
                  </a:lnTo>
                  <a:lnTo>
                    <a:pt x="1670" y="190"/>
                  </a:lnTo>
                  <a:cubicBezTo>
                    <a:pt x="1607" y="64"/>
                    <a:pt x="146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74"/>
            <p:cNvSpPr/>
            <p:nvPr/>
          </p:nvSpPr>
          <p:spPr>
            <a:xfrm>
              <a:off x="-49272725" y="4007800"/>
              <a:ext cx="70125" cy="159925"/>
            </a:xfrm>
            <a:custGeom>
              <a:avLst/>
              <a:gdLst/>
              <a:ahLst/>
              <a:cxnLst/>
              <a:rect l="l" t="t" r="r" b="b"/>
              <a:pathLst>
                <a:path w="2805" h="6397" extrusionOk="0">
                  <a:moveTo>
                    <a:pt x="1" y="1"/>
                  </a:moveTo>
                  <a:lnTo>
                    <a:pt x="1" y="6396"/>
                  </a:lnTo>
                  <a:lnTo>
                    <a:pt x="2805" y="6396"/>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74"/>
          <p:cNvGrpSpPr/>
          <p:nvPr/>
        </p:nvGrpSpPr>
        <p:grpSpPr>
          <a:xfrm>
            <a:off x="907504" y="2752344"/>
            <a:ext cx="312375" cy="357123"/>
            <a:chOff x="-47505300" y="3200500"/>
            <a:chExt cx="263875" cy="301675"/>
          </a:xfrm>
        </p:grpSpPr>
        <p:sp>
          <p:nvSpPr>
            <p:cNvPr id="8052" name="Google Shape;8052;p74"/>
            <p:cNvSpPr/>
            <p:nvPr/>
          </p:nvSpPr>
          <p:spPr>
            <a:xfrm>
              <a:off x="-47382425" y="3306025"/>
              <a:ext cx="52800" cy="53600"/>
            </a:xfrm>
            <a:custGeom>
              <a:avLst/>
              <a:gdLst/>
              <a:ahLst/>
              <a:cxnLst/>
              <a:rect l="l" t="t" r="r" b="b"/>
              <a:pathLst>
                <a:path w="2112" h="2144" extrusionOk="0">
                  <a:moveTo>
                    <a:pt x="1387" y="1"/>
                  </a:moveTo>
                  <a:cubicBezTo>
                    <a:pt x="1198" y="726"/>
                    <a:pt x="694" y="1261"/>
                    <a:pt x="1" y="1387"/>
                  </a:cubicBezTo>
                  <a:lnTo>
                    <a:pt x="1"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4"/>
            <p:cNvSpPr/>
            <p:nvPr/>
          </p:nvSpPr>
          <p:spPr>
            <a:xfrm>
              <a:off x="-47382425" y="3306025"/>
              <a:ext cx="15775" cy="15800"/>
            </a:xfrm>
            <a:custGeom>
              <a:avLst/>
              <a:gdLst/>
              <a:ahLst/>
              <a:cxnLst/>
              <a:rect l="l" t="t" r="r" b="b"/>
              <a:pathLst>
                <a:path w="631" h="632" extrusionOk="0">
                  <a:moveTo>
                    <a:pt x="1" y="1"/>
                  </a:moveTo>
                  <a:lnTo>
                    <a:pt x="1" y="631"/>
                  </a:lnTo>
                  <a:cubicBezTo>
                    <a:pt x="316" y="568"/>
                    <a:pt x="536" y="316"/>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4" name="Google Shape;8054;p74"/>
            <p:cNvSpPr/>
            <p:nvPr/>
          </p:nvSpPr>
          <p:spPr>
            <a:xfrm>
              <a:off x="-47487975" y="3200500"/>
              <a:ext cx="210325" cy="301675"/>
            </a:xfrm>
            <a:custGeom>
              <a:avLst/>
              <a:gdLst/>
              <a:ahLst/>
              <a:cxnLst/>
              <a:rect l="l" t="t" r="r" b="b"/>
              <a:pathLst>
                <a:path w="8413" h="12067" extrusionOk="0">
                  <a:moveTo>
                    <a:pt x="3845" y="2111"/>
                  </a:moveTo>
                  <a:cubicBezTo>
                    <a:pt x="4727" y="2111"/>
                    <a:pt x="5420" y="2678"/>
                    <a:pt x="5577" y="3529"/>
                  </a:cubicBezTo>
                  <a:lnTo>
                    <a:pt x="6680" y="3529"/>
                  </a:lnTo>
                  <a:cubicBezTo>
                    <a:pt x="6901" y="3529"/>
                    <a:pt x="7058" y="3686"/>
                    <a:pt x="7058" y="3875"/>
                  </a:cubicBezTo>
                  <a:lnTo>
                    <a:pt x="7058" y="6711"/>
                  </a:lnTo>
                  <a:lnTo>
                    <a:pt x="6995" y="6711"/>
                  </a:lnTo>
                  <a:cubicBezTo>
                    <a:pt x="6995" y="6900"/>
                    <a:pt x="6838" y="7057"/>
                    <a:pt x="6648" y="7057"/>
                  </a:cubicBezTo>
                  <a:lnTo>
                    <a:pt x="3845" y="7057"/>
                  </a:lnTo>
                  <a:cubicBezTo>
                    <a:pt x="3656" y="7057"/>
                    <a:pt x="3498" y="6900"/>
                    <a:pt x="3498" y="6711"/>
                  </a:cubicBezTo>
                  <a:lnTo>
                    <a:pt x="3498" y="5608"/>
                  </a:lnTo>
                  <a:cubicBezTo>
                    <a:pt x="2710" y="5451"/>
                    <a:pt x="2080" y="4726"/>
                    <a:pt x="2080" y="3875"/>
                  </a:cubicBezTo>
                  <a:cubicBezTo>
                    <a:pt x="2080" y="2899"/>
                    <a:pt x="2868" y="2111"/>
                    <a:pt x="3845" y="2111"/>
                  </a:cubicBezTo>
                  <a:close/>
                  <a:moveTo>
                    <a:pt x="5262" y="8444"/>
                  </a:moveTo>
                  <a:cubicBezTo>
                    <a:pt x="5483" y="8444"/>
                    <a:pt x="5640" y="8601"/>
                    <a:pt x="5640" y="8790"/>
                  </a:cubicBezTo>
                  <a:cubicBezTo>
                    <a:pt x="5640" y="8979"/>
                    <a:pt x="5483" y="9137"/>
                    <a:pt x="5262" y="9137"/>
                  </a:cubicBezTo>
                  <a:lnTo>
                    <a:pt x="2490" y="9137"/>
                  </a:lnTo>
                  <a:cubicBezTo>
                    <a:pt x="2269" y="9137"/>
                    <a:pt x="2112" y="8979"/>
                    <a:pt x="2112" y="8790"/>
                  </a:cubicBezTo>
                  <a:cubicBezTo>
                    <a:pt x="2112" y="8601"/>
                    <a:pt x="2269" y="8444"/>
                    <a:pt x="2490" y="8444"/>
                  </a:cubicBezTo>
                  <a:close/>
                  <a:moveTo>
                    <a:pt x="6680" y="8444"/>
                  </a:moveTo>
                  <a:cubicBezTo>
                    <a:pt x="6901" y="8444"/>
                    <a:pt x="7058" y="8601"/>
                    <a:pt x="7058" y="8790"/>
                  </a:cubicBezTo>
                  <a:cubicBezTo>
                    <a:pt x="6995" y="8979"/>
                    <a:pt x="6838" y="9137"/>
                    <a:pt x="6680" y="9137"/>
                  </a:cubicBezTo>
                  <a:cubicBezTo>
                    <a:pt x="6491" y="9137"/>
                    <a:pt x="6333" y="8979"/>
                    <a:pt x="6333" y="8790"/>
                  </a:cubicBezTo>
                  <a:cubicBezTo>
                    <a:pt x="6333" y="8601"/>
                    <a:pt x="6491" y="8444"/>
                    <a:pt x="6680" y="8444"/>
                  </a:cubicBezTo>
                  <a:close/>
                  <a:moveTo>
                    <a:pt x="6680" y="9861"/>
                  </a:moveTo>
                  <a:cubicBezTo>
                    <a:pt x="6901" y="9861"/>
                    <a:pt x="7058" y="10019"/>
                    <a:pt x="7058" y="10208"/>
                  </a:cubicBezTo>
                  <a:cubicBezTo>
                    <a:pt x="7058" y="10397"/>
                    <a:pt x="6838" y="10554"/>
                    <a:pt x="6680" y="10554"/>
                  </a:cubicBezTo>
                  <a:lnTo>
                    <a:pt x="2490" y="10554"/>
                  </a:lnTo>
                  <a:cubicBezTo>
                    <a:pt x="2269" y="10554"/>
                    <a:pt x="2112" y="10397"/>
                    <a:pt x="2112" y="10208"/>
                  </a:cubicBezTo>
                  <a:cubicBezTo>
                    <a:pt x="2112" y="10019"/>
                    <a:pt x="2269" y="9861"/>
                    <a:pt x="2490" y="9861"/>
                  </a:cubicBezTo>
                  <a:close/>
                  <a:moveTo>
                    <a:pt x="347" y="0"/>
                  </a:moveTo>
                  <a:cubicBezTo>
                    <a:pt x="158" y="0"/>
                    <a:pt x="1" y="158"/>
                    <a:pt x="1" y="378"/>
                  </a:cubicBezTo>
                  <a:lnTo>
                    <a:pt x="1" y="1418"/>
                  </a:lnTo>
                  <a:lnTo>
                    <a:pt x="1072" y="1418"/>
                  </a:lnTo>
                  <a:cubicBezTo>
                    <a:pt x="1261" y="1418"/>
                    <a:pt x="1419" y="1576"/>
                    <a:pt x="1419" y="1796"/>
                  </a:cubicBezTo>
                  <a:cubicBezTo>
                    <a:pt x="1419" y="1985"/>
                    <a:pt x="1261" y="2143"/>
                    <a:pt x="1072" y="2143"/>
                  </a:cubicBezTo>
                  <a:lnTo>
                    <a:pt x="1" y="2143"/>
                  </a:lnTo>
                  <a:lnTo>
                    <a:pt x="1" y="3560"/>
                  </a:lnTo>
                  <a:lnTo>
                    <a:pt x="1072" y="3560"/>
                  </a:lnTo>
                  <a:cubicBezTo>
                    <a:pt x="1261" y="3560"/>
                    <a:pt x="1419" y="3718"/>
                    <a:pt x="1419" y="3907"/>
                  </a:cubicBezTo>
                  <a:cubicBezTo>
                    <a:pt x="1419" y="4096"/>
                    <a:pt x="1261" y="4253"/>
                    <a:pt x="1072" y="4253"/>
                  </a:cubicBezTo>
                  <a:lnTo>
                    <a:pt x="1" y="4253"/>
                  </a:lnTo>
                  <a:lnTo>
                    <a:pt x="1" y="5671"/>
                  </a:lnTo>
                  <a:lnTo>
                    <a:pt x="1072" y="5671"/>
                  </a:lnTo>
                  <a:cubicBezTo>
                    <a:pt x="1261" y="5671"/>
                    <a:pt x="1419" y="5829"/>
                    <a:pt x="1419" y="6049"/>
                  </a:cubicBezTo>
                  <a:cubicBezTo>
                    <a:pt x="1419" y="6238"/>
                    <a:pt x="1261" y="6396"/>
                    <a:pt x="1072" y="6396"/>
                  </a:cubicBezTo>
                  <a:lnTo>
                    <a:pt x="1" y="6396"/>
                  </a:lnTo>
                  <a:lnTo>
                    <a:pt x="1" y="7814"/>
                  </a:lnTo>
                  <a:lnTo>
                    <a:pt x="1072" y="7814"/>
                  </a:lnTo>
                  <a:cubicBezTo>
                    <a:pt x="1261" y="7814"/>
                    <a:pt x="1419" y="7971"/>
                    <a:pt x="1419" y="8160"/>
                  </a:cubicBezTo>
                  <a:cubicBezTo>
                    <a:pt x="1419" y="8349"/>
                    <a:pt x="1261" y="8507"/>
                    <a:pt x="1072" y="8507"/>
                  </a:cubicBezTo>
                  <a:lnTo>
                    <a:pt x="1" y="8507"/>
                  </a:lnTo>
                  <a:lnTo>
                    <a:pt x="1" y="9924"/>
                  </a:lnTo>
                  <a:lnTo>
                    <a:pt x="1072" y="9924"/>
                  </a:lnTo>
                  <a:cubicBezTo>
                    <a:pt x="1261" y="9924"/>
                    <a:pt x="1419" y="10082"/>
                    <a:pt x="1419" y="10302"/>
                  </a:cubicBezTo>
                  <a:cubicBezTo>
                    <a:pt x="1419" y="10491"/>
                    <a:pt x="1261" y="10649"/>
                    <a:pt x="1072" y="10649"/>
                  </a:cubicBezTo>
                  <a:lnTo>
                    <a:pt x="1" y="10649"/>
                  </a:lnTo>
                  <a:lnTo>
                    <a:pt x="1" y="11689"/>
                  </a:lnTo>
                  <a:cubicBezTo>
                    <a:pt x="1" y="11909"/>
                    <a:pt x="158" y="12067"/>
                    <a:pt x="347" y="12067"/>
                  </a:cubicBezTo>
                  <a:lnTo>
                    <a:pt x="8066" y="12067"/>
                  </a:lnTo>
                  <a:cubicBezTo>
                    <a:pt x="8255" y="12067"/>
                    <a:pt x="8413" y="11909"/>
                    <a:pt x="8413" y="11689"/>
                  </a:cubicBezTo>
                  <a:lnTo>
                    <a:pt x="8413" y="410"/>
                  </a:ln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4"/>
            <p:cNvSpPr/>
            <p:nvPr/>
          </p:nvSpPr>
          <p:spPr>
            <a:xfrm>
              <a:off x="-47417875" y="3271375"/>
              <a:ext cx="51225" cy="51225"/>
            </a:xfrm>
            <a:custGeom>
              <a:avLst/>
              <a:gdLst/>
              <a:ahLst/>
              <a:cxnLst/>
              <a:rect l="l" t="t" r="r" b="b"/>
              <a:pathLst>
                <a:path w="2049" h="2049" extrusionOk="0">
                  <a:moveTo>
                    <a:pt x="1041" y="1"/>
                  </a:moveTo>
                  <a:cubicBezTo>
                    <a:pt x="473" y="1"/>
                    <a:pt x="1" y="473"/>
                    <a:pt x="1" y="1072"/>
                  </a:cubicBezTo>
                  <a:cubicBezTo>
                    <a:pt x="1" y="1545"/>
                    <a:pt x="253" y="1891"/>
                    <a:pt x="694" y="2049"/>
                  </a:cubicBezTo>
                  <a:lnTo>
                    <a:pt x="694" y="1072"/>
                  </a:lnTo>
                  <a:cubicBezTo>
                    <a:pt x="694" y="883"/>
                    <a:pt x="852" y="725"/>
                    <a:pt x="1041" y="725"/>
                  </a:cubicBezTo>
                  <a:lnTo>
                    <a:pt x="2049" y="725"/>
                  </a:lnTo>
                  <a:cubicBezTo>
                    <a:pt x="1923" y="284"/>
                    <a:pt x="1513"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4"/>
            <p:cNvSpPr/>
            <p:nvPr/>
          </p:nvSpPr>
          <p:spPr>
            <a:xfrm>
              <a:off x="-47505300" y="3235950"/>
              <a:ext cx="17350" cy="18125"/>
            </a:xfrm>
            <a:custGeom>
              <a:avLst/>
              <a:gdLst/>
              <a:ahLst/>
              <a:cxnLst/>
              <a:rect l="l" t="t" r="r" b="b"/>
              <a:pathLst>
                <a:path w="694" h="725" extrusionOk="0">
                  <a:moveTo>
                    <a:pt x="347" y="0"/>
                  </a:moveTo>
                  <a:cubicBezTo>
                    <a:pt x="127" y="0"/>
                    <a:pt x="1" y="158"/>
                    <a:pt x="1" y="378"/>
                  </a:cubicBezTo>
                  <a:cubicBezTo>
                    <a:pt x="1" y="567"/>
                    <a:pt x="127" y="725"/>
                    <a:pt x="347" y="725"/>
                  </a:cubicBezTo>
                  <a:lnTo>
                    <a:pt x="694" y="725"/>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4"/>
            <p:cNvSpPr/>
            <p:nvPr/>
          </p:nvSpPr>
          <p:spPr>
            <a:xfrm>
              <a:off x="-47505300" y="3447025"/>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8" name="Google Shape;8058;p74"/>
            <p:cNvSpPr/>
            <p:nvPr/>
          </p:nvSpPr>
          <p:spPr>
            <a:xfrm>
              <a:off x="-47505300" y="3394250"/>
              <a:ext cx="17350" cy="18150"/>
            </a:xfrm>
            <a:custGeom>
              <a:avLst/>
              <a:gdLst/>
              <a:ahLst/>
              <a:cxnLst/>
              <a:rect l="l" t="t" r="r" b="b"/>
              <a:pathLst>
                <a:path w="694" h="726" extrusionOk="0">
                  <a:moveTo>
                    <a:pt x="347" y="1"/>
                  </a:moveTo>
                  <a:lnTo>
                    <a:pt x="347" y="32"/>
                  </a:lnTo>
                  <a:cubicBezTo>
                    <a:pt x="127" y="32"/>
                    <a:pt x="1" y="190"/>
                    <a:pt x="1" y="379"/>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74"/>
            <p:cNvSpPr/>
            <p:nvPr/>
          </p:nvSpPr>
          <p:spPr>
            <a:xfrm>
              <a:off x="-47505300" y="3341475"/>
              <a:ext cx="17350" cy="18150"/>
            </a:xfrm>
            <a:custGeom>
              <a:avLst/>
              <a:gdLst/>
              <a:ahLst/>
              <a:cxnLst/>
              <a:rect l="l" t="t" r="r" b="b"/>
              <a:pathLst>
                <a:path w="694" h="726" extrusionOk="0">
                  <a:moveTo>
                    <a:pt x="347" y="1"/>
                  </a:moveTo>
                  <a:cubicBezTo>
                    <a:pt x="127" y="1"/>
                    <a:pt x="1" y="158"/>
                    <a:pt x="1" y="347"/>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0" name="Google Shape;8060;p74"/>
            <p:cNvSpPr/>
            <p:nvPr/>
          </p:nvSpPr>
          <p:spPr>
            <a:xfrm>
              <a:off x="-47505300" y="3289500"/>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1" name="Google Shape;8061;p74"/>
            <p:cNvSpPr/>
            <p:nvPr/>
          </p:nvSpPr>
          <p:spPr>
            <a:xfrm>
              <a:off x="-47259550" y="3411575"/>
              <a:ext cx="18125" cy="51225"/>
            </a:xfrm>
            <a:custGeom>
              <a:avLst/>
              <a:gdLst/>
              <a:ahLst/>
              <a:cxnLst/>
              <a:rect l="l" t="t" r="r" b="b"/>
              <a:pathLst>
                <a:path w="725" h="2049" extrusionOk="0">
                  <a:moveTo>
                    <a:pt x="0" y="1"/>
                  </a:moveTo>
                  <a:lnTo>
                    <a:pt x="0" y="2048"/>
                  </a:lnTo>
                  <a:cubicBezTo>
                    <a:pt x="410" y="1891"/>
                    <a:pt x="725" y="1481"/>
                    <a:pt x="725" y="107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74"/>
            <p:cNvSpPr/>
            <p:nvPr/>
          </p:nvSpPr>
          <p:spPr>
            <a:xfrm>
              <a:off x="-47259550" y="3306025"/>
              <a:ext cx="18125" cy="35475"/>
            </a:xfrm>
            <a:custGeom>
              <a:avLst/>
              <a:gdLst/>
              <a:ahLst/>
              <a:cxnLst/>
              <a:rect l="l" t="t" r="r" b="b"/>
              <a:pathLst>
                <a:path w="725" h="1419" extrusionOk="0">
                  <a:moveTo>
                    <a:pt x="0" y="1"/>
                  </a:moveTo>
                  <a:lnTo>
                    <a:pt x="0" y="1419"/>
                  </a:lnTo>
                  <a:lnTo>
                    <a:pt x="725" y="1419"/>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4"/>
            <p:cNvSpPr/>
            <p:nvPr/>
          </p:nvSpPr>
          <p:spPr>
            <a:xfrm>
              <a:off x="-47259550" y="3359600"/>
              <a:ext cx="18125" cy="34675"/>
            </a:xfrm>
            <a:custGeom>
              <a:avLst/>
              <a:gdLst/>
              <a:ahLst/>
              <a:cxnLst/>
              <a:rect l="l" t="t" r="r" b="b"/>
              <a:pathLst>
                <a:path w="725" h="1387" extrusionOk="0">
                  <a:moveTo>
                    <a:pt x="0" y="0"/>
                  </a:moveTo>
                  <a:lnTo>
                    <a:pt x="0" y="1387"/>
                  </a:lnTo>
                  <a:lnTo>
                    <a:pt x="725" y="138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4"/>
            <p:cNvSpPr/>
            <p:nvPr/>
          </p:nvSpPr>
          <p:spPr>
            <a:xfrm>
              <a:off x="-47259550" y="3238300"/>
              <a:ext cx="18125" cy="51225"/>
            </a:xfrm>
            <a:custGeom>
              <a:avLst/>
              <a:gdLst/>
              <a:ahLst/>
              <a:cxnLst/>
              <a:rect l="l" t="t" r="r" b="b"/>
              <a:pathLst>
                <a:path w="725" h="2049" extrusionOk="0">
                  <a:moveTo>
                    <a:pt x="0" y="1"/>
                  </a:moveTo>
                  <a:lnTo>
                    <a:pt x="0" y="2048"/>
                  </a:lnTo>
                  <a:lnTo>
                    <a:pt x="725" y="2048"/>
                  </a:lnTo>
                  <a:lnTo>
                    <a:pt x="725" y="977"/>
                  </a:lnTo>
                  <a:cubicBezTo>
                    <a:pt x="693" y="505"/>
                    <a:pt x="410"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5" name="Google Shape;8065;p74"/>
          <p:cNvGrpSpPr/>
          <p:nvPr/>
        </p:nvGrpSpPr>
        <p:grpSpPr>
          <a:xfrm>
            <a:off x="885604" y="3188692"/>
            <a:ext cx="356176" cy="355051"/>
            <a:chOff x="-47524975" y="3569100"/>
            <a:chExt cx="300875" cy="299925"/>
          </a:xfrm>
        </p:grpSpPr>
        <p:sp>
          <p:nvSpPr>
            <p:cNvPr id="8066" name="Google Shape;8066;p74"/>
            <p:cNvSpPr/>
            <p:nvPr/>
          </p:nvSpPr>
          <p:spPr>
            <a:xfrm>
              <a:off x="-47524975" y="3755775"/>
              <a:ext cx="115000" cy="113250"/>
            </a:xfrm>
            <a:custGeom>
              <a:avLst/>
              <a:gdLst/>
              <a:ahLst/>
              <a:cxnLst/>
              <a:rect l="l" t="t" r="r" b="b"/>
              <a:pathLst>
                <a:path w="4600" h="4530" extrusionOk="0">
                  <a:moveTo>
                    <a:pt x="3088" y="0"/>
                  </a:moveTo>
                  <a:lnTo>
                    <a:pt x="378" y="2741"/>
                  </a:lnTo>
                  <a:cubicBezTo>
                    <a:pt x="0" y="3119"/>
                    <a:pt x="0" y="3781"/>
                    <a:pt x="378" y="4222"/>
                  </a:cubicBezTo>
                  <a:cubicBezTo>
                    <a:pt x="583" y="4427"/>
                    <a:pt x="851" y="4529"/>
                    <a:pt x="1123" y="4529"/>
                  </a:cubicBezTo>
                  <a:cubicBezTo>
                    <a:pt x="1394" y="4529"/>
                    <a:pt x="1670" y="4427"/>
                    <a:pt x="1890" y="4222"/>
                  </a:cubicBezTo>
                  <a:lnTo>
                    <a:pt x="4600" y="1512"/>
                  </a:lnTo>
                  <a:cubicBezTo>
                    <a:pt x="4001" y="1103"/>
                    <a:pt x="3497" y="599"/>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7" name="Google Shape;8067;p74"/>
            <p:cNvSpPr/>
            <p:nvPr/>
          </p:nvSpPr>
          <p:spPr>
            <a:xfrm>
              <a:off x="-47346200" y="3674650"/>
              <a:ext cx="15775" cy="15775"/>
            </a:xfrm>
            <a:custGeom>
              <a:avLst/>
              <a:gdLst/>
              <a:ahLst/>
              <a:cxnLst/>
              <a:rect l="l" t="t" r="r" b="b"/>
              <a:pathLst>
                <a:path w="631" h="631" extrusionOk="0">
                  <a:moveTo>
                    <a:pt x="1" y="0"/>
                  </a:moveTo>
                  <a:lnTo>
                    <a:pt x="1" y="630"/>
                  </a:lnTo>
                  <a:cubicBezTo>
                    <a:pt x="284" y="536"/>
                    <a:pt x="505" y="315"/>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74"/>
            <p:cNvSpPr/>
            <p:nvPr/>
          </p:nvSpPr>
          <p:spPr>
            <a:xfrm>
              <a:off x="-47382425" y="3640000"/>
              <a:ext cx="51225" cy="51200"/>
            </a:xfrm>
            <a:custGeom>
              <a:avLst/>
              <a:gdLst/>
              <a:ahLst/>
              <a:cxnLst/>
              <a:rect l="l" t="t" r="r" b="b"/>
              <a:pathLst>
                <a:path w="2049" h="2048" extrusionOk="0">
                  <a:moveTo>
                    <a:pt x="1040" y="0"/>
                  </a:moveTo>
                  <a:cubicBezTo>
                    <a:pt x="473" y="0"/>
                    <a:pt x="1" y="473"/>
                    <a:pt x="1" y="1071"/>
                  </a:cubicBezTo>
                  <a:cubicBezTo>
                    <a:pt x="1" y="1512"/>
                    <a:pt x="253" y="1890"/>
                    <a:pt x="694" y="2048"/>
                  </a:cubicBezTo>
                  <a:lnTo>
                    <a:pt x="694" y="1071"/>
                  </a:lnTo>
                  <a:cubicBezTo>
                    <a:pt x="694" y="851"/>
                    <a:pt x="851" y="693"/>
                    <a:pt x="1040" y="693"/>
                  </a:cubicBezTo>
                  <a:lnTo>
                    <a:pt x="2048" y="693"/>
                  </a:lnTo>
                  <a:cubicBezTo>
                    <a:pt x="1922" y="284"/>
                    <a:pt x="1513"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4"/>
            <p:cNvSpPr/>
            <p:nvPr/>
          </p:nvSpPr>
          <p:spPr>
            <a:xfrm>
              <a:off x="-47346975" y="3674650"/>
              <a:ext cx="52800" cy="52800"/>
            </a:xfrm>
            <a:custGeom>
              <a:avLst/>
              <a:gdLst/>
              <a:ahLst/>
              <a:cxnLst/>
              <a:rect l="l" t="t" r="r" b="b"/>
              <a:pathLst>
                <a:path w="2112" h="2112" extrusionOk="0">
                  <a:moveTo>
                    <a:pt x="1355" y="0"/>
                  </a:moveTo>
                  <a:cubicBezTo>
                    <a:pt x="1261" y="693"/>
                    <a:pt x="693" y="1260"/>
                    <a:pt x="0" y="1355"/>
                  </a:cubicBezTo>
                  <a:lnTo>
                    <a:pt x="0" y="2111"/>
                  </a:lnTo>
                  <a:lnTo>
                    <a:pt x="2111" y="2111"/>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4"/>
            <p:cNvSpPr/>
            <p:nvPr/>
          </p:nvSpPr>
          <p:spPr>
            <a:xfrm>
              <a:off x="-47452525" y="3569100"/>
              <a:ext cx="228425" cy="228425"/>
            </a:xfrm>
            <a:custGeom>
              <a:avLst/>
              <a:gdLst/>
              <a:ahLst/>
              <a:cxnLst/>
              <a:rect l="l" t="t" r="r" b="b"/>
              <a:pathLst>
                <a:path w="9137" h="9137" extrusionOk="0">
                  <a:moveTo>
                    <a:pt x="3907" y="2080"/>
                  </a:moveTo>
                  <a:cubicBezTo>
                    <a:pt x="4758" y="2080"/>
                    <a:pt x="5483" y="2679"/>
                    <a:pt x="5640" y="3498"/>
                  </a:cubicBezTo>
                  <a:lnTo>
                    <a:pt x="6743" y="3498"/>
                  </a:lnTo>
                  <a:cubicBezTo>
                    <a:pt x="6932" y="3498"/>
                    <a:pt x="7089" y="3655"/>
                    <a:pt x="7089" y="3844"/>
                  </a:cubicBezTo>
                  <a:lnTo>
                    <a:pt x="7089" y="6680"/>
                  </a:lnTo>
                  <a:lnTo>
                    <a:pt x="7058" y="6680"/>
                  </a:lnTo>
                  <a:cubicBezTo>
                    <a:pt x="7058" y="6900"/>
                    <a:pt x="6900" y="7058"/>
                    <a:pt x="6680" y="7058"/>
                  </a:cubicBezTo>
                  <a:lnTo>
                    <a:pt x="3907" y="7058"/>
                  </a:lnTo>
                  <a:cubicBezTo>
                    <a:pt x="3687" y="7058"/>
                    <a:pt x="3529" y="6900"/>
                    <a:pt x="3529" y="6680"/>
                  </a:cubicBezTo>
                  <a:lnTo>
                    <a:pt x="3529" y="5577"/>
                  </a:lnTo>
                  <a:cubicBezTo>
                    <a:pt x="2742" y="5419"/>
                    <a:pt x="2111" y="4726"/>
                    <a:pt x="2111" y="3844"/>
                  </a:cubicBezTo>
                  <a:cubicBezTo>
                    <a:pt x="2111" y="2868"/>
                    <a:pt x="2899" y="2080"/>
                    <a:pt x="3907" y="2080"/>
                  </a:cubicBezTo>
                  <a:close/>
                  <a:moveTo>
                    <a:pt x="4569" y="1"/>
                  </a:moveTo>
                  <a:cubicBezTo>
                    <a:pt x="2048" y="1"/>
                    <a:pt x="1" y="2048"/>
                    <a:pt x="1" y="4569"/>
                  </a:cubicBezTo>
                  <a:cubicBezTo>
                    <a:pt x="1" y="7089"/>
                    <a:pt x="2048" y="9137"/>
                    <a:pt x="4569" y="9137"/>
                  </a:cubicBezTo>
                  <a:cubicBezTo>
                    <a:pt x="7089" y="9137"/>
                    <a:pt x="9137" y="7089"/>
                    <a:pt x="9137" y="4569"/>
                  </a:cubicBezTo>
                  <a:cubicBezTo>
                    <a:pt x="9137" y="2048"/>
                    <a:pt x="7089"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1" name="Google Shape;8071;p74"/>
          <p:cNvGrpSpPr/>
          <p:nvPr/>
        </p:nvGrpSpPr>
        <p:grpSpPr>
          <a:xfrm>
            <a:off x="886062" y="3667954"/>
            <a:ext cx="355258" cy="270410"/>
            <a:chOff x="-47523400" y="3973950"/>
            <a:chExt cx="300100" cy="228425"/>
          </a:xfrm>
        </p:grpSpPr>
        <p:sp>
          <p:nvSpPr>
            <p:cNvPr id="8072" name="Google Shape;8072;p74"/>
            <p:cNvSpPr/>
            <p:nvPr/>
          </p:nvSpPr>
          <p:spPr>
            <a:xfrm>
              <a:off x="-47417075" y="4061375"/>
              <a:ext cx="15775" cy="15775"/>
            </a:xfrm>
            <a:custGeom>
              <a:avLst/>
              <a:gdLst/>
              <a:ahLst/>
              <a:cxnLst/>
              <a:rect l="l" t="t" r="r" b="b"/>
              <a:pathLst>
                <a:path w="631" h="631" extrusionOk="0">
                  <a:moveTo>
                    <a:pt x="0" y="0"/>
                  </a:moveTo>
                  <a:lnTo>
                    <a:pt x="0" y="630"/>
                  </a:lnTo>
                  <a:cubicBezTo>
                    <a:pt x="284" y="536"/>
                    <a:pt x="504" y="315"/>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3" name="Google Shape;8073;p74"/>
            <p:cNvSpPr/>
            <p:nvPr/>
          </p:nvSpPr>
          <p:spPr>
            <a:xfrm>
              <a:off x="-47417875" y="4061375"/>
              <a:ext cx="52800" cy="52775"/>
            </a:xfrm>
            <a:custGeom>
              <a:avLst/>
              <a:gdLst/>
              <a:ahLst/>
              <a:cxnLst/>
              <a:rect l="l" t="t" r="r" b="b"/>
              <a:pathLst>
                <a:path w="2112" h="2111" extrusionOk="0">
                  <a:moveTo>
                    <a:pt x="1356" y="0"/>
                  </a:moveTo>
                  <a:cubicBezTo>
                    <a:pt x="1261" y="693"/>
                    <a:pt x="694" y="1260"/>
                    <a:pt x="1" y="1386"/>
                  </a:cubicBezTo>
                  <a:lnTo>
                    <a:pt x="1" y="2111"/>
                  </a:lnTo>
                  <a:lnTo>
                    <a:pt x="2112" y="2111"/>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74"/>
            <p:cNvSpPr/>
            <p:nvPr/>
          </p:nvSpPr>
          <p:spPr>
            <a:xfrm>
              <a:off x="-47453300" y="4026700"/>
              <a:ext cx="51200" cy="51225"/>
            </a:xfrm>
            <a:custGeom>
              <a:avLst/>
              <a:gdLst/>
              <a:ahLst/>
              <a:cxnLst/>
              <a:rect l="l" t="t" r="r" b="b"/>
              <a:pathLst>
                <a:path w="2048" h="2049" extrusionOk="0">
                  <a:moveTo>
                    <a:pt x="1071" y="1"/>
                  </a:moveTo>
                  <a:cubicBezTo>
                    <a:pt x="473" y="1"/>
                    <a:pt x="0" y="473"/>
                    <a:pt x="0" y="1072"/>
                  </a:cubicBezTo>
                  <a:cubicBezTo>
                    <a:pt x="0" y="1545"/>
                    <a:pt x="284" y="1891"/>
                    <a:pt x="693" y="2049"/>
                  </a:cubicBezTo>
                  <a:lnTo>
                    <a:pt x="693" y="1072"/>
                  </a:lnTo>
                  <a:cubicBezTo>
                    <a:pt x="693" y="883"/>
                    <a:pt x="851" y="725"/>
                    <a:pt x="1071" y="725"/>
                  </a:cubicBezTo>
                  <a:lnTo>
                    <a:pt x="2048" y="725"/>
                  </a:lnTo>
                  <a:cubicBezTo>
                    <a:pt x="1922" y="284"/>
                    <a:pt x="1512"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4"/>
            <p:cNvSpPr/>
            <p:nvPr/>
          </p:nvSpPr>
          <p:spPr>
            <a:xfrm>
              <a:off x="-47506875" y="3973950"/>
              <a:ext cx="264675" cy="174875"/>
            </a:xfrm>
            <a:custGeom>
              <a:avLst/>
              <a:gdLst/>
              <a:ahLst/>
              <a:cxnLst/>
              <a:rect l="l" t="t" r="r" b="b"/>
              <a:pathLst>
                <a:path w="10587" h="6995" extrusionOk="0">
                  <a:moveTo>
                    <a:pt x="8854" y="1418"/>
                  </a:moveTo>
                  <a:cubicBezTo>
                    <a:pt x="9074" y="1418"/>
                    <a:pt x="9232" y="1575"/>
                    <a:pt x="9232" y="1764"/>
                  </a:cubicBezTo>
                  <a:cubicBezTo>
                    <a:pt x="9232" y="1953"/>
                    <a:pt x="9074" y="2111"/>
                    <a:pt x="8854" y="2111"/>
                  </a:cubicBezTo>
                  <a:lnTo>
                    <a:pt x="7436" y="2111"/>
                  </a:lnTo>
                  <a:cubicBezTo>
                    <a:pt x="7247" y="2111"/>
                    <a:pt x="7089" y="1953"/>
                    <a:pt x="7089" y="1764"/>
                  </a:cubicBezTo>
                  <a:cubicBezTo>
                    <a:pt x="7089" y="1575"/>
                    <a:pt x="7247" y="1418"/>
                    <a:pt x="7436" y="1418"/>
                  </a:cubicBezTo>
                  <a:close/>
                  <a:moveTo>
                    <a:pt x="8854" y="2772"/>
                  </a:moveTo>
                  <a:cubicBezTo>
                    <a:pt x="9074" y="2772"/>
                    <a:pt x="9232" y="2930"/>
                    <a:pt x="9232" y="3151"/>
                  </a:cubicBezTo>
                  <a:cubicBezTo>
                    <a:pt x="9232" y="3340"/>
                    <a:pt x="9074" y="3497"/>
                    <a:pt x="8854" y="3497"/>
                  </a:cubicBezTo>
                  <a:lnTo>
                    <a:pt x="7436" y="3497"/>
                  </a:lnTo>
                  <a:cubicBezTo>
                    <a:pt x="7247" y="3497"/>
                    <a:pt x="7089" y="3340"/>
                    <a:pt x="7089" y="3151"/>
                  </a:cubicBezTo>
                  <a:cubicBezTo>
                    <a:pt x="7089" y="2930"/>
                    <a:pt x="7247" y="2772"/>
                    <a:pt x="7436" y="2772"/>
                  </a:cubicBezTo>
                  <a:close/>
                  <a:moveTo>
                    <a:pt x="8854" y="4190"/>
                  </a:moveTo>
                  <a:cubicBezTo>
                    <a:pt x="9074" y="4190"/>
                    <a:pt x="9232" y="4348"/>
                    <a:pt x="9232" y="4568"/>
                  </a:cubicBezTo>
                  <a:cubicBezTo>
                    <a:pt x="9232" y="4757"/>
                    <a:pt x="9074" y="4915"/>
                    <a:pt x="8854" y="4915"/>
                  </a:cubicBezTo>
                  <a:lnTo>
                    <a:pt x="7436" y="4915"/>
                  </a:lnTo>
                  <a:cubicBezTo>
                    <a:pt x="7247" y="4915"/>
                    <a:pt x="7089" y="4757"/>
                    <a:pt x="7089" y="4568"/>
                  </a:cubicBezTo>
                  <a:cubicBezTo>
                    <a:pt x="7089" y="4348"/>
                    <a:pt x="7247" y="4190"/>
                    <a:pt x="7436" y="4190"/>
                  </a:cubicBezTo>
                  <a:close/>
                  <a:moveTo>
                    <a:pt x="3246" y="1355"/>
                  </a:moveTo>
                  <a:cubicBezTo>
                    <a:pt x="4096" y="1355"/>
                    <a:pt x="4821" y="1953"/>
                    <a:pt x="4979" y="2772"/>
                  </a:cubicBezTo>
                  <a:lnTo>
                    <a:pt x="6081" y="2772"/>
                  </a:lnTo>
                  <a:cubicBezTo>
                    <a:pt x="6270" y="2772"/>
                    <a:pt x="6428" y="2930"/>
                    <a:pt x="6428" y="3151"/>
                  </a:cubicBezTo>
                  <a:lnTo>
                    <a:pt x="6428" y="5986"/>
                  </a:lnTo>
                  <a:lnTo>
                    <a:pt x="6396" y="5986"/>
                  </a:lnTo>
                  <a:cubicBezTo>
                    <a:pt x="6396" y="6175"/>
                    <a:pt x="6239" y="6333"/>
                    <a:pt x="6018" y="6333"/>
                  </a:cubicBezTo>
                  <a:lnTo>
                    <a:pt x="3246" y="6333"/>
                  </a:lnTo>
                  <a:cubicBezTo>
                    <a:pt x="3025" y="6333"/>
                    <a:pt x="2868" y="6175"/>
                    <a:pt x="2868" y="5986"/>
                  </a:cubicBezTo>
                  <a:lnTo>
                    <a:pt x="2868" y="4883"/>
                  </a:lnTo>
                  <a:cubicBezTo>
                    <a:pt x="2080" y="4726"/>
                    <a:pt x="1450" y="4001"/>
                    <a:pt x="1450" y="3151"/>
                  </a:cubicBezTo>
                  <a:cubicBezTo>
                    <a:pt x="1450" y="2142"/>
                    <a:pt x="2238" y="1355"/>
                    <a:pt x="3246" y="1355"/>
                  </a:cubicBezTo>
                  <a:close/>
                  <a:moveTo>
                    <a:pt x="8854" y="5608"/>
                  </a:moveTo>
                  <a:cubicBezTo>
                    <a:pt x="9074" y="5608"/>
                    <a:pt x="9232" y="5765"/>
                    <a:pt x="9232" y="5986"/>
                  </a:cubicBezTo>
                  <a:cubicBezTo>
                    <a:pt x="9232" y="6175"/>
                    <a:pt x="9074" y="6333"/>
                    <a:pt x="8854" y="6333"/>
                  </a:cubicBezTo>
                  <a:lnTo>
                    <a:pt x="7436" y="6333"/>
                  </a:lnTo>
                  <a:cubicBezTo>
                    <a:pt x="7247" y="6333"/>
                    <a:pt x="7089" y="6175"/>
                    <a:pt x="7089" y="5986"/>
                  </a:cubicBezTo>
                  <a:cubicBezTo>
                    <a:pt x="7089" y="5765"/>
                    <a:pt x="7247" y="5608"/>
                    <a:pt x="7436" y="5608"/>
                  </a:cubicBezTo>
                  <a:close/>
                  <a:moveTo>
                    <a:pt x="347" y="0"/>
                  </a:moveTo>
                  <a:cubicBezTo>
                    <a:pt x="158" y="0"/>
                    <a:pt x="1" y="158"/>
                    <a:pt x="1" y="347"/>
                  </a:cubicBezTo>
                  <a:lnTo>
                    <a:pt x="1" y="6994"/>
                  </a:lnTo>
                  <a:lnTo>
                    <a:pt x="10586" y="6994"/>
                  </a:lnTo>
                  <a:lnTo>
                    <a:pt x="10586" y="347"/>
                  </a:lnTo>
                  <a:cubicBezTo>
                    <a:pt x="10586" y="158"/>
                    <a:pt x="10429" y="0"/>
                    <a:pt x="10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4"/>
            <p:cNvSpPr/>
            <p:nvPr/>
          </p:nvSpPr>
          <p:spPr>
            <a:xfrm>
              <a:off x="-47523400" y="4166900"/>
              <a:ext cx="300100" cy="35475"/>
            </a:xfrm>
            <a:custGeom>
              <a:avLst/>
              <a:gdLst/>
              <a:ahLst/>
              <a:cxnLst/>
              <a:rect l="l" t="t" r="r" b="b"/>
              <a:pathLst>
                <a:path w="12004" h="1419" extrusionOk="0">
                  <a:moveTo>
                    <a:pt x="0" y="1"/>
                  </a:moveTo>
                  <a:lnTo>
                    <a:pt x="0" y="1040"/>
                  </a:lnTo>
                  <a:cubicBezTo>
                    <a:pt x="0" y="1261"/>
                    <a:pt x="158" y="1418"/>
                    <a:pt x="347" y="1418"/>
                  </a:cubicBezTo>
                  <a:lnTo>
                    <a:pt x="11657" y="1418"/>
                  </a:lnTo>
                  <a:cubicBezTo>
                    <a:pt x="11846" y="1418"/>
                    <a:pt x="12004" y="1261"/>
                    <a:pt x="12004" y="1040"/>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7" name="Google Shape;8077;p74"/>
          <p:cNvGrpSpPr/>
          <p:nvPr/>
        </p:nvGrpSpPr>
        <p:grpSpPr>
          <a:xfrm>
            <a:off x="3091183" y="2750953"/>
            <a:ext cx="354341" cy="357596"/>
            <a:chOff x="-45673275" y="3199325"/>
            <a:chExt cx="299325" cy="302075"/>
          </a:xfrm>
        </p:grpSpPr>
        <p:sp>
          <p:nvSpPr>
            <p:cNvPr id="8078" name="Google Shape;8078;p74"/>
            <p:cNvSpPr/>
            <p:nvPr/>
          </p:nvSpPr>
          <p:spPr>
            <a:xfrm>
              <a:off x="-45672500" y="3199325"/>
              <a:ext cx="298550" cy="194175"/>
            </a:xfrm>
            <a:custGeom>
              <a:avLst/>
              <a:gdLst/>
              <a:ahLst/>
              <a:cxnLst/>
              <a:rect l="l" t="t" r="r" b="b"/>
              <a:pathLst>
                <a:path w="11942" h="7767" extrusionOk="0">
                  <a:moveTo>
                    <a:pt x="5947" y="0"/>
                  </a:moveTo>
                  <a:cubicBezTo>
                    <a:pt x="5884" y="0"/>
                    <a:pt x="5829" y="16"/>
                    <a:pt x="5798" y="47"/>
                  </a:cubicBezTo>
                  <a:lnTo>
                    <a:pt x="158" y="3607"/>
                  </a:lnTo>
                  <a:cubicBezTo>
                    <a:pt x="32" y="3670"/>
                    <a:pt x="1" y="3765"/>
                    <a:pt x="1" y="3922"/>
                  </a:cubicBezTo>
                  <a:cubicBezTo>
                    <a:pt x="1" y="4017"/>
                    <a:pt x="64" y="4143"/>
                    <a:pt x="158" y="4237"/>
                  </a:cubicBezTo>
                  <a:lnTo>
                    <a:pt x="5735" y="7735"/>
                  </a:lnTo>
                  <a:cubicBezTo>
                    <a:pt x="5798" y="7766"/>
                    <a:pt x="5861" y="7766"/>
                    <a:pt x="5955" y="7766"/>
                  </a:cubicBezTo>
                  <a:cubicBezTo>
                    <a:pt x="6018" y="7766"/>
                    <a:pt x="6050" y="7766"/>
                    <a:pt x="6144" y="7735"/>
                  </a:cubicBezTo>
                  <a:lnTo>
                    <a:pt x="11784" y="4237"/>
                  </a:lnTo>
                  <a:cubicBezTo>
                    <a:pt x="11878" y="4143"/>
                    <a:pt x="11941" y="4080"/>
                    <a:pt x="11941" y="3922"/>
                  </a:cubicBezTo>
                  <a:cubicBezTo>
                    <a:pt x="11941" y="3796"/>
                    <a:pt x="11847" y="3670"/>
                    <a:pt x="11784" y="3607"/>
                  </a:cubicBezTo>
                  <a:lnTo>
                    <a:pt x="6144" y="47"/>
                  </a:lnTo>
                  <a:cubicBezTo>
                    <a:pt x="6081" y="16"/>
                    <a:pt x="6010" y="0"/>
                    <a:pt x="5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9" name="Google Shape;8079;p74"/>
            <p:cNvSpPr/>
            <p:nvPr/>
          </p:nvSpPr>
          <p:spPr>
            <a:xfrm>
              <a:off x="-45673275" y="3387150"/>
              <a:ext cx="299325" cy="114250"/>
            </a:xfrm>
            <a:custGeom>
              <a:avLst/>
              <a:gdLst/>
              <a:ahLst/>
              <a:cxnLst/>
              <a:rect l="l" t="t" r="r" b="b"/>
              <a:pathLst>
                <a:path w="11973" h="4570" extrusionOk="0">
                  <a:moveTo>
                    <a:pt x="693" y="1"/>
                  </a:moveTo>
                  <a:lnTo>
                    <a:pt x="158" y="348"/>
                  </a:lnTo>
                  <a:cubicBezTo>
                    <a:pt x="32" y="411"/>
                    <a:pt x="0" y="505"/>
                    <a:pt x="0" y="663"/>
                  </a:cubicBezTo>
                  <a:cubicBezTo>
                    <a:pt x="0" y="789"/>
                    <a:pt x="63" y="883"/>
                    <a:pt x="158" y="978"/>
                  </a:cubicBezTo>
                  <a:lnTo>
                    <a:pt x="5797" y="4506"/>
                  </a:lnTo>
                  <a:cubicBezTo>
                    <a:pt x="5829" y="4569"/>
                    <a:pt x="5892" y="4569"/>
                    <a:pt x="5986" y="4569"/>
                  </a:cubicBezTo>
                  <a:cubicBezTo>
                    <a:pt x="6049" y="4569"/>
                    <a:pt x="6112" y="4569"/>
                    <a:pt x="6175" y="4506"/>
                  </a:cubicBezTo>
                  <a:lnTo>
                    <a:pt x="11815" y="978"/>
                  </a:lnTo>
                  <a:cubicBezTo>
                    <a:pt x="11941" y="883"/>
                    <a:pt x="11972" y="820"/>
                    <a:pt x="11972" y="663"/>
                  </a:cubicBezTo>
                  <a:cubicBezTo>
                    <a:pt x="11972" y="537"/>
                    <a:pt x="11878" y="411"/>
                    <a:pt x="11815" y="348"/>
                  </a:cubicBezTo>
                  <a:lnTo>
                    <a:pt x="11248" y="1"/>
                  </a:lnTo>
                  <a:lnTo>
                    <a:pt x="6175" y="3151"/>
                  </a:lnTo>
                  <a:cubicBezTo>
                    <a:pt x="6144" y="3183"/>
                    <a:pt x="6049" y="3183"/>
                    <a:pt x="5986" y="3183"/>
                  </a:cubicBezTo>
                  <a:cubicBezTo>
                    <a:pt x="5892" y="3183"/>
                    <a:pt x="5860" y="3183"/>
                    <a:pt x="5797" y="3151"/>
                  </a:cubicBezTo>
                  <a:lnTo>
                    <a:pt x="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74"/>
            <p:cNvSpPr/>
            <p:nvPr/>
          </p:nvSpPr>
          <p:spPr>
            <a:xfrm>
              <a:off x="-45673275" y="3334400"/>
              <a:ext cx="299325" cy="113425"/>
            </a:xfrm>
            <a:custGeom>
              <a:avLst/>
              <a:gdLst/>
              <a:ahLst/>
              <a:cxnLst/>
              <a:rect l="l" t="t" r="r" b="b"/>
              <a:pathLst>
                <a:path w="11973" h="4537" extrusionOk="0">
                  <a:moveTo>
                    <a:pt x="693" y="0"/>
                  </a:moveTo>
                  <a:lnTo>
                    <a:pt x="158" y="378"/>
                  </a:lnTo>
                  <a:cubicBezTo>
                    <a:pt x="32" y="441"/>
                    <a:pt x="0" y="536"/>
                    <a:pt x="0" y="693"/>
                  </a:cubicBezTo>
                  <a:cubicBezTo>
                    <a:pt x="0" y="851"/>
                    <a:pt x="63" y="914"/>
                    <a:pt x="158" y="1008"/>
                  </a:cubicBezTo>
                  <a:lnTo>
                    <a:pt x="5797" y="4505"/>
                  </a:lnTo>
                  <a:cubicBezTo>
                    <a:pt x="5829" y="4537"/>
                    <a:pt x="5892" y="4537"/>
                    <a:pt x="5986" y="4537"/>
                  </a:cubicBezTo>
                  <a:cubicBezTo>
                    <a:pt x="6049" y="4537"/>
                    <a:pt x="6112" y="4537"/>
                    <a:pt x="6175" y="4505"/>
                  </a:cubicBezTo>
                  <a:lnTo>
                    <a:pt x="11815" y="1008"/>
                  </a:lnTo>
                  <a:cubicBezTo>
                    <a:pt x="11941" y="914"/>
                    <a:pt x="11972" y="851"/>
                    <a:pt x="11972" y="693"/>
                  </a:cubicBezTo>
                  <a:cubicBezTo>
                    <a:pt x="11972" y="536"/>
                    <a:pt x="11878" y="441"/>
                    <a:pt x="11815" y="378"/>
                  </a:cubicBezTo>
                  <a:lnTo>
                    <a:pt x="11248" y="0"/>
                  </a:lnTo>
                  <a:lnTo>
                    <a:pt x="6175" y="3214"/>
                  </a:lnTo>
                  <a:cubicBezTo>
                    <a:pt x="6144" y="3245"/>
                    <a:pt x="6049" y="3245"/>
                    <a:pt x="5986" y="3245"/>
                  </a:cubicBezTo>
                  <a:cubicBezTo>
                    <a:pt x="5892" y="3245"/>
                    <a:pt x="5860" y="3245"/>
                    <a:pt x="5797" y="3214"/>
                  </a:cubicBez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74"/>
          <p:cNvGrpSpPr/>
          <p:nvPr/>
        </p:nvGrpSpPr>
        <p:grpSpPr>
          <a:xfrm>
            <a:off x="3090251" y="3209202"/>
            <a:ext cx="356205" cy="314240"/>
            <a:chOff x="-45674075" y="3586425"/>
            <a:chExt cx="300900" cy="265450"/>
          </a:xfrm>
        </p:grpSpPr>
        <p:sp>
          <p:nvSpPr>
            <p:cNvPr id="8082" name="Google Shape;8082;p74"/>
            <p:cNvSpPr/>
            <p:nvPr/>
          </p:nvSpPr>
          <p:spPr>
            <a:xfrm>
              <a:off x="-45674075" y="3586425"/>
              <a:ext cx="300125" cy="70925"/>
            </a:xfrm>
            <a:custGeom>
              <a:avLst/>
              <a:gdLst/>
              <a:ahLst/>
              <a:cxnLst/>
              <a:rect l="l" t="t" r="r" b="b"/>
              <a:pathLst>
                <a:path w="12005" h="2837" extrusionOk="0">
                  <a:moveTo>
                    <a:pt x="6018" y="1418"/>
                  </a:moveTo>
                  <a:cubicBezTo>
                    <a:pt x="6207" y="1418"/>
                    <a:pt x="6365" y="1576"/>
                    <a:pt x="6365" y="1765"/>
                  </a:cubicBezTo>
                  <a:cubicBezTo>
                    <a:pt x="6365" y="1986"/>
                    <a:pt x="6207" y="2143"/>
                    <a:pt x="6018" y="2143"/>
                  </a:cubicBezTo>
                  <a:lnTo>
                    <a:pt x="5294" y="2143"/>
                  </a:lnTo>
                  <a:cubicBezTo>
                    <a:pt x="5105" y="2143"/>
                    <a:pt x="4947" y="1986"/>
                    <a:pt x="4947" y="1765"/>
                  </a:cubicBezTo>
                  <a:cubicBezTo>
                    <a:pt x="4947" y="1576"/>
                    <a:pt x="5105" y="1418"/>
                    <a:pt x="5294" y="1418"/>
                  </a:cubicBezTo>
                  <a:close/>
                  <a:moveTo>
                    <a:pt x="8129" y="1418"/>
                  </a:moveTo>
                  <a:cubicBezTo>
                    <a:pt x="8318" y="1418"/>
                    <a:pt x="8476" y="1576"/>
                    <a:pt x="8476" y="1765"/>
                  </a:cubicBezTo>
                  <a:cubicBezTo>
                    <a:pt x="8476" y="1986"/>
                    <a:pt x="8318" y="2143"/>
                    <a:pt x="8129" y="2143"/>
                  </a:cubicBezTo>
                  <a:lnTo>
                    <a:pt x="7436" y="2143"/>
                  </a:lnTo>
                  <a:cubicBezTo>
                    <a:pt x="7215" y="2143"/>
                    <a:pt x="7089" y="1986"/>
                    <a:pt x="7089" y="1765"/>
                  </a:cubicBezTo>
                  <a:cubicBezTo>
                    <a:pt x="7089" y="1576"/>
                    <a:pt x="7215" y="1418"/>
                    <a:pt x="7436" y="1418"/>
                  </a:cubicBezTo>
                  <a:close/>
                  <a:moveTo>
                    <a:pt x="10240" y="1418"/>
                  </a:moveTo>
                  <a:cubicBezTo>
                    <a:pt x="10429" y="1418"/>
                    <a:pt x="10587" y="1576"/>
                    <a:pt x="10587" y="1765"/>
                  </a:cubicBezTo>
                  <a:cubicBezTo>
                    <a:pt x="10587" y="1986"/>
                    <a:pt x="10429" y="2143"/>
                    <a:pt x="10240" y="2143"/>
                  </a:cubicBezTo>
                  <a:lnTo>
                    <a:pt x="9515" y="2143"/>
                  </a:lnTo>
                  <a:cubicBezTo>
                    <a:pt x="9326" y="2143"/>
                    <a:pt x="9169" y="1986"/>
                    <a:pt x="9169" y="1765"/>
                  </a:cubicBezTo>
                  <a:cubicBezTo>
                    <a:pt x="9169" y="1576"/>
                    <a:pt x="9326" y="1418"/>
                    <a:pt x="9515" y="1418"/>
                  </a:cubicBezTo>
                  <a:close/>
                  <a:moveTo>
                    <a:pt x="1041" y="1"/>
                  </a:moveTo>
                  <a:cubicBezTo>
                    <a:pt x="442" y="1"/>
                    <a:pt x="1" y="473"/>
                    <a:pt x="1" y="1072"/>
                  </a:cubicBezTo>
                  <a:lnTo>
                    <a:pt x="1" y="2836"/>
                  </a:lnTo>
                  <a:lnTo>
                    <a:pt x="12004" y="2836"/>
                  </a:lnTo>
                  <a:lnTo>
                    <a:pt x="12004" y="1072"/>
                  </a:lnTo>
                  <a:cubicBezTo>
                    <a:pt x="12004" y="473"/>
                    <a:pt x="11532"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4"/>
            <p:cNvSpPr/>
            <p:nvPr/>
          </p:nvSpPr>
          <p:spPr>
            <a:xfrm>
              <a:off x="-45673275" y="3675425"/>
              <a:ext cx="300100" cy="176450"/>
            </a:xfrm>
            <a:custGeom>
              <a:avLst/>
              <a:gdLst/>
              <a:ahLst/>
              <a:cxnLst/>
              <a:rect l="l" t="t" r="r" b="b"/>
              <a:pathLst>
                <a:path w="12004" h="7058" extrusionOk="0">
                  <a:moveTo>
                    <a:pt x="3852" y="1387"/>
                  </a:moveTo>
                  <a:cubicBezTo>
                    <a:pt x="3946" y="1387"/>
                    <a:pt x="4049" y="1418"/>
                    <a:pt x="4128" y="1481"/>
                  </a:cubicBezTo>
                  <a:cubicBezTo>
                    <a:pt x="4254" y="1607"/>
                    <a:pt x="4254" y="1828"/>
                    <a:pt x="4128" y="2017"/>
                  </a:cubicBezTo>
                  <a:lnTo>
                    <a:pt x="2993" y="3151"/>
                  </a:lnTo>
                  <a:lnTo>
                    <a:pt x="4128" y="4317"/>
                  </a:lnTo>
                  <a:cubicBezTo>
                    <a:pt x="4254" y="4443"/>
                    <a:pt x="4254" y="4695"/>
                    <a:pt x="4128" y="4852"/>
                  </a:cubicBezTo>
                  <a:cubicBezTo>
                    <a:pt x="4064" y="4900"/>
                    <a:pt x="3978" y="4923"/>
                    <a:pt x="3887" y="4923"/>
                  </a:cubicBezTo>
                  <a:cubicBezTo>
                    <a:pt x="3797" y="4923"/>
                    <a:pt x="3702" y="4900"/>
                    <a:pt x="3623" y="4852"/>
                  </a:cubicBezTo>
                  <a:lnTo>
                    <a:pt x="2206" y="3435"/>
                  </a:lnTo>
                  <a:cubicBezTo>
                    <a:pt x="2080" y="3309"/>
                    <a:pt x="2080" y="3057"/>
                    <a:pt x="2206" y="2899"/>
                  </a:cubicBezTo>
                  <a:lnTo>
                    <a:pt x="3623" y="1481"/>
                  </a:lnTo>
                  <a:cubicBezTo>
                    <a:pt x="3671" y="1418"/>
                    <a:pt x="3757" y="1387"/>
                    <a:pt x="3852" y="1387"/>
                  </a:cubicBezTo>
                  <a:close/>
                  <a:moveTo>
                    <a:pt x="8070" y="1450"/>
                  </a:moveTo>
                  <a:cubicBezTo>
                    <a:pt x="8168" y="1450"/>
                    <a:pt x="8270" y="1481"/>
                    <a:pt x="8349" y="1544"/>
                  </a:cubicBezTo>
                  <a:lnTo>
                    <a:pt x="9767" y="2962"/>
                  </a:lnTo>
                  <a:cubicBezTo>
                    <a:pt x="9861" y="3025"/>
                    <a:pt x="9861" y="3246"/>
                    <a:pt x="9767" y="3435"/>
                  </a:cubicBezTo>
                  <a:lnTo>
                    <a:pt x="8349" y="4852"/>
                  </a:lnTo>
                  <a:cubicBezTo>
                    <a:pt x="8286" y="4900"/>
                    <a:pt x="8192" y="4923"/>
                    <a:pt x="8093" y="4923"/>
                  </a:cubicBezTo>
                  <a:cubicBezTo>
                    <a:pt x="7995" y="4923"/>
                    <a:pt x="7892" y="4900"/>
                    <a:pt x="7814" y="4852"/>
                  </a:cubicBezTo>
                  <a:cubicBezTo>
                    <a:pt x="7719" y="4726"/>
                    <a:pt x="7719" y="4474"/>
                    <a:pt x="7814" y="4317"/>
                  </a:cubicBezTo>
                  <a:lnTo>
                    <a:pt x="8979" y="3183"/>
                  </a:lnTo>
                  <a:lnTo>
                    <a:pt x="7814" y="2049"/>
                  </a:lnTo>
                  <a:cubicBezTo>
                    <a:pt x="7719" y="1923"/>
                    <a:pt x="7719" y="1702"/>
                    <a:pt x="7814" y="1544"/>
                  </a:cubicBezTo>
                  <a:cubicBezTo>
                    <a:pt x="7877" y="1481"/>
                    <a:pt x="7971" y="1450"/>
                    <a:pt x="8070" y="1450"/>
                  </a:cubicBezTo>
                  <a:close/>
                  <a:moveTo>
                    <a:pt x="6704" y="737"/>
                  </a:moveTo>
                  <a:cubicBezTo>
                    <a:pt x="6738" y="737"/>
                    <a:pt x="6773" y="744"/>
                    <a:pt x="6805" y="757"/>
                  </a:cubicBezTo>
                  <a:cubicBezTo>
                    <a:pt x="6994" y="788"/>
                    <a:pt x="7089" y="977"/>
                    <a:pt x="7057" y="1166"/>
                  </a:cubicBezTo>
                  <a:lnTo>
                    <a:pt x="5608" y="5388"/>
                  </a:lnTo>
                  <a:cubicBezTo>
                    <a:pt x="5553" y="5553"/>
                    <a:pt x="5402" y="5646"/>
                    <a:pt x="5260" y="5646"/>
                  </a:cubicBezTo>
                  <a:cubicBezTo>
                    <a:pt x="5239" y="5646"/>
                    <a:pt x="5219" y="5644"/>
                    <a:pt x="5199" y="5640"/>
                  </a:cubicBezTo>
                  <a:cubicBezTo>
                    <a:pt x="4978" y="5546"/>
                    <a:pt x="4915" y="5357"/>
                    <a:pt x="4947" y="5199"/>
                  </a:cubicBezTo>
                  <a:lnTo>
                    <a:pt x="6364" y="977"/>
                  </a:lnTo>
                  <a:cubicBezTo>
                    <a:pt x="6439" y="828"/>
                    <a:pt x="6573" y="737"/>
                    <a:pt x="6704" y="737"/>
                  </a:cubicBezTo>
                  <a:close/>
                  <a:moveTo>
                    <a:pt x="0" y="1"/>
                  </a:moveTo>
                  <a:lnTo>
                    <a:pt x="0" y="5987"/>
                  </a:lnTo>
                  <a:cubicBezTo>
                    <a:pt x="0" y="6585"/>
                    <a:pt x="473" y="7058"/>
                    <a:pt x="1040" y="7058"/>
                  </a:cubicBezTo>
                  <a:lnTo>
                    <a:pt x="10933" y="7058"/>
                  </a:lnTo>
                  <a:cubicBezTo>
                    <a:pt x="11531" y="7058"/>
                    <a:pt x="12004" y="6585"/>
                    <a:pt x="12004" y="5987"/>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74"/>
          <p:cNvGrpSpPr/>
          <p:nvPr/>
        </p:nvGrpSpPr>
        <p:grpSpPr>
          <a:xfrm>
            <a:off x="3091183" y="3625041"/>
            <a:ext cx="354341" cy="356205"/>
            <a:chOff x="-45673275" y="3937700"/>
            <a:chExt cx="299325" cy="300900"/>
          </a:xfrm>
        </p:grpSpPr>
        <p:sp>
          <p:nvSpPr>
            <p:cNvPr id="8085" name="Google Shape;8085;p74"/>
            <p:cNvSpPr/>
            <p:nvPr/>
          </p:nvSpPr>
          <p:spPr>
            <a:xfrm>
              <a:off x="-45673275" y="3937700"/>
              <a:ext cx="285925" cy="135500"/>
            </a:xfrm>
            <a:custGeom>
              <a:avLst/>
              <a:gdLst/>
              <a:ahLst/>
              <a:cxnLst/>
              <a:rect l="l" t="t" r="r" b="b"/>
              <a:pathLst>
                <a:path w="11437" h="5420" extrusionOk="0">
                  <a:moveTo>
                    <a:pt x="11437" y="1"/>
                  </a:moveTo>
                  <a:lnTo>
                    <a:pt x="221" y="3435"/>
                  </a:lnTo>
                  <a:cubicBezTo>
                    <a:pt x="63" y="3466"/>
                    <a:pt x="0" y="3624"/>
                    <a:pt x="0" y="3781"/>
                  </a:cubicBezTo>
                  <a:cubicBezTo>
                    <a:pt x="0" y="3939"/>
                    <a:pt x="95" y="4065"/>
                    <a:pt x="221" y="4159"/>
                  </a:cubicBezTo>
                  <a:lnTo>
                    <a:pt x="4348" y="5420"/>
                  </a:lnTo>
                  <a:lnTo>
                    <a:pt x="11405" y="64"/>
                  </a:lnTo>
                  <a:lnTo>
                    <a:pt x="114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74"/>
            <p:cNvSpPr/>
            <p:nvPr/>
          </p:nvSpPr>
          <p:spPr>
            <a:xfrm>
              <a:off x="-45577975" y="3990475"/>
              <a:ext cx="151250" cy="150925"/>
            </a:xfrm>
            <a:custGeom>
              <a:avLst/>
              <a:gdLst/>
              <a:ahLst/>
              <a:cxnLst/>
              <a:rect l="l" t="t" r="r" b="b"/>
              <a:pathLst>
                <a:path w="6050" h="6037" extrusionOk="0">
                  <a:moveTo>
                    <a:pt x="6049" y="1"/>
                  </a:moveTo>
                  <a:lnTo>
                    <a:pt x="536" y="4159"/>
                  </a:lnTo>
                  <a:lnTo>
                    <a:pt x="32" y="5577"/>
                  </a:lnTo>
                  <a:cubicBezTo>
                    <a:pt x="0" y="5703"/>
                    <a:pt x="32" y="5861"/>
                    <a:pt x="126" y="5955"/>
                  </a:cubicBezTo>
                  <a:cubicBezTo>
                    <a:pt x="186" y="6015"/>
                    <a:pt x="259" y="6037"/>
                    <a:pt x="336" y="6037"/>
                  </a:cubicBezTo>
                  <a:cubicBezTo>
                    <a:pt x="381" y="6037"/>
                    <a:pt x="427" y="6030"/>
                    <a:pt x="473" y="6018"/>
                  </a:cubicBezTo>
                  <a:lnTo>
                    <a:pt x="1891" y="5514"/>
                  </a:lnTo>
                  <a:lnTo>
                    <a:pt x="6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4"/>
            <p:cNvSpPr/>
            <p:nvPr/>
          </p:nvSpPr>
          <p:spPr>
            <a:xfrm>
              <a:off x="-45509450" y="3951100"/>
              <a:ext cx="135500" cy="286725"/>
            </a:xfrm>
            <a:custGeom>
              <a:avLst/>
              <a:gdLst/>
              <a:ahLst/>
              <a:cxnLst/>
              <a:rect l="l" t="t" r="r" b="b"/>
              <a:pathLst>
                <a:path w="5420" h="11469" extrusionOk="0">
                  <a:moveTo>
                    <a:pt x="5419" y="0"/>
                  </a:moveTo>
                  <a:lnTo>
                    <a:pt x="5356" y="32"/>
                  </a:lnTo>
                  <a:lnTo>
                    <a:pt x="0" y="7089"/>
                  </a:lnTo>
                  <a:lnTo>
                    <a:pt x="1261" y="11216"/>
                  </a:lnTo>
                  <a:cubicBezTo>
                    <a:pt x="1324" y="11374"/>
                    <a:pt x="1481" y="11468"/>
                    <a:pt x="1639" y="11468"/>
                  </a:cubicBezTo>
                  <a:cubicBezTo>
                    <a:pt x="1796" y="11468"/>
                    <a:pt x="1891" y="11342"/>
                    <a:pt x="1985" y="11216"/>
                  </a:cubicBez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4"/>
            <p:cNvSpPr/>
            <p:nvPr/>
          </p:nvSpPr>
          <p:spPr>
            <a:xfrm>
              <a:off x="-45670925" y="4114125"/>
              <a:ext cx="72500" cy="70325"/>
            </a:xfrm>
            <a:custGeom>
              <a:avLst/>
              <a:gdLst/>
              <a:ahLst/>
              <a:cxnLst/>
              <a:rect l="l" t="t" r="r" b="b"/>
              <a:pathLst>
                <a:path w="2900" h="2813" extrusionOk="0">
                  <a:moveTo>
                    <a:pt x="2521" y="1"/>
                  </a:moveTo>
                  <a:cubicBezTo>
                    <a:pt x="2435" y="1"/>
                    <a:pt x="2348" y="32"/>
                    <a:pt x="2269" y="95"/>
                  </a:cubicBezTo>
                  <a:lnTo>
                    <a:pt x="127" y="2206"/>
                  </a:lnTo>
                  <a:cubicBezTo>
                    <a:pt x="1" y="2332"/>
                    <a:pt x="1" y="2553"/>
                    <a:pt x="127" y="2742"/>
                  </a:cubicBezTo>
                  <a:cubicBezTo>
                    <a:pt x="190" y="2789"/>
                    <a:pt x="277" y="2813"/>
                    <a:pt x="371" y="2813"/>
                  </a:cubicBezTo>
                  <a:cubicBezTo>
                    <a:pt x="466" y="2813"/>
                    <a:pt x="568" y="2789"/>
                    <a:pt x="662" y="2742"/>
                  </a:cubicBezTo>
                  <a:lnTo>
                    <a:pt x="2773" y="600"/>
                  </a:lnTo>
                  <a:cubicBezTo>
                    <a:pt x="2899" y="473"/>
                    <a:pt x="2899" y="253"/>
                    <a:pt x="2773" y="95"/>
                  </a:cubicBezTo>
                  <a:cubicBezTo>
                    <a:pt x="2695" y="32"/>
                    <a:pt x="2608"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4"/>
            <p:cNvSpPr/>
            <p:nvPr/>
          </p:nvSpPr>
          <p:spPr>
            <a:xfrm>
              <a:off x="-45620500" y="4163550"/>
              <a:ext cx="70900" cy="71125"/>
            </a:xfrm>
            <a:custGeom>
              <a:avLst/>
              <a:gdLst/>
              <a:ahLst/>
              <a:cxnLst/>
              <a:rect l="l" t="t" r="r" b="b"/>
              <a:pathLst>
                <a:path w="2836" h="2845" extrusionOk="0">
                  <a:moveTo>
                    <a:pt x="2489" y="1"/>
                  </a:moveTo>
                  <a:cubicBezTo>
                    <a:pt x="2395" y="1"/>
                    <a:pt x="2300" y="24"/>
                    <a:pt x="2237" y="72"/>
                  </a:cubicBezTo>
                  <a:lnTo>
                    <a:pt x="126" y="2214"/>
                  </a:lnTo>
                  <a:cubicBezTo>
                    <a:pt x="0" y="2340"/>
                    <a:pt x="0" y="2561"/>
                    <a:pt x="126" y="2718"/>
                  </a:cubicBezTo>
                  <a:cubicBezTo>
                    <a:pt x="221" y="2781"/>
                    <a:pt x="284" y="2844"/>
                    <a:pt x="378" y="2844"/>
                  </a:cubicBezTo>
                  <a:cubicBezTo>
                    <a:pt x="441" y="2844"/>
                    <a:pt x="567" y="2781"/>
                    <a:pt x="599" y="2718"/>
                  </a:cubicBezTo>
                  <a:lnTo>
                    <a:pt x="2741" y="607"/>
                  </a:lnTo>
                  <a:cubicBezTo>
                    <a:pt x="2836" y="481"/>
                    <a:pt x="2836" y="229"/>
                    <a:pt x="2741" y="72"/>
                  </a:cubicBezTo>
                  <a:cubicBezTo>
                    <a:pt x="2678" y="24"/>
                    <a:pt x="2584"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4"/>
            <p:cNvSpPr/>
            <p:nvPr/>
          </p:nvSpPr>
          <p:spPr>
            <a:xfrm>
              <a:off x="-45673275" y="4159625"/>
              <a:ext cx="79575" cy="78975"/>
            </a:xfrm>
            <a:custGeom>
              <a:avLst/>
              <a:gdLst/>
              <a:ahLst/>
              <a:cxnLst/>
              <a:rect l="l" t="t" r="r" b="b"/>
              <a:pathLst>
                <a:path w="3183" h="3159" extrusionOk="0">
                  <a:moveTo>
                    <a:pt x="2816" y="0"/>
                  </a:moveTo>
                  <a:cubicBezTo>
                    <a:pt x="2726" y="0"/>
                    <a:pt x="2631" y="24"/>
                    <a:pt x="2552" y="71"/>
                  </a:cubicBezTo>
                  <a:lnTo>
                    <a:pt x="95" y="2529"/>
                  </a:lnTo>
                  <a:cubicBezTo>
                    <a:pt x="0" y="2655"/>
                    <a:pt x="0" y="2875"/>
                    <a:pt x="95" y="3033"/>
                  </a:cubicBezTo>
                  <a:cubicBezTo>
                    <a:pt x="189" y="3127"/>
                    <a:pt x="252" y="3159"/>
                    <a:pt x="347" y="3159"/>
                  </a:cubicBezTo>
                  <a:cubicBezTo>
                    <a:pt x="441" y="3159"/>
                    <a:pt x="536" y="3127"/>
                    <a:pt x="599" y="3033"/>
                  </a:cubicBezTo>
                  <a:lnTo>
                    <a:pt x="3025" y="607"/>
                  </a:lnTo>
                  <a:cubicBezTo>
                    <a:pt x="3182" y="449"/>
                    <a:pt x="3182" y="197"/>
                    <a:pt x="3056" y="71"/>
                  </a:cubicBezTo>
                  <a:cubicBezTo>
                    <a:pt x="2993" y="24"/>
                    <a:pt x="2907" y="0"/>
                    <a:pt x="28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1" name="Google Shape;8091;p74"/>
          <p:cNvGrpSpPr/>
          <p:nvPr/>
        </p:nvGrpSpPr>
        <p:grpSpPr>
          <a:xfrm>
            <a:off x="2205349" y="4117825"/>
            <a:ext cx="356205" cy="356205"/>
            <a:chOff x="-44512325" y="3176075"/>
            <a:chExt cx="300900" cy="300900"/>
          </a:xfrm>
        </p:grpSpPr>
        <p:sp>
          <p:nvSpPr>
            <p:cNvPr id="8092" name="Google Shape;8092;p74"/>
            <p:cNvSpPr/>
            <p:nvPr/>
          </p:nvSpPr>
          <p:spPr>
            <a:xfrm>
              <a:off x="-44512325" y="3176075"/>
              <a:ext cx="300900" cy="300900"/>
            </a:xfrm>
            <a:custGeom>
              <a:avLst/>
              <a:gdLst/>
              <a:ahLst/>
              <a:cxnLst/>
              <a:rect l="l" t="t" r="r" b="b"/>
              <a:pathLst>
                <a:path w="12036" h="12036" extrusionOk="0">
                  <a:moveTo>
                    <a:pt x="3246" y="2868"/>
                  </a:moveTo>
                  <a:cubicBezTo>
                    <a:pt x="3435" y="2868"/>
                    <a:pt x="3592" y="3025"/>
                    <a:pt x="3592" y="3246"/>
                  </a:cubicBezTo>
                  <a:cubicBezTo>
                    <a:pt x="3592" y="3435"/>
                    <a:pt x="3435" y="3592"/>
                    <a:pt x="3246" y="3592"/>
                  </a:cubicBezTo>
                  <a:cubicBezTo>
                    <a:pt x="3057" y="3592"/>
                    <a:pt x="2899" y="3435"/>
                    <a:pt x="2899" y="3246"/>
                  </a:cubicBezTo>
                  <a:cubicBezTo>
                    <a:pt x="2899" y="3025"/>
                    <a:pt x="3057" y="2868"/>
                    <a:pt x="3246" y="2868"/>
                  </a:cubicBezTo>
                  <a:close/>
                  <a:moveTo>
                    <a:pt x="8854" y="2868"/>
                  </a:moveTo>
                  <a:cubicBezTo>
                    <a:pt x="9043" y="2868"/>
                    <a:pt x="9200" y="3025"/>
                    <a:pt x="9200" y="3246"/>
                  </a:cubicBezTo>
                  <a:cubicBezTo>
                    <a:pt x="9200" y="3435"/>
                    <a:pt x="9043" y="3592"/>
                    <a:pt x="8854" y="3592"/>
                  </a:cubicBezTo>
                  <a:cubicBezTo>
                    <a:pt x="8665" y="3592"/>
                    <a:pt x="8507" y="3435"/>
                    <a:pt x="8507" y="3246"/>
                  </a:cubicBezTo>
                  <a:cubicBezTo>
                    <a:pt x="8507" y="3025"/>
                    <a:pt x="8665" y="2868"/>
                    <a:pt x="8854" y="2868"/>
                  </a:cubicBezTo>
                  <a:close/>
                  <a:moveTo>
                    <a:pt x="6774" y="3277"/>
                  </a:moveTo>
                  <a:cubicBezTo>
                    <a:pt x="6963" y="3277"/>
                    <a:pt x="7121" y="3435"/>
                    <a:pt x="7121" y="3624"/>
                  </a:cubicBezTo>
                  <a:lnTo>
                    <a:pt x="7121" y="3876"/>
                  </a:lnTo>
                  <a:cubicBezTo>
                    <a:pt x="7247" y="3907"/>
                    <a:pt x="7341" y="3970"/>
                    <a:pt x="7467" y="4065"/>
                  </a:cubicBezTo>
                  <a:lnTo>
                    <a:pt x="7656" y="3939"/>
                  </a:lnTo>
                  <a:cubicBezTo>
                    <a:pt x="7706" y="3919"/>
                    <a:pt x="7766" y="3908"/>
                    <a:pt x="7825" y="3908"/>
                  </a:cubicBezTo>
                  <a:cubicBezTo>
                    <a:pt x="7955" y="3908"/>
                    <a:pt x="8086" y="3957"/>
                    <a:pt x="8129" y="4065"/>
                  </a:cubicBezTo>
                  <a:lnTo>
                    <a:pt x="8854" y="5294"/>
                  </a:lnTo>
                  <a:cubicBezTo>
                    <a:pt x="8917" y="5451"/>
                    <a:pt x="8885" y="5672"/>
                    <a:pt x="8728" y="5735"/>
                  </a:cubicBezTo>
                  <a:lnTo>
                    <a:pt x="8539" y="5861"/>
                  </a:lnTo>
                  <a:lnTo>
                    <a:pt x="8539" y="6270"/>
                  </a:lnTo>
                  <a:lnTo>
                    <a:pt x="8728" y="6396"/>
                  </a:lnTo>
                  <a:cubicBezTo>
                    <a:pt x="8885" y="6459"/>
                    <a:pt x="8980" y="6711"/>
                    <a:pt x="8854" y="6869"/>
                  </a:cubicBezTo>
                  <a:lnTo>
                    <a:pt x="8129" y="8066"/>
                  </a:lnTo>
                  <a:cubicBezTo>
                    <a:pt x="8043" y="8174"/>
                    <a:pt x="7927" y="8222"/>
                    <a:pt x="7812" y="8222"/>
                  </a:cubicBezTo>
                  <a:cubicBezTo>
                    <a:pt x="7759" y="8222"/>
                    <a:pt x="7706" y="8212"/>
                    <a:pt x="7656" y="8192"/>
                  </a:cubicBezTo>
                  <a:lnTo>
                    <a:pt x="7467" y="8066"/>
                  </a:lnTo>
                  <a:cubicBezTo>
                    <a:pt x="7341" y="8160"/>
                    <a:pt x="7215" y="8223"/>
                    <a:pt x="7121" y="8255"/>
                  </a:cubicBezTo>
                  <a:lnTo>
                    <a:pt x="7121" y="8507"/>
                  </a:lnTo>
                  <a:cubicBezTo>
                    <a:pt x="7121" y="8696"/>
                    <a:pt x="6963" y="8854"/>
                    <a:pt x="6774" y="8854"/>
                  </a:cubicBezTo>
                  <a:lnTo>
                    <a:pt x="5357" y="8854"/>
                  </a:lnTo>
                  <a:cubicBezTo>
                    <a:pt x="5136" y="8854"/>
                    <a:pt x="4978" y="8696"/>
                    <a:pt x="4978" y="8507"/>
                  </a:cubicBezTo>
                  <a:lnTo>
                    <a:pt x="4978" y="8255"/>
                  </a:lnTo>
                  <a:cubicBezTo>
                    <a:pt x="4884" y="8223"/>
                    <a:pt x="4758" y="8160"/>
                    <a:pt x="4632" y="8066"/>
                  </a:cubicBezTo>
                  <a:lnTo>
                    <a:pt x="4443" y="8192"/>
                  </a:lnTo>
                  <a:cubicBezTo>
                    <a:pt x="4393" y="8212"/>
                    <a:pt x="4334" y="8222"/>
                    <a:pt x="4274" y="8222"/>
                  </a:cubicBezTo>
                  <a:cubicBezTo>
                    <a:pt x="4145" y="8222"/>
                    <a:pt x="4013" y="8174"/>
                    <a:pt x="3970" y="8066"/>
                  </a:cubicBezTo>
                  <a:lnTo>
                    <a:pt x="3246" y="6869"/>
                  </a:lnTo>
                  <a:cubicBezTo>
                    <a:pt x="3183" y="6680"/>
                    <a:pt x="3214" y="6459"/>
                    <a:pt x="3372" y="6396"/>
                  </a:cubicBezTo>
                  <a:lnTo>
                    <a:pt x="3561" y="6270"/>
                  </a:lnTo>
                  <a:lnTo>
                    <a:pt x="3561" y="5861"/>
                  </a:lnTo>
                  <a:lnTo>
                    <a:pt x="3372" y="5735"/>
                  </a:lnTo>
                  <a:cubicBezTo>
                    <a:pt x="3214" y="5672"/>
                    <a:pt x="3151" y="5420"/>
                    <a:pt x="3246" y="5294"/>
                  </a:cubicBezTo>
                  <a:lnTo>
                    <a:pt x="3970" y="4065"/>
                  </a:lnTo>
                  <a:cubicBezTo>
                    <a:pt x="4013" y="3958"/>
                    <a:pt x="4142" y="3880"/>
                    <a:pt x="4270" y="3880"/>
                  </a:cubicBezTo>
                  <a:cubicBezTo>
                    <a:pt x="4331" y="3880"/>
                    <a:pt x="4392" y="3898"/>
                    <a:pt x="4443" y="3939"/>
                  </a:cubicBezTo>
                  <a:lnTo>
                    <a:pt x="4632" y="4065"/>
                  </a:lnTo>
                  <a:cubicBezTo>
                    <a:pt x="4758" y="3970"/>
                    <a:pt x="4884" y="3907"/>
                    <a:pt x="4978" y="3876"/>
                  </a:cubicBezTo>
                  <a:lnTo>
                    <a:pt x="4978" y="3624"/>
                  </a:lnTo>
                  <a:cubicBezTo>
                    <a:pt x="4978" y="3435"/>
                    <a:pt x="5136" y="3277"/>
                    <a:pt x="5357" y="3277"/>
                  </a:cubicBezTo>
                  <a:close/>
                  <a:moveTo>
                    <a:pt x="3246" y="8475"/>
                  </a:moveTo>
                  <a:cubicBezTo>
                    <a:pt x="3435" y="8475"/>
                    <a:pt x="3592" y="8633"/>
                    <a:pt x="3592" y="8822"/>
                  </a:cubicBezTo>
                  <a:cubicBezTo>
                    <a:pt x="3592" y="9043"/>
                    <a:pt x="3435" y="9169"/>
                    <a:pt x="3246" y="9169"/>
                  </a:cubicBezTo>
                  <a:cubicBezTo>
                    <a:pt x="3057" y="9169"/>
                    <a:pt x="2899" y="9011"/>
                    <a:pt x="2899" y="8822"/>
                  </a:cubicBezTo>
                  <a:cubicBezTo>
                    <a:pt x="2899" y="8633"/>
                    <a:pt x="3057" y="8475"/>
                    <a:pt x="3246" y="8475"/>
                  </a:cubicBezTo>
                  <a:close/>
                  <a:moveTo>
                    <a:pt x="8854" y="8475"/>
                  </a:moveTo>
                  <a:cubicBezTo>
                    <a:pt x="9043" y="8475"/>
                    <a:pt x="9200" y="8633"/>
                    <a:pt x="9200" y="8822"/>
                  </a:cubicBezTo>
                  <a:cubicBezTo>
                    <a:pt x="9200" y="9043"/>
                    <a:pt x="9043" y="9169"/>
                    <a:pt x="8854" y="9169"/>
                  </a:cubicBezTo>
                  <a:cubicBezTo>
                    <a:pt x="8665" y="9169"/>
                    <a:pt x="8507" y="9011"/>
                    <a:pt x="8507" y="8822"/>
                  </a:cubicBezTo>
                  <a:cubicBezTo>
                    <a:pt x="8507" y="8633"/>
                    <a:pt x="8665" y="8475"/>
                    <a:pt x="8854" y="8475"/>
                  </a:cubicBezTo>
                  <a:close/>
                  <a:moveTo>
                    <a:pt x="3183" y="1"/>
                  </a:moveTo>
                  <a:cubicBezTo>
                    <a:pt x="2994" y="1"/>
                    <a:pt x="2836" y="158"/>
                    <a:pt x="2836" y="347"/>
                  </a:cubicBezTo>
                  <a:lnTo>
                    <a:pt x="2836" y="1418"/>
                  </a:lnTo>
                  <a:lnTo>
                    <a:pt x="2458" y="1418"/>
                  </a:lnTo>
                  <a:cubicBezTo>
                    <a:pt x="1891" y="1418"/>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1"/>
                    <a:pt x="1" y="4600"/>
                  </a:cubicBezTo>
                  <a:cubicBezTo>
                    <a:pt x="1" y="4821"/>
                    <a:pt x="158" y="4978"/>
                    <a:pt x="347" y="4978"/>
                  </a:cubicBezTo>
                  <a:lnTo>
                    <a:pt x="1418" y="4978"/>
                  </a:lnTo>
                  <a:lnTo>
                    <a:pt x="1418" y="5672"/>
                  </a:lnTo>
                  <a:lnTo>
                    <a:pt x="347" y="5672"/>
                  </a:lnTo>
                  <a:cubicBezTo>
                    <a:pt x="158" y="5672"/>
                    <a:pt x="1" y="5829"/>
                    <a:pt x="1" y="6018"/>
                  </a:cubicBezTo>
                  <a:cubicBezTo>
                    <a:pt x="1" y="6239"/>
                    <a:pt x="158" y="6396"/>
                    <a:pt x="347" y="6396"/>
                  </a:cubicBezTo>
                  <a:lnTo>
                    <a:pt x="1418" y="6396"/>
                  </a:lnTo>
                  <a:lnTo>
                    <a:pt x="1418" y="7089"/>
                  </a:lnTo>
                  <a:lnTo>
                    <a:pt x="347" y="7089"/>
                  </a:lnTo>
                  <a:cubicBezTo>
                    <a:pt x="158" y="7089"/>
                    <a:pt x="1" y="7247"/>
                    <a:pt x="1" y="7436"/>
                  </a:cubicBezTo>
                  <a:cubicBezTo>
                    <a:pt x="1" y="7656"/>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18"/>
                    <a:pt x="2458" y="10618"/>
                  </a:cubicBezTo>
                  <a:lnTo>
                    <a:pt x="2836" y="10618"/>
                  </a:lnTo>
                  <a:lnTo>
                    <a:pt x="2836" y="11689"/>
                  </a:lnTo>
                  <a:cubicBezTo>
                    <a:pt x="2836" y="11878"/>
                    <a:pt x="2994" y="12036"/>
                    <a:pt x="3183" y="12036"/>
                  </a:cubicBezTo>
                  <a:cubicBezTo>
                    <a:pt x="3372" y="12036"/>
                    <a:pt x="3529" y="11878"/>
                    <a:pt x="3529" y="11689"/>
                  </a:cubicBezTo>
                  <a:lnTo>
                    <a:pt x="3529" y="10618"/>
                  </a:lnTo>
                  <a:lnTo>
                    <a:pt x="4254" y="10618"/>
                  </a:lnTo>
                  <a:lnTo>
                    <a:pt x="4254" y="11689"/>
                  </a:lnTo>
                  <a:cubicBezTo>
                    <a:pt x="4254" y="11878"/>
                    <a:pt x="4411" y="12036"/>
                    <a:pt x="4600" y="12036"/>
                  </a:cubicBezTo>
                  <a:cubicBezTo>
                    <a:pt x="4789" y="12036"/>
                    <a:pt x="4947" y="11878"/>
                    <a:pt x="4947" y="11689"/>
                  </a:cubicBezTo>
                  <a:lnTo>
                    <a:pt x="4947" y="10618"/>
                  </a:lnTo>
                  <a:lnTo>
                    <a:pt x="5672" y="10618"/>
                  </a:lnTo>
                  <a:lnTo>
                    <a:pt x="5672" y="11689"/>
                  </a:lnTo>
                  <a:cubicBezTo>
                    <a:pt x="5672" y="11878"/>
                    <a:pt x="5829" y="12036"/>
                    <a:pt x="6018" y="12036"/>
                  </a:cubicBezTo>
                  <a:cubicBezTo>
                    <a:pt x="6207" y="12036"/>
                    <a:pt x="6365" y="11878"/>
                    <a:pt x="6365" y="11689"/>
                  </a:cubicBezTo>
                  <a:lnTo>
                    <a:pt x="6365" y="10618"/>
                  </a:lnTo>
                  <a:lnTo>
                    <a:pt x="7089" y="10618"/>
                  </a:lnTo>
                  <a:lnTo>
                    <a:pt x="7089" y="11689"/>
                  </a:lnTo>
                  <a:cubicBezTo>
                    <a:pt x="7089" y="11878"/>
                    <a:pt x="7247" y="12036"/>
                    <a:pt x="7436" y="12036"/>
                  </a:cubicBezTo>
                  <a:cubicBezTo>
                    <a:pt x="7625" y="12036"/>
                    <a:pt x="7782" y="11878"/>
                    <a:pt x="7782" y="11689"/>
                  </a:cubicBezTo>
                  <a:lnTo>
                    <a:pt x="7782" y="10618"/>
                  </a:lnTo>
                  <a:lnTo>
                    <a:pt x="8507" y="10618"/>
                  </a:lnTo>
                  <a:lnTo>
                    <a:pt x="8507" y="11689"/>
                  </a:lnTo>
                  <a:cubicBezTo>
                    <a:pt x="8507" y="11878"/>
                    <a:pt x="8665" y="12036"/>
                    <a:pt x="8854" y="12036"/>
                  </a:cubicBezTo>
                  <a:cubicBezTo>
                    <a:pt x="9043" y="12036"/>
                    <a:pt x="9200" y="11878"/>
                    <a:pt x="9200" y="11689"/>
                  </a:cubicBezTo>
                  <a:lnTo>
                    <a:pt x="9200" y="10618"/>
                  </a:lnTo>
                  <a:lnTo>
                    <a:pt x="9547" y="10618"/>
                  </a:lnTo>
                  <a:cubicBezTo>
                    <a:pt x="10145" y="10618"/>
                    <a:pt x="10618" y="10177"/>
                    <a:pt x="10618" y="9578"/>
                  </a:cubicBezTo>
                  <a:lnTo>
                    <a:pt x="10618" y="9232"/>
                  </a:lnTo>
                  <a:lnTo>
                    <a:pt x="11689" y="9232"/>
                  </a:lnTo>
                  <a:cubicBezTo>
                    <a:pt x="11878" y="9232"/>
                    <a:pt x="12036" y="9074"/>
                    <a:pt x="12036" y="8854"/>
                  </a:cubicBezTo>
                  <a:cubicBezTo>
                    <a:pt x="12036" y="8665"/>
                    <a:pt x="11878" y="8507"/>
                    <a:pt x="11689" y="8507"/>
                  </a:cubicBezTo>
                  <a:lnTo>
                    <a:pt x="10618" y="8507"/>
                  </a:lnTo>
                  <a:lnTo>
                    <a:pt x="10618" y="7814"/>
                  </a:lnTo>
                  <a:lnTo>
                    <a:pt x="11689" y="7814"/>
                  </a:lnTo>
                  <a:cubicBezTo>
                    <a:pt x="11878" y="7814"/>
                    <a:pt x="12036" y="7656"/>
                    <a:pt x="12036" y="7436"/>
                  </a:cubicBezTo>
                  <a:cubicBezTo>
                    <a:pt x="12036" y="7247"/>
                    <a:pt x="11878" y="7089"/>
                    <a:pt x="11689" y="7089"/>
                  </a:cubicBezTo>
                  <a:lnTo>
                    <a:pt x="10618" y="7089"/>
                  </a:lnTo>
                  <a:lnTo>
                    <a:pt x="10618" y="6396"/>
                  </a:lnTo>
                  <a:lnTo>
                    <a:pt x="11689" y="6396"/>
                  </a:lnTo>
                  <a:cubicBezTo>
                    <a:pt x="11878" y="6396"/>
                    <a:pt x="12036" y="6239"/>
                    <a:pt x="12036" y="6018"/>
                  </a:cubicBezTo>
                  <a:cubicBezTo>
                    <a:pt x="12036" y="5829"/>
                    <a:pt x="11878" y="5672"/>
                    <a:pt x="11689" y="5672"/>
                  </a:cubicBezTo>
                  <a:lnTo>
                    <a:pt x="10618" y="5672"/>
                  </a:lnTo>
                  <a:lnTo>
                    <a:pt x="10618" y="4978"/>
                  </a:lnTo>
                  <a:lnTo>
                    <a:pt x="11689" y="4978"/>
                  </a:lnTo>
                  <a:cubicBezTo>
                    <a:pt x="11878" y="4978"/>
                    <a:pt x="12036" y="4821"/>
                    <a:pt x="12036" y="4600"/>
                  </a:cubicBezTo>
                  <a:cubicBezTo>
                    <a:pt x="12036" y="4411"/>
                    <a:pt x="11878" y="4254"/>
                    <a:pt x="11689" y="4254"/>
                  </a:cubicBezTo>
                  <a:lnTo>
                    <a:pt x="10618" y="4254"/>
                  </a:lnTo>
                  <a:lnTo>
                    <a:pt x="10618" y="3529"/>
                  </a:lnTo>
                  <a:lnTo>
                    <a:pt x="11689" y="3529"/>
                  </a:lnTo>
                  <a:cubicBezTo>
                    <a:pt x="11878" y="3529"/>
                    <a:pt x="12036" y="3372"/>
                    <a:pt x="12036" y="3183"/>
                  </a:cubicBezTo>
                  <a:cubicBezTo>
                    <a:pt x="12036" y="2994"/>
                    <a:pt x="11878" y="2836"/>
                    <a:pt x="11689" y="2836"/>
                  </a:cubicBezTo>
                  <a:lnTo>
                    <a:pt x="10618" y="2836"/>
                  </a:lnTo>
                  <a:lnTo>
                    <a:pt x="10618" y="2490"/>
                  </a:lnTo>
                  <a:cubicBezTo>
                    <a:pt x="10618" y="1891"/>
                    <a:pt x="10145" y="1418"/>
                    <a:pt x="9547" y="1418"/>
                  </a:cubicBezTo>
                  <a:lnTo>
                    <a:pt x="9200" y="1418"/>
                  </a:lnTo>
                  <a:lnTo>
                    <a:pt x="9200" y="347"/>
                  </a:lnTo>
                  <a:cubicBezTo>
                    <a:pt x="9200" y="158"/>
                    <a:pt x="9043" y="1"/>
                    <a:pt x="8854" y="1"/>
                  </a:cubicBezTo>
                  <a:cubicBezTo>
                    <a:pt x="8665" y="1"/>
                    <a:pt x="8507" y="158"/>
                    <a:pt x="8507" y="347"/>
                  </a:cubicBezTo>
                  <a:lnTo>
                    <a:pt x="8507" y="1418"/>
                  </a:lnTo>
                  <a:lnTo>
                    <a:pt x="7782" y="1418"/>
                  </a:lnTo>
                  <a:lnTo>
                    <a:pt x="7782" y="347"/>
                  </a:lnTo>
                  <a:cubicBezTo>
                    <a:pt x="7782" y="158"/>
                    <a:pt x="7625" y="1"/>
                    <a:pt x="7436" y="1"/>
                  </a:cubicBezTo>
                  <a:cubicBezTo>
                    <a:pt x="7247" y="1"/>
                    <a:pt x="7089" y="158"/>
                    <a:pt x="7089" y="347"/>
                  </a:cubicBezTo>
                  <a:lnTo>
                    <a:pt x="7089" y="1418"/>
                  </a:lnTo>
                  <a:lnTo>
                    <a:pt x="6365" y="1418"/>
                  </a:lnTo>
                  <a:lnTo>
                    <a:pt x="6365" y="347"/>
                  </a:lnTo>
                  <a:cubicBezTo>
                    <a:pt x="6365" y="158"/>
                    <a:pt x="6207" y="1"/>
                    <a:pt x="6018" y="1"/>
                  </a:cubicBezTo>
                  <a:cubicBezTo>
                    <a:pt x="5829" y="1"/>
                    <a:pt x="5672" y="158"/>
                    <a:pt x="5672" y="347"/>
                  </a:cubicBezTo>
                  <a:lnTo>
                    <a:pt x="5672" y="1418"/>
                  </a:lnTo>
                  <a:lnTo>
                    <a:pt x="4947" y="1418"/>
                  </a:lnTo>
                  <a:lnTo>
                    <a:pt x="4947" y="347"/>
                  </a:lnTo>
                  <a:cubicBezTo>
                    <a:pt x="4947" y="158"/>
                    <a:pt x="4789" y="1"/>
                    <a:pt x="4600" y="1"/>
                  </a:cubicBezTo>
                  <a:cubicBezTo>
                    <a:pt x="4411" y="1"/>
                    <a:pt x="4254" y="158"/>
                    <a:pt x="4254" y="347"/>
                  </a:cubicBezTo>
                  <a:lnTo>
                    <a:pt x="4254" y="1418"/>
                  </a:lnTo>
                  <a:lnTo>
                    <a:pt x="3529" y="1418"/>
                  </a:ln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4"/>
            <p:cNvSpPr/>
            <p:nvPr/>
          </p:nvSpPr>
          <p:spPr>
            <a:xfrm>
              <a:off x="-44369750" y="3317850"/>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4"/>
            <p:cNvSpPr/>
            <p:nvPr/>
          </p:nvSpPr>
          <p:spPr>
            <a:xfrm>
              <a:off x="-44411500" y="3275325"/>
              <a:ext cx="100825" cy="102400"/>
            </a:xfrm>
            <a:custGeom>
              <a:avLst/>
              <a:gdLst/>
              <a:ahLst/>
              <a:cxnLst/>
              <a:rect l="l" t="t" r="r" b="b"/>
              <a:pathLst>
                <a:path w="4033" h="4096" extrusionOk="0">
                  <a:moveTo>
                    <a:pt x="2017" y="1008"/>
                  </a:moveTo>
                  <a:cubicBezTo>
                    <a:pt x="2615" y="1008"/>
                    <a:pt x="3088" y="1481"/>
                    <a:pt x="3088" y="2048"/>
                  </a:cubicBezTo>
                  <a:cubicBezTo>
                    <a:pt x="3088" y="2647"/>
                    <a:pt x="2615" y="3119"/>
                    <a:pt x="2017" y="3119"/>
                  </a:cubicBezTo>
                  <a:cubicBezTo>
                    <a:pt x="1418" y="3119"/>
                    <a:pt x="945" y="2647"/>
                    <a:pt x="945" y="2048"/>
                  </a:cubicBezTo>
                  <a:cubicBezTo>
                    <a:pt x="945" y="1481"/>
                    <a:pt x="1418" y="1008"/>
                    <a:pt x="2017" y="1008"/>
                  </a:cubicBezTo>
                  <a:close/>
                  <a:moveTo>
                    <a:pt x="1670" y="0"/>
                  </a:moveTo>
                  <a:lnTo>
                    <a:pt x="1670" y="126"/>
                  </a:lnTo>
                  <a:cubicBezTo>
                    <a:pt x="1670" y="284"/>
                    <a:pt x="1576" y="410"/>
                    <a:pt x="1418" y="441"/>
                  </a:cubicBezTo>
                  <a:cubicBezTo>
                    <a:pt x="1229" y="536"/>
                    <a:pt x="1040" y="630"/>
                    <a:pt x="882" y="756"/>
                  </a:cubicBezTo>
                  <a:cubicBezTo>
                    <a:pt x="809" y="811"/>
                    <a:pt x="725" y="845"/>
                    <a:pt x="643" y="845"/>
                  </a:cubicBezTo>
                  <a:cubicBezTo>
                    <a:pt x="584" y="845"/>
                    <a:pt x="526" y="828"/>
                    <a:pt x="473" y="788"/>
                  </a:cubicBezTo>
                  <a:lnTo>
                    <a:pt x="347" y="725"/>
                  </a:lnTo>
                  <a:lnTo>
                    <a:pt x="0" y="1324"/>
                  </a:lnTo>
                  <a:lnTo>
                    <a:pt x="126" y="1387"/>
                  </a:lnTo>
                  <a:cubicBezTo>
                    <a:pt x="252" y="1481"/>
                    <a:pt x="315" y="1639"/>
                    <a:pt x="284" y="1733"/>
                  </a:cubicBezTo>
                  <a:cubicBezTo>
                    <a:pt x="252" y="1985"/>
                    <a:pt x="252" y="2143"/>
                    <a:pt x="284" y="2363"/>
                  </a:cubicBezTo>
                  <a:cubicBezTo>
                    <a:pt x="315" y="2521"/>
                    <a:pt x="252" y="2647"/>
                    <a:pt x="126" y="2741"/>
                  </a:cubicBezTo>
                  <a:lnTo>
                    <a:pt x="0" y="2804"/>
                  </a:lnTo>
                  <a:lnTo>
                    <a:pt x="347" y="3403"/>
                  </a:lnTo>
                  <a:lnTo>
                    <a:pt x="473" y="3308"/>
                  </a:lnTo>
                  <a:cubicBezTo>
                    <a:pt x="518" y="3286"/>
                    <a:pt x="566" y="3276"/>
                    <a:pt x="616" y="3276"/>
                  </a:cubicBezTo>
                  <a:cubicBezTo>
                    <a:pt x="707" y="3276"/>
                    <a:pt x="801" y="3310"/>
                    <a:pt x="882" y="3371"/>
                  </a:cubicBezTo>
                  <a:cubicBezTo>
                    <a:pt x="1040" y="3529"/>
                    <a:pt x="1229" y="3592"/>
                    <a:pt x="1418" y="3686"/>
                  </a:cubicBezTo>
                  <a:cubicBezTo>
                    <a:pt x="1576" y="3718"/>
                    <a:pt x="1670" y="3875"/>
                    <a:pt x="1670" y="4001"/>
                  </a:cubicBezTo>
                  <a:lnTo>
                    <a:pt x="1670" y="4096"/>
                  </a:lnTo>
                  <a:lnTo>
                    <a:pt x="2363" y="4096"/>
                  </a:lnTo>
                  <a:lnTo>
                    <a:pt x="2363" y="4001"/>
                  </a:lnTo>
                  <a:cubicBezTo>
                    <a:pt x="2363" y="3844"/>
                    <a:pt x="2458" y="3718"/>
                    <a:pt x="2615" y="3686"/>
                  </a:cubicBezTo>
                  <a:cubicBezTo>
                    <a:pt x="2804" y="3592"/>
                    <a:pt x="2993" y="3466"/>
                    <a:pt x="3151" y="3371"/>
                  </a:cubicBezTo>
                  <a:cubicBezTo>
                    <a:pt x="3232" y="3310"/>
                    <a:pt x="3327" y="3276"/>
                    <a:pt x="3417" y="3276"/>
                  </a:cubicBezTo>
                  <a:cubicBezTo>
                    <a:pt x="3467" y="3276"/>
                    <a:pt x="3516" y="3286"/>
                    <a:pt x="3560" y="3308"/>
                  </a:cubicBezTo>
                  <a:lnTo>
                    <a:pt x="3686" y="3403"/>
                  </a:lnTo>
                  <a:lnTo>
                    <a:pt x="4033" y="2804"/>
                  </a:lnTo>
                  <a:lnTo>
                    <a:pt x="3907" y="2741"/>
                  </a:lnTo>
                  <a:cubicBezTo>
                    <a:pt x="3781" y="2647"/>
                    <a:pt x="3718" y="2489"/>
                    <a:pt x="3749" y="2363"/>
                  </a:cubicBezTo>
                  <a:cubicBezTo>
                    <a:pt x="3781" y="2143"/>
                    <a:pt x="3781" y="1985"/>
                    <a:pt x="3749" y="1733"/>
                  </a:cubicBezTo>
                  <a:cubicBezTo>
                    <a:pt x="3718" y="1576"/>
                    <a:pt x="3781" y="1481"/>
                    <a:pt x="3907" y="1387"/>
                  </a:cubicBezTo>
                  <a:lnTo>
                    <a:pt x="4033" y="1324"/>
                  </a:lnTo>
                  <a:lnTo>
                    <a:pt x="3686" y="725"/>
                  </a:lnTo>
                  <a:lnTo>
                    <a:pt x="3560" y="788"/>
                  </a:lnTo>
                  <a:cubicBezTo>
                    <a:pt x="3502" y="832"/>
                    <a:pt x="3437" y="855"/>
                    <a:pt x="3371" y="855"/>
                  </a:cubicBezTo>
                  <a:cubicBezTo>
                    <a:pt x="3295" y="855"/>
                    <a:pt x="3218" y="824"/>
                    <a:pt x="3151" y="756"/>
                  </a:cubicBezTo>
                  <a:cubicBezTo>
                    <a:pt x="2993" y="599"/>
                    <a:pt x="2804" y="536"/>
                    <a:pt x="2615" y="441"/>
                  </a:cubicBezTo>
                  <a:cubicBezTo>
                    <a:pt x="2458" y="410"/>
                    <a:pt x="2363" y="252"/>
                    <a:pt x="2363" y="126"/>
                  </a:cubicBez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5" name="Google Shape;8095;p74"/>
          <p:cNvGrpSpPr/>
          <p:nvPr/>
        </p:nvGrpSpPr>
        <p:grpSpPr>
          <a:xfrm>
            <a:off x="2608689" y="1386849"/>
            <a:ext cx="354341" cy="354341"/>
            <a:chOff x="-49027775" y="3183175"/>
            <a:chExt cx="299325" cy="299325"/>
          </a:xfrm>
        </p:grpSpPr>
        <p:sp>
          <p:nvSpPr>
            <p:cNvPr id="8096" name="Google Shape;8096;p74"/>
            <p:cNvSpPr/>
            <p:nvPr/>
          </p:nvSpPr>
          <p:spPr>
            <a:xfrm>
              <a:off x="-48870250" y="3183175"/>
              <a:ext cx="141800" cy="185900"/>
            </a:xfrm>
            <a:custGeom>
              <a:avLst/>
              <a:gdLst/>
              <a:ahLst/>
              <a:cxnLst/>
              <a:rect l="l" t="t" r="r" b="b"/>
              <a:pathLst>
                <a:path w="5672" h="7436" extrusionOk="0">
                  <a:moveTo>
                    <a:pt x="1" y="0"/>
                  </a:moveTo>
                  <a:lnTo>
                    <a:pt x="1" y="1796"/>
                  </a:lnTo>
                  <a:lnTo>
                    <a:pt x="32" y="1796"/>
                  </a:lnTo>
                  <a:cubicBezTo>
                    <a:pt x="158" y="1765"/>
                    <a:pt x="284" y="1765"/>
                    <a:pt x="379" y="1765"/>
                  </a:cubicBezTo>
                  <a:cubicBezTo>
                    <a:pt x="1166" y="1765"/>
                    <a:pt x="1828" y="2395"/>
                    <a:pt x="1828" y="3182"/>
                  </a:cubicBezTo>
                  <a:cubicBezTo>
                    <a:pt x="1828" y="3970"/>
                    <a:pt x="1166" y="4600"/>
                    <a:pt x="379" y="4600"/>
                  </a:cubicBezTo>
                  <a:cubicBezTo>
                    <a:pt x="284" y="4600"/>
                    <a:pt x="158" y="4600"/>
                    <a:pt x="32" y="4568"/>
                  </a:cubicBezTo>
                  <a:lnTo>
                    <a:pt x="32" y="5671"/>
                  </a:lnTo>
                  <a:lnTo>
                    <a:pt x="1702" y="5671"/>
                  </a:lnTo>
                  <a:cubicBezTo>
                    <a:pt x="2017" y="5671"/>
                    <a:pt x="2175" y="6018"/>
                    <a:pt x="1954" y="6270"/>
                  </a:cubicBezTo>
                  <a:cubicBezTo>
                    <a:pt x="1860" y="6364"/>
                    <a:pt x="1765" y="6585"/>
                    <a:pt x="1765" y="6742"/>
                  </a:cubicBezTo>
                  <a:cubicBezTo>
                    <a:pt x="1765" y="7120"/>
                    <a:pt x="2080" y="7435"/>
                    <a:pt x="2490" y="7435"/>
                  </a:cubicBezTo>
                  <a:cubicBezTo>
                    <a:pt x="2868" y="7435"/>
                    <a:pt x="3183" y="7120"/>
                    <a:pt x="3183" y="6742"/>
                  </a:cubicBezTo>
                  <a:cubicBezTo>
                    <a:pt x="3183" y="6585"/>
                    <a:pt x="3120" y="6364"/>
                    <a:pt x="2994" y="6270"/>
                  </a:cubicBezTo>
                  <a:cubicBezTo>
                    <a:pt x="2805" y="6018"/>
                    <a:pt x="2962" y="5671"/>
                    <a:pt x="3277" y="5671"/>
                  </a:cubicBezTo>
                  <a:lnTo>
                    <a:pt x="5672" y="5671"/>
                  </a:lnTo>
                  <a:lnTo>
                    <a:pt x="5672" y="1765"/>
                  </a:lnTo>
                  <a:cubicBezTo>
                    <a:pt x="5672" y="788"/>
                    <a:pt x="4884" y="0"/>
                    <a:pt x="39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7" name="Google Shape;8097;p74"/>
            <p:cNvSpPr/>
            <p:nvPr/>
          </p:nvSpPr>
          <p:spPr>
            <a:xfrm>
              <a:off x="-49027775" y="3183175"/>
              <a:ext cx="185900" cy="141800"/>
            </a:xfrm>
            <a:custGeom>
              <a:avLst/>
              <a:gdLst/>
              <a:ahLst/>
              <a:cxnLst/>
              <a:rect l="l" t="t" r="r" b="b"/>
              <a:pathLst>
                <a:path w="7436" h="5672" extrusionOk="0">
                  <a:moveTo>
                    <a:pt x="1765" y="0"/>
                  </a:moveTo>
                  <a:cubicBezTo>
                    <a:pt x="788" y="0"/>
                    <a:pt x="1" y="788"/>
                    <a:pt x="1" y="1765"/>
                  </a:cubicBezTo>
                  <a:lnTo>
                    <a:pt x="1" y="5671"/>
                  </a:lnTo>
                  <a:lnTo>
                    <a:pt x="1828" y="5671"/>
                  </a:lnTo>
                  <a:lnTo>
                    <a:pt x="1828" y="5640"/>
                  </a:lnTo>
                  <a:cubicBezTo>
                    <a:pt x="1765" y="5514"/>
                    <a:pt x="1765" y="5388"/>
                    <a:pt x="1765" y="5262"/>
                  </a:cubicBezTo>
                  <a:cubicBezTo>
                    <a:pt x="1765" y="4474"/>
                    <a:pt x="2395" y="3844"/>
                    <a:pt x="3183" y="3844"/>
                  </a:cubicBezTo>
                  <a:cubicBezTo>
                    <a:pt x="3970" y="3844"/>
                    <a:pt x="4600" y="4474"/>
                    <a:pt x="4600" y="5262"/>
                  </a:cubicBezTo>
                  <a:cubicBezTo>
                    <a:pt x="4600" y="5388"/>
                    <a:pt x="4569" y="5514"/>
                    <a:pt x="4569" y="5640"/>
                  </a:cubicBezTo>
                  <a:lnTo>
                    <a:pt x="5672" y="5640"/>
                  </a:lnTo>
                  <a:lnTo>
                    <a:pt x="5672" y="3970"/>
                  </a:lnTo>
                  <a:cubicBezTo>
                    <a:pt x="5672" y="3748"/>
                    <a:pt x="5843" y="3605"/>
                    <a:pt x="6032" y="3605"/>
                  </a:cubicBezTo>
                  <a:cubicBezTo>
                    <a:pt x="6112" y="3605"/>
                    <a:pt x="6195" y="3630"/>
                    <a:pt x="6270" y="3686"/>
                  </a:cubicBezTo>
                  <a:cubicBezTo>
                    <a:pt x="6396" y="3812"/>
                    <a:pt x="6585" y="3907"/>
                    <a:pt x="6743" y="3907"/>
                  </a:cubicBezTo>
                  <a:cubicBezTo>
                    <a:pt x="7121" y="3907"/>
                    <a:pt x="7436" y="3592"/>
                    <a:pt x="7436" y="3182"/>
                  </a:cubicBezTo>
                  <a:cubicBezTo>
                    <a:pt x="7436" y="2804"/>
                    <a:pt x="7121" y="2489"/>
                    <a:pt x="6743" y="2489"/>
                  </a:cubicBezTo>
                  <a:cubicBezTo>
                    <a:pt x="6585" y="2489"/>
                    <a:pt x="6396" y="2552"/>
                    <a:pt x="6270" y="2678"/>
                  </a:cubicBezTo>
                  <a:cubicBezTo>
                    <a:pt x="6195" y="2734"/>
                    <a:pt x="6112" y="2760"/>
                    <a:pt x="6032" y="2760"/>
                  </a:cubicBezTo>
                  <a:cubicBezTo>
                    <a:pt x="5843" y="2760"/>
                    <a:pt x="5672" y="2616"/>
                    <a:pt x="5672" y="2395"/>
                  </a:cubicBezTo>
                  <a:lnTo>
                    <a:pt x="56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74"/>
            <p:cNvSpPr/>
            <p:nvPr/>
          </p:nvSpPr>
          <p:spPr>
            <a:xfrm>
              <a:off x="-49027775" y="3295800"/>
              <a:ext cx="141800" cy="186700"/>
            </a:xfrm>
            <a:custGeom>
              <a:avLst/>
              <a:gdLst/>
              <a:ahLst/>
              <a:cxnLst/>
              <a:rect l="l" t="t" r="r" b="b"/>
              <a:pathLst>
                <a:path w="5672" h="7468" extrusionOk="0">
                  <a:moveTo>
                    <a:pt x="3183" y="0"/>
                  </a:moveTo>
                  <a:cubicBezTo>
                    <a:pt x="2805" y="0"/>
                    <a:pt x="2490" y="315"/>
                    <a:pt x="2490" y="725"/>
                  </a:cubicBezTo>
                  <a:cubicBezTo>
                    <a:pt x="2490" y="883"/>
                    <a:pt x="2553" y="1072"/>
                    <a:pt x="2679" y="1198"/>
                  </a:cubicBezTo>
                  <a:cubicBezTo>
                    <a:pt x="2868" y="1418"/>
                    <a:pt x="2710" y="1796"/>
                    <a:pt x="2395" y="1796"/>
                  </a:cubicBezTo>
                  <a:lnTo>
                    <a:pt x="1" y="1796"/>
                  </a:lnTo>
                  <a:lnTo>
                    <a:pt x="1" y="5671"/>
                  </a:lnTo>
                  <a:cubicBezTo>
                    <a:pt x="1" y="6679"/>
                    <a:pt x="788" y="7467"/>
                    <a:pt x="1765" y="7467"/>
                  </a:cubicBezTo>
                  <a:lnTo>
                    <a:pt x="5672" y="7467"/>
                  </a:lnTo>
                  <a:lnTo>
                    <a:pt x="5672" y="5640"/>
                  </a:lnTo>
                  <a:lnTo>
                    <a:pt x="5640" y="5640"/>
                  </a:lnTo>
                  <a:cubicBezTo>
                    <a:pt x="5514" y="5703"/>
                    <a:pt x="5388" y="5703"/>
                    <a:pt x="5294" y="5703"/>
                  </a:cubicBezTo>
                  <a:cubicBezTo>
                    <a:pt x="4506" y="5703"/>
                    <a:pt x="3844" y="5041"/>
                    <a:pt x="3844" y="4254"/>
                  </a:cubicBezTo>
                  <a:cubicBezTo>
                    <a:pt x="3844" y="3466"/>
                    <a:pt x="4506" y="2867"/>
                    <a:pt x="5294" y="2867"/>
                  </a:cubicBezTo>
                  <a:cubicBezTo>
                    <a:pt x="5388" y="2867"/>
                    <a:pt x="5514" y="2867"/>
                    <a:pt x="5640" y="2899"/>
                  </a:cubicBezTo>
                  <a:lnTo>
                    <a:pt x="5640" y="1796"/>
                  </a:lnTo>
                  <a:lnTo>
                    <a:pt x="3970" y="1796"/>
                  </a:lnTo>
                  <a:cubicBezTo>
                    <a:pt x="3655" y="1796"/>
                    <a:pt x="3498" y="1418"/>
                    <a:pt x="3718" y="1198"/>
                  </a:cubicBezTo>
                  <a:cubicBezTo>
                    <a:pt x="3813" y="1072"/>
                    <a:pt x="3907" y="883"/>
                    <a:pt x="3907" y="725"/>
                  </a:cubicBezTo>
                  <a:cubicBezTo>
                    <a:pt x="3907" y="315"/>
                    <a:pt x="3592"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9" name="Google Shape;8099;p74"/>
            <p:cNvSpPr/>
            <p:nvPr/>
          </p:nvSpPr>
          <p:spPr>
            <a:xfrm>
              <a:off x="-48914350" y="3340700"/>
              <a:ext cx="185900" cy="141800"/>
            </a:xfrm>
            <a:custGeom>
              <a:avLst/>
              <a:gdLst/>
              <a:ahLst/>
              <a:cxnLst/>
              <a:rect l="l" t="t" r="r" b="b"/>
              <a:pathLst>
                <a:path w="7436" h="5672" extrusionOk="0">
                  <a:moveTo>
                    <a:pt x="5608" y="0"/>
                  </a:moveTo>
                  <a:lnTo>
                    <a:pt x="5608" y="32"/>
                  </a:lnTo>
                  <a:cubicBezTo>
                    <a:pt x="5671" y="158"/>
                    <a:pt x="5671" y="284"/>
                    <a:pt x="5671" y="378"/>
                  </a:cubicBezTo>
                  <a:cubicBezTo>
                    <a:pt x="5671" y="1166"/>
                    <a:pt x="5041" y="1796"/>
                    <a:pt x="4254" y="1796"/>
                  </a:cubicBezTo>
                  <a:cubicBezTo>
                    <a:pt x="3466" y="1796"/>
                    <a:pt x="2836" y="1166"/>
                    <a:pt x="2836" y="378"/>
                  </a:cubicBezTo>
                  <a:cubicBezTo>
                    <a:pt x="2836" y="284"/>
                    <a:pt x="2867" y="158"/>
                    <a:pt x="2867" y="32"/>
                  </a:cubicBezTo>
                  <a:lnTo>
                    <a:pt x="1765" y="32"/>
                  </a:lnTo>
                  <a:lnTo>
                    <a:pt x="1765" y="1670"/>
                  </a:lnTo>
                  <a:cubicBezTo>
                    <a:pt x="1765" y="1907"/>
                    <a:pt x="1602" y="2041"/>
                    <a:pt x="1419" y="2041"/>
                  </a:cubicBezTo>
                  <a:cubicBezTo>
                    <a:pt x="1334" y="2041"/>
                    <a:pt x="1245" y="2013"/>
                    <a:pt x="1166" y="1954"/>
                  </a:cubicBezTo>
                  <a:cubicBezTo>
                    <a:pt x="1040" y="1827"/>
                    <a:pt x="851" y="1764"/>
                    <a:pt x="694" y="1764"/>
                  </a:cubicBezTo>
                  <a:cubicBezTo>
                    <a:pt x="315" y="1764"/>
                    <a:pt x="0" y="2080"/>
                    <a:pt x="0" y="2458"/>
                  </a:cubicBezTo>
                  <a:cubicBezTo>
                    <a:pt x="0" y="2867"/>
                    <a:pt x="315" y="3182"/>
                    <a:pt x="694" y="3182"/>
                  </a:cubicBezTo>
                  <a:cubicBezTo>
                    <a:pt x="851" y="3182"/>
                    <a:pt x="1040" y="3119"/>
                    <a:pt x="1166" y="2993"/>
                  </a:cubicBezTo>
                  <a:cubicBezTo>
                    <a:pt x="1247" y="2933"/>
                    <a:pt x="1337" y="2904"/>
                    <a:pt x="1423" y="2904"/>
                  </a:cubicBezTo>
                  <a:cubicBezTo>
                    <a:pt x="1605" y="2904"/>
                    <a:pt x="1765" y="3031"/>
                    <a:pt x="1765" y="3245"/>
                  </a:cubicBezTo>
                  <a:lnTo>
                    <a:pt x="1765" y="5671"/>
                  </a:lnTo>
                  <a:lnTo>
                    <a:pt x="5671" y="5671"/>
                  </a:lnTo>
                  <a:cubicBezTo>
                    <a:pt x="6648" y="5671"/>
                    <a:pt x="7436" y="4883"/>
                    <a:pt x="7436" y="3907"/>
                  </a:cubicBezTo>
                  <a:lnTo>
                    <a:pt x="74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0" name="Google Shape;8100;p74"/>
          <p:cNvGrpSpPr/>
          <p:nvPr/>
        </p:nvGrpSpPr>
        <p:grpSpPr>
          <a:xfrm>
            <a:off x="2608230" y="1822251"/>
            <a:ext cx="355258" cy="357152"/>
            <a:chOff x="-49027775" y="3550975"/>
            <a:chExt cx="300100" cy="301700"/>
          </a:xfrm>
        </p:grpSpPr>
        <p:sp>
          <p:nvSpPr>
            <p:cNvPr id="8101" name="Google Shape;8101;p74"/>
            <p:cNvSpPr/>
            <p:nvPr/>
          </p:nvSpPr>
          <p:spPr>
            <a:xfrm>
              <a:off x="-48941125" y="3613200"/>
              <a:ext cx="74050" cy="26825"/>
            </a:xfrm>
            <a:custGeom>
              <a:avLst/>
              <a:gdLst/>
              <a:ahLst/>
              <a:cxnLst/>
              <a:rect l="l" t="t" r="r" b="b"/>
              <a:pathLst>
                <a:path w="2962" h="1073" extrusionOk="0">
                  <a:moveTo>
                    <a:pt x="1260" y="1"/>
                  </a:moveTo>
                  <a:lnTo>
                    <a:pt x="0" y="1072"/>
                  </a:lnTo>
                  <a:lnTo>
                    <a:pt x="1702" y="107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2" name="Google Shape;8102;p74"/>
            <p:cNvSpPr/>
            <p:nvPr/>
          </p:nvSpPr>
          <p:spPr>
            <a:xfrm>
              <a:off x="-48871025" y="3613200"/>
              <a:ext cx="73275" cy="26825"/>
            </a:xfrm>
            <a:custGeom>
              <a:avLst/>
              <a:gdLst/>
              <a:ahLst/>
              <a:cxnLst/>
              <a:rect l="l" t="t" r="r" b="b"/>
              <a:pathLst>
                <a:path w="2931" h="1073" extrusionOk="0">
                  <a:moveTo>
                    <a:pt x="1260" y="1"/>
                  </a:moveTo>
                  <a:lnTo>
                    <a:pt x="0" y="1072"/>
                  </a:lnTo>
                  <a:lnTo>
                    <a:pt x="1670" y="1072"/>
                  </a:lnTo>
                  <a:lnTo>
                    <a:pt x="29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4"/>
            <p:cNvSpPr/>
            <p:nvPr/>
          </p:nvSpPr>
          <p:spPr>
            <a:xfrm>
              <a:off x="-48893075" y="3552550"/>
              <a:ext cx="95325" cy="43350"/>
            </a:xfrm>
            <a:custGeom>
              <a:avLst/>
              <a:gdLst/>
              <a:ahLst/>
              <a:cxnLst/>
              <a:rect l="l" t="t" r="r" b="b"/>
              <a:pathLst>
                <a:path w="3813" h="1734" extrusionOk="0">
                  <a:moveTo>
                    <a:pt x="0" y="1"/>
                  </a:moveTo>
                  <a:lnTo>
                    <a:pt x="2142" y="1734"/>
                  </a:lnTo>
                  <a:lnTo>
                    <a:pt x="3812" y="1734"/>
                  </a:ln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74"/>
            <p:cNvSpPr/>
            <p:nvPr/>
          </p:nvSpPr>
          <p:spPr>
            <a:xfrm>
              <a:off x="-49027775" y="3550975"/>
              <a:ext cx="100050" cy="87475"/>
            </a:xfrm>
            <a:custGeom>
              <a:avLst/>
              <a:gdLst/>
              <a:ahLst/>
              <a:cxnLst/>
              <a:rect l="l" t="t" r="r" b="b"/>
              <a:pathLst>
                <a:path w="4002" h="3499" extrusionOk="0">
                  <a:moveTo>
                    <a:pt x="2112" y="1797"/>
                  </a:moveTo>
                  <a:cubicBezTo>
                    <a:pt x="2332" y="1797"/>
                    <a:pt x="2490" y="1923"/>
                    <a:pt x="2490" y="2143"/>
                  </a:cubicBezTo>
                  <a:cubicBezTo>
                    <a:pt x="2490" y="2332"/>
                    <a:pt x="2332" y="2490"/>
                    <a:pt x="2112" y="2490"/>
                  </a:cubicBezTo>
                  <a:cubicBezTo>
                    <a:pt x="1923" y="2490"/>
                    <a:pt x="1765" y="2332"/>
                    <a:pt x="1765" y="2143"/>
                  </a:cubicBezTo>
                  <a:cubicBezTo>
                    <a:pt x="1765" y="1923"/>
                    <a:pt x="1923" y="1797"/>
                    <a:pt x="2112" y="1797"/>
                  </a:cubicBezTo>
                  <a:close/>
                  <a:moveTo>
                    <a:pt x="1072" y="1"/>
                  </a:moveTo>
                  <a:cubicBezTo>
                    <a:pt x="473" y="1"/>
                    <a:pt x="1" y="474"/>
                    <a:pt x="1" y="1072"/>
                  </a:cubicBezTo>
                  <a:lnTo>
                    <a:pt x="1" y="3498"/>
                  </a:lnTo>
                  <a:lnTo>
                    <a:pt x="2364" y="3498"/>
                  </a:lnTo>
                  <a:lnTo>
                    <a:pt x="4002" y="2143"/>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5" name="Google Shape;8105;p74"/>
            <p:cNvSpPr/>
            <p:nvPr/>
          </p:nvSpPr>
          <p:spPr>
            <a:xfrm>
              <a:off x="-48962400" y="3552550"/>
              <a:ext cx="95325" cy="43350"/>
            </a:xfrm>
            <a:custGeom>
              <a:avLst/>
              <a:gdLst/>
              <a:ahLst/>
              <a:cxnLst/>
              <a:rect l="l" t="t" r="r" b="b"/>
              <a:pathLst>
                <a:path w="3813" h="1734" extrusionOk="0">
                  <a:moveTo>
                    <a:pt x="1" y="1"/>
                  </a:moveTo>
                  <a:lnTo>
                    <a:pt x="2111" y="1734"/>
                  </a:lnTo>
                  <a:lnTo>
                    <a:pt x="3813" y="1734"/>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6" name="Google Shape;8106;p74"/>
            <p:cNvSpPr/>
            <p:nvPr/>
          </p:nvSpPr>
          <p:spPr>
            <a:xfrm>
              <a:off x="-49027775" y="3657325"/>
              <a:ext cx="300100" cy="195350"/>
            </a:xfrm>
            <a:custGeom>
              <a:avLst/>
              <a:gdLst/>
              <a:ahLst/>
              <a:cxnLst/>
              <a:rect l="l" t="t" r="r" b="b"/>
              <a:pathLst>
                <a:path w="12004" h="7814" extrusionOk="0">
                  <a:moveTo>
                    <a:pt x="5987" y="410"/>
                  </a:moveTo>
                  <a:cubicBezTo>
                    <a:pt x="7719" y="410"/>
                    <a:pt x="9137" y="1827"/>
                    <a:pt x="9137" y="3560"/>
                  </a:cubicBezTo>
                  <a:cubicBezTo>
                    <a:pt x="9137" y="5293"/>
                    <a:pt x="7719" y="6711"/>
                    <a:pt x="5987" y="6711"/>
                  </a:cubicBezTo>
                  <a:cubicBezTo>
                    <a:pt x="4254" y="6711"/>
                    <a:pt x="2836" y="5293"/>
                    <a:pt x="2836" y="3560"/>
                  </a:cubicBezTo>
                  <a:cubicBezTo>
                    <a:pt x="2836" y="1827"/>
                    <a:pt x="4254" y="410"/>
                    <a:pt x="5987" y="410"/>
                  </a:cubicBezTo>
                  <a:close/>
                  <a:moveTo>
                    <a:pt x="1" y="0"/>
                  </a:moveTo>
                  <a:lnTo>
                    <a:pt x="1" y="6742"/>
                  </a:lnTo>
                  <a:cubicBezTo>
                    <a:pt x="1" y="7341"/>
                    <a:pt x="473" y="7813"/>
                    <a:pt x="1072" y="7813"/>
                  </a:cubicBezTo>
                  <a:lnTo>
                    <a:pt x="10933" y="7813"/>
                  </a:lnTo>
                  <a:cubicBezTo>
                    <a:pt x="11532" y="7813"/>
                    <a:pt x="12004" y="7341"/>
                    <a:pt x="12004" y="6742"/>
                  </a:cubicBezTo>
                  <a:lnTo>
                    <a:pt x="120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74"/>
            <p:cNvSpPr/>
            <p:nvPr/>
          </p:nvSpPr>
          <p:spPr>
            <a:xfrm>
              <a:off x="-48886775" y="3726625"/>
              <a:ext cx="28375" cy="37050"/>
            </a:xfrm>
            <a:custGeom>
              <a:avLst/>
              <a:gdLst/>
              <a:ahLst/>
              <a:cxnLst/>
              <a:rect l="l" t="t" r="r" b="b"/>
              <a:pathLst>
                <a:path w="1135" h="1482" extrusionOk="0">
                  <a:moveTo>
                    <a:pt x="0" y="1"/>
                  </a:moveTo>
                  <a:lnTo>
                    <a:pt x="0" y="1481"/>
                  </a:lnTo>
                  <a:lnTo>
                    <a:pt x="1134" y="757"/>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8" name="Google Shape;8108;p74"/>
            <p:cNvSpPr/>
            <p:nvPr/>
          </p:nvSpPr>
          <p:spPr>
            <a:xfrm>
              <a:off x="-48822975" y="3550975"/>
              <a:ext cx="94525" cy="44925"/>
            </a:xfrm>
            <a:custGeom>
              <a:avLst/>
              <a:gdLst/>
              <a:ahLst/>
              <a:cxnLst/>
              <a:rect l="l" t="t" r="r" b="b"/>
              <a:pathLst>
                <a:path w="3781" h="1797" extrusionOk="0">
                  <a:moveTo>
                    <a:pt x="0" y="1"/>
                  </a:moveTo>
                  <a:lnTo>
                    <a:pt x="2111" y="1797"/>
                  </a:lnTo>
                  <a:lnTo>
                    <a:pt x="3781" y="1797"/>
                  </a:lnTo>
                  <a:lnTo>
                    <a:pt x="3781" y="1072"/>
                  </a:lnTo>
                  <a:cubicBezTo>
                    <a:pt x="3781" y="474"/>
                    <a:pt x="3308" y="1"/>
                    <a:pt x="27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9" name="Google Shape;8109;p74"/>
            <p:cNvSpPr/>
            <p:nvPr/>
          </p:nvSpPr>
          <p:spPr>
            <a:xfrm>
              <a:off x="-48939550" y="3684100"/>
              <a:ext cx="122100" cy="122100"/>
            </a:xfrm>
            <a:custGeom>
              <a:avLst/>
              <a:gdLst/>
              <a:ahLst/>
              <a:cxnLst/>
              <a:rect l="l" t="t" r="r" b="b"/>
              <a:pathLst>
                <a:path w="4884" h="4884" extrusionOk="0">
                  <a:moveTo>
                    <a:pt x="1741" y="757"/>
                  </a:moveTo>
                  <a:cubicBezTo>
                    <a:pt x="1812" y="757"/>
                    <a:pt x="1885" y="777"/>
                    <a:pt x="1954" y="819"/>
                  </a:cubicBezTo>
                  <a:lnTo>
                    <a:pt x="4064" y="2237"/>
                  </a:lnTo>
                  <a:cubicBezTo>
                    <a:pt x="4253" y="2300"/>
                    <a:pt x="4253" y="2615"/>
                    <a:pt x="4064" y="2773"/>
                  </a:cubicBezTo>
                  <a:lnTo>
                    <a:pt x="1954" y="4190"/>
                  </a:lnTo>
                  <a:cubicBezTo>
                    <a:pt x="1885" y="4233"/>
                    <a:pt x="1812" y="4253"/>
                    <a:pt x="1741" y="4253"/>
                  </a:cubicBezTo>
                  <a:cubicBezTo>
                    <a:pt x="1553" y="4253"/>
                    <a:pt x="1387" y="4113"/>
                    <a:pt x="1387" y="3907"/>
                  </a:cubicBezTo>
                  <a:lnTo>
                    <a:pt x="1387" y="1103"/>
                  </a:lnTo>
                  <a:cubicBezTo>
                    <a:pt x="1387" y="897"/>
                    <a:pt x="1553" y="757"/>
                    <a:pt x="1741" y="757"/>
                  </a:cubicBezTo>
                  <a:close/>
                  <a:moveTo>
                    <a:pt x="2458" y="0"/>
                  </a:moveTo>
                  <a:cubicBezTo>
                    <a:pt x="1103" y="0"/>
                    <a:pt x="0" y="1103"/>
                    <a:pt x="0" y="2458"/>
                  </a:cubicBezTo>
                  <a:cubicBezTo>
                    <a:pt x="0" y="3781"/>
                    <a:pt x="1103" y="4884"/>
                    <a:pt x="2458" y="4884"/>
                  </a:cubicBezTo>
                  <a:cubicBezTo>
                    <a:pt x="3781" y="4884"/>
                    <a:pt x="4884" y="3781"/>
                    <a:pt x="4884" y="2458"/>
                  </a:cubicBezTo>
                  <a:cubicBezTo>
                    <a:pt x="4884" y="1103"/>
                    <a:pt x="3812"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74"/>
            <p:cNvSpPr/>
            <p:nvPr/>
          </p:nvSpPr>
          <p:spPr>
            <a:xfrm>
              <a:off x="-48801725" y="3613200"/>
              <a:ext cx="73275" cy="26825"/>
            </a:xfrm>
            <a:custGeom>
              <a:avLst/>
              <a:gdLst/>
              <a:ahLst/>
              <a:cxnLst/>
              <a:rect l="l" t="t" r="r" b="b"/>
              <a:pathLst>
                <a:path w="2931" h="1073" extrusionOk="0">
                  <a:moveTo>
                    <a:pt x="1261" y="1"/>
                  </a:moveTo>
                  <a:lnTo>
                    <a:pt x="1" y="1072"/>
                  </a:lnTo>
                  <a:lnTo>
                    <a:pt x="2931" y="1072"/>
                  </a:ln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74"/>
          <p:cNvGrpSpPr/>
          <p:nvPr/>
        </p:nvGrpSpPr>
        <p:grpSpPr>
          <a:xfrm>
            <a:off x="2606306" y="2259310"/>
            <a:ext cx="359106" cy="355525"/>
            <a:chOff x="-49031025" y="3920175"/>
            <a:chExt cx="303350" cy="300325"/>
          </a:xfrm>
        </p:grpSpPr>
        <p:sp>
          <p:nvSpPr>
            <p:cNvPr id="8112" name="Google Shape;8112;p74"/>
            <p:cNvSpPr/>
            <p:nvPr/>
          </p:nvSpPr>
          <p:spPr>
            <a:xfrm>
              <a:off x="-49031025" y="4131875"/>
              <a:ext cx="109600" cy="88625"/>
            </a:xfrm>
            <a:custGeom>
              <a:avLst/>
              <a:gdLst/>
              <a:ahLst/>
              <a:cxnLst/>
              <a:rect l="l" t="t" r="r" b="b"/>
              <a:pathLst>
                <a:path w="4384" h="3545" extrusionOk="0">
                  <a:moveTo>
                    <a:pt x="472" y="1"/>
                  </a:moveTo>
                  <a:cubicBezTo>
                    <a:pt x="202" y="1"/>
                    <a:pt x="0" y="326"/>
                    <a:pt x="225" y="551"/>
                  </a:cubicBezTo>
                  <a:lnTo>
                    <a:pt x="2336" y="3387"/>
                  </a:lnTo>
                  <a:cubicBezTo>
                    <a:pt x="2399" y="3481"/>
                    <a:pt x="2494" y="3544"/>
                    <a:pt x="2620" y="3544"/>
                  </a:cubicBezTo>
                  <a:lnTo>
                    <a:pt x="4384" y="3544"/>
                  </a:lnTo>
                  <a:lnTo>
                    <a:pt x="2620" y="583"/>
                  </a:lnTo>
                  <a:lnTo>
                    <a:pt x="572" y="16"/>
                  </a:lnTo>
                  <a:cubicBezTo>
                    <a:pt x="538" y="5"/>
                    <a:pt x="505" y="1"/>
                    <a:pt x="4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4"/>
            <p:cNvSpPr/>
            <p:nvPr/>
          </p:nvSpPr>
          <p:spPr>
            <a:xfrm>
              <a:off x="-48921450" y="3920175"/>
              <a:ext cx="79575" cy="130975"/>
            </a:xfrm>
            <a:custGeom>
              <a:avLst/>
              <a:gdLst/>
              <a:ahLst/>
              <a:cxnLst/>
              <a:rect l="l" t="t" r="r" b="b"/>
              <a:pathLst>
                <a:path w="3183" h="5239" extrusionOk="0">
                  <a:moveTo>
                    <a:pt x="302" y="1"/>
                  </a:moveTo>
                  <a:cubicBezTo>
                    <a:pt x="275" y="1"/>
                    <a:pt x="248" y="3"/>
                    <a:pt x="221" y="9"/>
                  </a:cubicBezTo>
                  <a:cubicBezTo>
                    <a:pt x="64" y="40"/>
                    <a:pt x="1" y="198"/>
                    <a:pt x="1" y="355"/>
                  </a:cubicBezTo>
                  <a:lnTo>
                    <a:pt x="64" y="1269"/>
                  </a:lnTo>
                  <a:lnTo>
                    <a:pt x="2584" y="5239"/>
                  </a:lnTo>
                  <a:lnTo>
                    <a:pt x="3183" y="4199"/>
                  </a:lnTo>
                  <a:lnTo>
                    <a:pt x="631" y="166"/>
                  </a:lnTo>
                  <a:cubicBezTo>
                    <a:pt x="553" y="62"/>
                    <a:pt x="431" y="1"/>
                    <a:pt x="3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4"/>
            <p:cNvSpPr/>
            <p:nvPr/>
          </p:nvSpPr>
          <p:spPr>
            <a:xfrm>
              <a:off x="-48842675" y="4008100"/>
              <a:ext cx="115000" cy="53300"/>
            </a:xfrm>
            <a:custGeom>
              <a:avLst/>
              <a:gdLst/>
              <a:ahLst/>
              <a:cxnLst/>
              <a:rect l="l" t="t" r="r" b="b"/>
              <a:pathLst>
                <a:path w="4600" h="2132" extrusionOk="0">
                  <a:moveTo>
                    <a:pt x="1359" y="0"/>
                  </a:moveTo>
                  <a:cubicBezTo>
                    <a:pt x="1245" y="0"/>
                    <a:pt x="1132" y="57"/>
                    <a:pt x="1072" y="178"/>
                  </a:cubicBezTo>
                  <a:lnTo>
                    <a:pt x="0" y="2131"/>
                  </a:lnTo>
                  <a:lnTo>
                    <a:pt x="4191" y="2131"/>
                  </a:lnTo>
                  <a:cubicBezTo>
                    <a:pt x="4317" y="2131"/>
                    <a:pt x="4506" y="2005"/>
                    <a:pt x="4537" y="1848"/>
                  </a:cubicBezTo>
                  <a:cubicBezTo>
                    <a:pt x="4600" y="1690"/>
                    <a:pt x="4537" y="1533"/>
                    <a:pt x="4380" y="1469"/>
                  </a:cubicBezTo>
                  <a:lnTo>
                    <a:pt x="1544" y="52"/>
                  </a:lnTo>
                  <a:cubicBezTo>
                    <a:pt x="1488" y="18"/>
                    <a:pt x="1423" y="0"/>
                    <a:pt x="1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4"/>
            <p:cNvSpPr/>
            <p:nvPr/>
          </p:nvSpPr>
          <p:spPr>
            <a:xfrm>
              <a:off x="-48838750" y="4078700"/>
              <a:ext cx="51225" cy="66975"/>
            </a:xfrm>
            <a:custGeom>
              <a:avLst/>
              <a:gdLst/>
              <a:ahLst/>
              <a:cxnLst/>
              <a:rect l="l" t="t" r="r" b="b"/>
              <a:pathLst>
                <a:path w="2049" h="2679" extrusionOk="0">
                  <a:moveTo>
                    <a:pt x="1" y="0"/>
                  </a:moveTo>
                  <a:lnTo>
                    <a:pt x="1734" y="2678"/>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4"/>
            <p:cNvSpPr/>
            <p:nvPr/>
          </p:nvSpPr>
          <p:spPr>
            <a:xfrm>
              <a:off x="-48975000" y="3920575"/>
              <a:ext cx="173300" cy="248725"/>
            </a:xfrm>
            <a:custGeom>
              <a:avLst/>
              <a:gdLst/>
              <a:ahLst/>
              <a:cxnLst/>
              <a:rect l="l" t="t" r="r" b="b"/>
              <a:pathLst>
                <a:path w="6932" h="9949" extrusionOk="0">
                  <a:moveTo>
                    <a:pt x="374" y="0"/>
                  </a:moveTo>
                  <a:cubicBezTo>
                    <a:pt x="334" y="0"/>
                    <a:pt x="293" y="8"/>
                    <a:pt x="253" y="24"/>
                  </a:cubicBezTo>
                  <a:cubicBezTo>
                    <a:pt x="95" y="87"/>
                    <a:pt x="1" y="245"/>
                    <a:pt x="1" y="402"/>
                  </a:cubicBezTo>
                  <a:lnTo>
                    <a:pt x="694" y="7585"/>
                  </a:lnTo>
                  <a:lnTo>
                    <a:pt x="6932" y="9948"/>
                  </a:lnTo>
                  <a:lnTo>
                    <a:pt x="694" y="182"/>
                  </a:lnTo>
                  <a:cubicBezTo>
                    <a:pt x="600" y="65"/>
                    <a:pt x="489" y="0"/>
                    <a:pt x="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4"/>
            <p:cNvSpPr/>
            <p:nvPr/>
          </p:nvSpPr>
          <p:spPr>
            <a:xfrm>
              <a:off x="-48955300" y="4129900"/>
              <a:ext cx="151250" cy="89800"/>
            </a:xfrm>
            <a:custGeom>
              <a:avLst/>
              <a:gdLst/>
              <a:ahLst/>
              <a:cxnLst/>
              <a:rect l="l" t="t" r="r" b="b"/>
              <a:pathLst>
                <a:path w="6050" h="3592" extrusionOk="0">
                  <a:moveTo>
                    <a:pt x="0" y="0"/>
                  </a:moveTo>
                  <a:lnTo>
                    <a:pt x="2174" y="3592"/>
                  </a:lnTo>
                  <a:lnTo>
                    <a:pt x="5167" y="3592"/>
                  </a:lnTo>
                  <a:cubicBezTo>
                    <a:pt x="5293" y="3592"/>
                    <a:pt x="5419" y="3529"/>
                    <a:pt x="5482" y="3403"/>
                  </a:cubicBezTo>
                  <a:lnTo>
                    <a:pt x="6049" y="2268"/>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8" name="Google Shape;8118;p74"/>
          <p:cNvGrpSpPr/>
          <p:nvPr/>
        </p:nvGrpSpPr>
        <p:grpSpPr>
          <a:xfrm>
            <a:off x="1322411" y="2752344"/>
            <a:ext cx="356176" cy="354341"/>
            <a:chOff x="-47155575" y="3200500"/>
            <a:chExt cx="300875" cy="299325"/>
          </a:xfrm>
        </p:grpSpPr>
        <p:sp>
          <p:nvSpPr>
            <p:cNvPr id="8119" name="Google Shape;8119;p74"/>
            <p:cNvSpPr/>
            <p:nvPr/>
          </p:nvSpPr>
          <p:spPr>
            <a:xfrm>
              <a:off x="-46943725" y="3206000"/>
              <a:ext cx="47300" cy="48075"/>
            </a:xfrm>
            <a:custGeom>
              <a:avLst/>
              <a:gdLst/>
              <a:ahLst/>
              <a:cxnLst/>
              <a:rect l="l" t="t" r="r" b="b"/>
              <a:pathLst>
                <a:path w="1892" h="1923" extrusionOk="0">
                  <a:moveTo>
                    <a:pt x="1" y="1"/>
                  </a:moveTo>
                  <a:lnTo>
                    <a:pt x="1" y="1923"/>
                  </a:lnTo>
                  <a:lnTo>
                    <a:pt x="1891" y="192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0" name="Google Shape;8120;p74"/>
            <p:cNvSpPr/>
            <p:nvPr/>
          </p:nvSpPr>
          <p:spPr>
            <a:xfrm>
              <a:off x="-47118575" y="3200500"/>
              <a:ext cx="228450" cy="89025"/>
            </a:xfrm>
            <a:custGeom>
              <a:avLst/>
              <a:gdLst/>
              <a:ahLst/>
              <a:cxnLst/>
              <a:rect l="l" t="t" r="r" b="b"/>
              <a:pathLst>
                <a:path w="9138" h="3561" extrusionOk="0">
                  <a:moveTo>
                    <a:pt x="347" y="0"/>
                  </a:moveTo>
                  <a:cubicBezTo>
                    <a:pt x="158" y="0"/>
                    <a:pt x="1" y="158"/>
                    <a:pt x="1" y="378"/>
                  </a:cubicBezTo>
                  <a:lnTo>
                    <a:pt x="1" y="2143"/>
                  </a:lnTo>
                  <a:lnTo>
                    <a:pt x="2017" y="2143"/>
                  </a:lnTo>
                  <a:cubicBezTo>
                    <a:pt x="2679" y="2143"/>
                    <a:pt x="3246" y="2489"/>
                    <a:pt x="3561" y="3119"/>
                  </a:cubicBezTo>
                  <a:lnTo>
                    <a:pt x="3813" y="3560"/>
                  </a:lnTo>
                  <a:lnTo>
                    <a:pt x="9137" y="3560"/>
                  </a:lnTo>
                  <a:lnTo>
                    <a:pt x="9137" y="2836"/>
                  </a:lnTo>
                  <a:lnTo>
                    <a:pt x="6680" y="2836"/>
                  </a:lnTo>
                  <a:cubicBezTo>
                    <a:pt x="6491" y="2836"/>
                    <a:pt x="6333" y="2678"/>
                    <a:pt x="6333" y="2489"/>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1" name="Google Shape;8121;p74"/>
            <p:cNvSpPr/>
            <p:nvPr/>
          </p:nvSpPr>
          <p:spPr>
            <a:xfrm>
              <a:off x="-47013825" y="3395050"/>
              <a:ext cx="15775" cy="15775"/>
            </a:xfrm>
            <a:custGeom>
              <a:avLst/>
              <a:gdLst/>
              <a:ahLst/>
              <a:cxnLst/>
              <a:rect l="l" t="t" r="r" b="b"/>
              <a:pathLst>
                <a:path w="631" h="631" extrusionOk="0">
                  <a:moveTo>
                    <a:pt x="1" y="0"/>
                  </a:moveTo>
                  <a:lnTo>
                    <a:pt x="1" y="630"/>
                  </a:lnTo>
                  <a:cubicBezTo>
                    <a:pt x="284" y="504"/>
                    <a:pt x="536" y="252"/>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74"/>
            <p:cNvSpPr/>
            <p:nvPr/>
          </p:nvSpPr>
          <p:spPr>
            <a:xfrm>
              <a:off x="-47049250" y="3359600"/>
              <a:ext cx="51200" cy="51225"/>
            </a:xfrm>
            <a:custGeom>
              <a:avLst/>
              <a:gdLst/>
              <a:ahLst/>
              <a:cxnLst/>
              <a:rect l="l" t="t" r="r" b="b"/>
              <a:pathLst>
                <a:path w="2048" h="2049" extrusionOk="0">
                  <a:moveTo>
                    <a:pt x="1071" y="0"/>
                  </a:moveTo>
                  <a:cubicBezTo>
                    <a:pt x="473" y="0"/>
                    <a:pt x="0" y="473"/>
                    <a:pt x="0" y="1040"/>
                  </a:cubicBezTo>
                  <a:cubicBezTo>
                    <a:pt x="0" y="1513"/>
                    <a:pt x="284" y="1891"/>
                    <a:pt x="725" y="2048"/>
                  </a:cubicBezTo>
                  <a:lnTo>
                    <a:pt x="725" y="1040"/>
                  </a:lnTo>
                  <a:cubicBezTo>
                    <a:pt x="725" y="851"/>
                    <a:pt x="882" y="693"/>
                    <a:pt x="1071" y="693"/>
                  </a:cubicBezTo>
                  <a:lnTo>
                    <a:pt x="2048" y="693"/>
                  </a:lnTo>
                  <a:cubicBezTo>
                    <a:pt x="1890" y="252"/>
                    <a:pt x="1512"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3" name="Google Shape;8123;p74"/>
            <p:cNvSpPr/>
            <p:nvPr/>
          </p:nvSpPr>
          <p:spPr>
            <a:xfrm>
              <a:off x="-47013025" y="3393475"/>
              <a:ext cx="52800" cy="53575"/>
            </a:xfrm>
            <a:custGeom>
              <a:avLst/>
              <a:gdLst/>
              <a:ahLst/>
              <a:cxnLst/>
              <a:rect l="l" t="t" r="r" b="b"/>
              <a:pathLst>
                <a:path w="2112" h="2143" extrusionOk="0">
                  <a:moveTo>
                    <a:pt x="1355" y="0"/>
                  </a:moveTo>
                  <a:cubicBezTo>
                    <a:pt x="1198" y="725"/>
                    <a:pt x="662" y="1260"/>
                    <a:pt x="0" y="1386"/>
                  </a:cubicBezTo>
                  <a:lnTo>
                    <a:pt x="0" y="2142"/>
                  </a:lnTo>
                  <a:lnTo>
                    <a:pt x="2111" y="2142"/>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74"/>
            <p:cNvSpPr/>
            <p:nvPr/>
          </p:nvSpPr>
          <p:spPr>
            <a:xfrm>
              <a:off x="-47155575" y="3270600"/>
              <a:ext cx="300875" cy="229225"/>
            </a:xfrm>
            <a:custGeom>
              <a:avLst/>
              <a:gdLst/>
              <a:ahLst/>
              <a:cxnLst/>
              <a:rect l="l" t="t" r="r" b="b"/>
              <a:pathLst>
                <a:path w="12035" h="9169" extrusionOk="0">
                  <a:moveTo>
                    <a:pt x="5324" y="2804"/>
                  </a:moveTo>
                  <a:cubicBezTo>
                    <a:pt x="6206" y="2804"/>
                    <a:pt x="6900" y="3403"/>
                    <a:pt x="7057" y="4222"/>
                  </a:cubicBezTo>
                  <a:lnTo>
                    <a:pt x="8160" y="4222"/>
                  </a:lnTo>
                  <a:cubicBezTo>
                    <a:pt x="8349" y="4222"/>
                    <a:pt x="8506" y="4379"/>
                    <a:pt x="8506" y="4568"/>
                  </a:cubicBezTo>
                  <a:lnTo>
                    <a:pt x="8506" y="7404"/>
                  </a:lnTo>
                  <a:lnTo>
                    <a:pt x="8475" y="7404"/>
                  </a:lnTo>
                  <a:cubicBezTo>
                    <a:pt x="8475" y="7593"/>
                    <a:pt x="8317" y="7750"/>
                    <a:pt x="8128" y="7750"/>
                  </a:cubicBezTo>
                  <a:lnTo>
                    <a:pt x="5324" y="7750"/>
                  </a:lnTo>
                  <a:cubicBezTo>
                    <a:pt x="5135" y="7750"/>
                    <a:pt x="4978" y="7593"/>
                    <a:pt x="4978" y="7404"/>
                  </a:cubicBezTo>
                  <a:lnTo>
                    <a:pt x="4978" y="6301"/>
                  </a:lnTo>
                  <a:cubicBezTo>
                    <a:pt x="4190" y="6144"/>
                    <a:pt x="3560" y="5451"/>
                    <a:pt x="3560" y="4568"/>
                  </a:cubicBezTo>
                  <a:cubicBezTo>
                    <a:pt x="3560" y="3592"/>
                    <a:pt x="4348" y="2804"/>
                    <a:pt x="5324" y="2804"/>
                  </a:cubicBezTo>
                  <a:close/>
                  <a:moveTo>
                    <a:pt x="1071" y="0"/>
                  </a:moveTo>
                  <a:cubicBezTo>
                    <a:pt x="473" y="0"/>
                    <a:pt x="0" y="473"/>
                    <a:pt x="0" y="1071"/>
                  </a:cubicBezTo>
                  <a:lnTo>
                    <a:pt x="0" y="8097"/>
                  </a:lnTo>
                  <a:cubicBezTo>
                    <a:pt x="0" y="8696"/>
                    <a:pt x="473" y="9168"/>
                    <a:pt x="1071" y="9168"/>
                  </a:cubicBezTo>
                  <a:lnTo>
                    <a:pt x="10964" y="9168"/>
                  </a:lnTo>
                  <a:cubicBezTo>
                    <a:pt x="11562" y="9168"/>
                    <a:pt x="12035" y="8696"/>
                    <a:pt x="12035" y="8097"/>
                  </a:cubicBezTo>
                  <a:lnTo>
                    <a:pt x="12035" y="2489"/>
                  </a:lnTo>
                  <a:cubicBezTo>
                    <a:pt x="12035" y="1891"/>
                    <a:pt x="11562" y="1418"/>
                    <a:pt x="10964" y="1418"/>
                  </a:cubicBezTo>
                  <a:lnTo>
                    <a:pt x="4820" y="1418"/>
                  </a:lnTo>
                  <a:lnTo>
                    <a:pt x="4411" y="599"/>
                  </a:lnTo>
                  <a:cubicBezTo>
                    <a:pt x="4222" y="252"/>
                    <a:pt x="3875"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5" name="Google Shape;8125;p74"/>
          <p:cNvGrpSpPr/>
          <p:nvPr/>
        </p:nvGrpSpPr>
        <p:grpSpPr>
          <a:xfrm>
            <a:off x="1322870" y="3188692"/>
            <a:ext cx="355258" cy="355258"/>
            <a:chOff x="-47154800" y="3569100"/>
            <a:chExt cx="300100" cy="300100"/>
          </a:xfrm>
        </p:grpSpPr>
        <p:sp>
          <p:nvSpPr>
            <p:cNvPr id="8126" name="Google Shape;8126;p74"/>
            <p:cNvSpPr/>
            <p:nvPr/>
          </p:nvSpPr>
          <p:spPr>
            <a:xfrm>
              <a:off x="-46994900" y="3728200"/>
              <a:ext cx="140200" cy="141000"/>
            </a:xfrm>
            <a:custGeom>
              <a:avLst/>
              <a:gdLst/>
              <a:ahLst/>
              <a:cxnLst/>
              <a:rect l="l" t="t" r="r" b="b"/>
              <a:pathLst>
                <a:path w="5608" h="5640" extrusionOk="0">
                  <a:moveTo>
                    <a:pt x="2772" y="1733"/>
                  </a:moveTo>
                  <a:cubicBezTo>
                    <a:pt x="2961" y="1733"/>
                    <a:pt x="3119" y="1891"/>
                    <a:pt x="3119" y="2111"/>
                  </a:cubicBezTo>
                  <a:lnTo>
                    <a:pt x="3119" y="2458"/>
                  </a:lnTo>
                  <a:lnTo>
                    <a:pt x="3466" y="2458"/>
                  </a:lnTo>
                  <a:cubicBezTo>
                    <a:pt x="3655" y="2458"/>
                    <a:pt x="3812" y="2615"/>
                    <a:pt x="3812" y="2804"/>
                  </a:cubicBezTo>
                  <a:cubicBezTo>
                    <a:pt x="3812" y="2994"/>
                    <a:pt x="3655" y="3151"/>
                    <a:pt x="3466" y="3151"/>
                  </a:cubicBezTo>
                  <a:lnTo>
                    <a:pt x="2772" y="3151"/>
                  </a:lnTo>
                  <a:cubicBezTo>
                    <a:pt x="2552" y="3151"/>
                    <a:pt x="2426" y="2994"/>
                    <a:pt x="2426" y="2804"/>
                  </a:cubicBezTo>
                  <a:lnTo>
                    <a:pt x="2426" y="2111"/>
                  </a:lnTo>
                  <a:cubicBezTo>
                    <a:pt x="2426" y="1891"/>
                    <a:pt x="2552" y="1733"/>
                    <a:pt x="2772" y="1733"/>
                  </a:cubicBezTo>
                  <a:close/>
                  <a:moveTo>
                    <a:pt x="2457" y="1"/>
                  </a:moveTo>
                  <a:cubicBezTo>
                    <a:pt x="1197" y="158"/>
                    <a:pt x="221" y="1166"/>
                    <a:pt x="0" y="2458"/>
                  </a:cubicBezTo>
                  <a:lnTo>
                    <a:pt x="693" y="2458"/>
                  </a:lnTo>
                  <a:cubicBezTo>
                    <a:pt x="882" y="2458"/>
                    <a:pt x="1040" y="2615"/>
                    <a:pt x="1040" y="2804"/>
                  </a:cubicBezTo>
                  <a:cubicBezTo>
                    <a:pt x="1040" y="2994"/>
                    <a:pt x="882" y="3151"/>
                    <a:pt x="693" y="3151"/>
                  </a:cubicBezTo>
                  <a:lnTo>
                    <a:pt x="0" y="3151"/>
                  </a:lnTo>
                  <a:cubicBezTo>
                    <a:pt x="158" y="4411"/>
                    <a:pt x="1166" y="5451"/>
                    <a:pt x="2457" y="5608"/>
                  </a:cubicBezTo>
                  <a:lnTo>
                    <a:pt x="2457" y="4947"/>
                  </a:lnTo>
                  <a:cubicBezTo>
                    <a:pt x="2457" y="4726"/>
                    <a:pt x="2615" y="4569"/>
                    <a:pt x="2804" y="4569"/>
                  </a:cubicBezTo>
                  <a:cubicBezTo>
                    <a:pt x="2993" y="4569"/>
                    <a:pt x="3151" y="4726"/>
                    <a:pt x="3151" y="4947"/>
                  </a:cubicBezTo>
                  <a:lnTo>
                    <a:pt x="3151" y="5640"/>
                  </a:lnTo>
                  <a:cubicBezTo>
                    <a:pt x="4411" y="5482"/>
                    <a:pt x="5450" y="4474"/>
                    <a:pt x="5608" y="3214"/>
                  </a:cubicBezTo>
                  <a:lnTo>
                    <a:pt x="4883" y="3214"/>
                  </a:lnTo>
                  <a:cubicBezTo>
                    <a:pt x="4694" y="3151"/>
                    <a:pt x="4537" y="2994"/>
                    <a:pt x="4537" y="2804"/>
                  </a:cubicBezTo>
                  <a:cubicBezTo>
                    <a:pt x="4537" y="2615"/>
                    <a:pt x="4694" y="2458"/>
                    <a:pt x="4883" y="2458"/>
                  </a:cubicBezTo>
                  <a:lnTo>
                    <a:pt x="5608" y="2458"/>
                  </a:lnTo>
                  <a:cubicBezTo>
                    <a:pt x="5450" y="1198"/>
                    <a:pt x="4411" y="221"/>
                    <a:pt x="3151" y="1"/>
                  </a:cubicBezTo>
                  <a:lnTo>
                    <a:pt x="3151" y="694"/>
                  </a:lnTo>
                  <a:cubicBezTo>
                    <a:pt x="3151" y="883"/>
                    <a:pt x="2993" y="1040"/>
                    <a:pt x="2804" y="1040"/>
                  </a:cubicBezTo>
                  <a:cubicBezTo>
                    <a:pt x="2615" y="1040"/>
                    <a:pt x="2457" y="883"/>
                    <a:pt x="2457" y="694"/>
                  </a:cubicBezTo>
                  <a:lnTo>
                    <a:pt x="24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74"/>
            <p:cNvSpPr/>
            <p:nvPr/>
          </p:nvSpPr>
          <p:spPr>
            <a:xfrm>
              <a:off x="-46978375" y="3574625"/>
              <a:ext cx="47275" cy="47275"/>
            </a:xfrm>
            <a:custGeom>
              <a:avLst/>
              <a:gdLst/>
              <a:ahLst/>
              <a:cxnLst/>
              <a:rect l="l" t="t" r="r" b="b"/>
              <a:pathLst>
                <a:path w="1891" h="1891" extrusionOk="0">
                  <a:moveTo>
                    <a:pt x="1" y="0"/>
                  </a:moveTo>
                  <a:lnTo>
                    <a:pt x="1" y="1890"/>
                  </a:lnTo>
                  <a:lnTo>
                    <a:pt x="1891" y="1890"/>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8" name="Google Shape;8128;p74"/>
            <p:cNvSpPr/>
            <p:nvPr/>
          </p:nvSpPr>
          <p:spPr>
            <a:xfrm>
              <a:off x="-47075250" y="3665200"/>
              <a:ext cx="15775" cy="15775"/>
            </a:xfrm>
            <a:custGeom>
              <a:avLst/>
              <a:gdLst/>
              <a:ahLst/>
              <a:cxnLst/>
              <a:rect l="l" t="t" r="r" b="b"/>
              <a:pathLst>
                <a:path w="631" h="631" extrusionOk="0">
                  <a:moveTo>
                    <a:pt x="1" y="0"/>
                  </a:moveTo>
                  <a:lnTo>
                    <a:pt x="1" y="630"/>
                  </a:lnTo>
                  <a:cubicBezTo>
                    <a:pt x="316" y="536"/>
                    <a:pt x="505" y="284"/>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9" name="Google Shape;8129;p74"/>
            <p:cNvSpPr/>
            <p:nvPr/>
          </p:nvSpPr>
          <p:spPr>
            <a:xfrm>
              <a:off x="-47110700" y="3631325"/>
              <a:ext cx="51225" cy="51225"/>
            </a:xfrm>
            <a:custGeom>
              <a:avLst/>
              <a:gdLst/>
              <a:ahLst/>
              <a:cxnLst/>
              <a:rect l="l" t="t" r="r" b="b"/>
              <a:pathLst>
                <a:path w="2049" h="2049" extrusionOk="0">
                  <a:moveTo>
                    <a:pt x="1040" y="0"/>
                  </a:moveTo>
                  <a:cubicBezTo>
                    <a:pt x="473" y="0"/>
                    <a:pt x="1" y="473"/>
                    <a:pt x="1" y="1040"/>
                  </a:cubicBezTo>
                  <a:cubicBezTo>
                    <a:pt x="1" y="1481"/>
                    <a:pt x="253" y="1859"/>
                    <a:pt x="694" y="2048"/>
                  </a:cubicBezTo>
                  <a:lnTo>
                    <a:pt x="694" y="1040"/>
                  </a:lnTo>
                  <a:cubicBezTo>
                    <a:pt x="694" y="851"/>
                    <a:pt x="851" y="694"/>
                    <a:pt x="1040" y="694"/>
                  </a:cubicBezTo>
                  <a:lnTo>
                    <a:pt x="2049" y="694"/>
                  </a:lnTo>
                  <a:cubicBezTo>
                    <a:pt x="1891" y="316"/>
                    <a:pt x="1482"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74"/>
            <p:cNvSpPr/>
            <p:nvPr/>
          </p:nvSpPr>
          <p:spPr>
            <a:xfrm>
              <a:off x="-47075250" y="3665200"/>
              <a:ext cx="53575" cy="54350"/>
            </a:xfrm>
            <a:custGeom>
              <a:avLst/>
              <a:gdLst/>
              <a:ahLst/>
              <a:cxnLst/>
              <a:rect l="l" t="t" r="r" b="b"/>
              <a:pathLst>
                <a:path w="2143" h="2174" extrusionOk="0">
                  <a:moveTo>
                    <a:pt x="1355" y="0"/>
                  </a:moveTo>
                  <a:cubicBezTo>
                    <a:pt x="1229" y="693"/>
                    <a:pt x="694" y="1229"/>
                    <a:pt x="1" y="1386"/>
                  </a:cubicBezTo>
                  <a:lnTo>
                    <a:pt x="1" y="2174"/>
                  </a:lnTo>
                  <a:lnTo>
                    <a:pt x="2143" y="2174"/>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1" name="Google Shape;8131;p74"/>
            <p:cNvSpPr/>
            <p:nvPr/>
          </p:nvSpPr>
          <p:spPr>
            <a:xfrm>
              <a:off x="-47154800" y="3569100"/>
              <a:ext cx="229225" cy="300100"/>
            </a:xfrm>
            <a:custGeom>
              <a:avLst/>
              <a:gdLst/>
              <a:ahLst/>
              <a:cxnLst/>
              <a:rect l="l" t="t" r="r" b="b"/>
              <a:pathLst>
                <a:path w="9169" h="12004" extrusionOk="0">
                  <a:moveTo>
                    <a:pt x="2804" y="1765"/>
                  </a:moveTo>
                  <a:cubicBezTo>
                    <a:pt x="3687" y="1765"/>
                    <a:pt x="4380" y="2363"/>
                    <a:pt x="4537" y="3183"/>
                  </a:cubicBezTo>
                  <a:lnTo>
                    <a:pt x="5703" y="3183"/>
                  </a:lnTo>
                  <a:cubicBezTo>
                    <a:pt x="5892" y="3183"/>
                    <a:pt x="6049" y="3340"/>
                    <a:pt x="6049" y="3529"/>
                  </a:cubicBezTo>
                  <a:lnTo>
                    <a:pt x="6049" y="6428"/>
                  </a:lnTo>
                  <a:cubicBezTo>
                    <a:pt x="6049" y="6617"/>
                    <a:pt x="5892" y="6774"/>
                    <a:pt x="5703" y="6774"/>
                  </a:cubicBezTo>
                  <a:lnTo>
                    <a:pt x="2804" y="6774"/>
                  </a:lnTo>
                  <a:cubicBezTo>
                    <a:pt x="2615" y="6774"/>
                    <a:pt x="2458" y="6617"/>
                    <a:pt x="2458" y="6428"/>
                  </a:cubicBezTo>
                  <a:lnTo>
                    <a:pt x="2458" y="5262"/>
                  </a:lnTo>
                  <a:cubicBezTo>
                    <a:pt x="1670" y="5104"/>
                    <a:pt x="1040" y="4411"/>
                    <a:pt x="1040" y="3529"/>
                  </a:cubicBezTo>
                  <a:cubicBezTo>
                    <a:pt x="1040" y="2552"/>
                    <a:pt x="1828" y="1765"/>
                    <a:pt x="2804" y="1765"/>
                  </a:cubicBezTo>
                  <a:close/>
                  <a:moveTo>
                    <a:pt x="4191" y="8160"/>
                  </a:moveTo>
                  <a:cubicBezTo>
                    <a:pt x="4380" y="8160"/>
                    <a:pt x="4537" y="8318"/>
                    <a:pt x="4537" y="8507"/>
                  </a:cubicBezTo>
                  <a:cubicBezTo>
                    <a:pt x="4537" y="8696"/>
                    <a:pt x="4380" y="8853"/>
                    <a:pt x="4191" y="8853"/>
                  </a:cubicBezTo>
                  <a:lnTo>
                    <a:pt x="1387" y="8853"/>
                  </a:lnTo>
                  <a:cubicBezTo>
                    <a:pt x="1198" y="8853"/>
                    <a:pt x="1040" y="8696"/>
                    <a:pt x="1040" y="8507"/>
                  </a:cubicBezTo>
                  <a:cubicBezTo>
                    <a:pt x="1040" y="8318"/>
                    <a:pt x="1198" y="8160"/>
                    <a:pt x="1387" y="8160"/>
                  </a:cubicBezTo>
                  <a:close/>
                  <a:moveTo>
                    <a:pt x="4191" y="9515"/>
                  </a:moveTo>
                  <a:cubicBezTo>
                    <a:pt x="4380" y="9515"/>
                    <a:pt x="4537" y="9673"/>
                    <a:pt x="4537" y="9893"/>
                  </a:cubicBezTo>
                  <a:cubicBezTo>
                    <a:pt x="4537" y="10082"/>
                    <a:pt x="4380" y="10240"/>
                    <a:pt x="4191" y="10240"/>
                  </a:cubicBezTo>
                  <a:lnTo>
                    <a:pt x="1387" y="10240"/>
                  </a:lnTo>
                  <a:cubicBezTo>
                    <a:pt x="1198" y="10240"/>
                    <a:pt x="1040" y="10082"/>
                    <a:pt x="1040" y="9893"/>
                  </a:cubicBezTo>
                  <a:cubicBezTo>
                    <a:pt x="1040" y="9673"/>
                    <a:pt x="1198" y="9515"/>
                    <a:pt x="1387" y="9515"/>
                  </a:cubicBezTo>
                  <a:close/>
                  <a:moveTo>
                    <a:pt x="347" y="1"/>
                  </a:moveTo>
                  <a:cubicBezTo>
                    <a:pt x="158" y="1"/>
                    <a:pt x="1" y="158"/>
                    <a:pt x="1" y="347"/>
                  </a:cubicBezTo>
                  <a:lnTo>
                    <a:pt x="1" y="11657"/>
                  </a:lnTo>
                  <a:cubicBezTo>
                    <a:pt x="1" y="11846"/>
                    <a:pt x="158" y="12004"/>
                    <a:pt x="347" y="12004"/>
                  </a:cubicBezTo>
                  <a:lnTo>
                    <a:pt x="7089" y="12004"/>
                  </a:lnTo>
                  <a:cubicBezTo>
                    <a:pt x="6239" y="11342"/>
                    <a:pt x="5671" y="10366"/>
                    <a:pt x="5671" y="9168"/>
                  </a:cubicBezTo>
                  <a:cubicBezTo>
                    <a:pt x="5671" y="7247"/>
                    <a:pt x="7247" y="5671"/>
                    <a:pt x="9168" y="5671"/>
                  </a:cubicBezTo>
                  <a:lnTo>
                    <a:pt x="9168" y="2805"/>
                  </a:lnTo>
                  <a:lnTo>
                    <a:pt x="6711" y="2805"/>
                  </a:lnTo>
                  <a:cubicBezTo>
                    <a:pt x="6522" y="2805"/>
                    <a:pt x="6365" y="2647"/>
                    <a:pt x="6365" y="2426"/>
                  </a:cubicBez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2" name="Google Shape;8132;p74"/>
          <p:cNvGrpSpPr/>
          <p:nvPr/>
        </p:nvGrpSpPr>
        <p:grpSpPr>
          <a:xfrm>
            <a:off x="1323343" y="3626905"/>
            <a:ext cx="354311" cy="353423"/>
            <a:chOff x="-47154000" y="3939275"/>
            <a:chExt cx="299300" cy="298550"/>
          </a:xfrm>
        </p:grpSpPr>
        <p:sp>
          <p:nvSpPr>
            <p:cNvPr id="8133" name="Google Shape;8133;p74"/>
            <p:cNvSpPr/>
            <p:nvPr/>
          </p:nvSpPr>
          <p:spPr>
            <a:xfrm>
              <a:off x="-47084700" y="4131475"/>
              <a:ext cx="159125" cy="106350"/>
            </a:xfrm>
            <a:custGeom>
              <a:avLst/>
              <a:gdLst/>
              <a:ahLst/>
              <a:cxnLst/>
              <a:rect l="l" t="t" r="r" b="b"/>
              <a:pathLst>
                <a:path w="6365" h="4254" extrusionOk="0">
                  <a:moveTo>
                    <a:pt x="4569" y="693"/>
                  </a:moveTo>
                  <a:cubicBezTo>
                    <a:pt x="4789" y="693"/>
                    <a:pt x="4947" y="851"/>
                    <a:pt x="4947" y="1040"/>
                  </a:cubicBezTo>
                  <a:cubicBezTo>
                    <a:pt x="4947" y="1260"/>
                    <a:pt x="4789" y="1418"/>
                    <a:pt x="4569" y="1418"/>
                  </a:cubicBezTo>
                  <a:lnTo>
                    <a:pt x="1796" y="1418"/>
                  </a:lnTo>
                  <a:cubicBezTo>
                    <a:pt x="1576" y="1418"/>
                    <a:pt x="1418" y="1260"/>
                    <a:pt x="1418" y="1040"/>
                  </a:cubicBezTo>
                  <a:cubicBezTo>
                    <a:pt x="1418" y="851"/>
                    <a:pt x="1576" y="693"/>
                    <a:pt x="1796" y="693"/>
                  </a:cubicBezTo>
                  <a:close/>
                  <a:moveTo>
                    <a:pt x="4569" y="2111"/>
                  </a:moveTo>
                  <a:cubicBezTo>
                    <a:pt x="4789" y="2111"/>
                    <a:pt x="4947" y="2268"/>
                    <a:pt x="4947" y="2457"/>
                  </a:cubicBezTo>
                  <a:cubicBezTo>
                    <a:pt x="4947" y="2678"/>
                    <a:pt x="4789" y="2835"/>
                    <a:pt x="4569" y="2835"/>
                  </a:cubicBezTo>
                  <a:lnTo>
                    <a:pt x="1796" y="2835"/>
                  </a:lnTo>
                  <a:cubicBezTo>
                    <a:pt x="1576" y="2835"/>
                    <a:pt x="1418" y="2678"/>
                    <a:pt x="1418" y="2457"/>
                  </a:cubicBezTo>
                  <a:cubicBezTo>
                    <a:pt x="1418" y="2268"/>
                    <a:pt x="1576" y="2111"/>
                    <a:pt x="1796" y="2111"/>
                  </a:cubicBezTo>
                  <a:close/>
                  <a:moveTo>
                    <a:pt x="0" y="0"/>
                  </a:moveTo>
                  <a:lnTo>
                    <a:pt x="0" y="1418"/>
                  </a:lnTo>
                  <a:lnTo>
                    <a:pt x="0" y="3875"/>
                  </a:lnTo>
                  <a:cubicBezTo>
                    <a:pt x="0" y="4096"/>
                    <a:pt x="158" y="4253"/>
                    <a:pt x="379" y="4253"/>
                  </a:cubicBezTo>
                  <a:lnTo>
                    <a:pt x="5986" y="4253"/>
                  </a:lnTo>
                  <a:cubicBezTo>
                    <a:pt x="6207" y="4253"/>
                    <a:pt x="6364" y="4096"/>
                    <a:pt x="6364" y="3875"/>
                  </a:cubicBezTo>
                  <a:lnTo>
                    <a:pt x="6364" y="1418"/>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4" name="Google Shape;8134;p74"/>
            <p:cNvSpPr/>
            <p:nvPr/>
          </p:nvSpPr>
          <p:spPr>
            <a:xfrm>
              <a:off x="-46979150" y="3943225"/>
              <a:ext cx="48050" cy="47275"/>
            </a:xfrm>
            <a:custGeom>
              <a:avLst/>
              <a:gdLst/>
              <a:ahLst/>
              <a:cxnLst/>
              <a:rect l="l" t="t" r="r" b="b"/>
              <a:pathLst>
                <a:path w="1922" h="1891" extrusionOk="0">
                  <a:moveTo>
                    <a:pt x="0" y="0"/>
                  </a:moveTo>
                  <a:lnTo>
                    <a:pt x="0" y="1891"/>
                  </a:lnTo>
                  <a:lnTo>
                    <a:pt x="1922" y="1891"/>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74"/>
            <p:cNvSpPr/>
            <p:nvPr/>
          </p:nvSpPr>
          <p:spPr>
            <a:xfrm>
              <a:off x="-47154000" y="4026700"/>
              <a:ext cx="299300" cy="141025"/>
            </a:xfrm>
            <a:custGeom>
              <a:avLst/>
              <a:gdLst/>
              <a:ahLst/>
              <a:cxnLst/>
              <a:rect l="l" t="t" r="r" b="b"/>
              <a:pathLst>
                <a:path w="11972" h="5641" extrusionOk="0">
                  <a:moveTo>
                    <a:pt x="3151" y="2080"/>
                  </a:moveTo>
                  <a:cubicBezTo>
                    <a:pt x="3340" y="2080"/>
                    <a:pt x="3497" y="2238"/>
                    <a:pt x="3497" y="2458"/>
                  </a:cubicBezTo>
                  <a:cubicBezTo>
                    <a:pt x="3497" y="2647"/>
                    <a:pt x="3340" y="2805"/>
                    <a:pt x="3151" y="2805"/>
                  </a:cubicBezTo>
                  <a:cubicBezTo>
                    <a:pt x="2930" y="2805"/>
                    <a:pt x="2804" y="2647"/>
                    <a:pt x="2804" y="2458"/>
                  </a:cubicBezTo>
                  <a:cubicBezTo>
                    <a:pt x="2804" y="2238"/>
                    <a:pt x="2930" y="2080"/>
                    <a:pt x="3151" y="2080"/>
                  </a:cubicBezTo>
                  <a:close/>
                  <a:moveTo>
                    <a:pt x="4568" y="2080"/>
                  </a:moveTo>
                  <a:cubicBezTo>
                    <a:pt x="4757" y="2080"/>
                    <a:pt x="4915" y="2238"/>
                    <a:pt x="4915" y="2458"/>
                  </a:cubicBezTo>
                  <a:cubicBezTo>
                    <a:pt x="4915" y="2647"/>
                    <a:pt x="4757" y="2805"/>
                    <a:pt x="4568" y="2805"/>
                  </a:cubicBezTo>
                  <a:cubicBezTo>
                    <a:pt x="4348" y="2805"/>
                    <a:pt x="4190" y="2647"/>
                    <a:pt x="4190" y="2458"/>
                  </a:cubicBezTo>
                  <a:cubicBezTo>
                    <a:pt x="4190" y="2238"/>
                    <a:pt x="4348" y="2080"/>
                    <a:pt x="4568" y="2080"/>
                  </a:cubicBezTo>
                  <a:close/>
                  <a:moveTo>
                    <a:pt x="6648" y="2080"/>
                  </a:moveTo>
                  <a:cubicBezTo>
                    <a:pt x="6837" y="2080"/>
                    <a:pt x="6994" y="2238"/>
                    <a:pt x="6994" y="2458"/>
                  </a:cubicBezTo>
                  <a:cubicBezTo>
                    <a:pt x="6994" y="2647"/>
                    <a:pt x="6837" y="2805"/>
                    <a:pt x="6648" y="2805"/>
                  </a:cubicBezTo>
                  <a:lnTo>
                    <a:pt x="5923" y="2805"/>
                  </a:lnTo>
                  <a:cubicBezTo>
                    <a:pt x="5734" y="2805"/>
                    <a:pt x="5576" y="2647"/>
                    <a:pt x="5576" y="2458"/>
                  </a:cubicBezTo>
                  <a:cubicBezTo>
                    <a:pt x="5576" y="2238"/>
                    <a:pt x="5734" y="2080"/>
                    <a:pt x="5923" y="2080"/>
                  </a:cubicBezTo>
                  <a:close/>
                  <a:moveTo>
                    <a:pt x="8790" y="2080"/>
                  </a:moveTo>
                  <a:cubicBezTo>
                    <a:pt x="8979" y="2080"/>
                    <a:pt x="9136" y="2238"/>
                    <a:pt x="9136" y="2458"/>
                  </a:cubicBezTo>
                  <a:cubicBezTo>
                    <a:pt x="9136" y="2647"/>
                    <a:pt x="8979" y="2805"/>
                    <a:pt x="8790" y="2805"/>
                  </a:cubicBezTo>
                  <a:lnTo>
                    <a:pt x="8065" y="2805"/>
                  </a:lnTo>
                  <a:cubicBezTo>
                    <a:pt x="7876" y="2805"/>
                    <a:pt x="7719" y="2647"/>
                    <a:pt x="7719" y="2458"/>
                  </a:cubicBezTo>
                  <a:cubicBezTo>
                    <a:pt x="7719" y="2238"/>
                    <a:pt x="7876" y="2080"/>
                    <a:pt x="8065" y="2080"/>
                  </a:cubicBezTo>
                  <a:close/>
                  <a:moveTo>
                    <a:pt x="1071" y="1"/>
                  </a:moveTo>
                  <a:cubicBezTo>
                    <a:pt x="473" y="1"/>
                    <a:pt x="0" y="473"/>
                    <a:pt x="0" y="1072"/>
                  </a:cubicBezTo>
                  <a:lnTo>
                    <a:pt x="0" y="4569"/>
                  </a:lnTo>
                  <a:cubicBezTo>
                    <a:pt x="0" y="5168"/>
                    <a:pt x="473" y="5640"/>
                    <a:pt x="1071" y="5640"/>
                  </a:cubicBezTo>
                  <a:lnTo>
                    <a:pt x="2111" y="5640"/>
                  </a:lnTo>
                  <a:lnTo>
                    <a:pt x="2111" y="4223"/>
                  </a:lnTo>
                  <a:lnTo>
                    <a:pt x="1764" y="4223"/>
                  </a:lnTo>
                  <a:cubicBezTo>
                    <a:pt x="1575" y="4223"/>
                    <a:pt x="1418" y="4065"/>
                    <a:pt x="1418" y="3876"/>
                  </a:cubicBezTo>
                  <a:cubicBezTo>
                    <a:pt x="1418" y="3655"/>
                    <a:pt x="1575" y="3498"/>
                    <a:pt x="1764" y="3498"/>
                  </a:cubicBezTo>
                  <a:lnTo>
                    <a:pt x="10208" y="3498"/>
                  </a:lnTo>
                  <a:cubicBezTo>
                    <a:pt x="10397" y="3498"/>
                    <a:pt x="10554" y="3655"/>
                    <a:pt x="10554" y="3876"/>
                  </a:cubicBezTo>
                  <a:cubicBezTo>
                    <a:pt x="10554" y="4065"/>
                    <a:pt x="10397" y="4223"/>
                    <a:pt x="10208" y="4223"/>
                  </a:cubicBezTo>
                  <a:lnTo>
                    <a:pt x="9830" y="4223"/>
                  </a:lnTo>
                  <a:lnTo>
                    <a:pt x="9830" y="5640"/>
                  </a:lnTo>
                  <a:lnTo>
                    <a:pt x="10901" y="5640"/>
                  </a:lnTo>
                  <a:cubicBezTo>
                    <a:pt x="11499" y="5640"/>
                    <a:pt x="11972" y="5168"/>
                    <a:pt x="11972" y="4569"/>
                  </a:cubicBezTo>
                  <a:lnTo>
                    <a:pt x="11972" y="1072"/>
                  </a:lnTo>
                  <a:cubicBezTo>
                    <a:pt x="11972" y="473"/>
                    <a:pt x="11499" y="1"/>
                    <a:pt x="10901" y="1"/>
                  </a:cubicBezTo>
                  <a:lnTo>
                    <a:pt x="9830" y="1"/>
                  </a:lnTo>
                  <a:lnTo>
                    <a:pt x="9830" y="1072"/>
                  </a:lnTo>
                  <a:cubicBezTo>
                    <a:pt x="9830" y="1261"/>
                    <a:pt x="9672" y="1419"/>
                    <a:pt x="9483" y="1419"/>
                  </a:cubicBezTo>
                  <a:lnTo>
                    <a:pt x="2489" y="1419"/>
                  </a:lnTo>
                  <a:cubicBezTo>
                    <a:pt x="2268" y="1419"/>
                    <a:pt x="2111" y="1261"/>
                    <a:pt x="2111" y="1072"/>
                  </a:cubicBez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6" name="Google Shape;8136;p74"/>
            <p:cNvSpPr/>
            <p:nvPr/>
          </p:nvSpPr>
          <p:spPr>
            <a:xfrm>
              <a:off x="-47083125" y="3939275"/>
              <a:ext cx="158325" cy="106350"/>
            </a:xfrm>
            <a:custGeom>
              <a:avLst/>
              <a:gdLst/>
              <a:ahLst/>
              <a:cxnLst/>
              <a:rect l="l" t="t" r="r" b="b"/>
              <a:pathLst>
                <a:path w="6333" h="4254" extrusionOk="0">
                  <a:moveTo>
                    <a:pt x="347" y="1"/>
                  </a:moveTo>
                  <a:cubicBezTo>
                    <a:pt x="158" y="1"/>
                    <a:pt x="0" y="158"/>
                    <a:pt x="0" y="347"/>
                  </a:cubicBezTo>
                  <a:lnTo>
                    <a:pt x="0" y="3529"/>
                  </a:lnTo>
                  <a:lnTo>
                    <a:pt x="0" y="4254"/>
                  </a:lnTo>
                  <a:lnTo>
                    <a:pt x="6333" y="4254"/>
                  </a:lnTo>
                  <a:lnTo>
                    <a:pt x="6333" y="3498"/>
                  </a:lnTo>
                  <a:lnTo>
                    <a:pt x="6301" y="3498"/>
                  </a:lnTo>
                  <a:lnTo>
                    <a:pt x="6301" y="2805"/>
                  </a:lnTo>
                  <a:lnTo>
                    <a:pt x="3844" y="2805"/>
                  </a:lnTo>
                  <a:cubicBezTo>
                    <a:pt x="3655" y="2805"/>
                    <a:pt x="3498" y="2647"/>
                    <a:pt x="3498" y="2427"/>
                  </a:cubicBez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7" name="Google Shape;8137;p74"/>
          <p:cNvGrpSpPr/>
          <p:nvPr/>
        </p:nvGrpSpPr>
        <p:grpSpPr>
          <a:xfrm>
            <a:off x="3548633" y="2752344"/>
            <a:ext cx="312375" cy="354341"/>
            <a:chOff x="-45286550" y="3200500"/>
            <a:chExt cx="263875" cy="299325"/>
          </a:xfrm>
        </p:grpSpPr>
        <p:sp>
          <p:nvSpPr>
            <p:cNvPr id="8138" name="Google Shape;8138;p74"/>
            <p:cNvSpPr/>
            <p:nvPr/>
          </p:nvSpPr>
          <p:spPr>
            <a:xfrm>
              <a:off x="-45233000" y="3200500"/>
              <a:ext cx="210325" cy="247325"/>
            </a:xfrm>
            <a:custGeom>
              <a:avLst/>
              <a:gdLst/>
              <a:ahLst/>
              <a:cxnLst/>
              <a:rect l="l" t="t" r="r" b="b"/>
              <a:pathLst>
                <a:path w="8413" h="9893" extrusionOk="0">
                  <a:moveTo>
                    <a:pt x="3151" y="0"/>
                  </a:moveTo>
                  <a:cubicBezTo>
                    <a:pt x="1891" y="0"/>
                    <a:pt x="851" y="945"/>
                    <a:pt x="694" y="2174"/>
                  </a:cubicBezTo>
                  <a:cubicBezTo>
                    <a:pt x="347" y="2300"/>
                    <a:pt x="64" y="2615"/>
                    <a:pt x="1" y="2962"/>
                  </a:cubicBezTo>
                  <a:cubicBezTo>
                    <a:pt x="316" y="2899"/>
                    <a:pt x="662" y="2804"/>
                    <a:pt x="1009" y="2804"/>
                  </a:cubicBezTo>
                  <a:cubicBezTo>
                    <a:pt x="1355" y="2804"/>
                    <a:pt x="1733" y="2836"/>
                    <a:pt x="2048" y="2962"/>
                  </a:cubicBezTo>
                  <a:cubicBezTo>
                    <a:pt x="1954" y="2615"/>
                    <a:pt x="1733" y="2332"/>
                    <a:pt x="1355" y="2174"/>
                  </a:cubicBezTo>
                  <a:cubicBezTo>
                    <a:pt x="1481" y="1355"/>
                    <a:pt x="2237" y="693"/>
                    <a:pt x="3088" y="693"/>
                  </a:cubicBezTo>
                  <a:cubicBezTo>
                    <a:pt x="4096" y="693"/>
                    <a:pt x="4884" y="1481"/>
                    <a:pt x="4884" y="2458"/>
                  </a:cubicBezTo>
                  <a:lnTo>
                    <a:pt x="4884" y="8475"/>
                  </a:lnTo>
                  <a:cubicBezTo>
                    <a:pt x="4884" y="9263"/>
                    <a:pt x="5514" y="9893"/>
                    <a:pt x="6302" y="9893"/>
                  </a:cubicBezTo>
                  <a:cubicBezTo>
                    <a:pt x="7089" y="9893"/>
                    <a:pt x="7719" y="9263"/>
                    <a:pt x="7719" y="8475"/>
                  </a:cubicBezTo>
                  <a:lnTo>
                    <a:pt x="7719" y="6270"/>
                  </a:lnTo>
                  <a:cubicBezTo>
                    <a:pt x="8097" y="6112"/>
                    <a:pt x="8412" y="5766"/>
                    <a:pt x="8412" y="5293"/>
                  </a:cubicBezTo>
                  <a:lnTo>
                    <a:pt x="8412" y="3875"/>
                  </a:lnTo>
                  <a:cubicBezTo>
                    <a:pt x="8412" y="3686"/>
                    <a:pt x="8255" y="3529"/>
                    <a:pt x="8066" y="3529"/>
                  </a:cubicBezTo>
                  <a:lnTo>
                    <a:pt x="7688" y="3529"/>
                  </a:lnTo>
                  <a:lnTo>
                    <a:pt x="7688" y="2458"/>
                  </a:lnTo>
                  <a:cubicBezTo>
                    <a:pt x="7688" y="2269"/>
                    <a:pt x="7562" y="2111"/>
                    <a:pt x="7341" y="2111"/>
                  </a:cubicBezTo>
                  <a:cubicBezTo>
                    <a:pt x="7152" y="2111"/>
                    <a:pt x="6995" y="2269"/>
                    <a:pt x="6995" y="2458"/>
                  </a:cubicBezTo>
                  <a:lnTo>
                    <a:pt x="6995" y="3529"/>
                  </a:lnTo>
                  <a:lnTo>
                    <a:pt x="6648" y="3529"/>
                  </a:lnTo>
                  <a:cubicBezTo>
                    <a:pt x="6459" y="3529"/>
                    <a:pt x="6302" y="3686"/>
                    <a:pt x="6302" y="3875"/>
                  </a:cubicBezTo>
                  <a:lnTo>
                    <a:pt x="6302" y="5293"/>
                  </a:lnTo>
                  <a:cubicBezTo>
                    <a:pt x="6302" y="5766"/>
                    <a:pt x="6554" y="6112"/>
                    <a:pt x="6995" y="6270"/>
                  </a:cubicBezTo>
                  <a:lnTo>
                    <a:pt x="6995" y="8475"/>
                  </a:lnTo>
                  <a:cubicBezTo>
                    <a:pt x="6995" y="8885"/>
                    <a:pt x="6680" y="9200"/>
                    <a:pt x="6302" y="9200"/>
                  </a:cubicBezTo>
                  <a:cubicBezTo>
                    <a:pt x="5892" y="9200"/>
                    <a:pt x="5577" y="8885"/>
                    <a:pt x="5577" y="8475"/>
                  </a:cubicBezTo>
                  <a:lnTo>
                    <a:pt x="5577" y="2458"/>
                  </a:lnTo>
                  <a:cubicBezTo>
                    <a:pt x="5577" y="1103"/>
                    <a:pt x="447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9" name="Google Shape;8139;p74"/>
            <p:cNvSpPr/>
            <p:nvPr/>
          </p:nvSpPr>
          <p:spPr>
            <a:xfrm>
              <a:off x="-45216450" y="33407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0" name="Google Shape;8140;p74"/>
            <p:cNvSpPr/>
            <p:nvPr/>
          </p:nvSpPr>
          <p:spPr>
            <a:xfrm>
              <a:off x="-45286550" y="3289500"/>
              <a:ext cx="158325" cy="210325"/>
            </a:xfrm>
            <a:custGeom>
              <a:avLst/>
              <a:gdLst/>
              <a:ahLst/>
              <a:cxnLst/>
              <a:rect l="l" t="t" r="r" b="b"/>
              <a:pathLst>
                <a:path w="6333" h="8413" extrusionOk="0">
                  <a:moveTo>
                    <a:pt x="2804" y="0"/>
                  </a:moveTo>
                  <a:cubicBezTo>
                    <a:pt x="1229" y="189"/>
                    <a:pt x="0" y="1481"/>
                    <a:pt x="0" y="3119"/>
                  </a:cubicBezTo>
                  <a:lnTo>
                    <a:pt x="0" y="5262"/>
                  </a:lnTo>
                  <a:cubicBezTo>
                    <a:pt x="0" y="6994"/>
                    <a:pt x="1418" y="8412"/>
                    <a:pt x="3151" y="8412"/>
                  </a:cubicBezTo>
                  <a:cubicBezTo>
                    <a:pt x="4884" y="8412"/>
                    <a:pt x="6301" y="6994"/>
                    <a:pt x="6301" y="5262"/>
                  </a:cubicBezTo>
                  <a:lnTo>
                    <a:pt x="6301" y="3119"/>
                  </a:lnTo>
                  <a:cubicBezTo>
                    <a:pt x="6333" y="1481"/>
                    <a:pt x="5073" y="158"/>
                    <a:pt x="3497" y="0"/>
                  </a:cubicBezTo>
                  <a:lnTo>
                    <a:pt x="3497" y="1418"/>
                  </a:lnTo>
                  <a:cubicBezTo>
                    <a:pt x="3907" y="1576"/>
                    <a:pt x="4222" y="1954"/>
                    <a:pt x="4222" y="2395"/>
                  </a:cubicBezTo>
                  <a:cubicBezTo>
                    <a:pt x="4222" y="2836"/>
                    <a:pt x="3938" y="3214"/>
                    <a:pt x="3497" y="3371"/>
                  </a:cubicBezTo>
                  <a:lnTo>
                    <a:pt x="3497" y="3844"/>
                  </a:lnTo>
                  <a:cubicBezTo>
                    <a:pt x="3497" y="4065"/>
                    <a:pt x="3340" y="4191"/>
                    <a:pt x="3151" y="4191"/>
                  </a:cubicBezTo>
                  <a:cubicBezTo>
                    <a:pt x="2962" y="4191"/>
                    <a:pt x="2804" y="4065"/>
                    <a:pt x="2804" y="3844"/>
                  </a:cubicBezTo>
                  <a:lnTo>
                    <a:pt x="2804" y="3371"/>
                  </a:lnTo>
                  <a:cubicBezTo>
                    <a:pt x="2395" y="3214"/>
                    <a:pt x="2080" y="2836"/>
                    <a:pt x="2080" y="2395"/>
                  </a:cubicBezTo>
                  <a:cubicBezTo>
                    <a:pt x="2080" y="1954"/>
                    <a:pt x="2363" y="1576"/>
                    <a:pt x="2804" y="1418"/>
                  </a:cubicBez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1" name="Google Shape;8141;p74"/>
          <p:cNvGrpSpPr/>
          <p:nvPr/>
        </p:nvGrpSpPr>
        <p:grpSpPr>
          <a:xfrm>
            <a:off x="3548633" y="3189639"/>
            <a:ext cx="312375" cy="354311"/>
            <a:chOff x="-45286550" y="3569900"/>
            <a:chExt cx="263875" cy="299300"/>
          </a:xfrm>
        </p:grpSpPr>
        <p:sp>
          <p:nvSpPr>
            <p:cNvPr id="8142" name="Google Shape;8142;p74"/>
            <p:cNvSpPr/>
            <p:nvPr/>
          </p:nvSpPr>
          <p:spPr>
            <a:xfrm>
              <a:off x="-45234575" y="3728200"/>
              <a:ext cx="18150" cy="18150"/>
            </a:xfrm>
            <a:custGeom>
              <a:avLst/>
              <a:gdLst/>
              <a:ahLst/>
              <a:cxnLst/>
              <a:rect l="l" t="t" r="r" b="b"/>
              <a:pathLst>
                <a:path w="726" h="726" extrusionOk="0">
                  <a:moveTo>
                    <a:pt x="1" y="1"/>
                  </a:moveTo>
                  <a:lnTo>
                    <a:pt x="1" y="725"/>
                  </a:lnTo>
                  <a:lnTo>
                    <a:pt x="347" y="725"/>
                  </a:lnTo>
                  <a:cubicBezTo>
                    <a:pt x="568" y="725"/>
                    <a:pt x="725" y="568"/>
                    <a:pt x="725" y="379"/>
                  </a:cubicBezTo>
                  <a:cubicBezTo>
                    <a:pt x="725" y="127"/>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3" name="Google Shape;8143;p74"/>
            <p:cNvSpPr/>
            <p:nvPr/>
          </p:nvSpPr>
          <p:spPr>
            <a:xfrm>
              <a:off x="-45286550" y="3692750"/>
              <a:ext cx="263875" cy="122900"/>
            </a:xfrm>
            <a:custGeom>
              <a:avLst/>
              <a:gdLst/>
              <a:ahLst/>
              <a:cxnLst/>
              <a:rect l="l" t="t" r="r" b="b"/>
              <a:pathLst>
                <a:path w="10555" h="4916" extrusionOk="0">
                  <a:moveTo>
                    <a:pt x="2458" y="725"/>
                  </a:moveTo>
                  <a:cubicBezTo>
                    <a:pt x="3025" y="725"/>
                    <a:pt x="3497" y="1198"/>
                    <a:pt x="3497" y="1765"/>
                  </a:cubicBezTo>
                  <a:cubicBezTo>
                    <a:pt x="3497" y="2364"/>
                    <a:pt x="3025" y="2805"/>
                    <a:pt x="2426" y="2805"/>
                  </a:cubicBezTo>
                  <a:lnTo>
                    <a:pt x="2080" y="2805"/>
                  </a:lnTo>
                  <a:lnTo>
                    <a:pt x="2080" y="3876"/>
                  </a:lnTo>
                  <a:cubicBezTo>
                    <a:pt x="2080" y="4065"/>
                    <a:pt x="1922" y="4222"/>
                    <a:pt x="1733" y="4222"/>
                  </a:cubicBezTo>
                  <a:cubicBezTo>
                    <a:pt x="1544" y="4222"/>
                    <a:pt x="1387" y="4065"/>
                    <a:pt x="1387" y="3876"/>
                  </a:cubicBezTo>
                  <a:lnTo>
                    <a:pt x="1387" y="1072"/>
                  </a:lnTo>
                  <a:cubicBezTo>
                    <a:pt x="1387" y="883"/>
                    <a:pt x="1544" y="725"/>
                    <a:pt x="1733" y="725"/>
                  </a:cubicBezTo>
                  <a:close/>
                  <a:moveTo>
                    <a:pt x="5262" y="694"/>
                  </a:moveTo>
                  <a:cubicBezTo>
                    <a:pt x="5860" y="694"/>
                    <a:pt x="6333" y="1167"/>
                    <a:pt x="6333" y="1734"/>
                  </a:cubicBezTo>
                  <a:cubicBezTo>
                    <a:pt x="6333" y="1954"/>
                    <a:pt x="6175" y="2112"/>
                    <a:pt x="5986" y="2112"/>
                  </a:cubicBezTo>
                  <a:cubicBezTo>
                    <a:pt x="5797" y="2112"/>
                    <a:pt x="5640" y="1954"/>
                    <a:pt x="5640" y="1734"/>
                  </a:cubicBezTo>
                  <a:cubicBezTo>
                    <a:pt x="5640" y="1545"/>
                    <a:pt x="5482" y="1387"/>
                    <a:pt x="5262" y="1387"/>
                  </a:cubicBezTo>
                  <a:cubicBezTo>
                    <a:pt x="5073" y="1387"/>
                    <a:pt x="4915" y="1545"/>
                    <a:pt x="4915" y="1734"/>
                  </a:cubicBezTo>
                  <a:cubicBezTo>
                    <a:pt x="4915" y="1954"/>
                    <a:pt x="5073" y="2112"/>
                    <a:pt x="5262" y="2112"/>
                  </a:cubicBezTo>
                  <a:cubicBezTo>
                    <a:pt x="5860" y="2112"/>
                    <a:pt x="6333" y="2553"/>
                    <a:pt x="6333" y="3151"/>
                  </a:cubicBezTo>
                  <a:cubicBezTo>
                    <a:pt x="6333" y="3750"/>
                    <a:pt x="5860" y="4222"/>
                    <a:pt x="5262" y="4222"/>
                  </a:cubicBezTo>
                  <a:cubicBezTo>
                    <a:pt x="4695" y="4222"/>
                    <a:pt x="4222" y="3750"/>
                    <a:pt x="4222" y="3151"/>
                  </a:cubicBezTo>
                  <a:cubicBezTo>
                    <a:pt x="4222" y="2962"/>
                    <a:pt x="4379" y="2805"/>
                    <a:pt x="4569" y="2805"/>
                  </a:cubicBezTo>
                  <a:cubicBezTo>
                    <a:pt x="4758" y="2805"/>
                    <a:pt x="4915" y="2962"/>
                    <a:pt x="4915" y="3151"/>
                  </a:cubicBezTo>
                  <a:cubicBezTo>
                    <a:pt x="4915" y="3340"/>
                    <a:pt x="5073" y="3498"/>
                    <a:pt x="5262" y="3498"/>
                  </a:cubicBezTo>
                  <a:cubicBezTo>
                    <a:pt x="5482" y="3498"/>
                    <a:pt x="5640" y="3340"/>
                    <a:pt x="5640" y="3151"/>
                  </a:cubicBezTo>
                  <a:cubicBezTo>
                    <a:pt x="5640" y="2962"/>
                    <a:pt x="5482" y="2805"/>
                    <a:pt x="5262" y="2805"/>
                  </a:cubicBezTo>
                  <a:cubicBezTo>
                    <a:pt x="4695" y="2805"/>
                    <a:pt x="4222" y="2332"/>
                    <a:pt x="4222" y="1734"/>
                  </a:cubicBezTo>
                  <a:cubicBezTo>
                    <a:pt x="4222" y="1167"/>
                    <a:pt x="4695" y="694"/>
                    <a:pt x="5262" y="694"/>
                  </a:cubicBezTo>
                  <a:close/>
                  <a:moveTo>
                    <a:pt x="8066" y="725"/>
                  </a:moveTo>
                  <a:cubicBezTo>
                    <a:pt x="8664" y="725"/>
                    <a:pt x="9137" y="1198"/>
                    <a:pt x="9137" y="1765"/>
                  </a:cubicBezTo>
                  <a:lnTo>
                    <a:pt x="9137" y="3151"/>
                  </a:lnTo>
                  <a:cubicBezTo>
                    <a:pt x="9137" y="3750"/>
                    <a:pt x="8664" y="4222"/>
                    <a:pt x="8066" y="4222"/>
                  </a:cubicBezTo>
                  <a:lnTo>
                    <a:pt x="7372" y="4222"/>
                  </a:lnTo>
                  <a:cubicBezTo>
                    <a:pt x="7152" y="4222"/>
                    <a:pt x="6994" y="4065"/>
                    <a:pt x="6994" y="3876"/>
                  </a:cubicBezTo>
                  <a:lnTo>
                    <a:pt x="6994" y="1072"/>
                  </a:lnTo>
                  <a:cubicBezTo>
                    <a:pt x="6994" y="883"/>
                    <a:pt x="7152" y="725"/>
                    <a:pt x="7372" y="725"/>
                  </a:cubicBezTo>
                  <a:close/>
                  <a:moveTo>
                    <a:pt x="347" y="1"/>
                  </a:moveTo>
                  <a:cubicBezTo>
                    <a:pt x="158" y="1"/>
                    <a:pt x="0" y="158"/>
                    <a:pt x="0" y="347"/>
                  </a:cubicBezTo>
                  <a:lnTo>
                    <a:pt x="0" y="4569"/>
                  </a:lnTo>
                  <a:cubicBezTo>
                    <a:pt x="0" y="4758"/>
                    <a:pt x="158" y="4916"/>
                    <a:pt x="347" y="4916"/>
                  </a:cubicBezTo>
                  <a:lnTo>
                    <a:pt x="10208" y="4916"/>
                  </a:lnTo>
                  <a:cubicBezTo>
                    <a:pt x="10397" y="4916"/>
                    <a:pt x="10554" y="4758"/>
                    <a:pt x="10554" y="4569"/>
                  </a:cubicBezTo>
                  <a:lnTo>
                    <a:pt x="10554" y="347"/>
                  </a:lnTo>
                  <a:cubicBezTo>
                    <a:pt x="10554" y="158"/>
                    <a:pt x="10397" y="1"/>
                    <a:pt x="102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74"/>
            <p:cNvSpPr/>
            <p:nvPr/>
          </p:nvSpPr>
          <p:spPr>
            <a:xfrm>
              <a:off x="-45093575" y="3728200"/>
              <a:ext cx="17325" cy="53575"/>
            </a:xfrm>
            <a:custGeom>
              <a:avLst/>
              <a:gdLst/>
              <a:ahLst/>
              <a:cxnLst/>
              <a:rect l="l" t="t" r="r" b="b"/>
              <a:pathLst>
                <a:path w="693" h="2143" extrusionOk="0">
                  <a:moveTo>
                    <a:pt x="0" y="1"/>
                  </a:moveTo>
                  <a:lnTo>
                    <a:pt x="0" y="2143"/>
                  </a:lnTo>
                  <a:lnTo>
                    <a:pt x="347" y="2143"/>
                  </a:lnTo>
                  <a:cubicBezTo>
                    <a:pt x="536" y="2143"/>
                    <a:pt x="693" y="1985"/>
                    <a:pt x="693" y="1796"/>
                  </a:cubicBezTo>
                  <a:lnTo>
                    <a:pt x="693" y="347"/>
                  </a:lnTo>
                  <a:cubicBezTo>
                    <a:pt x="693"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5" name="Google Shape;8145;p74"/>
            <p:cNvSpPr/>
            <p:nvPr/>
          </p:nvSpPr>
          <p:spPr>
            <a:xfrm>
              <a:off x="-45268450" y="3569900"/>
              <a:ext cx="228450" cy="106350"/>
            </a:xfrm>
            <a:custGeom>
              <a:avLst/>
              <a:gdLst/>
              <a:ahLst/>
              <a:cxnLst/>
              <a:rect l="l" t="t" r="r" b="b"/>
              <a:pathLst>
                <a:path w="9138" h="4254" extrusionOk="0">
                  <a:moveTo>
                    <a:pt x="347" y="0"/>
                  </a:moveTo>
                  <a:cubicBezTo>
                    <a:pt x="158" y="0"/>
                    <a:pt x="1" y="158"/>
                    <a:pt x="1" y="347"/>
                  </a:cubicBezTo>
                  <a:lnTo>
                    <a:pt x="1" y="4253"/>
                  </a:lnTo>
                  <a:lnTo>
                    <a:pt x="9137" y="4253"/>
                  </a:lnTo>
                  <a:lnTo>
                    <a:pt x="9137" y="2804"/>
                  </a:lnTo>
                  <a:lnTo>
                    <a:pt x="6680" y="2804"/>
                  </a:lnTo>
                  <a:cubicBezTo>
                    <a:pt x="6491" y="2804"/>
                    <a:pt x="6333" y="2647"/>
                    <a:pt x="6333" y="2457"/>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6" name="Google Shape;8146;p74"/>
            <p:cNvSpPr/>
            <p:nvPr/>
          </p:nvSpPr>
          <p:spPr>
            <a:xfrm>
              <a:off x="-45093575" y="3574625"/>
              <a:ext cx="47275" cy="47275"/>
            </a:xfrm>
            <a:custGeom>
              <a:avLst/>
              <a:gdLst/>
              <a:ahLst/>
              <a:cxnLst/>
              <a:rect l="l" t="t" r="r" b="b"/>
              <a:pathLst>
                <a:path w="1891" h="1891" extrusionOk="0">
                  <a:moveTo>
                    <a:pt x="0" y="0"/>
                  </a:moveTo>
                  <a:lnTo>
                    <a:pt x="0" y="1890"/>
                  </a:lnTo>
                  <a:lnTo>
                    <a:pt x="1890" y="189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74"/>
            <p:cNvSpPr/>
            <p:nvPr/>
          </p:nvSpPr>
          <p:spPr>
            <a:xfrm>
              <a:off x="-45269225" y="3833750"/>
              <a:ext cx="228425" cy="35450"/>
            </a:xfrm>
            <a:custGeom>
              <a:avLst/>
              <a:gdLst/>
              <a:ahLst/>
              <a:cxnLst/>
              <a:rect l="l" t="t" r="r" b="b"/>
              <a:pathLst>
                <a:path w="9137" h="1418" extrusionOk="0">
                  <a:moveTo>
                    <a:pt x="0" y="0"/>
                  </a:moveTo>
                  <a:lnTo>
                    <a:pt x="0" y="1071"/>
                  </a:lnTo>
                  <a:cubicBezTo>
                    <a:pt x="0" y="1260"/>
                    <a:pt x="158" y="1418"/>
                    <a:pt x="378" y="1418"/>
                  </a:cubicBezTo>
                  <a:lnTo>
                    <a:pt x="8790" y="1418"/>
                  </a:lnTo>
                  <a:cubicBezTo>
                    <a:pt x="8979" y="1418"/>
                    <a:pt x="9137" y="1260"/>
                    <a:pt x="9137" y="1071"/>
                  </a:cubicBezTo>
                  <a:lnTo>
                    <a:pt x="91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74"/>
          <p:cNvGrpSpPr/>
          <p:nvPr/>
        </p:nvGrpSpPr>
        <p:grpSpPr>
          <a:xfrm>
            <a:off x="3559820" y="3625988"/>
            <a:ext cx="290001" cy="355258"/>
            <a:chOff x="-45277900" y="3938500"/>
            <a:chExt cx="244975" cy="300100"/>
          </a:xfrm>
        </p:grpSpPr>
        <p:sp>
          <p:nvSpPr>
            <p:cNvPr id="8149" name="Google Shape;8149;p74"/>
            <p:cNvSpPr/>
            <p:nvPr/>
          </p:nvSpPr>
          <p:spPr>
            <a:xfrm>
              <a:off x="-45210950" y="4107825"/>
              <a:ext cx="23650" cy="24450"/>
            </a:xfrm>
            <a:custGeom>
              <a:avLst/>
              <a:gdLst/>
              <a:ahLst/>
              <a:cxnLst/>
              <a:rect l="l" t="t" r="r" b="b"/>
              <a:pathLst>
                <a:path w="946" h="978" extrusionOk="0">
                  <a:moveTo>
                    <a:pt x="473" y="1"/>
                  </a:moveTo>
                  <a:lnTo>
                    <a:pt x="1" y="978"/>
                  </a:lnTo>
                  <a:lnTo>
                    <a:pt x="946" y="978"/>
                  </a:ln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74"/>
            <p:cNvSpPr/>
            <p:nvPr/>
          </p:nvSpPr>
          <p:spPr>
            <a:xfrm>
              <a:off x="-45084925" y="3943225"/>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1" name="Google Shape;8151;p74"/>
            <p:cNvSpPr/>
            <p:nvPr/>
          </p:nvSpPr>
          <p:spPr>
            <a:xfrm>
              <a:off x="-45260575" y="3938500"/>
              <a:ext cx="227650" cy="300100"/>
            </a:xfrm>
            <a:custGeom>
              <a:avLst/>
              <a:gdLst/>
              <a:ahLst/>
              <a:cxnLst/>
              <a:rect l="l" t="t" r="r" b="b"/>
              <a:pathLst>
                <a:path w="9106" h="12004" extrusionOk="0">
                  <a:moveTo>
                    <a:pt x="348" y="0"/>
                  </a:moveTo>
                  <a:cubicBezTo>
                    <a:pt x="158" y="0"/>
                    <a:pt x="1" y="158"/>
                    <a:pt x="1" y="347"/>
                  </a:cubicBezTo>
                  <a:lnTo>
                    <a:pt x="1" y="4222"/>
                  </a:lnTo>
                  <a:lnTo>
                    <a:pt x="7342" y="4222"/>
                  </a:lnTo>
                  <a:cubicBezTo>
                    <a:pt x="7562" y="4222"/>
                    <a:pt x="7720" y="4380"/>
                    <a:pt x="7720" y="4600"/>
                  </a:cubicBezTo>
                  <a:lnTo>
                    <a:pt x="7720" y="10208"/>
                  </a:lnTo>
                  <a:cubicBezTo>
                    <a:pt x="7720" y="10428"/>
                    <a:pt x="7562" y="10586"/>
                    <a:pt x="7342" y="10586"/>
                  </a:cubicBezTo>
                  <a:lnTo>
                    <a:pt x="1" y="10586"/>
                  </a:lnTo>
                  <a:lnTo>
                    <a:pt x="1" y="11626"/>
                  </a:lnTo>
                  <a:cubicBezTo>
                    <a:pt x="1" y="11846"/>
                    <a:pt x="158" y="12004"/>
                    <a:pt x="348" y="12004"/>
                  </a:cubicBezTo>
                  <a:lnTo>
                    <a:pt x="8759" y="12004"/>
                  </a:lnTo>
                  <a:cubicBezTo>
                    <a:pt x="8980" y="12004"/>
                    <a:pt x="9106" y="11846"/>
                    <a:pt x="9106" y="11626"/>
                  </a:cubicBezTo>
                  <a:lnTo>
                    <a:pt x="9106" y="2804"/>
                  </a:lnTo>
                  <a:lnTo>
                    <a:pt x="6680" y="2804"/>
                  </a:lnTo>
                  <a:lnTo>
                    <a:pt x="6680" y="2773"/>
                  </a:lnTo>
                  <a:cubicBezTo>
                    <a:pt x="6491" y="2773"/>
                    <a:pt x="6333" y="2615"/>
                    <a:pt x="6333" y="2426"/>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2" name="Google Shape;8152;p74"/>
            <p:cNvSpPr/>
            <p:nvPr/>
          </p:nvSpPr>
          <p:spPr>
            <a:xfrm>
              <a:off x="-45277900" y="4061375"/>
              <a:ext cx="193000" cy="122875"/>
            </a:xfrm>
            <a:custGeom>
              <a:avLst/>
              <a:gdLst/>
              <a:ahLst/>
              <a:cxnLst/>
              <a:rect l="l" t="t" r="r" b="b"/>
              <a:pathLst>
                <a:path w="7720" h="4915" extrusionOk="0">
                  <a:moveTo>
                    <a:pt x="5987" y="693"/>
                  </a:moveTo>
                  <a:cubicBezTo>
                    <a:pt x="6207" y="693"/>
                    <a:pt x="6333" y="851"/>
                    <a:pt x="6333" y="1071"/>
                  </a:cubicBezTo>
                  <a:cubicBezTo>
                    <a:pt x="6302" y="1260"/>
                    <a:pt x="6144" y="1418"/>
                    <a:pt x="5987" y="1418"/>
                  </a:cubicBezTo>
                  <a:cubicBezTo>
                    <a:pt x="5798" y="1418"/>
                    <a:pt x="5640" y="1260"/>
                    <a:pt x="5640" y="1071"/>
                  </a:cubicBezTo>
                  <a:cubicBezTo>
                    <a:pt x="5640" y="851"/>
                    <a:pt x="5798" y="693"/>
                    <a:pt x="5987" y="693"/>
                  </a:cubicBezTo>
                  <a:close/>
                  <a:moveTo>
                    <a:pt x="3246" y="701"/>
                  </a:moveTo>
                  <a:cubicBezTo>
                    <a:pt x="3372" y="701"/>
                    <a:pt x="3498" y="772"/>
                    <a:pt x="3561" y="914"/>
                  </a:cubicBezTo>
                  <a:lnTo>
                    <a:pt x="4979" y="3686"/>
                  </a:lnTo>
                  <a:cubicBezTo>
                    <a:pt x="4979" y="3907"/>
                    <a:pt x="4884" y="4096"/>
                    <a:pt x="4727" y="4159"/>
                  </a:cubicBezTo>
                  <a:cubicBezTo>
                    <a:pt x="4695" y="4222"/>
                    <a:pt x="4601" y="4222"/>
                    <a:pt x="4569" y="4222"/>
                  </a:cubicBezTo>
                  <a:cubicBezTo>
                    <a:pt x="4443" y="4222"/>
                    <a:pt x="4349" y="4127"/>
                    <a:pt x="4254" y="4001"/>
                  </a:cubicBezTo>
                  <a:lnTo>
                    <a:pt x="4033" y="3497"/>
                  </a:lnTo>
                  <a:lnTo>
                    <a:pt x="2364" y="3497"/>
                  </a:lnTo>
                  <a:lnTo>
                    <a:pt x="2143" y="4001"/>
                  </a:lnTo>
                  <a:cubicBezTo>
                    <a:pt x="2075" y="4115"/>
                    <a:pt x="1940" y="4196"/>
                    <a:pt x="1811" y="4196"/>
                  </a:cubicBezTo>
                  <a:cubicBezTo>
                    <a:pt x="1762" y="4196"/>
                    <a:pt x="1714" y="4185"/>
                    <a:pt x="1671" y="4159"/>
                  </a:cubicBezTo>
                  <a:cubicBezTo>
                    <a:pt x="1513" y="4096"/>
                    <a:pt x="1419" y="3844"/>
                    <a:pt x="1513" y="3686"/>
                  </a:cubicBezTo>
                  <a:lnTo>
                    <a:pt x="2931" y="914"/>
                  </a:lnTo>
                  <a:cubicBezTo>
                    <a:pt x="2994" y="772"/>
                    <a:pt x="3120" y="701"/>
                    <a:pt x="3246" y="701"/>
                  </a:cubicBezTo>
                  <a:close/>
                  <a:moveTo>
                    <a:pt x="5955" y="2079"/>
                  </a:moveTo>
                  <a:cubicBezTo>
                    <a:pt x="6144" y="2079"/>
                    <a:pt x="6302" y="2237"/>
                    <a:pt x="6302" y="2426"/>
                  </a:cubicBezTo>
                  <a:lnTo>
                    <a:pt x="6302" y="3844"/>
                  </a:lnTo>
                  <a:cubicBezTo>
                    <a:pt x="6302" y="4064"/>
                    <a:pt x="6144" y="4222"/>
                    <a:pt x="5955" y="4222"/>
                  </a:cubicBezTo>
                  <a:cubicBezTo>
                    <a:pt x="5766" y="4222"/>
                    <a:pt x="5609" y="4064"/>
                    <a:pt x="5609" y="3844"/>
                  </a:cubicBezTo>
                  <a:lnTo>
                    <a:pt x="5609" y="2426"/>
                  </a:lnTo>
                  <a:cubicBezTo>
                    <a:pt x="5609" y="2237"/>
                    <a:pt x="5766" y="2079"/>
                    <a:pt x="5955" y="2079"/>
                  </a:cubicBezTo>
                  <a:close/>
                  <a:moveTo>
                    <a:pt x="347" y="0"/>
                  </a:moveTo>
                  <a:cubicBezTo>
                    <a:pt x="158" y="0"/>
                    <a:pt x="1" y="158"/>
                    <a:pt x="1" y="347"/>
                  </a:cubicBezTo>
                  <a:lnTo>
                    <a:pt x="1" y="4568"/>
                  </a:lnTo>
                  <a:cubicBezTo>
                    <a:pt x="1" y="4757"/>
                    <a:pt x="158" y="4915"/>
                    <a:pt x="347" y="4915"/>
                  </a:cubicBezTo>
                  <a:lnTo>
                    <a:pt x="7720" y="4915"/>
                  </a:lnTo>
                  <a:lnTo>
                    <a:pt x="77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3" name="Google Shape;8153;p74"/>
          <p:cNvGrpSpPr/>
          <p:nvPr/>
        </p:nvGrpSpPr>
        <p:grpSpPr>
          <a:xfrm>
            <a:off x="2645769" y="4095090"/>
            <a:ext cx="355258" cy="355258"/>
            <a:chOff x="-44502875" y="3576975"/>
            <a:chExt cx="300100" cy="300100"/>
          </a:xfrm>
        </p:grpSpPr>
        <p:sp>
          <p:nvSpPr>
            <p:cNvPr id="8154" name="Google Shape;8154;p74"/>
            <p:cNvSpPr/>
            <p:nvPr/>
          </p:nvSpPr>
          <p:spPr>
            <a:xfrm>
              <a:off x="-44466650" y="3576975"/>
              <a:ext cx="53600" cy="18925"/>
            </a:xfrm>
            <a:custGeom>
              <a:avLst/>
              <a:gdLst/>
              <a:ahLst/>
              <a:cxnLst/>
              <a:rect l="l" t="t" r="r" b="b"/>
              <a:pathLst>
                <a:path w="2144" h="757" extrusionOk="0">
                  <a:moveTo>
                    <a:pt x="348" y="1"/>
                  </a:moveTo>
                  <a:cubicBezTo>
                    <a:pt x="158" y="1"/>
                    <a:pt x="1" y="158"/>
                    <a:pt x="1" y="347"/>
                  </a:cubicBezTo>
                  <a:lnTo>
                    <a:pt x="1" y="757"/>
                  </a:lnTo>
                  <a:lnTo>
                    <a:pt x="2143" y="757"/>
                  </a:lnTo>
                  <a:lnTo>
                    <a:pt x="2143" y="347"/>
                  </a:lnTo>
                  <a:cubicBezTo>
                    <a:pt x="2143"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5" name="Google Shape;8155;p74"/>
            <p:cNvSpPr/>
            <p:nvPr/>
          </p:nvSpPr>
          <p:spPr>
            <a:xfrm>
              <a:off x="-44502875" y="3595100"/>
              <a:ext cx="283575" cy="281975"/>
            </a:xfrm>
            <a:custGeom>
              <a:avLst/>
              <a:gdLst/>
              <a:ahLst/>
              <a:cxnLst/>
              <a:rect l="l" t="t" r="r" b="b"/>
              <a:pathLst>
                <a:path w="11343" h="11279" extrusionOk="0">
                  <a:moveTo>
                    <a:pt x="10945" y="0"/>
                  </a:moveTo>
                  <a:cubicBezTo>
                    <a:pt x="10854" y="0"/>
                    <a:pt x="10760" y="32"/>
                    <a:pt x="10681" y="95"/>
                  </a:cubicBezTo>
                  <a:lnTo>
                    <a:pt x="10082" y="693"/>
                  </a:lnTo>
                  <a:lnTo>
                    <a:pt x="347" y="693"/>
                  </a:lnTo>
                  <a:cubicBezTo>
                    <a:pt x="158" y="693"/>
                    <a:pt x="1" y="851"/>
                    <a:pt x="1" y="1040"/>
                  </a:cubicBezTo>
                  <a:lnTo>
                    <a:pt x="1" y="2458"/>
                  </a:lnTo>
                  <a:cubicBezTo>
                    <a:pt x="1" y="2647"/>
                    <a:pt x="158" y="2804"/>
                    <a:pt x="347" y="2804"/>
                  </a:cubicBezTo>
                  <a:lnTo>
                    <a:pt x="7940" y="2804"/>
                  </a:lnTo>
                  <a:lnTo>
                    <a:pt x="3561" y="7215"/>
                  </a:lnTo>
                  <a:lnTo>
                    <a:pt x="3561" y="3529"/>
                  </a:lnTo>
                  <a:lnTo>
                    <a:pt x="1418" y="3529"/>
                  </a:lnTo>
                  <a:lnTo>
                    <a:pt x="1418" y="9357"/>
                  </a:lnTo>
                  <a:lnTo>
                    <a:pt x="820" y="9956"/>
                  </a:lnTo>
                  <a:cubicBezTo>
                    <a:pt x="725" y="10050"/>
                    <a:pt x="725" y="10302"/>
                    <a:pt x="820" y="10460"/>
                  </a:cubicBezTo>
                  <a:cubicBezTo>
                    <a:pt x="914" y="10523"/>
                    <a:pt x="977" y="10586"/>
                    <a:pt x="1072" y="10586"/>
                  </a:cubicBezTo>
                  <a:cubicBezTo>
                    <a:pt x="1135" y="10586"/>
                    <a:pt x="1261" y="10523"/>
                    <a:pt x="1292" y="10460"/>
                  </a:cubicBezTo>
                  <a:lnTo>
                    <a:pt x="1891" y="9861"/>
                  </a:lnTo>
                  <a:lnTo>
                    <a:pt x="7719" y="9861"/>
                  </a:lnTo>
                  <a:lnTo>
                    <a:pt x="7719" y="7750"/>
                  </a:lnTo>
                  <a:lnTo>
                    <a:pt x="4033" y="7750"/>
                  </a:lnTo>
                  <a:lnTo>
                    <a:pt x="8444" y="3340"/>
                  </a:lnTo>
                  <a:lnTo>
                    <a:pt x="8444" y="10932"/>
                  </a:lnTo>
                  <a:cubicBezTo>
                    <a:pt x="8444" y="11121"/>
                    <a:pt x="8602" y="11279"/>
                    <a:pt x="8791" y="11279"/>
                  </a:cubicBezTo>
                  <a:lnTo>
                    <a:pt x="10208" y="11279"/>
                  </a:lnTo>
                  <a:cubicBezTo>
                    <a:pt x="10397" y="11279"/>
                    <a:pt x="10555" y="11121"/>
                    <a:pt x="10555" y="10932"/>
                  </a:cubicBezTo>
                  <a:lnTo>
                    <a:pt x="10555" y="1197"/>
                  </a:lnTo>
                  <a:lnTo>
                    <a:pt x="11153" y="599"/>
                  </a:lnTo>
                  <a:cubicBezTo>
                    <a:pt x="11343" y="441"/>
                    <a:pt x="11343" y="252"/>
                    <a:pt x="11185" y="95"/>
                  </a:cubicBezTo>
                  <a:cubicBezTo>
                    <a:pt x="11122" y="32"/>
                    <a:pt x="11035" y="0"/>
                    <a:pt x="109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74"/>
            <p:cNvSpPr/>
            <p:nvPr/>
          </p:nvSpPr>
          <p:spPr>
            <a:xfrm>
              <a:off x="-44221675" y="3788850"/>
              <a:ext cx="18900" cy="52800"/>
            </a:xfrm>
            <a:custGeom>
              <a:avLst/>
              <a:gdLst/>
              <a:ahLst/>
              <a:cxnLst/>
              <a:rect l="l" t="t" r="r" b="b"/>
              <a:pathLst>
                <a:path w="756" h="2112" extrusionOk="0">
                  <a:moveTo>
                    <a:pt x="0" y="0"/>
                  </a:moveTo>
                  <a:lnTo>
                    <a:pt x="0" y="2111"/>
                  </a:lnTo>
                  <a:lnTo>
                    <a:pt x="410" y="2111"/>
                  </a:lnTo>
                  <a:cubicBezTo>
                    <a:pt x="599" y="2111"/>
                    <a:pt x="756" y="1954"/>
                    <a:pt x="756" y="1765"/>
                  </a:cubicBezTo>
                  <a:lnTo>
                    <a:pt x="756" y="347"/>
                  </a:lnTo>
                  <a:cubicBezTo>
                    <a:pt x="756" y="158"/>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74"/>
          <p:cNvGrpSpPr/>
          <p:nvPr/>
        </p:nvGrpSpPr>
        <p:grpSpPr>
          <a:xfrm>
            <a:off x="4858981" y="1820745"/>
            <a:ext cx="356196" cy="354670"/>
            <a:chOff x="-13946200" y="3647075"/>
            <a:chExt cx="353650" cy="352100"/>
          </a:xfrm>
        </p:grpSpPr>
        <p:sp>
          <p:nvSpPr>
            <p:cNvPr id="8158" name="Google Shape;8158;p74"/>
            <p:cNvSpPr/>
            <p:nvPr/>
          </p:nvSpPr>
          <p:spPr>
            <a:xfrm>
              <a:off x="-13717000" y="3647075"/>
              <a:ext cx="124450" cy="144150"/>
            </a:xfrm>
            <a:custGeom>
              <a:avLst/>
              <a:gdLst/>
              <a:ahLst/>
              <a:cxnLst/>
              <a:rect l="l" t="t" r="r" b="b"/>
              <a:pathLst>
                <a:path w="4978" h="5766" extrusionOk="0">
                  <a:moveTo>
                    <a:pt x="0" y="1"/>
                  </a:moveTo>
                  <a:lnTo>
                    <a:pt x="0" y="2868"/>
                  </a:lnTo>
                  <a:cubicBezTo>
                    <a:pt x="0" y="4317"/>
                    <a:pt x="1103" y="5514"/>
                    <a:pt x="2489" y="5703"/>
                  </a:cubicBezTo>
                  <a:cubicBezTo>
                    <a:pt x="1985" y="5167"/>
                    <a:pt x="1670" y="4474"/>
                    <a:pt x="1670" y="3687"/>
                  </a:cubicBezTo>
                  <a:lnTo>
                    <a:pt x="1670" y="2017"/>
                  </a:lnTo>
                  <a:cubicBezTo>
                    <a:pt x="1670" y="1796"/>
                    <a:pt x="1859" y="1607"/>
                    <a:pt x="2079" y="1607"/>
                  </a:cubicBezTo>
                  <a:cubicBezTo>
                    <a:pt x="2268" y="1607"/>
                    <a:pt x="2489" y="1796"/>
                    <a:pt x="2489" y="2017"/>
                  </a:cubicBezTo>
                  <a:lnTo>
                    <a:pt x="2489" y="3687"/>
                  </a:lnTo>
                  <a:cubicBezTo>
                    <a:pt x="2489" y="4821"/>
                    <a:pt x="3434" y="5766"/>
                    <a:pt x="4568" y="5766"/>
                  </a:cubicBezTo>
                  <a:lnTo>
                    <a:pt x="4978" y="5766"/>
                  </a:lnTo>
                  <a:lnTo>
                    <a:pt x="4978" y="379"/>
                  </a:lnTo>
                  <a:cubicBezTo>
                    <a:pt x="4978" y="127"/>
                    <a:pt x="4789"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74"/>
            <p:cNvSpPr/>
            <p:nvPr/>
          </p:nvSpPr>
          <p:spPr>
            <a:xfrm>
              <a:off x="-13801275" y="3647075"/>
              <a:ext cx="63025" cy="61075"/>
            </a:xfrm>
            <a:custGeom>
              <a:avLst/>
              <a:gdLst/>
              <a:ahLst/>
              <a:cxnLst/>
              <a:rect l="l" t="t" r="r" b="b"/>
              <a:pathLst>
                <a:path w="2521" h="2443" extrusionOk="0">
                  <a:moveTo>
                    <a:pt x="0" y="1"/>
                  </a:moveTo>
                  <a:lnTo>
                    <a:pt x="0" y="2017"/>
                  </a:lnTo>
                  <a:cubicBezTo>
                    <a:pt x="347" y="2300"/>
                    <a:pt x="796" y="2442"/>
                    <a:pt x="1248" y="2442"/>
                  </a:cubicBezTo>
                  <a:cubicBezTo>
                    <a:pt x="1701" y="2442"/>
                    <a:pt x="2158" y="2300"/>
                    <a:pt x="2520" y="2017"/>
                  </a:cubicBezTo>
                  <a:lnTo>
                    <a:pt x="25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0" name="Google Shape;8160;p74"/>
            <p:cNvSpPr/>
            <p:nvPr/>
          </p:nvSpPr>
          <p:spPr>
            <a:xfrm>
              <a:off x="-13946200" y="3647075"/>
              <a:ext cx="124450" cy="143400"/>
            </a:xfrm>
            <a:custGeom>
              <a:avLst/>
              <a:gdLst/>
              <a:ahLst/>
              <a:cxnLst/>
              <a:rect l="l" t="t" r="r" b="b"/>
              <a:pathLst>
                <a:path w="4978" h="5736" extrusionOk="0">
                  <a:moveTo>
                    <a:pt x="441" y="1"/>
                  </a:moveTo>
                  <a:cubicBezTo>
                    <a:pt x="189" y="1"/>
                    <a:pt x="0" y="190"/>
                    <a:pt x="0" y="379"/>
                  </a:cubicBezTo>
                  <a:lnTo>
                    <a:pt x="0" y="5734"/>
                  </a:lnTo>
                  <a:lnTo>
                    <a:pt x="441" y="5734"/>
                  </a:lnTo>
                  <a:cubicBezTo>
                    <a:pt x="460" y="5735"/>
                    <a:pt x="478" y="5735"/>
                    <a:pt x="496" y="5735"/>
                  </a:cubicBezTo>
                  <a:cubicBezTo>
                    <a:pt x="1605" y="5735"/>
                    <a:pt x="2489" y="4802"/>
                    <a:pt x="2489" y="3687"/>
                  </a:cubicBezTo>
                  <a:lnTo>
                    <a:pt x="2489" y="2048"/>
                  </a:lnTo>
                  <a:cubicBezTo>
                    <a:pt x="2489" y="1796"/>
                    <a:pt x="2678" y="1607"/>
                    <a:pt x="2867" y="1607"/>
                  </a:cubicBezTo>
                  <a:cubicBezTo>
                    <a:pt x="3119" y="1607"/>
                    <a:pt x="3308" y="1796"/>
                    <a:pt x="3308" y="2048"/>
                  </a:cubicBezTo>
                  <a:lnTo>
                    <a:pt x="3308" y="3687"/>
                  </a:lnTo>
                  <a:cubicBezTo>
                    <a:pt x="3308" y="4474"/>
                    <a:pt x="2993" y="5199"/>
                    <a:pt x="2489" y="5703"/>
                  </a:cubicBezTo>
                  <a:cubicBezTo>
                    <a:pt x="3907" y="5514"/>
                    <a:pt x="4978" y="4317"/>
                    <a:pt x="4978" y="2868"/>
                  </a:cubicBezTo>
                  <a:lnTo>
                    <a:pt x="49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1" name="Google Shape;8161;p74"/>
            <p:cNvSpPr/>
            <p:nvPr/>
          </p:nvSpPr>
          <p:spPr>
            <a:xfrm>
              <a:off x="-13946200" y="3873900"/>
              <a:ext cx="352875" cy="125275"/>
            </a:xfrm>
            <a:custGeom>
              <a:avLst/>
              <a:gdLst/>
              <a:ahLst/>
              <a:cxnLst/>
              <a:rect l="l" t="t" r="r" b="b"/>
              <a:pathLst>
                <a:path w="14115" h="5011" extrusionOk="0">
                  <a:moveTo>
                    <a:pt x="4915" y="1"/>
                  </a:moveTo>
                  <a:lnTo>
                    <a:pt x="5766" y="1639"/>
                  </a:lnTo>
                  <a:cubicBezTo>
                    <a:pt x="5829" y="1797"/>
                    <a:pt x="5797" y="1986"/>
                    <a:pt x="5671" y="2112"/>
                  </a:cubicBezTo>
                  <a:cubicBezTo>
                    <a:pt x="5388" y="2332"/>
                    <a:pt x="5072" y="2458"/>
                    <a:pt x="4726" y="2458"/>
                  </a:cubicBezTo>
                  <a:cubicBezTo>
                    <a:pt x="4253" y="2458"/>
                    <a:pt x="3812" y="2206"/>
                    <a:pt x="3560" y="1828"/>
                  </a:cubicBezTo>
                  <a:cubicBezTo>
                    <a:pt x="3434" y="1671"/>
                    <a:pt x="3245" y="1592"/>
                    <a:pt x="3056" y="1592"/>
                  </a:cubicBezTo>
                  <a:cubicBezTo>
                    <a:pt x="2867" y="1592"/>
                    <a:pt x="2678" y="1671"/>
                    <a:pt x="2552" y="1828"/>
                  </a:cubicBezTo>
                  <a:cubicBezTo>
                    <a:pt x="2289" y="2214"/>
                    <a:pt x="1845" y="2411"/>
                    <a:pt x="1397" y="2411"/>
                  </a:cubicBezTo>
                  <a:cubicBezTo>
                    <a:pt x="931" y="2411"/>
                    <a:pt x="462" y="2199"/>
                    <a:pt x="189" y="1765"/>
                  </a:cubicBezTo>
                  <a:cubicBezTo>
                    <a:pt x="158" y="1702"/>
                    <a:pt x="95" y="1671"/>
                    <a:pt x="0" y="1608"/>
                  </a:cubicBezTo>
                  <a:lnTo>
                    <a:pt x="0" y="4569"/>
                  </a:lnTo>
                  <a:cubicBezTo>
                    <a:pt x="0" y="4821"/>
                    <a:pt x="189" y="5010"/>
                    <a:pt x="441" y="5010"/>
                  </a:cubicBezTo>
                  <a:lnTo>
                    <a:pt x="13705" y="5010"/>
                  </a:lnTo>
                  <a:cubicBezTo>
                    <a:pt x="13957" y="5010"/>
                    <a:pt x="14114" y="4821"/>
                    <a:pt x="14114" y="4569"/>
                  </a:cubicBezTo>
                  <a:lnTo>
                    <a:pt x="14114" y="1608"/>
                  </a:lnTo>
                  <a:cubicBezTo>
                    <a:pt x="14020" y="1671"/>
                    <a:pt x="13957" y="1702"/>
                    <a:pt x="13894" y="1765"/>
                  </a:cubicBezTo>
                  <a:cubicBezTo>
                    <a:pt x="13637" y="2199"/>
                    <a:pt x="13176" y="2411"/>
                    <a:pt x="12710" y="2411"/>
                  </a:cubicBezTo>
                  <a:cubicBezTo>
                    <a:pt x="12261" y="2411"/>
                    <a:pt x="11809" y="2214"/>
                    <a:pt x="11531" y="1828"/>
                  </a:cubicBezTo>
                  <a:cubicBezTo>
                    <a:pt x="11421" y="1671"/>
                    <a:pt x="11240" y="1592"/>
                    <a:pt x="11054" y="1592"/>
                  </a:cubicBezTo>
                  <a:cubicBezTo>
                    <a:pt x="10869" y="1592"/>
                    <a:pt x="10680" y="1671"/>
                    <a:pt x="10554" y="1828"/>
                  </a:cubicBezTo>
                  <a:cubicBezTo>
                    <a:pt x="10271" y="2206"/>
                    <a:pt x="9861" y="2458"/>
                    <a:pt x="9389" y="2458"/>
                  </a:cubicBezTo>
                  <a:cubicBezTo>
                    <a:pt x="9011" y="2458"/>
                    <a:pt x="8664" y="2332"/>
                    <a:pt x="8444" y="2112"/>
                  </a:cubicBezTo>
                  <a:cubicBezTo>
                    <a:pt x="8317" y="1986"/>
                    <a:pt x="8286" y="1797"/>
                    <a:pt x="8349" y="1639"/>
                  </a:cubicBezTo>
                  <a:lnTo>
                    <a:pt x="9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74"/>
            <p:cNvSpPr/>
            <p:nvPr/>
          </p:nvSpPr>
          <p:spPr>
            <a:xfrm>
              <a:off x="-13713850" y="3810125"/>
              <a:ext cx="120525" cy="105075"/>
            </a:xfrm>
            <a:custGeom>
              <a:avLst/>
              <a:gdLst/>
              <a:ahLst/>
              <a:cxnLst/>
              <a:rect l="l" t="t" r="r" b="b"/>
              <a:pathLst>
                <a:path w="4821" h="4203" extrusionOk="0">
                  <a:moveTo>
                    <a:pt x="2079" y="0"/>
                  </a:moveTo>
                  <a:lnTo>
                    <a:pt x="0" y="4190"/>
                  </a:lnTo>
                  <a:lnTo>
                    <a:pt x="189" y="4190"/>
                  </a:lnTo>
                  <a:cubicBezTo>
                    <a:pt x="378" y="4127"/>
                    <a:pt x="504" y="4064"/>
                    <a:pt x="599" y="3938"/>
                  </a:cubicBezTo>
                  <a:cubicBezTo>
                    <a:pt x="882" y="3529"/>
                    <a:pt x="1323" y="3324"/>
                    <a:pt x="1764" y="3324"/>
                  </a:cubicBezTo>
                  <a:cubicBezTo>
                    <a:pt x="2205" y="3324"/>
                    <a:pt x="2647" y="3529"/>
                    <a:pt x="2930" y="3938"/>
                  </a:cubicBezTo>
                  <a:cubicBezTo>
                    <a:pt x="3027" y="4099"/>
                    <a:pt x="3197" y="4202"/>
                    <a:pt x="3386" y="4202"/>
                  </a:cubicBezTo>
                  <a:cubicBezTo>
                    <a:pt x="3568" y="4202"/>
                    <a:pt x="3768" y="4107"/>
                    <a:pt x="3938" y="3875"/>
                  </a:cubicBezTo>
                  <a:cubicBezTo>
                    <a:pt x="4190" y="3560"/>
                    <a:pt x="4505" y="3403"/>
                    <a:pt x="4820" y="3308"/>
                  </a:cubicBezTo>
                  <a:lnTo>
                    <a:pt x="4820" y="95"/>
                  </a:lnTo>
                  <a:lnTo>
                    <a:pt x="2741" y="95"/>
                  </a:lnTo>
                  <a:cubicBezTo>
                    <a:pt x="2521" y="95"/>
                    <a:pt x="2332" y="32"/>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3" name="Google Shape;8163;p74"/>
            <p:cNvSpPr/>
            <p:nvPr/>
          </p:nvSpPr>
          <p:spPr>
            <a:xfrm>
              <a:off x="-13946200" y="3810125"/>
              <a:ext cx="121300" cy="105175"/>
            </a:xfrm>
            <a:custGeom>
              <a:avLst/>
              <a:gdLst/>
              <a:ahLst/>
              <a:cxnLst/>
              <a:rect l="l" t="t" r="r" b="b"/>
              <a:pathLst>
                <a:path w="4852" h="4207" extrusionOk="0">
                  <a:moveTo>
                    <a:pt x="2773" y="0"/>
                  </a:moveTo>
                  <a:cubicBezTo>
                    <a:pt x="2521" y="32"/>
                    <a:pt x="2332" y="95"/>
                    <a:pt x="2080" y="95"/>
                  </a:cubicBezTo>
                  <a:lnTo>
                    <a:pt x="0" y="95"/>
                  </a:lnTo>
                  <a:lnTo>
                    <a:pt x="0" y="3340"/>
                  </a:lnTo>
                  <a:cubicBezTo>
                    <a:pt x="315" y="3434"/>
                    <a:pt x="630" y="3592"/>
                    <a:pt x="882" y="3907"/>
                  </a:cubicBezTo>
                  <a:cubicBezTo>
                    <a:pt x="1048" y="4118"/>
                    <a:pt x="1244" y="4206"/>
                    <a:pt x="1422" y="4206"/>
                  </a:cubicBezTo>
                  <a:cubicBezTo>
                    <a:pt x="1617" y="4206"/>
                    <a:pt x="1792" y="4102"/>
                    <a:pt x="1890" y="3938"/>
                  </a:cubicBezTo>
                  <a:cubicBezTo>
                    <a:pt x="2174" y="3529"/>
                    <a:pt x="2615" y="3324"/>
                    <a:pt x="3056" y="3324"/>
                  </a:cubicBezTo>
                  <a:cubicBezTo>
                    <a:pt x="3497" y="3324"/>
                    <a:pt x="3938" y="3529"/>
                    <a:pt x="4222" y="3938"/>
                  </a:cubicBezTo>
                  <a:cubicBezTo>
                    <a:pt x="4285" y="4096"/>
                    <a:pt x="4442" y="4190"/>
                    <a:pt x="4663" y="4190"/>
                  </a:cubicBezTo>
                  <a:lnTo>
                    <a:pt x="4852" y="4190"/>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4" name="Google Shape;8164;p74"/>
          <p:cNvGrpSpPr/>
          <p:nvPr/>
        </p:nvGrpSpPr>
        <p:grpSpPr>
          <a:xfrm>
            <a:off x="6642374" y="1380228"/>
            <a:ext cx="357002" cy="354267"/>
            <a:chOff x="-12163025" y="3214275"/>
            <a:chExt cx="354450" cy="351700"/>
          </a:xfrm>
        </p:grpSpPr>
        <p:sp>
          <p:nvSpPr>
            <p:cNvPr id="8165" name="Google Shape;8165;p74"/>
            <p:cNvSpPr/>
            <p:nvPr/>
          </p:nvSpPr>
          <p:spPr>
            <a:xfrm>
              <a:off x="-12163025" y="3214275"/>
              <a:ext cx="354450" cy="165025"/>
            </a:xfrm>
            <a:custGeom>
              <a:avLst/>
              <a:gdLst/>
              <a:ahLst/>
              <a:cxnLst/>
              <a:rect l="l" t="t" r="r" b="b"/>
              <a:pathLst>
                <a:path w="14178" h="6601" extrusionOk="0">
                  <a:moveTo>
                    <a:pt x="10271" y="1812"/>
                  </a:moveTo>
                  <a:cubicBezTo>
                    <a:pt x="10649" y="1812"/>
                    <a:pt x="10996" y="1844"/>
                    <a:pt x="11342" y="1970"/>
                  </a:cubicBezTo>
                  <a:cubicBezTo>
                    <a:pt x="11626" y="2064"/>
                    <a:pt x="11846" y="2096"/>
                    <a:pt x="12130" y="2096"/>
                  </a:cubicBezTo>
                  <a:cubicBezTo>
                    <a:pt x="12350" y="2096"/>
                    <a:pt x="12508" y="2285"/>
                    <a:pt x="12508" y="2505"/>
                  </a:cubicBezTo>
                  <a:lnTo>
                    <a:pt x="12508" y="2820"/>
                  </a:lnTo>
                  <a:cubicBezTo>
                    <a:pt x="12508" y="3955"/>
                    <a:pt x="11563" y="4900"/>
                    <a:pt x="10429" y="4900"/>
                  </a:cubicBezTo>
                  <a:lnTo>
                    <a:pt x="9767" y="4900"/>
                  </a:lnTo>
                  <a:cubicBezTo>
                    <a:pt x="9105" y="4900"/>
                    <a:pt x="8507" y="4553"/>
                    <a:pt x="8192" y="3923"/>
                  </a:cubicBezTo>
                  <a:lnTo>
                    <a:pt x="7908" y="3324"/>
                  </a:lnTo>
                  <a:cubicBezTo>
                    <a:pt x="7877" y="3198"/>
                    <a:pt x="7908" y="3041"/>
                    <a:pt x="8034" y="2883"/>
                  </a:cubicBezTo>
                  <a:lnTo>
                    <a:pt x="8349" y="2568"/>
                  </a:lnTo>
                  <a:cubicBezTo>
                    <a:pt x="8979" y="1938"/>
                    <a:pt x="9735" y="1812"/>
                    <a:pt x="10271" y="1812"/>
                  </a:cubicBezTo>
                  <a:close/>
                  <a:moveTo>
                    <a:pt x="3939" y="1844"/>
                  </a:moveTo>
                  <a:cubicBezTo>
                    <a:pt x="4474" y="1844"/>
                    <a:pt x="5262" y="1970"/>
                    <a:pt x="5892" y="2600"/>
                  </a:cubicBezTo>
                  <a:lnTo>
                    <a:pt x="6207" y="2915"/>
                  </a:lnTo>
                  <a:cubicBezTo>
                    <a:pt x="6333" y="3041"/>
                    <a:pt x="6364" y="3230"/>
                    <a:pt x="6301" y="3387"/>
                  </a:cubicBezTo>
                  <a:lnTo>
                    <a:pt x="6018" y="3986"/>
                  </a:lnTo>
                  <a:cubicBezTo>
                    <a:pt x="5703" y="4585"/>
                    <a:pt x="5104" y="4963"/>
                    <a:pt x="4443" y="4963"/>
                  </a:cubicBezTo>
                  <a:lnTo>
                    <a:pt x="3781" y="4963"/>
                  </a:lnTo>
                  <a:cubicBezTo>
                    <a:pt x="2647" y="4963"/>
                    <a:pt x="1702" y="4018"/>
                    <a:pt x="1702" y="2883"/>
                  </a:cubicBezTo>
                  <a:lnTo>
                    <a:pt x="1702" y="2537"/>
                  </a:lnTo>
                  <a:lnTo>
                    <a:pt x="1733" y="2537"/>
                  </a:lnTo>
                  <a:cubicBezTo>
                    <a:pt x="1733" y="2285"/>
                    <a:pt x="1891" y="2127"/>
                    <a:pt x="2111" y="2127"/>
                  </a:cubicBezTo>
                  <a:cubicBezTo>
                    <a:pt x="2395" y="2127"/>
                    <a:pt x="2678" y="2096"/>
                    <a:pt x="2899" y="2001"/>
                  </a:cubicBezTo>
                  <a:cubicBezTo>
                    <a:pt x="3277" y="1907"/>
                    <a:pt x="3623" y="1844"/>
                    <a:pt x="3939" y="1844"/>
                  </a:cubicBezTo>
                  <a:close/>
                  <a:moveTo>
                    <a:pt x="13784" y="1"/>
                  </a:moveTo>
                  <a:cubicBezTo>
                    <a:pt x="13713" y="1"/>
                    <a:pt x="13642" y="16"/>
                    <a:pt x="13579" y="48"/>
                  </a:cubicBezTo>
                  <a:lnTo>
                    <a:pt x="13043" y="331"/>
                  </a:lnTo>
                  <a:cubicBezTo>
                    <a:pt x="12798" y="445"/>
                    <a:pt x="12552" y="502"/>
                    <a:pt x="12299" y="502"/>
                  </a:cubicBezTo>
                  <a:cubicBezTo>
                    <a:pt x="12131" y="502"/>
                    <a:pt x="11960" y="476"/>
                    <a:pt x="11783" y="426"/>
                  </a:cubicBezTo>
                  <a:cubicBezTo>
                    <a:pt x="11291" y="283"/>
                    <a:pt x="10793" y="213"/>
                    <a:pt x="10307" y="213"/>
                  </a:cubicBezTo>
                  <a:cubicBezTo>
                    <a:pt x="9083" y="213"/>
                    <a:pt x="7932" y="654"/>
                    <a:pt x="7121" y="1466"/>
                  </a:cubicBezTo>
                  <a:lnTo>
                    <a:pt x="7089" y="1497"/>
                  </a:lnTo>
                  <a:lnTo>
                    <a:pt x="7058" y="1466"/>
                  </a:lnTo>
                  <a:cubicBezTo>
                    <a:pt x="6246" y="654"/>
                    <a:pt x="5127" y="213"/>
                    <a:pt x="3898" y="213"/>
                  </a:cubicBezTo>
                  <a:cubicBezTo>
                    <a:pt x="3410" y="213"/>
                    <a:pt x="2905" y="283"/>
                    <a:pt x="2395" y="426"/>
                  </a:cubicBezTo>
                  <a:cubicBezTo>
                    <a:pt x="2231" y="476"/>
                    <a:pt x="2062" y="502"/>
                    <a:pt x="1892" y="502"/>
                  </a:cubicBezTo>
                  <a:cubicBezTo>
                    <a:pt x="1637" y="502"/>
                    <a:pt x="1380" y="445"/>
                    <a:pt x="1135" y="331"/>
                  </a:cubicBezTo>
                  <a:lnTo>
                    <a:pt x="599" y="48"/>
                  </a:lnTo>
                  <a:cubicBezTo>
                    <a:pt x="546" y="21"/>
                    <a:pt x="487" y="12"/>
                    <a:pt x="427" y="12"/>
                  </a:cubicBezTo>
                  <a:cubicBezTo>
                    <a:pt x="345" y="12"/>
                    <a:pt x="262" y="30"/>
                    <a:pt x="189" y="48"/>
                  </a:cubicBezTo>
                  <a:cubicBezTo>
                    <a:pt x="95" y="111"/>
                    <a:pt x="0" y="237"/>
                    <a:pt x="0" y="394"/>
                  </a:cubicBezTo>
                  <a:lnTo>
                    <a:pt x="0" y="2883"/>
                  </a:lnTo>
                  <a:cubicBezTo>
                    <a:pt x="63" y="4931"/>
                    <a:pt x="1733" y="6601"/>
                    <a:pt x="3781" y="6601"/>
                  </a:cubicBezTo>
                  <a:lnTo>
                    <a:pt x="4443" y="6601"/>
                  </a:lnTo>
                  <a:cubicBezTo>
                    <a:pt x="5514" y="6601"/>
                    <a:pt x="6490" y="6128"/>
                    <a:pt x="7121" y="5278"/>
                  </a:cubicBezTo>
                  <a:cubicBezTo>
                    <a:pt x="7751" y="6128"/>
                    <a:pt x="8727" y="6601"/>
                    <a:pt x="9798" y="6601"/>
                  </a:cubicBezTo>
                  <a:lnTo>
                    <a:pt x="10460" y="6601"/>
                  </a:lnTo>
                  <a:cubicBezTo>
                    <a:pt x="12508" y="6601"/>
                    <a:pt x="14178" y="4931"/>
                    <a:pt x="14178" y="2883"/>
                  </a:cubicBezTo>
                  <a:lnTo>
                    <a:pt x="14178" y="394"/>
                  </a:lnTo>
                  <a:cubicBezTo>
                    <a:pt x="14178" y="237"/>
                    <a:pt x="14083" y="142"/>
                    <a:pt x="13989" y="48"/>
                  </a:cubicBezTo>
                  <a:cubicBezTo>
                    <a:pt x="13926" y="16"/>
                    <a:pt x="13855" y="1"/>
                    <a:pt x="137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6" name="Google Shape;8166;p74"/>
            <p:cNvSpPr/>
            <p:nvPr/>
          </p:nvSpPr>
          <p:spPr>
            <a:xfrm>
              <a:off x="-12161450" y="3503725"/>
              <a:ext cx="41775" cy="62250"/>
            </a:xfrm>
            <a:custGeom>
              <a:avLst/>
              <a:gdLst/>
              <a:ahLst/>
              <a:cxnLst/>
              <a:rect l="l" t="t" r="r" b="b"/>
              <a:pathLst>
                <a:path w="1671" h="2490" extrusionOk="0">
                  <a:moveTo>
                    <a:pt x="0" y="1"/>
                  </a:moveTo>
                  <a:lnTo>
                    <a:pt x="0" y="1670"/>
                  </a:lnTo>
                  <a:cubicBezTo>
                    <a:pt x="0" y="2143"/>
                    <a:pt x="378" y="2490"/>
                    <a:pt x="851" y="2490"/>
                  </a:cubicBezTo>
                  <a:cubicBezTo>
                    <a:pt x="1324" y="2490"/>
                    <a:pt x="1670" y="2143"/>
                    <a:pt x="1670" y="1670"/>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7" name="Google Shape;8167;p74"/>
            <p:cNvSpPr/>
            <p:nvPr/>
          </p:nvSpPr>
          <p:spPr>
            <a:xfrm>
              <a:off x="-12161450" y="3350150"/>
              <a:ext cx="41775" cy="133125"/>
            </a:xfrm>
            <a:custGeom>
              <a:avLst/>
              <a:gdLst/>
              <a:ahLst/>
              <a:cxnLst/>
              <a:rect l="l" t="t" r="r" b="b"/>
              <a:pathLst>
                <a:path w="1671" h="5325" extrusionOk="0">
                  <a:moveTo>
                    <a:pt x="0" y="0"/>
                  </a:moveTo>
                  <a:lnTo>
                    <a:pt x="0" y="5325"/>
                  </a:lnTo>
                  <a:lnTo>
                    <a:pt x="1670" y="5325"/>
                  </a:lnTo>
                  <a:lnTo>
                    <a:pt x="1670" y="1481"/>
                  </a:lnTo>
                  <a:cubicBezTo>
                    <a:pt x="1009" y="1103"/>
                    <a:pt x="441" y="63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8" name="Google Shape;8168;p74"/>
          <p:cNvGrpSpPr/>
          <p:nvPr/>
        </p:nvGrpSpPr>
        <p:grpSpPr>
          <a:xfrm>
            <a:off x="6643154" y="1819965"/>
            <a:ext cx="355441" cy="356232"/>
            <a:chOff x="-12160675" y="3647875"/>
            <a:chExt cx="352900" cy="353650"/>
          </a:xfrm>
        </p:grpSpPr>
        <p:sp>
          <p:nvSpPr>
            <p:cNvPr id="8169" name="Google Shape;8169;p74"/>
            <p:cNvSpPr/>
            <p:nvPr/>
          </p:nvSpPr>
          <p:spPr>
            <a:xfrm>
              <a:off x="-12059850" y="3958975"/>
              <a:ext cx="149675" cy="42550"/>
            </a:xfrm>
            <a:custGeom>
              <a:avLst/>
              <a:gdLst/>
              <a:ahLst/>
              <a:cxnLst/>
              <a:rect l="l" t="t" r="r" b="b"/>
              <a:pathLst>
                <a:path w="5987" h="1702" extrusionOk="0">
                  <a:moveTo>
                    <a:pt x="1" y="0"/>
                  </a:moveTo>
                  <a:lnTo>
                    <a:pt x="1009" y="1481"/>
                  </a:lnTo>
                  <a:cubicBezTo>
                    <a:pt x="1072" y="1607"/>
                    <a:pt x="1198" y="1702"/>
                    <a:pt x="1355" y="1702"/>
                  </a:cubicBezTo>
                  <a:lnTo>
                    <a:pt x="4663" y="1702"/>
                  </a:lnTo>
                  <a:cubicBezTo>
                    <a:pt x="4821" y="1702"/>
                    <a:pt x="4947" y="1607"/>
                    <a:pt x="5010" y="1481"/>
                  </a:cubicBezTo>
                  <a:lnTo>
                    <a:pt x="59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74"/>
            <p:cNvSpPr/>
            <p:nvPr/>
          </p:nvSpPr>
          <p:spPr>
            <a:xfrm>
              <a:off x="-11850350" y="3749475"/>
              <a:ext cx="42575" cy="149675"/>
            </a:xfrm>
            <a:custGeom>
              <a:avLst/>
              <a:gdLst/>
              <a:ahLst/>
              <a:cxnLst/>
              <a:rect l="l" t="t" r="r" b="b"/>
              <a:pathLst>
                <a:path w="1703" h="5987" extrusionOk="0">
                  <a:moveTo>
                    <a:pt x="1" y="0"/>
                  </a:moveTo>
                  <a:lnTo>
                    <a:pt x="1" y="5986"/>
                  </a:lnTo>
                  <a:lnTo>
                    <a:pt x="1513" y="4978"/>
                  </a:lnTo>
                  <a:cubicBezTo>
                    <a:pt x="1639" y="4915"/>
                    <a:pt x="1702" y="4789"/>
                    <a:pt x="1702" y="4631"/>
                  </a:cubicBezTo>
                  <a:lnTo>
                    <a:pt x="1702" y="1323"/>
                  </a:lnTo>
                  <a:cubicBezTo>
                    <a:pt x="1702" y="1166"/>
                    <a:pt x="1639" y="1040"/>
                    <a:pt x="1513" y="977"/>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1" name="Google Shape;8171;p74"/>
            <p:cNvSpPr/>
            <p:nvPr/>
          </p:nvSpPr>
          <p:spPr>
            <a:xfrm>
              <a:off x="-12059850" y="3647875"/>
              <a:ext cx="148875" cy="42550"/>
            </a:xfrm>
            <a:custGeom>
              <a:avLst/>
              <a:gdLst/>
              <a:ahLst/>
              <a:cxnLst/>
              <a:rect l="l" t="t" r="r" b="b"/>
              <a:pathLst>
                <a:path w="5955" h="1702" extrusionOk="0">
                  <a:moveTo>
                    <a:pt x="1355" y="0"/>
                  </a:moveTo>
                  <a:cubicBezTo>
                    <a:pt x="1198" y="0"/>
                    <a:pt x="1072" y="63"/>
                    <a:pt x="977" y="189"/>
                  </a:cubicBezTo>
                  <a:lnTo>
                    <a:pt x="1" y="1701"/>
                  </a:lnTo>
                  <a:lnTo>
                    <a:pt x="5955" y="1701"/>
                  </a:lnTo>
                  <a:lnTo>
                    <a:pt x="4978" y="189"/>
                  </a:lnTo>
                  <a:cubicBezTo>
                    <a:pt x="4947" y="63"/>
                    <a:pt x="4821"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2" name="Google Shape;8172;p74"/>
            <p:cNvSpPr/>
            <p:nvPr/>
          </p:nvSpPr>
          <p:spPr>
            <a:xfrm>
              <a:off x="-12160675" y="3750250"/>
              <a:ext cx="41775" cy="148900"/>
            </a:xfrm>
            <a:custGeom>
              <a:avLst/>
              <a:gdLst/>
              <a:ahLst/>
              <a:cxnLst/>
              <a:rect l="l" t="t" r="r" b="b"/>
              <a:pathLst>
                <a:path w="1671" h="5956" extrusionOk="0">
                  <a:moveTo>
                    <a:pt x="1671" y="1"/>
                  </a:moveTo>
                  <a:lnTo>
                    <a:pt x="190" y="977"/>
                  </a:lnTo>
                  <a:cubicBezTo>
                    <a:pt x="64" y="1040"/>
                    <a:pt x="1" y="1166"/>
                    <a:pt x="1" y="1324"/>
                  </a:cubicBezTo>
                  <a:lnTo>
                    <a:pt x="1" y="4632"/>
                  </a:lnTo>
                  <a:cubicBezTo>
                    <a:pt x="1" y="4789"/>
                    <a:pt x="64" y="4915"/>
                    <a:pt x="190" y="4978"/>
                  </a:cubicBezTo>
                  <a:lnTo>
                    <a:pt x="1671" y="5955"/>
                  </a:lnTo>
                  <a:lnTo>
                    <a:pt x="16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4"/>
            <p:cNvSpPr/>
            <p:nvPr/>
          </p:nvSpPr>
          <p:spPr>
            <a:xfrm>
              <a:off x="-12099225" y="3710875"/>
              <a:ext cx="228425" cy="226200"/>
            </a:xfrm>
            <a:custGeom>
              <a:avLst/>
              <a:gdLst/>
              <a:ahLst/>
              <a:cxnLst/>
              <a:rect l="l" t="t" r="r" b="b"/>
              <a:pathLst>
                <a:path w="9137" h="9048" extrusionOk="0">
                  <a:moveTo>
                    <a:pt x="4569" y="820"/>
                  </a:moveTo>
                  <a:cubicBezTo>
                    <a:pt x="6616" y="820"/>
                    <a:pt x="8318" y="2489"/>
                    <a:pt x="8318" y="4537"/>
                  </a:cubicBezTo>
                  <a:cubicBezTo>
                    <a:pt x="8318" y="6553"/>
                    <a:pt x="6616" y="8255"/>
                    <a:pt x="4569" y="8255"/>
                  </a:cubicBezTo>
                  <a:cubicBezTo>
                    <a:pt x="2521" y="8255"/>
                    <a:pt x="882" y="6616"/>
                    <a:pt x="882" y="4537"/>
                  </a:cubicBezTo>
                  <a:cubicBezTo>
                    <a:pt x="882" y="2426"/>
                    <a:pt x="2521" y="820"/>
                    <a:pt x="4569" y="820"/>
                  </a:cubicBezTo>
                  <a:close/>
                  <a:moveTo>
                    <a:pt x="1260" y="0"/>
                  </a:moveTo>
                  <a:cubicBezTo>
                    <a:pt x="599" y="0"/>
                    <a:pt x="0" y="536"/>
                    <a:pt x="0" y="1229"/>
                  </a:cubicBezTo>
                  <a:lnTo>
                    <a:pt x="0" y="7845"/>
                  </a:lnTo>
                  <a:cubicBezTo>
                    <a:pt x="0" y="8507"/>
                    <a:pt x="567" y="9042"/>
                    <a:pt x="1260" y="9042"/>
                  </a:cubicBezTo>
                  <a:lnTo>
                    <a:pt x="7877" y="9042"/>
                  </a:lnTo>
                  <a:cubicBezTo>
                    <a:pt x="7910" y="9046"/>
                    <a:pt x="7944" y="9047"/>
                    <a:pt x="7977" y="9047"/>
                  </a:cubicBezTo>
                  <a:cubicBezTo>
                    <a:pt x="8598" y="9047"/>
                    <a:pt x="9137" y="8503"/>
                    <a:pt x="9137" y="7845"/>
                  </a:cubicBezTo>
                  <a:lnTo>
                    <a:pt x="9137" y="1229"/>
                  </a:lnTo>
                  <a:cubicBezTo>
                    <a:pt x="9137" y="536"/>
                    <a:pt x="8601" y="0"/>
                    <a:pt x="7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4"/>
            <p:cNvSpPr/>
            <p:nvPr/>
          </p:nvSpPr>
          <p:spPr>
            <a:xfrm>
              <a:off x="-12056700" y="3751825"/>
              <a:ext cx="144950" cy="144950"/>
            </a:xfrm>
            <a:custGeom>
              <a:avLst/>
              <a:gdLst/>
              <a:ahLst/>
              <a:cxnLst/>
              <a:rect l="l" t="t" r="r" b="b"/>
              <a:pathLst>
                <a:path w="5798" h="5798" extrusionOk="0">
                  <a:moveTo>
                    <a:pt x="2868" y="788"/>
                  </a:moveTo>
                  <a:cubicBezTo>
                    <a:pt x="4033" y="788"/>
                    <a:pt x="4947" y="1733"/>
                    <a:pt x="4947" y="2899"/>
                  </a:cubicBezTo>
                  <a:cubicBezTo>
                    <a:pt x="4947" y="4033"/>
                    <a:pt x="4033" y="4978"/>
                    <a:pt x="2868" y="4978"/>
                  </a:cubicBezTo>
                  <a:cubicBezTo>
                    <a:pt x="1733" y="4978"/>
                    <a:pt x="788" y="4033"/>
                    <a:pt x="788" y="2899"/>
                  </a:cubicBezTo>
                  <a:cubicBezTo>
                    <a:pt x="788" y="1733"/>
                    <a:pt x="1733" y="788"/>
                    <a:pt x="2868" y="788"/>
                  </a:cubicBezTo>
                  <a:close/>
                  <a:moveTo>
                    <a:pt x="2868" y="1"/>
                  </a:moveTo>
                  <a:cubicBezTo>
                    <a:pt x="1261" y="1"/>
                    <a:pt x="1" y="1324"/>
                    <a:pt x="1" y="2899"/>
                  </a:cubicBezTo>
                  <a:cubicBezTo>
                    <a:pt x="1" y="4506"/>
                    <a:pt x="1292" y="5798"/>
                    <a:pt x="2868" y="5798"/>
                  </a:cubicBezTo>
                  <a:cubicBezTo>
                    <a:pt x="4474" y="5798"/>
                    <a:pt x="5797" y="4506"/>
                    <a:pt x="5797" y="2899"/>
                  </a:cubicBezTo>
                  <a:cubicBezTo>
                    <a:pt x="5797" y="1324"/>
                    <a:pt x="4474"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4"/>
            <p:cNvSpPr/>
            <p:nvPr/>
          </p:nvSpPr>
          <p:spPr>
            <a:xfrm>
              <a:off x="-12016525" y="3792775"/>
              <a:ext cx="63025" cy="63050"/>
            </a:xfrm>
            <a:custGeom>
              <a:avLst/>
              <a:gdLst/>
              <a:ahLst/>
              <a:cxnLst/>
              <a:rect l="l" t="t" r="r" b="b"/>
              <a:pathLst>
                <a:path w="2521" h="2522" extrusionOk="0">
                  <a:moveTo>
                    <a:pt x="1261" y="1"/>
                  </a:moveTo>
                  <a:cubicBezTo>
                    <a:pt x="567" y="1"/>
                    <a:pt x="0" y="537"/>
                    <a:pt x="0" y="1261"/>
                  </a:cubicBezTo>
                  <a:cubicBezTo>
                    <a:pt x="0" y="1954"/>
                    <a:pt x="567" y="2521"/>
                    <a:pt x="1261" y="2521"/>
                  </a:cubicBezTo>
                  <a:cubicBezTo>
                    <a:pt x="1954" y="2521"/>
                    <a:pt x="2521" y="1954"/>
                    <a:pt x="2521" y="1261"/>
                  </a:cubicBezTo>
                  <a:cubicBezTo>
                    <a:pt x="2521" y="537"/>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6" name="Google Shape;8176;p74"/>
          <p:cNvGrpSpPr/>
          <p:nvPr/>
        </p:nvGrpSpPr>
        <p:grpSpPr>
          <a:xfrm>
            <a:off x="6653870" y="2264421"/>
            <a:ext cx="354635" cy="356232"/>
            <a:chOff x="-12160675" y="4081850"/>
            <a:chExt cx="352100" cy="353650"/>
          </a:xfrm>
        </p:grpSpPr>
        <p:sp>
          <p:nvSpPr>
            <p:cNvPr id="8177" name="Google Shape;8177;p74"/>
            <p:cNvSpPr/>
            <p:nvPr/>
          </p:nvSpPr>
          <p:spPr>
            <a:xfrm>
              <a:off x="-12014950" y="4081850"/>
              <a:ext cx="61450" cy="62275"/>
            </a:xfrm>
            <a:custGeom>
              <a:avLst/>
              <a:gdLst/>
              <a:ahLst/>
              <a:cxnLst/>
              <a:rect l="l" t="t" r="r" b="b"/>
              <a:pathLst>
                <a:path w="2458" h="2491" extrusionOk="0">
                  <a:moveTo>
                    <a:pt x="1198" y="0"/>
                  </a:moveTo>
                  <a:cubicBezTo>
                    <a:pt x="536" y="0"/>
                    <a:pt x="0" y="599"/>
                    <a:pt x="0" y="1260"/>
                  </a:cubicBezTo>
                  <a:cubicBezTo>
                    <a:pt x="0" y="1922"/>
                    <a:pt x="536" y="2489"/>
                    <a:pt x="1198" y="2489"/>
                  </a:cubicBezTo>
                  <a:cubicBezTo>
                    <a:pt x="1216" y="2490"/>
                    <a:pt x="1235" y="2490"/>
                    <a:pt x="1253" y="2490"/>
                  </a:cubicBezTo>
                  <a:cubicBezTo>
                    <a:pt x="1892" y="2490"/>
                    <a:pt x="2458" y="1965"/>
                    <a:pt x="2458" y="1260"/>
                  </a:cubicBezTo>
                  <a:cubicBezTo>
                    <a:pt x="2458" y="599"/>
                    <a:pt x="1922"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8" name="Google Shape;8178;p74"/>
            <p:cNvSpPr/>
            <p:nvPr/>
          </p:nvSpPr>
          <p:spPr>
            <a:xfrm>
              <a:off x="-12077175" y="4352000"/>
              <a:ext cx="186700" cy="83500"/>
            </a:xfrm>
            <a:custGeom>
              <a:avLst/>
              <a:gdLst/>
              <a:ahLst/>
              <a:cxnLst/>
              <a:rect l="l" t="t" r="r" b="b"/>
              <a:pathLst>
                <a:path w="7468" h="3340" extrusionOk="0">
                  <a:moveTo>
                    <a:pt x="1639" y="0"/>
                  </a:moveTo>
                  <a:cubicBezTo>
                    <a:pt x="1166" y="0"/>
                    <a:pt x="820" y="347"/>
                    <a:pt x="820" y="819"/>
                  </a:cubicBezTo>
                  <a:lnTo>
                    <a:pt x="820" y="1670"/>
                  </a:lnTo>
                  <a:cubicBezTo>
                    <a:pt x="347" y="1670"/>
                    <a:pt x="0" y="2048"/>
                    <a:pt x="0" y="2521"/>
                  </a:cubicBezTo>
                  <a:lnTo>
                    <a:pt x="0" y="2899"/>
                  </a:lnTo>
                  <a:cubicBezTo>
                    <a:pt x="0" y="3151"/>
                    <a:pt x="189" y="3340"/>
                    <a:pt x="410" y="3340"/>
                  </a:cubicBezTo>
                  <a:lnTo>
                    <a:pt x="7026" y="3340"/>
                  </a:lnTo>
                  <a:cubicBezTo>
                    <a:pt x="7278" y="3340"/>
                    <a:pt x="7467" y="3151"/>
                    <a:pt x="7467" y="2899"/>
                  </a:cubicBezTo>
                  <a:lnTo>
                    <a:pt x="7467" y="2521"/>
                  </a:lnTo>
                  <a:cubicBezTo>
                    <a:pt x="7467" y="2048"/>
                    <a:pt x="7121" y="1670"/>
                    <a:pt x="6648" y="1670"/>
                  </a:cubicBezTo>
                  <a:lnTo>
                    <a:pt x="6648" y="819"/>
                  </a:lnTo>
                  <a:cubicBezTo>
                    <a:pt x="6616" y="347"/>
                    <a:pt x="6207" y="0"/>
                    <a:pt x="57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74"/>
            <p:cNvSpPr/>
            <p:nvPr/>
          </p:nvSpPr>
          <p:spPr>
            <a:xfrm>
              <a:off x="-11911775" y="4186000"/>
              <a:ext cx="103200" cy="101425"/>
            </a:xfrm>
            <a:custGeom>
              <a:avLst/>
              <a:gdLst/>
              <a:ahLst/>
              <a:cxnLst/>
              <a:rect l="l" t="t" r="r" b="b"/>
              <a:pathLst>
                <a:path w="4128" h="4057" extrusionOk="0">
                  <a:moveTo>
                    <a:pt x="2060" y="1"/>
                  </a:moveTo>
                  <a:cubicBezTo>
                    <a:pt x="1914" y="1"/>
                    <a:pt x="1765" y="72"/>
                    <a:pt x="1670" y="213"/>
                  </a:cubicBezTo>
                  <a:lnTo>
                    <a:pt x="1198" y="1190"/>
                  </a:lnTo>
                  <a:lnTo>
                    <a:pt x="221" y="1663"/>
                  </a:lnTo>
                  <a:cubicBezTo>
                    <a:pt x="63" y="1757"/>
                    <a:pt x="0" y="1852"/>
                    <a:pt x="0" y="2009"/>
                  </a:cubicBezTo>
                  <a:cubicBezTo>
                    <a:pt x="0" y="2167"/>
                    <a:pt x="63" y="2324"/>
                    <a:pt x="221" y="2356"/>
                  </a:cubicBezTo>
                  <a:lnTo>
                    <a:pt x="1198" y="2828"/>
                  </a:lnTo>
                  <a:lnTo>
                    <a:pt x="1670" y="3836"/>
                  </a:lnTo>
                  <a:cubicBezTo>
                    <a:pt x="1765" y="3994"/>
                    <a:pt x="1891" y="4057"/>
                    <a:pt x="2048" y="4057"/>
                  </a:cubicBezTo>
                  <a:cubicBezTo>
                    <a:pt x="2206" y="4057"/>
                    <a:pt x="2363" y="3994"/>
                    <a:pt x="2395" y="3836"/>
                  </a:cubicBezTo>
                  <a:lnTo>
                    <a:pt x="2867" y="2828"/>
                  </a:lnTo>
                  <a:lnTo>
                    <a:pt x="3907" y="2356"/>
                  </a:lnTo>
                  <a:cubicBezTo>
                    <a:pt x="4065" y="2293"/>
                    <a:pt x="4128" y="2167"/>
                    <a:pt x="4128" y="2009"/>
                  </a:cubicBezTo>
                  <a:cubicBezTo>
                    <a:pt x="4128" y="1852"/>
                    <a:pt x="4033" y="1757"/>
                    <a:pt x="3939" y="1663"/>
                  </a:cubicBezTo>
                  <a:lnTo>
                    <a:pt x="2899" y="1190"/>
                  </a:lnTo>
                  <a:lnTo>
                    <a:pt x="2426" y="213"/>
                  </a:lnTo>
                  <a:cubicBezTo>
                    <a:pt x="2348" y="72"/>
                    <a:pt x="2206" y="1"/>
                    <a:pt x="2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0" name="Google Shape;8180;p74"/>
            <p:cNvSpPr/>
            <p:nvPr/>
          </p:nvSpPr>
          <p:spPr>
            <a:xfrm>
              <a:off x="-12160675" y="4186000"/>
              <a:ext cx="104000" cy="101425"/>
            </a:xfrm>
            <a:custGeom>
              <a:avLst/>
              <a:gdLst/>
              <a:ahLst/>
              <a:cxnLst/>
              <a:rect l="l" t="t" r="r" b="b"/>
              <a:pathLst>
                <a:path w="4160" h="4057" extrusionOk="0">
                  <a:moveTo>
                    <a:pt x="2092" y="1"/>
                  </a:moveTo>
                  <a:cubicBezTo>
                    <a:pt x="1946" y="1"/>
                    <a:pt x="1797" y="72"/>
                    <a:pt x="1702" y="213"/>
                  </a:cubicBezTo>
                  <a:lnTo>
                    <a:pt x="1230" y="1190"/>
                  </a:lnTo>
                  <a:lnTo>
                    <a:pt x="221" y="1663"/>
                  </a:lnTo>
                  <a:cubicBezTo>
                    <a:pt x="64" y="1757"/>
                    <a:pt x="1" y="1852"/>
                    <a:pt x="1" y="2009"/>
                  </a:cubicBezTo>
                  <a:cubicBezTo>
                    <a:pt x="1" y="2167"/>
                    <a:pt x="64" y="2324"/>
                    <a:pt x="221" y="2387"/>
                  </a:cubicBezTo>
                  <a:lnTo>
                    <a:pt x="1230" y="2860"/>
                  </a:lnTo>
                  <a:lnTo>
                    <a:pt x="1702" y="3836"/>
                  </a:lnTo>
                  <a:cubicBezTo>
                    <a:pt x="1797" y="3994"/>
                    <a:pt x="1923" y="4057"/>
                    <a:pt x="2080" y="4057"/>
                  </a:cubicBezTo>
                  <a:cubicBezTo>
                    <a:pt x="2238" y="4057"/>
                    <a:pt x="2395" y="3994"/>
                    <a:pt x="2427" y="3836"/>
                  </a:cubicBezTo>
                  <a:lnTo>
                    <a:pt x="2899" y="2860"/>
                  </a:lnTo>
                  <a:lnTo>
                    <a:pt x="3876" y="2387"/>
                  </a:lnTo>
                  <a:cubicBezTo>
                    <a:pt x="4034" y="2324"/>
                    <a:pt x="4160" y="2167"/>
                    <a:pt x="4160" y="2009"/>
                  </a:cubicBezTo>
                  <a:cubicBezTo>
                    <a:pt x="4160" y="1852"/>
                    <a:pt x="4065" y="1694"/>
                    <a:pt x="3939" y="1663"/>
                  </a:cubicBezTo>
                  <a:lnTo>
                    <a:pt x="2931" y="1190"/>
                  </a:lnTo>
                  <a:lnTo>
                    <a:pt x="2458" y="213"/>
                  </a:lnTo>
                  <a:cubicBezTo>
                    <a:pt x="2380" y="72"/>
                    <a:pt x="2238" y="1"/>
                    <a:pt x="2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1" name="Google Shape;8181;p74"/>
            <p:cNvSpPr/>
            <p:nvPr/>
          </p:nvSpPr>
          <p:spPr>
            <a:xfrm>
              <a:off x="-12049600" y="4144075"/>
              <a:ext cx="127600" cy="67750"/>
            </a:xfrm>
            <a:custGeom>
              <a:avLst/>
              <a:gdLst/>
              <a:ahLst/>
              <a:cxnLst/>
              <a:rect l="l" t="t" r="r" b="b"/>
              <a:pathLst>
                <a:path w="5104" h="2710" extrusionOk="0">
                  <a:moveTo>
                    <a:pt x="851" y="0"/>
                  </a:moveTo>
                  <a:cubicBezTo>
                    <a:pt x="819" y="32"/>
                    <a:pt x="662" y="63"/>
                    <a:pt x="599" y="189"/>
                  </a:cubicBezTo>
                  <a:cubicBezTo>
                    <a:pt x="63" y="945"/>
                    <a:pt x="0" y="1890"/>
                    <a:pt x="347" y="2710"/>
                  </a:cubicBezTo>
                  <a:lnTo>
                    <a:pt x="2394" y="1670"/>
                  </a:lnTo>
                  <a:cubicBezTo>
                    <a:pt x="2426" y="1638"/>
                    <a:pt x="2521" y="1638"/>
                    <a:pt x="2552" y="1638"/>
                  </a:cubicBezTo>
                  <a:cubicBezTo>
                    <a:pt x="2647" y="1638"/>
                    <a:pt x="2678" y="1638"/>
                    <a:pt x="2710" y="1670"/>
                  </a:cubicBezTo>
                  <a:lnTo>
                    <a:pt x="4757" y="2710"/>
                  </a:lnTo>
                  <a:cubicBezTo>
                    <a:pt x="5104" y="1890"/>
                    <a:pt x="5041" y="945"/>
                    <a:pt x="4537" y="189"/>
                  </a:cubicBezTo>
                  <a:cubicBezTo>
                    <a:pt x="4442" y="63"/>
                    <a:pt x="4316"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74"/>
            <p:cNvSpPr/>
            <p:nvPr/>
          </p:nvSpPr>
          <p:spPr>
            <a:xfrm>
              <a:off x="-12033850" y="4212600"/>
              <a:ext cx="99250" cy="118150"/>
            </a:xfrm>
            <a:custGeom>
              <a:avLst/>
              <a:gdLst/>
              <a:ahLst/>
              <a:cxnLst/>
              <a:rect l="l" t="t" r="r" b="b"/>
              <a:pathLst>
                <a:path w="3970" h="4726" extrusionOk="0">
                  <a:moveTo>
                    <a:pt x="1575" y="0"/>
                  </a:moveTo>
                  <a:lnTo>
                    <a:pt x="0" y="788"/>
                  </a:lnTo>
                  <a:lnTo>
                    <a:pt x="662" y="4726"/>
                  </a:lnTo>
                  <a:lnTo>
                    <a:pt x="3308" y="4726"/>
                  </a:lnTo>
                  <a:lnTo>
                    <a:pt x="3970" y="788"/>
                  </a:lnTo>
                  <a:lnTo>
                    <a:pt x="2395" y="0"/>
                  </a:lnTo>
                  <a:lnTo>
                    <a:pt x="2395" y="1827"/>
                  </a:lnTo>
                  <a:cubicBezTo>
                    <a:pt x="2395" y="2048"/>
                    <a:pt x="2206" y="2268"/>
                    <a:pt x="1954" y="2268"/>
                  </a:cubicBezTo>
                  <a:cubicBezTo>
                    <a:pt x="1733" y="2268"/>
                    <a:pt x="1575" y="2048"/>
                    <a:pt x="1575" y="1827"/>
                  </a:cubicBez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74"/>
          <p:cNvGrpSpPr/>
          <p:nvPr/>
        </p:nvGrpSpPr>
        <p:grpSpPr>
          <a:xfrm>
            <a:off x="4858836" y="2738864"/>
            <a:ext cx="355416" cy="355652"/>
            <a:chOff x="-10391650" y="3180600"/>
            <a:chExt cx="352875" cy="353075"/>
          </a:xfrm>
        </p:grpSpPr>
        <p:sp>
          <p:nvSpPr>
            <p:cNvPr id="8184" name="Google Shape;8184;p74"/>
            <p:cNvSpPr/>
            <p:nvPr/>
          </p:nvSpPr>
          <p:spPr>
            <a:xfrm>
              <a:off x="-10390875" y="3263500"/>
              <a:ext cx="352100" cy="42550"/>
            </a:xfrm>
            <a:custGeom>
              <a:avLst/>
              <a:gdLst/>
              <a:ahLst/>
              <a:cxnLst/>
              <a:rect l="l" t="t" r="r" b="b"/>
              <a:pathLst>
                <a:path w="14084" h="1702" extrusionOk="0">
                  <a:moveTo>
                    <a:pt x="820" y="1"/>
                  </a:moveTo>
                  <a:cubicBezTo>
                    <a:pt x="347" y="1"/>
                    <a:pt x="1" y="379"/>
                    <a:pt x="1" y="851"/>
                  </a:cubicBezTo>
                  <a:lnTo>
                    <a:pt x="1" y="1261"/>
                  </a:lnTo>
                  <a:cubicBezTo>
                    <a:pt x="1" y="1513"/>
                    <a:pt x="190" y="1702"/>
                    <a:pt x="410" y="1702"/>
                  </a:cubicBezTo>
                  <a:lnTo>
                    <a:pt x="13674" y="1702"/>
                  </a:lnTo>
                  <a:cubicBezTo>
                    <a:pt x="13894" y="1702"/>
                    <a:pt x="14083" y="1513"/>
                    <a:pt x="14083" y="1261"/>
                  </a:cubicBezTo>
                  <a:lnTo>
                    <a:pt x="14083" y="851"/>
                  </a:lnTo>
                  <a:cubicBezTo>
                    <a:pt x="14083" y="410"/>
                    <a:pt x="13705" y="1"/>
                    <a:pt x="132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74"/>
            <p:cNvSpPr/>
            <p:nvPr/>
          </p:nvSpPr>
          <p:spPr>
            <a:xfrm>
              <a:off x="-10391650" y="3451750"/>
              <a:ext cx="352875" cy="81925"/>
            </a:xfrm>
            <a:custGeom>
              <a:avLst/>
              <a:gdLst/>
              <a:ahLst/>
              <a:cxnLst/>
              <a:rect l="l" t="t" r="r" b="b"/>
              <a:pathLst>
                <a:path w="14115" h="3277" extrusionOk="0">
                  <a:moveTo>
                    <a:pt x="2079" y="0"/>
                  </a:moveTo>
                  <a:cubicBezTo>
                    <a:pt x="1418" y="0"/>
                    <a:pt x="819" y="536"/>
                    <a:pt x="819" y="1229"/>
                  </a:cubicBezTo>
                  <a:lnTo>
                    <a:pt x="819" y="1607"/>
                  </a:lnTo>
                  <a:cubicBezTo>
                    <a:pt x="347" y="1607"/>
                    <a:pt x="0" y="1954"/>
                    <a:pt x="0" y="2458"/>
                  </a:cubicBezTo>
                  <a:lnTo>
                    <a:pt x="0" y="2867"/>
                  </a:lnTo>
                  <a:cubicBezTo>
                    <a:pt x="0" y="3119"/>
                    <a:pt x="189" y="3277"/>
                    <a:pt x="378" y="3277"/>
                  </a:cubicBezTo>
                  <a:lnTo>
                    <a:pt x="13642" y="3277"/>
                  </a:lnTo>
                  <a:cubicBezTo>
                    <a:pt x="13894" y="3277"/>
                    <a:pt x="14083" y="3088"/>
                    <a:pt x="14083" y="2867"/>
                  </a:cubicBezTo>
                  <a:lnTo>
                    <a:pt x="14083" y="2458"/>
                  </a:lnTo>
                  <a:cubicBezTo>
                    <a:pt x="14114" y="1954"/>
                    <a:pt x="13736" y="1607"/>
                    <a:pt x="13295" y="1607"/>
                  </a:cubicBezTo>
                  <a:lnTo>
                    <a:pt x="13295" y="1229"/>
                  </a:lnTo>
                  <a:cubicBezTo>
                    <a:pt x="13295" y="567"/>
                    <a:pt x="12760" y="0"/>
                    <a:pt x="12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6" name="Google Shape;8186;p74"/>
            <p:cNvSpPr/>
            <p:nvPr/>
          </p:nvSpPr>
          <p:spPr>
            <a:xfrm>
              <a:off x="-10327075" y="3180600"/>
              <a:ext cx="223700" cy="62450"/>
            </a:xfrm>
            <a:custGeom>
              <a:avLst/>
              <a:gdLst/>
              <a:ahLst/>
              <a:cxnLst/>
              <a:rect l="l" t="t" r="r" b="b"/>
              <a:pathLst>
                <a:path w="8948" h="2498" extrusionOk="0">
                  <a:moveTo>
                    <a:pt x="4490" y="1"/>
                  </a:moveTo>
                  <a:cubicBezTo>
                    <a:pt x="4419" y="1"/>
                    <a:pt x="4348" y="24"/>
                    <a:pt x="4285" y="72"/>
                  </a:cubicBezTo>
                  <a:lnTo>
                    <a:pt x="0" y="2498"/>
                  </a:lnTo>
                  <a:lnTo>
                    <a:pt x="8948" y="2498"/>
                  </a:lnTo>
                  <a:lnTo>
                    <a:pt x="4695" y="72"/>
                  </a:lnTo>
                  <a:cubicBezTo>
                    <a:pt x="4632" y="24"/>
                    <a:pt x="4561" y="1"/>
                    <a:pt x="4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7" name="Google Shape;8187;p74"/>
            <p:cNvSpPr/>
            <p:nvPr/>
          </p:nvSpPr>
          <p:spPr>
            <a:xfrm>
              <a:off x="-10245950" y="3325725"/>
              <a:ext cx="61450" cy="104775"/>
            </a:xfrm>
            <a:custGeom>
              <a:avLst/>
              <a:gdLst/>
              <a:ahLst/>
              <a:cxnLst/>
              <a:rect l="l" t="t" r="r" b="b"/>
              <a:pathLst>
                <a:path w="2458" h="4191" extrusionOk="0">
                  <a:moveTo>
                    <a:pt x="0" y="1"/>
                  </a:moveTo>
                  <a:lnTo>
                    <a:pt x="0" y="4191"/>
                  </a:lnTo>
                  <a:lnTo>
                    <a:pt x="2458" y="4191"/>
                  </a:lnTo>
                  <a:lnTo>
                    <a:pt x="24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74"/>
            <p:cNvSpPr/>
            <p:nvPr/>
          </p:nvSpPr>
          <p:spPr>
            <a:xfrm>
              <a:off x="-10142775" y="3325725"/>
              <a:ext cx="63025" cy="104775"/>
            </a:xfrm>
            <a:custGeom>
              <a:avLst/>
              <a:gdLst/>
              <a:ahLst/>
              <a:cxnLst/>
              <a:rect l="l" t="t" r="r" b="b"/>
              <a:pathLst>
                <a:path w="2521" h="4191" extrusionOk="0">
                  <a:moveTo>
                    <a:pt x="1" y="1"/>
                  </a:moveTo>
                  <a:lnTo>
                    <a:pt x="1" y="4191"/>
                  </a:lnTo>
                  <a:lnTo>
                    <a:pt x="2521" y="4191"/>
                  </a:lnTo>
                  <a:lnTo>
                    <a:pt x="25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9" name="Google Shape;8189;p74"/>
            <p:cNvSpPr/>
            <p:nvPr/>
          </p:nvSpPr>
          <p:spPr>
            <a:xfrm>
              <a:off x="-10350700" y="3325725"/>
              <a:ext cx="62250" cy="104775"/>
            </a:xfrm>
            <a:custGeom>
              <a:avLst/>
              <a:gdLst/>
              <a:ahLst/>
              <a:cxnLst/>
              <a:rect l="l" t="t" r="r" b="b"/>
              <a:pathLst>
                <a:path w="2490" h="4191" extrusionOk="0">
                  <a:moveTo>
                    <a:pt x="0" y="1"/>
                  </a:moveTo>
                  <a:lnTo>
                    <a:pt x="0" y="4191"/>
                  </a:lnTo>
                  <a:lnTo>
                    <a:pt x="2489" y="4191"/>
                  </a:lnTo>
                  <a:lnTo>
                    <a:pt x="24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0" name="Google Shape;8190;p74"/>
          <p:cNvGrpSpPr/>
          <p:nvPr/>
        </p:nvGrpSpPr>
        <p:grpSpPr>
          <a:xfrm>
            <a:off x="4858835" y="3215662"/>
            <a:ext cx="354635" cy="353890"/>
            <a:chOff x="-10390875" y="3616350"/>
            <a:chExt cx="352100" cy="351325"/>
          </a:xfrm>
        </p:grpSpPr>
        <p:sp>
          <p:nvSpPr>
            <p:cNvPr id="8191" name="Google Shape;8191;p74"/>
            <p:cNvSpPr/>
            <p:nvPr/>
          </p:nvSpPr>
          <p:spPr>
            <a:xfrm>
              <a:off x="-10308950" y="3780175"/>
              <a:ext cx="186675" cy="104800"/>
            </a:xfrm>
            <a:custGeom>
              <a:avLst/>
              <a:gdLst/>
              <a:ahLst/>
              <a:cxnLst/>
              <a:rect l="l" t="t" r="r" b="b"/>
              <a:pathLst>
                <a:path w="7467" h="4192" extrusionOk="0">
                  <a:moveTo>
                    <a:pt x="0" y="1"/>
                  </a:moveTo>
                  <a:lnTo>
                    <a:pt x="0" y="4191"/>
                  </a:lnTo>
                  <a:lnTo>
                    <a:pt x="7467" y="4191"/>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2" name="Google Shape;8192;p74"/>
            <p:cNvSpPr/>
            <p:nvPr/>
          </p:nvSpPr>
          <p:spPr>
            <a:xfrm>
              <a:off x="-10390875" y="3698275"/>
              <a:ext cx="352100" cy="269400"/>
            </a:xfrm>
            <a:custGeom>
              <a:avLst/>
              <a:gdLst/>
              <a:ahLst/>
              <a:cxnLst/>
              <a:rect l="l" t="t" r="r" b="b"/>
              <a:pathLst>
                <a:path w="14084" h="10776" extrusionOk="0">
                  <a:moveTo>
                    <a:pt x="11216" y="2426"/>
                  </a:moveTo>
                  <a:cubicBezTo>
                    <a:pt x="11468" y="2426"/>
                    <a:pt x="11626" y="2615"/>
                    <a:pt x="11626" y="2867"/>
                  </a:cubicBezTo>
                  <a:lnTo>
                    <a:pt x="11626" y="7845"/>
                  </a:lnTo>
                  <a:cubicBezTo>
                    <a:pt x="11626" y="8097"/>
                    <a:pt x="11437" y="8255"/>
                    <a:pt x="11216" y="8255"/>
                  </a:cubicBezTo>
                  <a:lnTo>
                    <a:pt x="2931" y="8255"/>
                  </a:lnTo>
                  <a:cubicBezTo>
                    <a:pt x="2678" y="8255"/>
                    <a:pt x="2489" y="8066"/>
                    <a:pt x="2489" y="7845"/>
                  </a:cubicBezTo>
                  <a:lnTo>
                    <a:pt x="2489" y="2867"/>
                  </a:lnTo>
                  <a:cubicBezTo>
                    <a:pt x="2489" y="2615"/>
                    <a:pt x="2678" y="2426"/>
                    <a:pt x="2931" y="2426"/>
                  </a:cubicBezTo>
                  <a:close/>
                  <a:moveTo>
                    <a:pt x="1670" y="0"/>
                  </a:moveTo>
                  <a:cubicBezTo>
                    <a:pt x="757" y="0"/>
                    <a:pt x="1" y="725"/>
                    <a:pt x="1" y="1639"/>
                  </a:cubicBezTo>
                  <a:cubicBezTo>
                    <a:pt x="1" y="2237"/>
                    <a:pt x="316" y="2773"/>
                    <a:pt x="820" y="3056"/>
                  </a:cubicBezTo>
                  <a:lnTo>
                    <a:pt x="820" y="7719"/>
                  </a:lnTo>
                  <a:cubicBezTo>
                    <a:pt x="316" y="7971"/>
                    <a:pt x="1" y="8538"/>
                    <a:pt x="1" y="9137"/>
                  </a:cubicBezTo>
                  <a:cubicBezTo>
                    <a:pt x="1" y="10019"/>
                    <a:pt x="757" y="10775"/>
                    <a:pt x="1670" y="10775"/>
                  </a:cubicBezTo>
                  <a:cubicBezTo>
                    <a:pt x="2237" y="10775"/>
                    <a:pt x="2805" y="10460"/>
                    <a:pt x="3057" y="9956"/>
                  </a:cubicBezTo>
                  <a:lnTo>
                    <a:pt x="11027" y="9956"/>
                  </a:lnTo>
                  <a:cubicBezTo>
                    <a:pt x="11311" y="10460"/>
                    <a:pt x="11846" y="10775"/>
                    <a:pt x="12445" y="10775"/>
                  </a:cubicBezTo>
                  <a:cubicBezTo>
                    <a:pt x="13359" y="10775"/>
                    <a:pt x="14083" y="10019"/>
                    <a:pt x="14083" y="9137"/>
                  </a:cubicBezTo>
                  <a:cubicBezTo>
                    <a:pt x="14083" y="8538"/>
                    <a:pt x="13800" y="7971"/>
                    <a:pt x="13264" y="7719"/>
                  </a:cubicBezTo>
                  <a:lnTo>
                    <a:pt x="13264" y="3056"/>
                  </a:lnTo>
                  <a:cubicBezTo>
                    <a:pt x="13800" y="2741"/>
                    <a:pt x="14083" y="2237"/>
                    <a:pt x="14083" y="1639"/>
                  </a:cubicBezTo>
                  <a:cubicBezTo>
                    <a:pt x="14083" y="725"/>
                    <a:pt x="13359" y="0"/>
                    <a:pt x="12445" y="0"/>
                  </a:cubicBezTo>
                  <a:cubicBezTo>
                    <a:pt x="11846" y="0"/>
                    <a:pt x="11311" y="315"/>
                    <a:pt x="11027" y="820"/>
                  </a:cubicBezTo>
                  <a:lnTo>
                    <a:pt x="3057" y="820"/>
                  </a:lnTo>
                  <a:cubicBezTo>
                    <a:pt x="2805" y="315"/>
                    <a:pt x="2237"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3" name="Google Shape;8193;p74"/>
            <p:cNvSpPr/>
            <p:nvPr/>
          </p:nvSpPr>
          <p:spPr>
            <a:xfrm>
              <a:off x="-10268000" y="3616350"/>
              <a:ext cx="103975" cy="81150"/>
            </a:xfrm>
            <a:custGeom>
              <a:avLst/>
              <a:gdLst/>
              <a:ahLst/>
              <a:cxnLst/>
              <a:rect l="l" t="t" r="r" b="b"/>
              <a:pathLst>
                <a:path w="4159" h="3246" extrusionOk="0">
                  <a:moveTo>
                    <a:pt x="2048" y="1"/>
                  </a:moveTo>
                  <a:cubicBezTo>
                    <a:pt x="1387" y="1"/>
                    <a:pt x="851" y="536"/>
                    <a:pt x="851" y="1230"/>
                  </a:cubicBezTo>
                  <a:cubicBezTo>
                    <a:pt x="851" y="1450"/>
                    <a:pt x="914" y="1671"/>
                    <a:pt x="1040" y="1891"/>
                  </a:cubicBezTo>
                  <a:lnTo>
                    <a:pt x="0" y="3246"/>
                  </a:lnTo>
                  <a:lnTo>
                    <a:pt x="1072" y="3246"/>
                  </a:lnTo>
                  <a:lnTo>
                    <a:pt x="1733" y="2364"/>
                  </a:lnTo>
                  <a:cubicBezTo>
                    <a:pt x="1859" y="2395"/>
                    <a:pt x="1985" y="2427"/>
                    <a:pt x="2080" y="2427"/>
                  </a:cubicBezTo>
                  <a:cubicBezTo>
                    <a:pt x="2206" y="2427"/>
                    <a:pt x="2332" y="2395"/>
                    <a:pt x="2458" y="2364"/>
                  </a:cubicBezTo>
                  <a:lnTo>
                    <a:pt x="3119" y="3246"/>
                  </a:lnTo>
                  <a:lnTo>
                    <a:pt x="4159" y="3246"/>
                  </a:lnTo>
                  <a:lnTo>
                    <a:pt x="3119" y="1891"/>
                  </a:lnTo>
                  <a:cubicBezTo>
                    <a:pt x="3245" y="1671"/>
                    <a:pt x="3308" y="1450"/>
                    <a:pt x="3308" y="1230"/>
                  </a:cubicBezTo>
                  <a:cubicBezTo>
                    <a:pt x="3308" y="536"/>
                    <a:pt x="2773"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4" name="Google Shape;8194;p74"/>
          <p:cNvGrpSpPr/>
          <p:nvPr/>
        </p:nvGrpSpPr>
        <p:grpSpPr>
          <a:xfrm>
            <a:off x="7525810" y="2740327"/>
            <a:ext cx="312585" cy="354670"/>
            <a:chOff x="-10370400" y="4049550"/>
            <a:chExt cx="310350" cy="352100"/>
          </a:xfrm>
        </p:grpSpPr>
        <p:sp>
          <p:nvSpPr>
            <p:cNvPr id="8195" name="Google Shape;8195;p74"/>
            <p:cNvSpPr/>
            <p:nvPr/>
          </p:nvSpPr>
          <p:spPr>
            <a:xfrm>
              <a:off x="-10308175" y="4224400"/>
              <a:ext cx="185900" cy="115800"/>
            </a:xfrm>
            <a:custGeom>
              <a:avLst/>
              <a:gdLst/>
              <a:ahLst/>
              <a:cxnLst/>
              <a:rect l="l" t="t" r="r" b="b"/>
              <a:pathLst>
                <a:path w="7436" h="4632" extrusionOk="0">
                  <a:moveTo>
                    <a:pt x="1" y="1"/>
                  </a:moveTo>
                  <a:lnTo>
                    <a:pt x="1" y="4632"/>
                  </a:lnTo>
                  <a:lnTo>
                    <a:pt x="1639" y="4632"/>
                  </a:lnTo>
                  <a:lnTo>
                    <a:pt x="1639" y="1261"/>
                  </a:lnTo>
                  <a:cubicBezTo>
                    <a:pt x="1639" y="1040"/>
                    <a:pt x="1859" y="883"/>
                    <a:pt x="2048" y="883"/>
                  </a:cubicBezTo>
                  <a:cubicBezTo>
                    <a:pt x="2269" y="883"/>
                    <a:pt x="2489" y="1072"/>
                    <a:pt x="2489" y="1261"/>
                  </a:cubicBezTo>
                  <a:lnTo>
                    <a:pt x="2489" y="4632"/>
                  </a:lnTo>
                  <a:lnTo>
                    <a:pt x="3309" y="4632"/>
                  </a:lnTo>
                  <a:lnTo>
                    <a:pt x="3309" y="1261"/>
                  </a:lnTo>
                  <a:cubicBezTo>
                    <a:pt x="3309" y="1040"/>
                    <a:pt x="3498" y="883"/>
                    <a:pt x="3750" y="883"/>
                  </a:cubicBezTo>
                  <a:cubicBezTo>
                    <a:pt x="3970" y="883"/>
                    <a:pt x="4128" y="1072"/>
                    <a:pt x="4128" y="1261"/>
                  </a:cubicBezTo>
                  <a:lnTo>
                    <a:pt x="4128" y="4632"/>
                  </a:lnTo>
                  <a:lnTo>
                    <a:pt x="4947" y="4632"/>
                  </a:lnTo>
                  <a:lnTo>
                    <a:pt x="4947" y="1261"/>
                  </a:lnTo>
                  <a:cubicBezTo>
                    <a:pt x="4947" y="1040"/>
                    <a:pt x="5167" y="883"/>
                    <a:pt x="5388" y="883"/>
                  </a:cubicBezTo>
                  <a:cubicBezTo>
                    <a:pt x="5640" y="883"/>
                    <a:pt x="5829" y="1072"/>
                    <a:pt x="5829" y="1261"/>
                  </a:cubicBezTo>
                  <a:lnTo>
                    <a:pt x="5829" y="4632"/>
                  </a:lnTo>
                  <a:lnTo>
                    <a:pt x="7436" y="4632"/>
                  </a:ln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4"/>
            <p:cNvSpPr/>
            <p:nvPr/>
          </p:nvSpPr>
          <p:spPr>
            <a:xfrm>
              <a:off x="-10292425" y="4121225"/>
              <a:ext cx="159125" cy="30750"/>
            </a:xfrm>
            <a:custGeom>
              <a:avLst/>
              <a:gdLst/>
              <a:ahLst/>
              <a:cxnLst/>
              <a:rect l="l" t="t" r="r" b="b"/>
              <a:pathLst>
                <a:path w="6365" h="1230" extrusionOk="0">
                  <a:moveTo>
                    <a:pt x="694" y="0"/>
                  </a:moveTo>
                  <a:cubicBezTo>
                    <a:pt x="694" y="158"/>
                    <a:pt x="662" y="316"/>
                    <a:pt x="631" y="442"/>
                  </a:cubicBezTo>
                  <a:cubicBezTo>
                    <a:pt x="505" y="757"/>
                    <a:pt x="284" y="1040"/>
                    <a:pt x="1" y="1229"/>
                  </a:cubicBezTo>
                  <a:lnTo>
                    <a:pt x="6365" y="1229"/>
                  </a:lnTo>
                  <a:cubicBezTo>
                    <a:pt x="6018" y="1040"/>
                    <a:pt x="5798" y="788"/>
                    <a:pt x="5672" y="442"/>
                  </a:cubicBezTo>
                  <a:cubicBezTo>
                    <a:pt x="5577" y="284"/>
                    <a:pt x="5577" y="126"/>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4"/>
            <p:cNvSpPr/>
            <p:nvPr/>
          </p:nvSpPr>
          <p:spPr>
            <a:xfrm>
              <a:off x="-10370400" y="4049550"/>
              <a:ext cx="310350" cy="91400"/>
            </a:xfrm>
            <a:custGeom>
              <a:avLst/>
              <a:gdLst/>
              <a:ahLst/>
              <a:cxnLst/>
              <a:rect l="l" t="t" r="r" b="b"/>
              <a:pathLst>
                <a:path w="12414" h="3656" extrusionOk="0">
                  <a:moveTo>
                    <a:pt x="2049" y="1"/>
                  </a:moveTo>
                  <a:cubicBezTo>
                    <a:pt x="977" y="1"/>
                    <a:pt x="95" y="820"/>
                    <a:pt x="1" y="1891"/>
                  </a:cubicBezTo>
                  <a:cubicBezTo>
                    <a:pt x="95" y="2867"/>
                    <a:pt x="946" y="3655"/>
                    <a:pt x="1954" y="3655"/>
                  </a:cubicBezTo>
                  <a:cubicBezTo>
                    <a:pt x="2427" y="3655"/>
                    <a:pt x="2773" y="3340"/>
                    <a:pt x="2899" y="3025"/>
                  </a:cubicBezTo>
                  <a:cubicBezTo>
                    <a:pt x="2931" y="2867"/>
                    <a:pt x="2962" y="2678"/>
                    <a:pt x="2805" y="2521"/>
                  </a:cubicBezTo>
                  <a:cubicBezTo>
                    <a:pt x="2729" y="2461"/>
                    <a:pt x="2618" y="2422"/>
                    <a:pt x="2520" y="2422"/>
                  </a:cubicBezTo>
                  <a:cubicBezTo>
                    <a:pt x="2411" y="2422"/>
                    <a:pt x="2317" y="2469"/>
                    <a:pt x="2301" y="2584"/>
                  </a:cubicBezTo>
                  <a:cubicBezTo>
                    <a:pt x="2274" y="2793"/>
                    <a:pt x="2097" y="2915"/>
                    <a:pt x="1911" y="2915"/>
                  </a:cubicBezTo>
                  <a:cubicBezTo>
                    <a:pt x="1873" y="2915"/>
                    <a:pt x="1834" y="2910"/>
                    <a:pt x="1796" y="2899"/>
                  </a:cubicBezTo>
                  <a:cubicBezTo>
                    <a:pt x="1544" y="2867"/>
                    <a:pt x="1418" y="2647"/>
                    <a:pt x="1481" y="2395"/>
                  </a:cubicBezTo>
                  <a:cubicBezTo>
                    <a:pt x="1595" y="1848"/>
                    <a:pt x="2036" y="1594"/>
                    <a:pt x="2500" y="1594"/>
                  </a:cubicBezTo>
                  <a:cubicBezTo>
                    <a:pt x="2811" y="1594"/>
                    <a:pt x="3132" y="1708"/>
                    <a:pt x="3372" y="1922"/>
                  </a:cubicBezTo>
                  <a:lnTo>
                    <a:pt x="3466" y="2048"/>
                  </a:lnTo>
                  <a:lnTo>
                    <a:pt x="8917" y="2048"/>
                  </a:lnTo>
                  <a:lnTo>
                    <a:pt x="9043" y="1922"/>
                  </a:lnTo>
                  <a:cubicBezTo>
                    <a:pt x="9262" y="1715"/>
                    <a:pt x="9561" y="1612"/>
                    <a:pt x="9856" y="1612"/>
                  </a:cubicBezTo>
                  <a:cubicBezTo>
                    <a:pt x="10325" y="1612"/>
                    <a:pt x="10785" y="1873"/>
                    <a:pt x="10901" y="2395"/>
                  </a:cubicBezTo>
                  <a:cubicBezTo>
                    <a:pt x="10964" y="2647"/>
                    <a:pt x="10838" y="2836"/>
                    <a:pt x="10618" y="2899"/>
                  </a:cubicBezTo>
                  <a:cubicBezTo>
                    <a:pt x="10575" y="2910"/>
                    <a:pt x="10533" y="2915"/>
                    <a:pt x="10494" y="2915"/>
                  </a:cubicBezTo>
                  <a:cubicBezTo>
                    <a:pt x="10304" y="2915"/>
                    <a:pt x="10161" y="2793"/>
                    <a:pt x="10082" y="2584"/>
                  </a:cubicBezTo>
                  <a:cubicBezTo>
                    <a:pt x="10066" y="2469"/>
                    <a:pt x="9963" y="2422"/>
                    <a:pt x="9851" y="2422"/>
                  </a:cubicBezTo>
                  <a:cubicBezTo>
                    <a:pt x="9749" y="2422"/>
                    <a:pt x="9638" y="2461"/>
                    <a:pt x="9578" y="2521"/>
                  </a:cubicBezTo>
                  <a:cubicBezTo>
                    <a:pt x="9421" y="2678"/>
                    <a:pt x="9452" y="2867"/>
                    <a:pt x="9515" y="3025"/>
                  </a:cubicBezTo>
                  <a:cubicBezTo>
                    <a:pt x="9610" y="3340"/>
                    <a:pt x="10019" y="3655"/>
                    <a:pt x="10460" y="3655"/>
                  </a:cubicBezTo>
                  <a:cubicBezTo>
                    <a:pt x="11311" y="3655"/>
                    <a:pt x="12067" y="3056"/>
                    <a:pt x="12288" y="2269"/>
                  </a:cubicBezTo>
                  <a:cubicBezTo>
                    <a:pt x="12288" y="2206"/>
                    <a:pt x="12351" y="2111"/>
                    <a:pt x="12351" y="2048"/>
                  </a:cubicBezTo>
                  <a:cubicBezTo>
                    <a:pt x="12414" y="883"/>
                    <a:pt x="11468" y="1"/>
                    <a:pt x="103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4"/>
            <p:cNvSpPr/>
            <p:nvPr/>
          </p:nvSpPr>
          <p:spPr>
            <a:xfrm>
              <a:off x="-10328650" y="4173200"/>
              <a:ext cx="226850" cy="30750"/>
            </a:xfrm>
            <a:custGeom>
              <a:avLst/>
              <a:gdLst/>
              <a:ahLst/>
              <a:cxnLst/>
              <a:rect l="l" t="t" r="r" b="b"/>
              <a:pathLst>
                <a:path w="9074" h="1230" extrusionOk="0">
                  <a:moveTo>
                    <a:pt x="0" y="1"/>
                  </a:moveTo>
                  <a:cubicBezTo>
                    <a:pt x="0" y="694"/>
                    <a:pt x="536" y="1229"/>
                    <a:pt x="1198" y="1229"/>
                  </a:cubicBezTo>
                  <a:lnTo>
                    <a:pt x="7814" y="1229"/>
                  </a:lnTo>
                  <a:cubicBezTo>
                    <a:pt x="8507" y="1229"/>
                    <a:pt x="9074" y="694"/>
                    <a:pt x="90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9" name="Google Shape;8199;p74"/>
            <p:cNvSpPr/>
            <p:nvPr/>
          </p:nvSpPr>
          <p:spPr>
            <a:xfrm>
              <a:off x="-10328650" y="4360650"/>
              <a:ext cx="226850" cy="41000"/>
            </a:xfrm>
            <a:custGeom>
              <a:avLst/>
              <a:gdLst/>
              <a:ahLst/>
              <a:cxnLst/>
              <a:rect l="l" t="t" r="r" b="b"/>
              <a:pathLst>
                <a:path w="9074" h="1640" extrusionOk="0">
                  <a:moveTo>
                    <a:pt x="410" y="1"/>
                  </a:moveTo>
                  <a:cubicBezTo>
                    <a:pt x="189" y="1"/>
                    <a:pt x="0" y="190"/>
                    <a:pt x="0" y="379"/>
                  </a:cubicBezTo>
                  <a:lnTo>
                    <a:pt x="0" y="1230"/>
                  </a:lnTo>
                  <a:cubicBezTo>
                    <a:pt x="0" y="1450"/>
                    <a:pt x="189" y="1639"/>
                    <a:pt x="410" y="1639"/>
                  </a:cubicBezTo>
                  <a:lnTo>
                    <a:pt x="8696" y="1639"/>
                  </a:lnTo>
                  <a:cubicBezTo>
                    <a:pt x="8916" y="1639"/>
                    <a:pt x="9074" y="1450"/>
                    <a:pt x="9074" y="1230"/>
                  </a:cubicBezTo>
                  <a:lnTo>
                    <a:pt x="9074" y="379"/>
                  </a:ln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0" name="Google Shape;8200;p74"/>
          <p:cNvGrpSpPr/>
          <p:nvPr/>
        </p:nvGrpSpPr>
        <p:grpSpPr>
          <a:xfrm>
            <a:off x="6630066" y="2739268"/>
            <a:ext cx="379236" cy="354847"/>
            <a:chOff x="-8674650" y="3210975"/>
            <a:chExt cx="376525" cy="352275"/>
          </a:xfrm>
        </p:grpSpPr>
        <p:sp>
          <p:nvSpPr>
            <p:cNvPr id="8201" name="Google Shape;8201;p74"/>
            <p:cNvSpPr/>
            <p:nvPr/>
          </p:nvSpPr>
          <p:spPr>
            <a:xfrm>
              <a:off x="-8542325" y="3335375"/>
              <a:ext cx="112650" cy="104375"/>
            </a:xfrm>
            <a:custGeom>
              <a:avLst/>
              <a:gdLst/>
              <a:ahLst/>
              <a:cxnLst/>
              <a:rect l="l" t="t" r="r" b="b"/>
              <a:pathLst>
                <a:path w="4506" h="4175" extrusionOk="0">
                  <a:moveTo>
                    <a:pt x="2226" y="843"/>
                  </a:moveTo>
                  <a:cubicBezTo>
                    <a:pt x="2537" y="843"/>
                    <a:pt x="2852" y="969"/>
                    <a:pt x="3120" y="1221"/>
                  </a:cubicBezTo>
                  <a:cubicBezTo>
                    <a:pt x="3624" y="1694"/>
                    <a:pt x="3624" y="2545"/>
                    <a:pt x="3120" y="3017"/>
                  </a:cubicBezTo>
                  <a:cubicBezTo>
                    <a:pt x="2883" y="3238"/>
                    <a:pt x="2568" y="3348"/>
                    <a:pt x="2249" y="3348"/>
                  </a:cubicBezTo>
                  <a:cubicBezTo>
                    <a:pt x="1930" y="3348"/>
                    <a:pt x="1607" y="3238"/>
                    <a:pt x="1355" y="3017"/>
                  </a:cubicBezTo>
                  <a:cubicBezTo>
                    <a:pt x="883" y="2545"/>
                    <a:pt x="883" y="1694"/>
                    <a:pt x="1355" y="1221"/>
                  </a:cubicBezTo>
                  <a:cubicBezTo>
                    <a:pt x="1607" y="969"/>
                    <a:pt x="1915" y="843"/>
                    <a:pt x="2226" y="843"/>
                  </a:cubicBezTo>
                  <a:close/>
                  <a:moveTo>
                    <a:pt x="2277" y="1"/>
                  </a:moveTo>
                  <a:cubicBezTo>
                    <a:pt x="1749" y="1"/>
                    <a:pt x="1214" y="197"/>
                    <a:pt x="788" y="591"/>
                  </a:cubicBezTo>
                  <a:cubicBezTo>
                    <a:pt x="1" y="1379"/>
                    <a:pt x="1" y="2765"/>
                    <a:pt x="788" y="3584"/>
                  </a:cubicBezTo>
                  <a:cubicBezTo>
                    <a:pt x="1182" y="3978"/>
                    <a:pt x="1718" y="4175"/>
                    <a:pt x="2253" y="4175"/>
                  </a:cubicBezTo>
                  <a:cubicBezTo>
                    <a:pt x="2789" y="4175"/>
                    <a:pt x="3324" y="3978"/>
                    <a:pt x="3718" y="3584"/>
                  </a:cubicBezTo>
                  <a:cubicBezTo>
                    <a:pt x="4506" y="2797"/>
                    <a:pt x="4506" y="1442"/>
                    <a:pt x="3718" y="591"/>
                  </a:cubicBezTo>
                  <a:cubicBezTo>
                    <a:pt x="3324" y="197"/>
                    <a:pt x="2805" y="1"/>
                    <a:pt x="22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4"/>
            <p:cNvSpPr/>
            <p:nvPr/>
          </p:nvSpPr>
          <p:spPr>
            <a:xfrm>
              <a:off x="-8496650" y="3377125"/>
              <a:ext cx="22875" cy="20900"/>
            </a:xfrm>
            <a:custGeom>
              <a:avLst/>
              <a:gdLst/>
              <a:ahLst/>
              <a:cxnLst/>
              <a:rect l="l" t="t" r="r" b="b"/>
              <a:pathLst>
                <a:path w="915" h="836" extrusionOk="0">
                  <a:moveTo>
                    <a:pt x="458" y="0"/>
                  </a:moveTo>
                  <a:cubicBezTo>
                    <a:pt x="348" y="0"/>
                    <a:pt x="237" y="40"/>
                    <a:pt x="159" y="118"/>
                  </a:cubicBezTo>
                  <a:cubicBezTo>
                    <a:pt x="1" y="276"/>
                    <a:pt x="1" y="560"/>
                    <a:pt x="159" y="717"/>
                  </a:cubicBezTo>
                  <a:cubicBezTo>
                    <a:pt x="237" y="796"/>
                    <a:pt x="348" y="835"/>
                    <a:pt x="458" y="835"/>
                  </a:cubicBezTo>
                  <a:cubicBezTo>
                    <a:pt x="568" y="835"/>
                    <a:pt x="678" y="796"/>
                    <a:pt x="757" y="717"/>
                  </a:cubicBezTo>
                  <a:cubicBezTo>
                    <a:pt x="915" y="560"/>
                    <a:pt x="915" y="276"/>
                    <a:pt x="757" y="118"/>
                  </a:cubicBez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4"/>
            <p:cNvSpPr/>
            <p:nvPr/>
          </p:nvSpPr>
          <p:spPr>
            <a:xfrm>
              <a:off x="-8540750" y="3332825"/>
              <a:ext cx="242625" cy="230425"/>
            </a:xfrm>
            <a:custGeom>
              <a:avLst/>
              <a:gdLst/>
              <a:ahLst/>
              <a:cxnLst/>
              <a:rect l="l" t="t" r="r" b="b"/>
              <a:pathLst>
                <a:path w="9705" h="9217" extrusionOk="0">
                  <a:moveTo>
                    <a:pt x="8917" y="0"/>
                  </a:moveTo>
                  <a:lnTo>
                    <a:pt x="4978" y="1449"/>
                  </a:lnTo>
                  <a:cubicBezTo>
                    <a:pt x="5262" y="2521"/>
                    <a:pt x="4947" y="3529"/>
                    <a:pt x="4254" y="4253"/>
                  </a:cubicBezTo>
                  <a:cubicBezTo>
                    <a:pt x="3721" y="4763"/>
                    <a:pt x="2999" y="5069"/>
                    <a:pt x="2241" y="5069"/>
                  </a:cubicBezTo>
                  <a:cubicBezTo>
                    <a:pt x="1969" y="5069"/>
                    <a:pt x="1693" y="5030"/>
                    <a:pt x="1418" y="4946"/>
                  </a:cubicBezTo>
                  <a:lnTo>
                    <a:pt x="1" y="8853"/>
                  </a:lnTo>
                  <a:cubicBezTo>
                    <a:pt x="727" y="9095"/>
                    <a:pt x="1483" y="9216"/>
                    <a:pt x="2238" y="9216"/>
                  </a:cubicBezTo>
                  <a:cubicBezTo>
                    <a:pt x="4038" y="9216"/>
                    <a:pt x="5830" y="8528"/>
                    <a:pt x="7184" y="7152"/>
                  </a:cubicBezTo>
                  <a:cubicBezTo>
                    <a:pt x="9137" y="5230"/>
                    <a:pt x="9704" y="2426"/>
                    <a:pt x="89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4" name="Google Shape;8204;p74"/>
            <p:cNvSpPr/>
            <p:nvPr/>
          </p:nvSpPr>
          <p:spPr>
            <a:xfrm>
              <a:off x="-8645500" y="3428125"/>
              <a:ext cx="120525" cy="118950"/>
            </a:xfrm>
            <a:custGeom>
              <a:avLst/>
              <a:gdLst/>
              <a:ahLst/>
              <a:cxnLst/>
              <a:rect l="l" t="t" r="r" b="b"/>
              <a:pathLst>
                <a:path w="4821" h="4758" extrusionOk="0">
                  <a:moveTo>
                    <a:pt x="3939" y="0"/>
                  </a:moveTo>
                  <a:lnTo>
                    <a:pt x="1" y="1418"/>
                  </a:lnTo>
                  <a:cubicBezTo>
                    <a:pt x="347" y="2143"/>
                    <a:pt x="788" y="2804"/>
                    <a:pt x="1387" y="3403"/>
                  </a:cubicBezTo>
                  <a:cubicBezTo>
                    <a:pt x="1985" y="3970"/>
                    <a:pt x="2678" y="4442"/>
                    <a:pt x="3403" y="4757"/>
                  </a:cubicBezTo>
                  <a:lnTo>
                    <a:pt x="4821" y="819"/>
                  </a:lnTo>
                  <a:cubicBezTo>
                    <a:pt x="4663" y="756"/>
                    <a:pt x="4506" y="599"/>
                    <a:pt x="4348" y="473"/>
                  </a:cubicBezTo>
                  <a:cubicBezTo>
                    <a:pt x="4191" y="315"/>
                    <a:pt x="4065" y="158"/>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5" name="Google Shape;8205;p74"/>
            <p:cNvSpPr/>
            <p:nvPr/>
          </p:nvSpPr>
          <p:spPr>
            <a:xfrm>
              <a:off x="-8448600" y="3227275"/>
              <a:ext cx="122900" cy="122900"/>
            </a:xfrm>
            <a:custGeom>
              <a:avLst/>
              <a:gdLst/>
              <a:ahLst/>
              <a:cxnLst/>
              <a:rect l="l" t="t" r="r" b="b"/>
              <a:pathLst>
                <a:path w="4916" h="4916" extrusionOk="0">
                  <a:moveTo>
                    <a:pt x="1419" y="1"/>
                  </a:moveTo>
                  <a:lnTo>
                    <a:pt x="1" y="3939"/>
                  </a:lnTo>
                  <a:cubicBezTo>
                    <a:pt x="190" y="4065"/>
                    <a:pt x="410" y="4191"/>
                    <a:pt x="568" y="4380"/>
                  </a:cubicBezTo>
                  <a:cubicBezTo>
                    <a:pt x="725" y="4537"/>
                    <a:pt x="883" y="4726"/>
                    <a:pt x="977" y="4915"/>
                  </a:cubicBezTo>
                  <a:lnTo>
                    <a:pt x="4916" y="3466"/>
                  </a:lnTo>
                  <a:cubicBezTo>
                    <a:pt x="4569" y="2710"/>
                    <a:pt x="4096" y="2017"/>
                    <a:pt x="3498" y="1418"/>
                  </a:cubicBezTo>
                  <a:cubicBezTo>
                    <a:pt x="2931" y="820"/>
                    <a:pt x="2175" y="347"/>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74"/>
            <p:cNvSpPr/>
            <p:nvPr/>
          </p:nvSpPr>
          <p:spPr>
            <a:xfrm>
              <a:off x="-8674650" y="3210975"/>
              <a:ext cx="241825" cy="232925"/>
            </a:xfrm>
            <a:custGeom>
              <a:avLst/>
              <a:gdLst/>
              <a:ahLst/>
              <a:cxnLst/>
              <a:rect l="l" t="t" r="r" b="b"/>
              <a:pathLst>
                <a:path w="9673" h="9317" extrusionOk="0">
                  <a:moveTo>
                    <a:pt x="7515" y="0"/>
                  </a:moveTo>
                  <a:cubicBezTo>
                    <a:pt x="5700" y="0"/>
                    <a:pt x="3894" y="698"/>
                    <a:pt x="2521" y="2070"/>
                  </a:cubicBezTo>
                  <a:cubicBezTo>
                    <a:pt x="568" y="3992"/>
                    <a:pt x="1" y="6827"/>
                    <a:pt x="820" y="9316"/>
                  </a:cubicBezTo>
                  <a:lnTo>
                    <a:pt x="4758" y="7899"/>
                  </a:lnTo>
                  <a:cubicBezTo>
                    <a:pt x="4475" y="6796"/>
                    <a:pt x="4790" y="5693"/>
                    <a:pt x="5514" y="5000"/>
                  </a:cubicBezTo>
                  <a:cubicBezTo>
                    <a:pt x="6037" y="4454"/>
                    <a:pt x="6793" y="4194"/>
                    <a:pt x="7538" y="4194"/>
                  </a:cubicBezTo>
                  <a:cubicBezTo>
                    <a:pt x="7781" y="4194"/>
                    <a:pt x="8023" y="4221"/>
                    <a:pt x="8255" y="4276"/>
                  </a:cubicBezTo>
                  <a:lnTo>
                    <a:pt x="9673" y="337"/>
                  </a:lnTo>
                  <a:cubicBezTo>
                    <a:pt x="8970" y="112"/>
                    <a:pt x="8242" y="0"/>
                    <a:pt x="7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74"/>
          <p:cNvGrpSpPr/>
          <p:nvPr/>
        </p:nvGrpSpPr>
        <p:grpSpPr>
          <a:xfrm>
            <a:off x="5301563" y="1820745"/>
            <a:ext cx="356221" cy="354670"/>
            <a:chOff x="-13512225" y="3647075"/>
            <a:chExt cx="353675" cy="352100"/>
          </a:xfrm>
        </p:grpSpPr>
        <p:sp>
          <p:nvSpPr>
            <p:cNvPr id="8208" name="Google Shape;8208;p74"/>
            <p:cNvSpPr/>
            <p:nvPr/>
          </p:nvSpPr>
          <p:spPr>
            <a:xfrm>
              <a:off x="-13344475" y="3876275"/>
              <a:ext cx="19725" cy="19725"/>
            </a:xfrm>
            <a:custGeom>
              <a:avLst/>
              <a:gdLst/>
              <a:ahLst/>
              <a:cxnLst/>
              <a:rect l="l" t="t" r="r" b="b"/>
              <a:pathLst>
                <a:path w="789" h="789" extrusionOk="0">
                  <a:moveTo>
                    <a:pt x="411" y="0"/>
                  </a:moveTo>
                  <a:cubicBezTo>
                    <a:pt x="190" y="0"/>
                    <a:pt x="1" y="158"/>
                    <a:pt x="1" y="379"/>
                  </a:cubicBezTo>
                  <a:cubicBezTo>
                    <a:pt x="1" y="599"/>
                    <a:pt x="190" y="788"/>
                    <a:pt x="411" y="788"/>
                  </a:cubicBezTo>
                  <a:cubicBezTo>
                    <a:pt x="600" y="788"/>
                    <a:pt x="789" y="599"/>
                    <a:pt x="789" y="379"/>
                  </a:cubicBezTo>
                  <a:cubicBezTo>
                    <a:pt x="789" y="158"/>
                    <a:pt x="600" y="0"/>
                    <a:pt x="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74"/>
            <p:cNvSpPr/>
            <p:nvPr/>
          </p:nvSpPr>
          <p:spPr>
            <a:xfrm>
              <a:off x="-13268850" y="3854225"/>
              <a:ext cx="110300" cy="62250"/>
            </a:xfrm>
            <a:custGeom>
              <a:avLst/>
              <a:gdLst/>
              <a:ahLst/>
              <a:cxnLst/>
              <a:rect l="l" t="t" r="r" b="b"/>
              <a:pathLst>
                <a:path w="4412" h="2490" extrusionOk="0">
                  <a:moveTo>
                    <a:pt x="0" y="0"/>
                  </a:moveTo>
                  <a:cubicBezTo>
                    <a:pt x="189" y="410"/>
                    <a:pt x="284" y="788"/>
                    <a:pt x="284" y="1229"/>
                  </a:cubicBezTo>
                  <a:cubicBezTo>
                    <a:pt x="284" y="1670"/>
                    <a:pt x="158" y="2111"/>
                    <a:pt x="0" y="2489"/>
                  </a:cubicBezTo>
                  <a:lnTo>
                    <a:pt x="4411" y="2489"/>
                  </a:lnTo>
                  <a:lnTo>
                    <a:pt x="44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0" name="Google Shape;8210;p74"/>
            <p:cNvSpPr/>
            <p:nvPr/>
          </p:nvSpPr>
          <p:spPr>
            <a:xfrm>
              <a:off x="-13512225" y="3936925"/>
              <a:ext cx="353675" cy="62250"/>
            </a:xfrm>
            <a:custGeom>
              <a:avLst/>
              <a:gdLst/>
              <a:ahLst/>
              <a:cxnLst/>
              <a:rect l="l" t="t" r="r" b="b"/>
              <a:pathLst>
                <a:path w="14147" h="2490" extrusionOk="0">
                  <a:moveTo>
                    <a:pt x="63" y="0"/>
                  </a:moveTo>
                  <a:lnTo>
                    <a:pt x="63" y="1261"/>
                  </a:lnTo>
                  <a:cubicBezTo>
                    <a:pt x="0" y="1954"/>
                    <a:pt x="568" y="2489"/>
                    <a:pt x="1261" y="2489"/>
                  </a:cubicBezTo>
                  <a:lnTo>
                    <a:pt x="12886" y="2489"/>
                  </a:lnTo>
                  <a:cubicBezTo>
                    <a:pt x="13548" y="2489"/>
                    <a:pt x="14146" y="1954"/>
                    <a:pt x="14146" y="1261"/>
                  </a:cubicBezTo>
                  <a:lnTo>
                    <a:pt x="14146" y="0"/>
                  </a:lnTo>
                  <a:lnTo>
                    <a:pt x="9137" y="0"/>
                  </a:lnTo>
                  <a:cubicBezTo>
                    <a:pt x="8633" y="536"/>
                    <a:pt x="7877" y="851"/>
                    <a:pt x="7089" y="851"/>
                  </a:cubicBezTo>
                  <a:cubicBezTo>
                    <a:pt x="6301" y="851"/>
                    <a:pt x="5608" y="536"/>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4"/>
            <p:cNvSpPr/>
            <p:nvPr/>
          </p:nvSpPr>
          <p:spPr>
            <a:xfrm>
              <a:off x="-13387000" y="3833750"/>
              <a:ext cx="104775" cy="104775"/>
            </a:xfrm>
            <a:custGeom>
              <a:avLst/>
              <a:gdLst/>
              <a:ahLst/>
              <a:cxnLst/>
              <a:rect l="l" t="t" r="r" b="b"/>
              <a:pathLst>
                <a:path w="4191" h="4191" extrusionOk="0">
                  <a:moveTo>
                    <a:pt x="2080" y="819"/>
                  </a:moveTo>
                  <a:cubicBezTo>
                    <a:pt x="2773" y="819"/>
                    <a:pt x="3340" y="1386"/>
                    <a:pt x="3340" y="2048"/>
                  </a:cubicBezTo>
                  <a:cubicBezTo>
                    <a:pt x="3340" y="2710"/>
                    <a:pt x="2773" y="3308"/>
                    <a:pt x="2080" y="3308"/>
                  </a:cubicBezTo>
                  <a:cubicBezTo>
                    <a:pt x="1418" y="3308"/>
                    <a:pt x="820" y="2773"/>
                    <a:pt x="820" y="2048"/>
                  </a:cubicBezTo>
                  <a:cubicBezTo>
                    <a:pt x="820" y="1355"/>
                    <a:pt x="1387" y="819"/>
                    <a:pt x="2080" y="819"/>
                  </a:cubicBezTo>
                  <a:close/>
                  <a:moveTo>
                    <a:pt x="2080" y="0"/>
                  </a:moveTo>
                  <a:cubicBezTo>
                    <a:pt x="946" y="0"/>
                    <a:pt x="1" y="945"/>
                    <a:pt x="1" y="2080"/>
                  </a:cubicBezTo>
                  <a:cubicBezTo>
                    <a:pt x="1" y="3214"/>
                    <a:pt x="946" y="4190"/>
                    <a:pt x="2080" y="4190"/>
                  </a:cubicBezTo>
                  <a:cubicBezTo>
                    <a:pt x="3246" y="4190"/>
                    <a:pt x="4191" y="3245"/>
                    <a:pt x="4191" y="2080"/>
                  </a:cubicBezTo>
                  <a:cubicBezTo>
                    <a:pt x="4191" y="945"/>
                    <a:pt x="3183"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74"/>
            <p:cNvSpPr/>
            <p:nvPr/>
          </p:nvSpPr>
          <p:spPr>
            <a:xfrm>
              <a:off x="-13512225" y="3855000"/>
              <a:ext cx="111875" cy="62250"/>
            </a:xfrm>
            <a:custGeom>
              <a:avLst/>
              <a:gdLst/>
              <a:ahLst/>
              <a:cxnLst/>
              <a:rect l="l" t="t" r="r" b="b"/>
              <a:pathLst>
                <a:path w="4475" h="2490" extrusionOk="0">
                  <a:moveTo>
                    <a:pt x="0" y="1"/>
                  </a:moveTo>
                  <a:lnTo>
                    <a:pt x="0" y="2490"/>
                  </a:lnTo>
                  <a:lnTo>
                    <a:pt x="4474" y="2490"/>
                  </a:lnTo>
                  <a:cubicBezTo>
                    <a:pt x="4317" y="2112"/>
                    <a:pt x="4191" y="1671"/>
                    <a:pt x="4191" y="1230"/>
                  </a:cubicBezTo>
                  <a:cubicBezTo>
                    <a:pt x="4191" y="788"/>
                    <a:pt x="4317" y="379"/>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3" name="Google Shape;8213;p74"/>
            <p:cNvSpPr/>
            <p:nvPr/>
          </p:nvSpPr>
          <p:spPr>
            <a:xfrm>
              <a:off x="-13490175" y="3730575"/>
              <a:ext cx="62250" cy="40975"/>
            </a:xfrm>
            <a:custGeom>
              <a:avLst/>
              <a:gdLst/>
              <a:ahLst/>
              <a:cxnLst/>
              <a:rect l="l" t="t" r="r" b="b"/>
              <a:pathLst>
                <a:path w="2490" h="1639" extrusionOk="0">
                  <a:moveTo>
                    <a:pt x="1261" y="0"/>
                  </a:moveTo>
                  <a:cubicBezTo>
                    <a:pt x="536" y="0"/>
                    <a:pt x="1" y="536"/>
                    <a:pt x="1" y="1260"/>
                  </a:cubicBezTo>
                  <a:lnTo>
                    <a:pt x="1" y="1638"/>
                  </a:lnTo>
                  <a:lnTo>
                    <a:pt x="2489" y="1638"/>
                  </a:lnTo>
                  <a:lnTo>
                    <a:pt x="2489" y="1260"/>
                  </a:lnTo>
                  <a:cubicBezTo>
                    <a:pt x="2489" y="599"/>
                    <a:pt x="1922"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4" name="Google Shape;8214;p74"/>
            <p:cNvSpPr/>
            <p:nvPr/>
          </p:nvSpPr>
          <p:spPr>
            <a:xfrm>
              <a:off x="-13241275" y="3730575"/>
              <a:ext cx="62225" cy="40975"/>
            </a:xfrm>
            <a:custGeom>
              <a:avLst/>
              <a:gdLst/>
              <a:ahLst/>
              <a:cxnLst/>
              <a:rect l="l" t="t" r="r" b="b"/>
              <a:pathLst>
                <a:path w="2489" h="1639" extrusionOk="0">
                  <a:moveTo>
                    <a:pt x="1260" y="0"/>
                  </a:moveTo>
                  <a:cubicBezTo>
                    <a:pt x="599" y="0"/>
                    <a:pt x="0" y="536"/>
                    <a:pt x="0" y="1260"/>
                  </a:cubicBezTo>
                  <a:lnTo>
                    <a:pt x="0" y="1638"/>
                  </a:lnTo>
                  <a:lnTo>
                    <a:pt x="2489" y="1638"/>
                  </a:lnTo>
                  <a:lnTo>
                    <a:pt x="2489" y="1260"/>
                  </a:lnTo>
                  <a:cubicBezTo>
                    <a:pt x="2489" y="599"/>
                    <a:pt x="1922"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4"/>
            <p:cNvSpPr/>
            <p:nvPr/>
          </p:nvSpPr>
          <p:spPr>
            <a:xfrm>
              <a:off x="-13427950" y="3647075"/>
              <a:ext cx="186700" cy="63025"/>
            </a:xfrm>
            <a:custGeom>
              <a:avLst/>
              <a:gdLst/>
              <a:ahLst/>
              <a:cxnLst/>
              <a:rect l="l" t="t" r="r" b="b"/>
              <a:pathLst>
                <a:path w="7468" h="2521" extrusionOk="0">
                  <a:moveTo>
                    <a:pt x="820" y="1"/>
                  </a:moveTo>
                  <a:cubicBezTo>
                    <a:pt x="347" y="1"/>
                    <a:pt x="0" y="347"/>
                    <a:pt x="0" y="820"/>
                  </a:cubicBezTo>
                  <a:lnTo>
                    <a:pt x="0" y="1670"/>
                  </a:lnTo>
                  <a:cubicBezTo>
                    <a:pt x="0" y="2143"/>
                    <a:pt x="347" y="2521"/>
                    <a:pt x="820" y="2521"/>
                  </a:cubicBezTo>
                  <a:lnTo>
                    <a:pt x="6648" y="2521"/>
                  </a:lnTo>
                  <a:cubicBezTo>
                    <a:pt x="7089" y="2521"/>
                    <a:pt x="7467" y="2143"/>
                    <a:pt x="7467" y="1670"/>
                  </a:cubicBezTo>
                  <a:lnTo>
                    <a:pt x="7467" y="820"/>
                  </a:lnTo>
                  <a:cubicBezTo>
                    <a:pt x="7467" y="347"/>
                    <a:pt x="7121"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6" name="Google Shape;8216;p74"/>
            <p:cNvSpPr/>
            <p:nvPr/>
          </p:nvSpPr>
          <p:spPr>
            <a:xfrm>
              <a:off x="-13512225" y="3773100"/>
              <a:ext cx="353675" cy="60675"/>
            </a:xfrm>
            <a:custGeom>
              <a:avLst/>
              <a:gdLst/>
              <a:ahLst/>
              <a:cxnLst/>
              <a:rect l="l" t="t" r="r" b="b"/>
              <a:pathLst>
                <a:path w="14147" h="2427" extrusionOk="0">
                  <a:moveTo>
                    <a:pt x="4726" y="0"/>
                  </a:moveTo>
                  <a:lnTo>
                    <a:pt x="4348" y="819"/>
                  </a:lnTo>
                  <a:lnTo>
                    <a:pt x="1261" y="819"/>
                  </a:lnTo>
                  <a:cubicBezTo>
                    <a:pt x="599" y="819"/>
                    <a:pt x="0" y="1355"/>
                    <a:pt x="0" y="2048"/>
                  </a:cubicBezTo>
                  <a:lnTo>
                    <a:pt x="0" y="2426"/>
                  </a:lnTo>
                  <a:lnTo>
                    <a:pt x="5041" y="2426"/>
                  </a:lnTo>
                  <a:cubicBezTo>
                    <a:pt x="5608" y="1922"/>
                    <a:pt x="6301" y="1607"/>
                    <a:pt x="7089" y="1607"/>
                  </a:cubicBezTo>
                  <a:cubicBezTo>
                    <a:pt x="7877" y="1607"/>
                    <a:pt x="8633" y="1922"/>
                    <a:pt x="9137" y="2426"/>
                  </a:cubicBezTo>
                  <a:lnTo>
                    <a:pt x="14146" y="2426"/>
                  </a:lnTo>
                  <a:lnTo>
                    <a:pt x="14146" y="2048"/>
                  </a:lnTo>
                  <a:cubicBezTo>
                    <a:pt x="14146" y="1355"/>
                    <a:pt x="13611" y="819"/>
                    <a:pt x="12886" y="819"/>
                  </a:cubicBezTo>
                  <a:lnTo>
                    <a:pt x="9830" y="819"/>
                  </a:lnTo>
                  <a:lnTo>
                    <a:pt x="9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7" name="Google Shape;8217;p74"/>
            <p:cNvSpPr/>
            <p:nvPr/>
          </p:nvSpPr>
          <p:spPr>
            <a:xfrm>
              <a:off x="-13411400" y="3730575"/>
              <a:ext cx="153600" cy="20500"/>
            </a:xfrm>
            <a:custGeom>
              <a:avLst/>
              <a:gdLst/>
              <a:ahLst/>
              <a:cxnLst/>
              <a:rect l="l" t="t" r="r" b="b"/>
              <a:pathLst>
                <a:path w="6144" h="820" extrusionOk="0">
                  <a:moveTo>
                    <a:pt x="0" y="0"/>
                  </a:moveTo>
                  <a:lnTo>
                    <a:pt x="599" y="819"/>
                  </a:lnTo>
                  <a:lnTo>
                    <a:pt x="5545" y="819"/>
                  </a:lnTo>
                  <a:lnTo>
                    <a:pt x="61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8" name="Google Shape;8218;p74"/>
          <p:cNvGrpSpPr/>
          <p:nvPr/>
        </p:nvGrpSpPr>
        <p:grpSpPr>
          <a:xfrm>
            <a:off x="5311876" y="2264811"/>
            <a:ext cx="356221" cy="355451"/>
            <a:chOff x="-13512225" y="4080275"/>
            <a:chExt cx="353675" cy="352875"/>
          </a:xfrm>
        </p:grpSpPr>
        <p:sp>
          <p:nvSpPr>
            <p:cNvPr id="8219" name="Google Shape;8219;p74"/>
            <p:cNvSpPr/>
            <p:nvPr/>
          </p:nvSpPr>
          <p:spPr>
            <a:xfrm>
              <a:off x="-13512225" y="4203925"/>
              <a:ext cx="353675" cy="229225"/>
            </a:xfrm>
            <a:custGeom>
              <a:avLst/>
              <a:gdLst/>
              <a:ahLst/>
              <a:cxnLst/>
              <a:rect l="l" t="t" r="r" b="b"/>
              <a:pathLst>
                <a:path w="14147" h="9169" extrusionOk="0">
                  <a:moveTo>
                    <a:pt x="5407" y="1717"/>
                  </a:moveTo>
                  <a:cubicBezTo>
                    <a:pt x="5482" y="1717"/>
                    <a:pt x="5561" y="1733"/>
                    <a:pt x="5640" y="1765"/>
                  </a:cubicBezTo>
                  <a:lnTo>
                    <a:pt x="9767" y="4254"/>
                  </a:lnTo>
                  <a:cubicBezTo>
                    <a:pt x="9893" y="4348"/>
                    <a:pt x="9987" y="4443"/>
                    <a:pt x="9987" y="4600"/>
                  </a:cubicBezTo>
                  <a:cubicBezTo>
                    <a:pt x="9987" y="4758"/>
                    <a:pt x="9893" y="4915"/>
                    <a:pt x="9767" y="5010"/>
                  </a:cubicBezTo>
                  <a:lnTo>
                    <a:pt x="5640" y="7499"/>
                  </a:lnTo>
                  <a:cubicBezTo>
                    <a:pt x="5577" y="7530"/>
                    <a:pt x="5506" y="7546"/>
                    <a:pt x="5431" y="7546"/>
                  </a:cubicBezTo>
                  <a:cubicBezTo>
                    <a:pt x="5356" y="7546"/>
                    <a:pt x="5277" y="7530"/>
                    <a:pt x="5199" y="7499"/>
                  </a:cubicBezTo>
                  <a:cubicBezTo>
                    <a:pt x="5104" y="7404"/>
                    <a:pt x="5010" y="7278"/>
                    <a:pt x="5010" y="7121"/>
                  </a:cubicBezTo>
                  <a:lnTo>
                    <a:pt x="5010" y="2143"/>
                  </a:lnTo>
                  <a:cubicBezTo>
                    <a:pt x="5010" y="1985"/>
                    <a:pt x="5104" y="1859"/>
                    <a:pt x="5199" y="1765"/>
                  </a:cubicBezTo>
                  <a:cubicBezTo>
                    <a:pt x="5262" y="1733"/>
                    <a:pt x="5333" y="1717"/>
                    <a:pt x="5407" y="1717"/>
                  </a:cubicBezTo>
                  <a:close/>
                  <a:moveTo>
                    <a:pt x="63" y="0"/>
                  </a:moveTo>
                  <a:lnTo>
                    <a:pt x="63" y="7971"/>
                  </a:lnTo>
                  <a:cubicBezTo>
                    <a:pt x="0" y="8633"/>
                    <a:pt x="568" y="9168"/>
                    <a:pt x="1261" y="9168"/>
                  </a:cubicBezTo>
                  <a:lnTo>
                    <a:pt x="12886" y="9168"/>
                  </a:lnTo>
                  <a:cubicBezTo>
                    <a:pt x="13548" y="9168"/>
                    <a:pt x="14146" y="8633"/>
                    <a:pt x="14146" y="7908"/>
                  </a:cubicBezTo>
                  <a:lnTo>
                    <a:pt x="141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4"/>
            <p:cNvSpPr/>
            <p:nvPr/>
          </p:nvSpPr>
          <p:spPr>
            <a:xfrm>
              <a:off x="-13366525" y="4275600"/>
              <a:ext cx="73275" cy="88225"/>
            </a:xfrm>
            <a:custGeom>
              <a:avLst/>
              <a:gdLst/>
              <a:ahLst/>
              <a:cxnLst/>
              <a:rect l="l" t="t" r="r" b="b"/>
              <a:pathLst>
                <a:path w="2931" h="3529" extrusionOk="0">
                  <a:moveTo>
                    <a:pt x="1" y="0"/>
                  </a:moveTo>
                  <a:lnTo>
                    <a:pt x="1" y="3529"/>
                  </a:lnTo>
                  <a:lnTo>
                    <a:pt x="2931" y="1733"/>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74"/>
            <p:cNvSpPr/>
            <p:nvPr/>
          </p:nvSpPr>
          <p:spPr>
            <a:xfrm>
              <a:off x="-13398800" y="4143275"/>
              <a:ext cx="65375" cy="40975"/>
            </a:xfrm>
            <a:custGeom>
              <a:avLst/>
              <a:gdLst/>
              <a:ahLst/>
              <a:cxnLst/>
              <a:rect l="l" t="t" r="r" b="b"/>
              <a:pathLst>
                <a:path w="2615" h="1639" extrusionOk="0">
                  <a:moveTo>
                    <a:pt x="1103" y="1"/>
                  </a:moveTo>
                  <a:lnTo>
                    <a:pt x="0" y="1639"/>
                  </a:lnTo>
                  <a:lnTo>
                    <a:pt x="1512" y="1639"/>
                  </a:lnTo>
                  <a:lnTo>
                    <a:pt x="26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2" name="Google Shape;8222;p74"/>
            <p:cNvSpPr/>
            <p:nvPr/>
          </p:nvSpPr>
          <p:spPr>
            <a:xfrm>
              <a:off x="-13336575" y="4143275"/>
              <a:ext cx="64600" cy="40975"/>
            </a:xfrm>
            <a:custGeom>
              <a:avLst/>
              <a:gdLst/>
              <a:ahLst/>
              <a:cxnLst/>
              <a:rect l="l" t="t" r="r" b="b"/>
              <a:pathLst>
                <a:path w="2584" h="1639" extrusionOk="0">
                  <a:moveTo>
                    <a:pt x="1103" y="1"/>
                  </a:moveTo>
                  <a:lnTo>
                    <a:pt x="0" y="1639"/>
                  </a:lnTo>
                  <a:lnTo>
                    <a:pt x="1481" y="1639"/>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4"/>
            <p:cNvSpPr/>
            <p:nvPr/>
          </p:nvSpPr>
          <p:spPr>
            <a:xfrm>
              <a:off x="-13398800" y="4081050"/>
              <a:ext cx="65375" cy="40975"/>
            </a:xfrm>
            <a:custGeom>
              <a:avLst/>
              <a:gdLst/>
              <a:ahLst/>
              <a:cxnLst/>
              <a:rect l="l" t="t" r="r" b="b"/>
              <a:pathLst>
                <a:path w="2615" h="1639" extrusionOk="0">
                  <a:moveTo>
                    <a:pt x="0" y="1"/>
                  </a:moveTo>
                  <a:lnTo>
                    <a:pt x="1103" y="1639"/>
                  </a:lnTo>
                  <a:lnTo>
                    <a:pt x="2615" y="1639"/>
                  </a:lnTo>
                  <a:lnTo>
                    <a:pt x="1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4"/>
            <p:cNvSpPr/>
            <p:nvPr/>
          </p:nvSpPr>
          <p:spPr>
            <a:xfrm>
              <a:off x="-13274375" y="4143275"/>
              <a:ext cx="64625" cy="40975"/>
            </a:xfrm>
            <a:custGeom>
              <a:avLst/>
              <a:gdLst/>
              <a:ahLst/>
              <a:cxnLst/>
              <a:rect l="l" t="t" r="r" b="b"/>
              <a:pathLst>
                <a:path w="2585" h="1639" extrusionOk="0">
                  <a:moveTo>
                    <a:pt x="1104" y="1"/>
                  </a:moveTo>
                  <a:lnTo>
                    <a:pt x="1" y="1639"/>
                  </a:lnTo>
                  <a:lnTo>
                    <a:pt x="1482" y="1639"/>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4"/>
            <p:cNvSpPr/>
            <p:nvPr/>
          </p:nvSpPr>
          <p:spPr>
            <a:xfrm>
              <a:off x="-13212925" y="4081050"/>
              <a:ext cx="54375" cy="40975"/>
            </a:xfrm>
            <a:custGeom>
              <a:avLst/>
              <a:gdLst/>
              <a:ahLst/>
              <a:cxnLst/>
              <a:rect l="l" t="t" r="r" b="b"/>
              <a:pathLst>
                <a:path w="2175" h="1639" extrusionOk="0">
                  <a:moveTo>
                    <a:pt x="0" y="1"/>
                  </a:moveTo>
                  <a:lnTo>
                    <a:pt x="1103" y="1639"/>
                  </a:lnTo>
                  <a:lnTo>
                    <a:pt x="2174" y="1639"/>
                  </a:lnTo>
                  <a:lnTo>
                    <a:pt x="2174" y="820"/>
                  </a:lnTo>
                  <a:cubicBezTo>
                    <a:pt x="2174" y="347"/>
                    <a:pt x="179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6" name="Google Shape;8226;p74"/>
            <p:cNvSpPr/>
            <p:nvPr/>
          </p:nvSpPr>
          <p:spPr>
            <a:xfrm>
              <a:off x="-13212925" y="4143275"/>
              <a:ext cx="54375" cy="40975"/>
            </a:xfrm>
            <a:custGeom>
              <a:avLst/>
              <a:gdLst/>
              <a:ahLst/>
              <a:cxnLst/>
              <a:rect l="l" t="t" r="r" b="b"/>
              <a:pathLst>
                <a:path w="2175" h="1639" extrusionOk="0">
                  <a:moveTo>
                    <a:pt x="1103" y="1"/>
                  </a:moveTo>
                  <a:lnTo>
                    <a:pt x="0" y="1639"/>
                  </a:lnTo>
                  <a:lnTo>
                    <a:pt x="2174" y="1639"/>
                  </a:ln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74"/>
            <p:cNvSpPr/>
            <p:nvPr/>
          </p:nvSpPr>
          <p:spPr>
            <a:xfrm>
              <a:off x="-13274375" y="4081050"/>
              <a:ext cx="64625" cy="40975"/>
            </a:xfrm>
            <a:custGeom>
              <a:avLst/>
              <a:gdLst/>
              <a:ahLst/>
              <a:cxnLst/>
              <a:rect l="l" t="t" r="r" b="b"/>
              <a:pathLst>
                <a:path w="2585" h="1639" extrusionOk="0">
                  <a:moveTo>
                    <a:pt x="1" y="1"/>
                  </a:moveTo>
                  <a:lnTo>
                    <a:pt x="1104" y="1639"/>
                  </a:lnTo>
                  <a:lnTo>
                    <a:pt x="2584" y="163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4"/>
            <p:cNvSpPr/>
            <p:nvPr/>
          </p:nvSpPr>
          <p:spPr>
            <a:xfrm>
              <a:off x="-13336575" y="4081050"/>
              <a:ext cx="64600" cy="40975"/>
            </a:xfrm>
            <a:custGeom>
              <a:avLst/>
              <a:gdLst/>
              <a:ahLst/>
              <a:cxnLst/>
              <a:rect l="l" t="t" r="r" b="b"/>
              <a:pathLst>
                <a:path w="2584" h="1639" extrusionOk="0">
                  <a:moveTo>
                    <a:pt x="0" y="1"/>
                  </a:moveTo>
                  <a:lnTo>
                    <a:pt x="1103" y="1639"/>
                  </a:lnTo>
                  <a:lnTo>
                    <a:pt x="2583" y="1639"/>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4"/>
            <p:cNvSpPr/>
            <p:nvPr/>
          </p:nvSpPr>
          <p:spPr>
            <a:xfrm>
              <a:off x="-13512225" y="4080275"/>
              <a:ext cx="123675" cy="103200"/>
            </a:xfrm>
            <a:custGeom>
              <a:avLst/>
              <a:gdLst/>
              <a:ahLst/>
              <a:cxnLst/>
              <a:rect l="l" t="t" r="r" b="b"/>
              <a:pathLst>
                <a:path w="4947" h="4128" extrusionOk="0">
                  <a:moveTo>
                    <a:pt x="2489" y="1260"/>
                  </a:moveTo>
                  <a:cubicBezTo>
                    <a:pt x="2962" y="1260"/>
                    <a:pt x="3371" y="1607"/>
                    <a:pt x="3371" y="2080"/>
                  </a:cubicBezTo>
                  <a:cubicBezTo>
                    <a:pt x="3371" y="2552"/>
                    <a:pt x="2962" y="2899"/>
                    <a:pt x="2489" y="2899"/>
                  </a:cubicBezTo>
                  <a:cubicBezTo>
                    <a:pt x="2017" y="2899"/>
                    <a:pt x="1670" y="2552"/>
                    <a:pt x="1670" y="2080"/>
                  </a:cubicBezTo>
                  <a:cubicBezTo>
                    <a:pt x="1670" y="1607"/>
                    <a:pt x="2017" y="1260"/>
                    <a:pt x="2489" y="1260"/>
                  </a:cubicBezTo>
                  <a:close/>
                  <a:moveTo>
                    <a:pt x="1261" y="0"/>
                  </a:moveTo>
                  <a:cubicBezTo>
                    <a:pt x="599" y="0"/>
                    <a:pt x="0" y="536"/>
                    <a:pt x="0" y="1260"/>
                  </a:cubicBezTo>
                  <a:lnTo>
                    <a:pt x="0" y="4127"/>
                  </a:lnTo>
                  <a:lnTo>
                    <a:pt x="3560" y="4127"/>
                  </a:lnTo>
                  <a:lnTo>
                    <a:pt x="4947" y="2080"/>
                  </a:lnTo>
                  <a:lnTo>
                    <a:pt x="35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0" name="Google Shape;8230;p74"/>
          <p:cNvGrpSpPr/>
          <p:nvPr/>
        </p:nvGrpSpPr>
        <p:grpSpPr>
          <a:xfrm>
            <a:off x="7084956" y="1412172"/>
            <a:ext cx="356196" cy="290379"/>
            <a:chOff x="-11728250" y="3245400"/>
            <a:chExt cx="353650" cy="288275"/>
          </a:xfrm>
        </p:grpSpPr>
        <p:sp>
          <p:nvSpPr>
            <p:cNvPr id="8231" name="Google Shape;8231;p74"/>
            <p:cNvSpPr/>
            <p:nvPr/>
          </p:nvSpPr>
          <p:spPr>
            <a:xfrm>
              <a:off x="-11603025" y="3389725"/>
              <a:ext cx="104775" cy="143950"/>
            </a:xfrm>
            <a:custGeom>
              <a:avLst/>
              <a:gdLst/>
              <a:ahLst/>
              <a:cxnLst/>
              <a:rect l="l" t="t" r="r" b="b"/>
              <a:pathLst>
                <a:path w="4191" h="5758" extrusionOk="0">
                  <a:moveTo>
                    <a:pt x="2096" y="0"/>
                  </a:moveTo>
                  <a:cubicBezTo>
                    <a:pt x="1560" y="0"/>
                    <a:pt x="1024" y="197"/>
                    <a:pt x="631" y="591"/>
                  </a:cubicBezTo>
                  <a:cubicBezTo>
                    <a:pt x="252" y="1001"/>
                    <a:pt x="63" y="1505"/>
                    <a:pt x="63" y="2040"/>
                  </a:cubicBezTo>
                  <a:cubicBezTo>
                    <a:pt x="63" y="2261"/>
                    <a:pt x="95" y="2418"/>
                    <a:pt x="126" y="2576"/>
                  </a:cubicBezTo>
                  <a:lnTo>
                    <a:pt x="1387" y="3048"/>
                  </a:lnTo>
                  <a:lnTo>
                    <a:pt x="158" y="4372"/>
                  </a:lnTo>
                  <a:cubicBezTo>
                    <a:pt x="0" y="4561"/>
                    <a:pt x="0" y="4813"/>
                    <a:pt x="158" y="4970"/>
                  </a:cubicBezTo>
                  <a:cubicBezTo>
                    <a:pt x="662" y="5474"/>
                    <a:pt x="1387" y="5758"/>
                    <a:pt x="2111" y="5758"/>
                  </a:cubicBezTo>
                  <a:cubicBezTo>
                    <a:pt x="2836" y="5758"/>
                    <a:pt x="3497" y="5474"/>
                    <a:pt x="4033" y="4970"/>
                  </a:cubicBezTo>
                  <a:cubicBezTo>
                    <a:pt x="4191" y="4813"/>
                    <a:pt x="4191" y="4561"/>
                    <a:pt x="4033" y="4372"/>
                  </a:cubicBezTo>
                  <a:lnTo>
                    <a:pt x="2804" y="3048"/>
                  </a:lnTo>
                  <a:lnTo>
                    <a:pt x="4065" y="2576"/>
                  </a:lnTo>
                  <a:cubicBezTo>
                    <a:pt x="4096" y="2418"/>
                    <a:pt x="4159" y="2198"/>
                    <a:pt x="4159" y="2040"/>
                  </a:cubicBezTo>
                  <a:cubicBezTo>
                    <a:pt x="4159" y="1505"/>
                    <a:pt x="3939" y="1001"/>
                    <a:pt x="3560" y="591"/>
                  </a:cubicBezTo>
                  <a:cubicBezTo>
                    <a:pt x="3167" y="197"/>
                    <a:pt x="2631"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2" name="Google Shape;8232;p74"/>
            <p:cNvSpPr/>
            <p:nvPr/>
          </p:nvSpPr>
          <p:spPr>
            <a:xfrm>
              <a:off x="-11647125" y="3246175"/>
              <a:ext cx="86650" cy="133925"/>
            </a:xfrm>
            <a:custGeom>
              <a:avLst/>
              <a:gdLst/>
              <a:ahLst/>
              <a:cxnLst/>
              <a:rect l="l" t="t" r="r" b="b"/>
              <a:pathLst>
                <a:path w="3466" h="5357" extrusionOk="0">
                  <a:moveTo>
                    <a:pt x="3466" y="1"/>
                  </a:moveTo>
                  <a:cubicBezTo>
                    <a:pt x="2205" y="64"/>
                    <a:pt x="1008" y="473"/>
                    <a:pt x="0" y="1135"/>
                  </a:cubicBezTo>
                  <a:lnTo>
                    <a:pt x="2426" y="5356"/>
                  </a:lnTo>
                  <a:cubicBezTo>
                    <a:pt x="2741" y="5167"/>
                    <a:pt x="3056" y="5041"/>
                    <a:pt x="3466" y="50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74"/>
            <p:cNvSpPr/>
            <p:nvPr/>
          </p:nvSpPr>
          <p:spPr>
            <a:xfrm>
              <a:off x="-11540025" y="3245400"/>
              <a:ext cx="86675" cy="133900"/>
            </a:xfrm>
            <a:custGeom>
              <a:avLst/>
              <a:gdLst/>
              <a:ahLst/>
              <a:cxnLst/>
              <a:rect l="l" t="t" r="r" b="b"/>
              <a:pathLst>
                <a:path w="3467" h="5356" extrusionOk="0">
                  <a:moveTo>
                    <a:pt x="1" y="0"/>
                  </a:moveTo>
                  <a:lnTo>
                    <a:pt x="1" y="4978"/>
                  </a:lnTo>
                  <a:cubicBezTo>
                    <a:pt x="379" y="5041"/>
                    <a:pt x="725" y="5135"/>
                    <a:pt x="1040" y="5356"/>
                  </a:cubicBezTo>
                  <a:lnTo>
                    <a:pt x="3466" y="1134"/>
                  </a:lnTo>
                  <a:cubicBezTo>
                    <a:pt x="2458" y="473"/>
                    <a:pt x="1261" y="63"/>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4"/>
            <p:cNvSpPr/>
            <p:nvPr/>
          </p:nvSpPr>
          <p:spPr>
            <a:xfrm>
              <a:off x="-11498275" y="3285550"/>
              <a:ext cx="123675" cy="160700"/>
            </a:xfrm>
            <a:custGeom>
              <a:avLst/>
              <a:gdLst/>
              <a:ahLst/>
              <a:cxnLst/>
              <a:rect l="l" t="t" r="r" b="b"/>
              <a:pathLst>
                <a:path w="4947" h="6428" extrusionOk="0">
                  <a:moveTo>
                    <a:pt x="2426" y="1"/>
                  </a:moveTo>
                  <a:lnTo>
                    <a:pt x="1" y="4254"/>
                  </a:lnTo>
                  <a:cubicBezTo>
                    <a:pt x="505" y="4790"/>
                    <a:pt x="788" y="5483"/>
                    <a:pt x="788" y="6207"/>
                  </a:cubicBezTo>
                  <a:lnTo>
                    <a:pt x="788" y="6428"/>
                  </a:lnTo>
                  <a:lnTo>
                    <a:pt x="4663" y="4947"/>
                  </a:lnTo>
                  <a:cubicBezTo>
                    <a:pt x="4884" y="4884"/>
                    <a:pt x="4947" y="4727"/>
                    <a:pt x="4947" y="4538"/>
                  </a:cubicBezTo>
                  <a:cubicBezTo>
                    <a:pt x="4726" y="2710"/>
                    <a:pt x="3781" y="1135"/>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4"/>
            <p:cNvSpPr/>
            <p:nvPr/>
          </p:nvSpPr>
          <p:spPr>
            <a:xfrm>
              <a:off x="-11728250" y="3286350"/>
              <a:ext cx="125250" cy="160700"/>
            </a:xfrm>
            <a:custGeom>
              <a:avLst/>
              <a:gdLst/>
              <a:ahLst/>
              <a:cxnLst/>
              <a:rect l="l" t="t" r="r" b="b"/>
              <a:pathLst>
                <a:path w="5010" h="6428" extrusionOk="0">
                  <a:moveTo>
                    <a:pt x="2584" y="0"/>
                  </a:moveTo>
                  <a:cubicBezTo>
                    <a:pt x="1229" y="1103"/>
                    <a:pt x="284" y="2678"/>
                    <a:pt x="63" y="4537"/>
                  </a:cubicBezTo>
                  <a:cubicBezTo>
                    <a:pt x="0" y="4726"/>
                    <a:pt x="126" y="4884"/>
                    <a:pt x="315" y="4978"/>
                  </a:cubicBezTo>
                  <a:lnTo>
                    <a:pt x="4222" y="6427"/>
                  </a:lnTo>
                  <a:lnTo>
                    <a:pt x="4222" y="6238"/>
                  </a:lnTo>
                  <a:cubicBezTo>
                    <a:pt x="4222" y="5482"/>
                    <a:pt x="4505" y="4758"/>
                    <a:pt x="5009" y="4254"/>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6" name="Google Shape;8236;p74"/>
          <p:cNvGrpSpPr/>
          <p:nvPr/>
        </p:nvGrpSpPr>
        <p:grpSpPr>
          <a:xfrm>
            <a:off x="7117464" y="2264811"/>
            <a:ext cx="311804" cy="355451"/>
            <a:chOff x="-11703850" y="4081850"/>
            <a:chExt cx="309575" cy="352875"/>
          </a:xfrm>
        </p:grpSpPr>
        <p:sp>
          <p:nvSpPr>
            <p:cNvPr id="8237" name="Google Shape;8237;p74"/>
            <p:cNvSpPr/>
            <p:nvPr/>
          </p:nvSpPr>
          <p:spPr>
            <a:xfrm>
              <a:off x="-11703850" y="4081850"/>
              <a:ext cx="309575" cy="125250"/>
            </a:xfrm>
            <a:custGeom>
              <a:avLst/>
              <a:gdLst/>
              <a:ahLst/>
              <a:cxnLst/>
              <a:rect l="l" t="t" r="r" b="b"/>
              <a:pathLst>
                <a:path w="12383" h="5010" extrusionOk="0">
                  <a:moveTo>
                    <a:pt x="6932" y="2552"/>
                  </a:moveTo>
                  <a:cubicBezTo>
                    <a:pt x="7593" y="2552"/>
                    <a:pt x="8192" y="3119"/>
                    <a:pt x="8192" y="3781"/>
                  </a:cubicBezTo>
                  <a:cubicBezTo>
                    <a:pt x="8224" y="3970"/>
                    <a:pt x="8035" y="4190"/>
                    <a:pt x="7783" y="4190"/>
                  </a:cubicBezTo>
                  <a:cubicBezTo>
                    <a:pt x="7530" y="4190"/>
                    <a:pt x="7341" y="3970"/>
                    <a:pt x="7341" y="3781"/>
                  </a:cubicBezTo>
                  <a:cubicBezTo>
                    <a:pt x="7341" y="3560"/>
                    <a:pt x="7152" y="3403"/>
                    <a:pt x="6963" y="3403"/>
                  </a:cubicBezTo>
                  <a:cubicBezTo>
                    <a:pt x="6743" y="3403"/>
                    <a:pt x="6522" y="3592"/>
                    <a:pt x="6522" y="3781"/>
                  </a:cubicBezTo>
                  <a:cubicBezTo>
                    <a:pt x="6522" y="4033"/>
                    <a:pt x="6333" y="4190"/>
                    <a:pt x="6144" y="4190"/>
                  </a:cubicBezTo>
                  <a:cubicBezTo>
                    <a:pt x="5892" y="4190"/>
                    <a:pt x="5703" y="3970"/>
                    <a:pt x="5703" y="3781"/>
                  </a:cubicBezTo>
                  <a:cubicBezTo>
                    <a:pt x="5703" y="3560"/>
                    <a:pt x="5514" y="3403"/>
                    <a:pt x="5262" y="3403"/>
                  </a:cubicBezTo>
                  <a:cubicBezTo>
                    <a:pt x="5042" y="3403"/>
                    <a:pt x="4884" y="3592"/>
                    <a:pt x="4884" y="3781"/>
                  </a:cubicBezTo>
                  <a:cubicBezTo>
                    <a:pt x="4884" y="4033"/>
                    <a:pt x="4664" y="4190"/>
                    <a:pt x="4443" y="4190"/>
                  </a:cubicBezTo>
                  <a:cubicBezTo>
                    <a:pt x="4191" y="4190"/>
                    <a:pt x="4033" y="3970"/>
                    <a:pt x="4033" y="3781"/>
                  </a:cubicBezTo>
                  <a:cubicBezTo>
                    <a:pt x="4033" y="3119"/>
                    <a:pt x="4601" y="2552"/>
                    <a:pt x="5262" y="2552"/>
                  </a:cubicBezTo>
                  <a:cubicBezTo>
                    <a:pt x="5577" y="2552"/>
                    <a:pt x="5861" y="2678"/>
                    <a:pt x="6081" y="2867"/>
                  </a:cubicBezTo>
                  <a:cubicBezTo>
                    <a:pt x="6333" y="2678"/>
                    <a:pt x="6617" y="2552"/>
                    <a:pt x="6932" y="2552"/>
                  </a:cubicBezTo>
                  <a:close/>
                  <a:moveTo>
                    <a:pt x="5357" y="0"/>
                  </a:moveTo>
                  <a:cubicBezTo>
                    <a:pt x="4348" y="0"/>
                    <a:pt x="3498" y="725"/>
                    <a:pt x="3340" y="1670"/>
                  </a:cubicBezTo>
                  <a:cubicBezTo>
                    <a:pt x="3304" y="1668"/>
                    <a:pt x="3267" y="1666"/>
                    <a:pt x="3231" y="1666"/>
                  </a:cubicBezTo>
                  <a:cubicBezTo>
                    <a:pt x="2310" y="1666"/>
                    <a:pt x="1639" y="2430"/>
                    <a:pt x="1639" y="3340"/>
                  </a:cubicBezTo>
                  <a:cubicBezTo>
                    <a:pt x="725" y="3340"/>
                    <a:pt x="1" y="4096"/>
                    <a:pt x="1" y="5009"/>
                  </a:cubicBezTo>
                  <a:lnTo>
                    <a:pt x="12382" y="5009"/>
                  </a:lnTo>
                  <a:cubicBezTo>
                    <a:pt x="12351" y="4096"/>
                    <a:pt x="11595" y="3340"/>
                    <a:pt x="10681" y="3340"/>
                  </a:cubicBezTo>
                  <a:cubicBezTo>
                    <a:pt x="10681" y="2395"/>
                    <a:pt x="9956" y="1670"/>
                    <a:pt x="9011" y="1670"/>
                  </a:cubicBezTo>
                  <a:cubicBezTo>
                    <a:pt x="8822" y="725"/>
                    <a:pt x="7972" y="0"/>
                    <a:pt x="6995" y="0"/>
                  </a:cubicBezTo>
                  <a:cubicBezTo>
                    <a:pt x="6711" y="0"/>
                    <a:pt x="6459" y="95"/>
                    <a:pt x="6176" y="189"/>
                  </a:cubicBezTo>
                  <a:cubicBezTo>
                    <a:pt x="5892" y="95"/>
                    <a:pt x="5609"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8" name="Google Shape;8238;p74"/>
            <p:cNvSpPr/>
            <p:nvPr/>
          </p:nvSpPr>
          <p:spPr>
            <a:xfrm>
              <a:off x="-11622725" y="4288975"/>
              <a:ext cx="144175" cy="63050"/>
            </a:xfrm>
            <a:custGeom>
              <a:avLst/>
              <a:gdLst/>
              <a:ahLst/>
              <a:cxnLst/>
              <a:rect l="l" t="t" r="r" b="b"/>
              <a:pathLst>
                <a:path w="5767" h="2522" extrusionOk="0">
                  <a:moveTo>
                    <a:pt x="2868" y="1"/>
                  </a:moveTo>
                  <a:cubicBezTo>
                    <a:pt x="1293" y="1"/>
                    <a:pt x="1" y="537"/>
                    <a:pt x="1" y="1261"/>
                  </a:cubicBezTo>
                  <a:cubicBezTo>
                    <a:pt x="1" y="1954"/>
                    <a:pt x="1293" y="2521"/>
                    <a:pt x="2868" y="2521"/>
                  </a:cubicBezTo>
                  <a:cubicBezTo>
                    <a:pt x="4475" y="2521"/>
                    <a:pt x="5766" y="1954"/>
                    <a:pt x="5766" y="1261"/>
                  </a:cubicBezTo>
                  <a:cubicBezTo>
                    <a:pt x="5766" y="537"/>
                    <a:pt x="4475"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74"/>
            <p:cNvSpPr/>
            <p:nvPr/>
          </p:nvSpPr>
          <p:spPr>
            <a:xfrm>
              <a:off x="-11596725" y="4364600"/>
              <a:ext cx="36250" cy="70125"/>
            </a:xfrm>
            <a:custGeom>
              <a:avLst/>
              <a:gdLst/>
              <a:ahLst/>
              <a:cxnLst/>
              <a:rect l="l" t="t" r="r" b="b"/>
              <a:pathLst>
                <a:path w="1450" h="2805" extrusionOk="0">
                  <a:moveTo>
                    <a:pt x="0" y="0"/>
                  </a:moveTo>
                  <a:lnTo>
                    <a:pt x="253" y="2804"/>
                  </a:lnTo>
                  <a:lnTo>
                    <a:pt x="1450" y="2804"/>
                  </a:lnTo>
                  <a:lnTo>
                    <a:pt x="1450" y="284"/>
                  </a:lnTo>
                  <a:cubicBezTo>
                    <a:pt x="883" y="221"/>
                    <a:pt x="410" y="158"/>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0" name="Google Shape;8240;p74"/>
            <p:cNvSpPr/>
            <p:nvPr/>
          </p:nvSpPr>
          <p:spPr>
            <a:xfrm>
              <a:off x="-11540025" y="4364600"/>
              <a:ext cx="37050" cy="70125"/>
            </a:xfrm>
            <a:custGeom>
              <a:avLst/>
              <a:gdLst/>
              <a:ahLst/>
              <a:cxnLst/>
              <a:rect l="l" t="t" r="r" b="b"/>
              <a:pathLst>
                <a:path w="1482" h="2805" extrusionOk="0">
                  <a:moveTo>
                    <a:pt x="1482" y="0"/>
                  </a:moveTo>
                  <a:lnTo>
                    <a:pt x="1482" y="0"/>
                  </a:lnTo>
                  <a:cubicBezTo>
                    <a:pt x="1040" y="126"/>
                    <a:pt x="505" y="221"/>
                    <a:pt x="1" y="221"/>
                  </a:cubicBezTo>
                  <a:lnTo>
                    <a:pt x="1" y="2741"/>
                  </a:lnTo>
                  <a:lnTo>
                    <a:pt x="1198" y="2741"/>
                  </a:lnTo>
                  <a:lnTo>
                    <a:pt x="1198" y="2804"/>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1" name="Google Shape;8241;p74"/>
            <p:cNvSpPr/>
            <p:nvPr/>
          </p:nvSpPr>
          <p:spPr>
            <a:xfrm>
              <a:off x="-11610900" y="4227550"/>
              <a:ext cx="50425" cy="51225"/>
            </a:xfrm>
            <a:custGeom>
              <a:avLst/>
              <a:gdLst/>
              <a:ahLst/>
              <a:cxnLst/>
              <a:rect l="l" t="t" r="r" b="b"/>
              <a:pathLst>
                <a:path w="2017" h="2049" extrusionOk="0">
                  <a:moveTo>
                    <a:pt x="0" y="1"/>
                  </a:moveTo>
                  <a:lnTo>
                    <a:pt x="189" y="2048"/>
                  </a:lnTo>
                  <a:cubicBezTo>
                    <a:pt x="725" y="1859"/>
                    <a:pt x="1355" y="1702"/>
                    <a:pt x="2017" y="1670"/>
                  </a:cubicBezTo>
                  <a:lnTo>
                    <a:pt x="20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74"/>
            <p:cNvSpPr/>
            <p:nvPr/>
          </p:nvSpPr>
          <p:spPr>
            <a:xfrm>
              <a:off x="-11540025" y="4228350"/>
              <a:ext cx="50450" cy="51200"/>
            </a:xfrm>
            <a:custGeom>
              <a:avLst/>
              <a:gdLst/>
              <a:ahLst/>
              <a:cxnLst/>
              <a:rect l="l" t="t" r="r" b="b"/>
              <a:pathLst>
                <a:path w="2018" h="2048" extrusionOk="0">
                  <a:moveTo>
                    <a:pt x="1" y="0"/>
                  </a:moveTo>
                  <a:lnTo>
                    <a:pt x="1" y="1670"/>
                  </a:lnTo>
                  <a:cubicBezTo>
                    <a:pt x="694" y="1701"/>
                    <a:pt x="1293" y="1827"/>
                    <a:pt x="1828" y="2048"/>
                  </a:cubicBez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3" name="Google Shape;8243;p74"/>
            <p:cNvSpPr/>
            <p:nvPr/>
          </p:nvSpPr>
          <p:spPr>
            <a:xfrm>
              <a:off x="-11489600" y="4227550"/>
              <a:ext cx="92175" cy="207175"/>
            </a:xfrm>
            <a:custGeom>
              <a:avLst/>
              <a:gdLst/>
              <a:ahLst/>
              <a:cxnLst/>
              <a:rect l="l" t="t" r="r" b="b"/>
              <a:pathLst>
                <a:path w="3687" h="8287" extrusionOk="0">
                  <a:moveTo>
                    <a:pt x="819" y="1"/>
                  </a:moveTo>
                  <a:lnTo>
                    <a:pt x="599" y="2489"/>
                  </a:lnTo>
                  <a:cubicBezTo>
                    <a:pt x="1040" y="2836"/>
                    <a:pt x="1292" y="3246"/>
                    <a:pt x="1292" y="3718"/>
                  </a:cubicBezTo>
                  <a:cubicBezTo>
                    <a:pt x="1292" y="4254"/>
                    <a:pt x="945" y="4758"/>
                    <a:pt x="315" y="5136"/>
                  </a:cubicBezTo>
                  <a:lnTo>
                    <a:pt x="0" y="8286"/>
                  </a:lnTo>
                  <a:lnTo>
                    <a:pt x="1040" y="8286"/>
                  </a:lnTo>
                  <a:cubicBezTo>
                    <a:pt x="1607" y="8286"/>
                    <a:pt x="2111" y="7877"/>
                    <a:pt x="2237" y="7278"/>
                  </a:cubicBezTo>
                  <a:lnTo>
                    <a:pt x="36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74"/>
            <p:cNvSpPr/>
            <p:nvPr/>
          </p:nvSpPr>
          <p:spPr>
            <a:xfrm>
              <a:off x="-11703850" y="4227550"/>
              <a:ext cx="92175" cy="207175"/>
            </a:xfrm>
            <a:custGeom>
              <a:avLst/>
              <a:gdLst/>
              <a:ahLst/>
              <a:cxnLst/>
              <a:rect l="l" t="t" r="r" b="b"/>
              <a:pathLst>
                <a:path w="3687" h="8287" extrusionOk="0">
                  <a:moveTo>
                    <a:pt x="1" y="1"/>
                  </a:moveTo>
                  <a:lnTo>
                    <a:pt x="1450" y="7278"/>
                  </a:lnTo>
                  <a:cubicBezTo>
                    <a:pt x="1576" y="7877"/>
                    <a:pt x="2080" y="8286"/>
                    <a:pt x="2679" y="8286"/>
                  </a:cubicBezTo>
                  <a:lnTo>
                    <a:pt x="3687" y="8286"/>
                  </a:lnTo>
                  <a:lnTo>
                    <a:pt x="3372" y="5136"/>
                  </a:lnTo>
                  <a:cubicBezTo>
                    <a:pt x="2773" y="4758"/>
                    <a:pt x="2395" y="4254"/>
                    <a:pt x="2395" y="3718"/>
                  </a:cubicBezTo>
                  <a:cubicBezTo>
                    <a:pt x="2427" y="3246"/>
                    <a:pt x="2647" y="2836"/>
                    <a:pt x="3088" y="2489"/>
                  </a:cubicBezTo>
                  <a:lnTo>
                    <a:pt x="2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5" name="Google Shape;8245;p74"/>
          <p:cNvGrpSpPr/>
          <p:nvPr/>
        </p:nvGrpSpPr>
        <p:grpSpPr>
          <a:xfrm>
            <a:off x="5306120" y="2738964"/>
            <a:ext cx="357002" cy="355451"/>
            <a:chOff x="-9958475" y="3180025"/>
            <a:chExt cx="354450" cy="352875"/>
          </a:xfrm>
        </p:grpSpPr>
        <p:sp>
          <p:nvSpPr>
            <p:cNvPr id="8246" name="Google Shape;8246;p74"/>
            <p:cNvSpPr/>
            <p:nvPr/>
          </p:nvSpPr>
          <p:spPr>
            <a:xfrm>
              <a:off x="-9958475" y="3491125"/>
              <a:ext cx="354450" cy="41775"/>
            </a:xfrm>
            <a:custGeom>
              <a:avLst/>
              <a:gdLst/>
              <a:ahLst/>
              <a:cxnLst/>
              <a:rect l="l" t="t" r="r" b="b"/>
              <a:pathLst>
                <a:path w="14178" h="1671" extrusionOk="0">
                  <a:moveTo>
                    <a:pt x="1702" y="1"/>
                  </a:moveTo>
                  <a:cubicBezTo>
                    <a:pt x="1387" y="1"/>
                    <a:pt x="1135" y="158"/>
                    <a:pt x="977" y="442"/>
                  </a:cubicBezTo>
                  <a:lnTo>
                    <a:pt x="442" y="442"/>
                  </a:lnTo>
                  <a:cubicBezTo>
                    <a:pt x="190" y="442"/>
                    <a:pt x="1" y="631"/>
                    <a:pt x="1" y="820"/>
                  </a:cubicBezTo>
                  <a:cubicBezTo>
                    <a:pt x="1" y="1072"/>
                    <a:pt x="190" y="1261"/>
                    <a:pt x="442" y="1261"/>
                  </a:cubicBezTo>
                  <a:lnTo>
                    <a:pt x="977" y="1261"/>
                  </a:lnTo>
                  <a:cubicBezTo>
                    <a:pt x="1135" y="1513"/>
                    <a:pt x="1387" y="1670"/>
                    <a:pt x="1702" y="1670"/>
                  </a:cubicBezTo>
                  <a:lnTo>
                    <a:pt x="12477" y="1670"/>
                  </a:lnTo>
                  <a:cubicBezTo>
                    <a:pt x="12792" y="1670"/>
                    <a:pt x="13044" y="1513"/>
                    <a:pt x="13170" y="1261"/>
                  </a:cubicBezTo>
                  <a:lnTo>
                    <a:pt x="13737" y="1261"/>
                  </a:lnTo>
                  <a:cubicBezTo>
                    <a:pt x="13957" y="1261"/>
                    <a:pt x="14178" y="1072"/>
                    <a:pt x="14178" y="820"/>
                  </a:cubicBezTo>
                  <a:cubicBezTo>
                    <a:pt x="14178" y="631"/>
                    <a:pt x="13957" y="442"/>
                    <a:pt x="13737" y="442"/>
                  </a:cubicBezTo>
                  <a:lnTo>
                    <a:pt x="13170" y="442"/>
                  </a:lnTo>
                  <a:cubicBezTo>
                    <a:pt x="13044" y="190"/>
                    <a:pt x="12792" y="1"/>
                    <a:pt x="12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74"/>
            <p:cNvSpPr/>
            <p:nvPr/>
          </p:nvSpPr>
          <p:spPr>
            <a:xfrm>
              <a:off x="-9958475" y="3180025"/>
              <a:ext cx="354450" cy="42550"/>
            </a:xfrm>
            <a:custGeom>
              <a:avLst/>
              <a:gdLst/>
              <a:ahLst/>
              <a:cxnLst/>
              <a:rect l="l" t="t" r="r" b="b"/>
              <a:pathLst>
                <a:path w="14178" h="1702" extrusionOk="0">
                  <a:moveTo>
                    <a:pt x="1702" y="0"/>
                  </a:moveTo>
                  <a:cubicBezTo>
                    <a:pt x="1387" y="0"/>
                    <a:pt x="1135" y="158"/>
                    <a:pt x="977" y="441"/>
                  </a:cubicBezTo>
                  <a:lnTo>
                    <a:pt x="442" y="441"/>
                  </a:lnTo>
                  <a:cubicBezTo>
                    <a:pt x="190" y="441"/>
                    <a:pt x="1" y="630"/>
                    <a:pt x="1" y="819"/>
                  </a:cubicBezTo>
                  <a:cubicBezTo>
                    <a:pt x="1" y="1040"/>
                    <a:pt x="190" y="1260"/>
                    <a:pt x="442" y="1260"/>
                  </a:cubicBezTo>
                  <a:lnTo>
                    <a:pt x="977" y="1260"/>
                  </a:lnTo>
                  <a:cubicBezTo>
                    <a:pt x="1135" y="1512"/>
                    <a:pt x="1387" y="1701"/>
                    <a:pt x="1702" y="1701"/>
                  </a:cubicBezTo>
                  <a:lnTo>
                    <a:pt x="12477" y="1701"/>
                  </a:lnTo>
                  <a:cubicBezTo>
                    <a:pt x="12792" y="1701"/>
                    <a:pt x="13044" y="1544"/>
                    <a:pt x="13170" y="1260"/>
                  </a:cubicBezTo>
                  <a:lnTo>
                    <a:pt x="13737" y="1260"/>
                  </a:lnTo>
                  <a:cubicBezTo>
                    <a:pt x="13957" y="1260"/>
                    <a:pt x="14178" y="1071"/>
                    <a:pt x="14178" y="819"/>
                  </a:cubicBezTo>
                  <a:cubicBezTo>
                    <a:pt x="14178" y="599"/>
                    <a:pt x="13957" y="441"/>
                    <a:pt x="13737" y="441"/>
                  </a:cubicBezTo>
                  <a:lnTo>
                    <a:pt x="13170" y="441"/>
                  </a:lnTo>
                  <a:cubicBezTo>
                    <a:pt x="13044" y="189"/>
                    <a:pt x="12792" y="0"/>
                    <a:pt x="124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8" name="Google Shape;8248;p74"/>
            <p:cNvSpPr/>
            <p:nvPr/>
          </p:nvSpPr>
          <p:spPr>
            <a:xfrm>
              <a:off x="-9916725" y="3243025"/>
              <a:ext cx="270175" cy="228425"/>
            </a:xfrm>
            <a:custGeom>
              <a:avLst/>
              <a:gdLst/>
              <a:ahLst/>
              <a:cxnLst/>
              <a:rect l="l" t="t" r="r" b="b"/>
              <a:pathLst>
                <a:path w="10807" h="9137" extrusionOk="0">
                  <a:moveTo>
                    <a:pt x="7940" y="820"/>
                  </a:moveTo>
                  <a:cubicBezTo>
                    <a:pt x="8160" y="820"/>
                    <a:pt x="8349" y="1040"/>
                    <a:pt x="8349" y="1261"/>
                  </a:cubicBezTo>
                  <a:cubicBezTo>
                    <a:pt x="8349" y="1513"/>
                    <a:pt x="8160" y="1670"/>
                    <a:pt x="7940" y="1670"/>
                  </a:cubicBezTo>
                  <a:lnTo>
                    <a:pt x="2962" y="1670"/>
                  </a:lnTo>
                  <a:cubicBezTo>
                    <a:pt x="2741" y="1670"/>
                    <a:pt x="2521" y="1450"/>
                    <a:pt x="2521" y="1261"/>
                  </a:cubicBezTo>
                  <a:cubicBezTo>
                    <a:pt x="2521" y="1040"/>
                    <a:pt x="2741" y="820"/>
                    <a:pt x="2962" y="820"/>
                  </a:cubicBezTo>
                  <a:close/>
                  <a:moveTo>
                    <a:pt x="6270" y="2489"/>
                  </a:moveTo>
                  <a:cubicBezTo>
                    <a:pt x="6459" y="2489"/>
                    <a:pt x="6680" y="2679"/>
                    <a:pt x="6680" y="2931"/>
                  </a:cubicBezTo>
                  <a:cubicBezTo>
                    <a:pt x="6680" y="3151"/>
                    <a:pt x="6459" y="3340"/>
                    <a:pt x="6270" y="3340"/>
                  </a:cubicBezTo>
                  <a:lnTo>
                    <a:pt x="3781" y="3340"/>
                  </a:lnTo>
                  <a:cubicBezTo>
                    <a:pt x="3561" y="3340"/>
                    <a:pt x="3403" y="3151"/>
                    <a:pt x="3403" y="2931"/>
                  </a:cubicBezTo>
                  <a:cubicBezTo>
                    <a:pt x="3403" y="2679"/>
                    <a:pt x="3592" y="2489"/>
                    <a:pt x="3781" y="2489"/>
                  </a:cubicBezTo>
                  <a:close/>
                  <a:moveTo>
                    <a:pt x="7940" y="4128"/>
                  </a:moveTo>
                  <a:cubicBezTo>
                    <a:pt x="8160" y="4128"/>
                    <a:pt x="8349" y="4348"/>
                    <a:pt x="8349" y="4569"/>
                  </a:cubicBezTo>
                  <a:cubicBezTo>
                    <a:pt x="8349" y="4789"/>
                    <a:pt x="8160" y="5010"/>
                    <a:pt x="7940" y="5010"/>
                  </a:cubicBezTo>
                  <a:lnTo>
                    <a:pt x="2962" y="5010"/>
                  </a:lnTo>
                  <a:cubicBezTo>
                    <a:pt x="2741" y="5010"/>
                    <a:pt x="2521" y="4789"/>
                    <a:pt x="2521" y="4569"/>
                  </a:cubicBezTo>
                  <a:cubicBezTo>
                    <a:pt x="2521" y="4348"/>
                    <a:pt x="2741" y="4128"/>
                    <a:pt x="2962" y="4128"/>
                  </a:cubicBezTo>
                  <a:close/>
                  <a:moveTo>
                    <a:pt x="6312" y="5826"/>
                  </a:moveTo>
                  <a:cubicBezTo>
                    <a:pt x="6490" y="5826"/>
                    <a:pt x="6680" y="6005"/>
                    <a:pt x="6680" y="6239"/>
                  </a:cubicBezTo>
                  <a:cubicBezTo>
                    <a:pt x="6680" y="6459"/>
                    <a:pt x="6459" y="6617"/>
                    <a:pt x="6270" y="6617"/>
                  </a:cubicBezTo>
                  <a:lnTo>
                    <a:pt x="3781" y="6617"/>
                  </a:lnTo>
                  <a:cubicBezTo>
                    <a:pt x="3561" y="6617"/>
                    <a:pt x="3403" y="6428"/>
                    <a:pt x="3403" y="6239"/>
                  </a:cubicBezTo>
                  <a:cubicBezTo>
                    <a:pt x="3403" y="5987"/>
                    <a:pt x="3592" y="5829"/>
                    <a:pt x="3781" y="5829"/>
                  </a:cubicBezTo>
                  <a:lnTo>
                    <a:pt x="6270" y="5829"/>
                  </a:lnTo>
                  <a:cubicBezTo>
                    <a:pt x="6284" y="5827"/>
                    <a:pt x="6298" y="5826"/>
                    <a:pt x="6312" y="5826"/>
                  </a:cubicBezTo>
                  <a:close/>
                  <a:moveTo>
                    <a:pt x="7940" y="7436"/>
                  </a:moveTo>
                  <a:cubicBezTo>
                    <a:pt x="8160" y="7436"/>
                    <a:pt x="8349" y="7656"/>
                    <a:pt x="8349" y="7877"/>
                  </a:cubicBezTo>
                  <a:cubicBezTo>
                    <a:pt x="8349" y="8129"/>
                    <a:pt x="8160" y="8286"/>
                    <a:pt x="7940" y="8286"/>
                  </a:cubicBezTo>
                  <a:lnTo>
                    <a:pt x="2962" y="8286"/>
                  </a:lnTo>
                  <a:cubicBezTo>
                    <a:pt x="2741" y="8286"/>
                    <a:pt x="2521" y="8066"/>
                    <a:pt x="2521" y="7877"/>
                  </a:cubicBezTo>
                  <a:cubicBezTo>
                    <a:pt x="2521" y="7656"/>
                    <a:pt x="2741" y="7436"/>
                    <a:pt x="2962" y="7436"/>
                  </a:cubicBezTo>
                  <a:close/>
                  <a:moveTo>
                    <a:pt x="1" y="1"/>
                  </a:moveTo>
                  <a:lnTo>
                    <a:pt x="1" y="5388"/>
                  </a:lnTo>
                  <a:cubicBezTo>
                    <a:pt x="1" y="5545"/>
                    <a:pt x="95" y="5703"/>
                    <a:pt x="253" y="5766"/>
                  </a:cubicBezTo>
                  <a:lnTo>
                    <a:pt x="1166" y="6239"/>
                  </a:lnTo>
                  <a:lnTo>
                    <a:pt x="253" y="6711"/>
                  </a:lnTo>
                  <a:cubicBezTo>
                    <a:pt x="127" y="6743"/>
                    <a:pt x="1" y="6900"/>
                    <a:pt x="1" y="7058"/>
                  </a:cubicBezTo>
                  <a:lnTo>
                    <a:pt x="1" y="9137"/>
                  </a:lnTo>
                  <a:lnTo>
                    <a:pt x="10807" y="9137"/>
                  </a:lnTo>
                  <a:lnTo>
                    <a:pt x="10807" y="3750"/>
                  </a:lnTo>
                  <a:cubicBezTo>
                    <a:pt x="10807" y="3592"/>
                    <a:pt x="10712" y="3435"/>
                    <a:pt x="10555" y="3403"/>
                  </a:cubicBezTo>
                  <a:lnTo>
                    <a:pt x="9673" y="2931"/>
                  </a:lnTo>
                  <a:lnTo>
                    <a:pt x="10555" y="2458"/>
                  </a:lnTo>
                  <a:cubicBezTo>
                    <a:pt x="10712" y="2363"/>
                    <a:pt x="10807" y="2237"/>
                    <a:pt x="10807" y="2080"/>
                  </a:cubicBezTo>
                  <a:lnTo>
                    <a:pt x="10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9" name="Google Shape;8249;p74"/>
          <p:cNvGrpSpPr/>
          <p:nvPr/>
        </p:nvGrpSpPr>
        <p:grpSpPr>
          <a:xfrm>
            <a:off x="5315247" y="3214945"/>
            <a:ext cx="337966" cy="355325"/>
            <a:chOff x="-9949025" y="3615575"/>
            <a:chExt cx="335550" cy="352750"/>
          </a:xfrm>
        </p:grpSpPr>
        <p:sp>
          <p:nvSpPr>
            <p:cNvPr id="8250" name="Google Shape;8250;p74"/>
            <p:cNvSpPr/>
            <p:nvPr/>
          </p:nvSpPr>
          <p:spPr>
            <a:xfrm>
              <a:off x="-9800950" y="3615575"/>
              <a:ext cx="61475" cy="61450"/>
            </a:xfrm>
            <a:custGeom>
              <a:avLst/>
              <a:gdLst/>
              <a:ahLst/>
              <a:cxnLst/>
              <a:rect l="l" t="t" r="r" b="b"/>
              <a:pathLst>
                <a:path w="2459" h="2458" extrusionOk="0">
                  <a:moveTo>
                    <a:pt x="1261" y="0"/>
                  </a:moveTo>
                  <a:cubicBezTo>
                    <a:pt x="568" y="0"/>
                    <a:pt x="1" y="567"/>
                    <a:pt x="1" y="1261"/>
                  </a:cubicBezTo>
                  <a:cubicBezTo>
                    <a:pt x="1" y="1922"/>
                    <a:pt x="536" y="2458"/>
                    <a:pt x="1261" y="2458"/>
                  </a:cubicBezTo>
                  <a:cubicBezTo>
                    <a:pt x="1891" y="2458"/>
                    <a:pt x="2458" y="1922"/>
                    <a:pt x="2458" y="1261"/>
                  </a:cubicBezTo>
                  <a:cubicBezTo>
                    <a:pt x="2458" y="567"/>
                    <a:pt x="1923"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1" name="Google Shape;8251;p74"/>
            <p:cNvSpPr/>
            <p:nvPr/>
          </p:nvSpPr>
          <p:spPr>
            <a:xfrm>
              <a:off x="-9949025" y="3688650"/>
              <a:ext cx="335550" cy="279675"/>
            </a:xfrm>
            <a:custGeom>
              <a:avLst/>
              <a:gdLst/>
              <a:ahLst/>
              <a:cxnLst/>
              <a:rect l="l" t="t" r="r" b="b"/>
              <a:pathLst>
                <a:path w="13422" h="11187" extrusionOk="0">
                  <a:moveTo>
                    <a:pt x="5523" y="1"/>
                  </a:moveTo>
                  <a:cubicBezTo>
                    <a:pt x="5383" y="1"/>
                    <a:pt x="5245" y="34"/>
                    <a:pt x="5136" y="102"/>
                  </a:cubicBezTo>
                  <a:lnTo>
                    <a:pt x="599" y="2969"/>
                  </a:lnTo>
                  <a:cubicBezTo>
                    <a:pt x="158" y="3158"/>
                    <a:pt x="1" y="3630"/>
                    <a:pt x="190" y="4071"/>
                  </a:cubicBezTo>
                  <a:cubicBezTo>
                    <a:pt x="360" y="4370"/>
                    <a:pt x="617" y="4538"/>
                    <a:pt x="892" y="4538"/>
                  </a:cubicBezTo>
                  <a:cubicBezTo>
                    <a:pt x="1024" y="4538"/>
                    <a:pt x="1160" y="4500"/>
                    <a:pt x="1293" y="4418"/>
                  </a:cubicBezTo>
                  <a:lnTo>
                    <a:pt x="4727" y="2055"/>
                  </a:lnTo>
                  <a:cubicBezTo>
                    <a:pt x="5073" y="3441"/>
                    <a:pt x="5231" y="3851"/>
                    <a:pt x="5987" y="4985"/>
                  </a:cubicBezTo>
                  <a:lnTo>
                    <a:pt x="4033" y="6812"/>
                  </a:lnTo>
                  <a:cubicBezTo>
                    <a:pt x="3750" y="7096"/>
                    <a:pt x="3655" y="7505"/>
                    <a:pt x="3876" y="7852"/>
                  </a:cubicBezTo>
                  <a:lnTo>
                    <a:pt x="5703" y="10750"/>
                  </a:lnTo>
                  <a:cubicBezTo>
                    <a:pt x="5873" y="11026"/>
                    <a:pt x="6141" y="11187"/>
                    <a:pt x="6433" y="11187"/>
                  </a:cubicBezTo>
                  <a:cubicBezTo>
                    <a:pt x="6576" y="11187"/>
                    <a:pt x="6724" y="11148"/>
                    <a:pt x="6869" y="11066"/>
                  </a:cubicBezTo>
                  <a:cubicBezTo>
                    <a:pt x="7247" y="10845"/>
                    <a:pt x="7373" y="10372"/>
                    <a:pt x="7121" y="9931"/>
                  </a:cubicBezTo>
                  <a:lnTo>
                    <a:pt x="5640" y="7568"/>
                  </a:lnTo>
                  <a:lnTo>
                    <a:pt x="7594" y="5678"/>
                  </a:lnTo>
                  <a:lnTo>
                    <a:pt x="12886" y="2780"/>
                  </a:lnTo>
                  <a:cubicBezTo>
                    <a:pt x="13264" y="2591"/>
                    <a:pt x="13422" y="2055"/>
                    <a:pt x="13233" y="1677"/>
                  </a:cubicBezTo>
                  <a:cubicBezTo>
                    <a:pt x="13102" y="1394"/>
                    <a:pt x="12822" y="1217"/>
                    <a:pt x="12526" y="1217"/>
                  </a:cubicBezTo>
                  <a:cubicBezTo>
                    <a:pt x="12393" y="1217"/>
                    <a:pt x="12257" y="1252"/>
                    <a:pt x="12130" y="1331"/>
                  </a:cubicBezTo>
                  <a:lnTo>
                    <a:pt x="7342" y="4008"/>
                  </a:lnTo>
                  <a:cubicBezTo>
                    <a:pt x="6774" y="3158"/>
                    <a:pt x="6302" y="2307"/>
                    <a:pt x="6302" y="889"/>
                  </a:cubicBezTo>
                  <a:cubicBezTo>
                    <a:pt x="6270" y="574"/>
                    <a:pt x="6239" y="322"/>
                    <a:pt x="6018" y="165"/>
                  </a:cubicBezTo>
                  <a:cubicBezTo>
                    <a:pt x="5893" y="58"/>
                    <a:pt x="5707" y="1"/>
                    <a:pt x="55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2" name="Google Shape;8252;p74"/>
            <p:cNvSpPr/>
            <p:nvPr/>
          </p:nvSpPr>
          <p:spPr>
            <a:xfrm>
              <a:off x="-9947450" y="3657100"/>
              <a:ext cx="106350" cy="50650"/>
            </a:xfrm>
            <a:custGeom>
              <a:avLst/>
              <a:gdLst/>
              <a:ahLst/>
              <a:cxnLst/>
              <a:rect l="l" t="t" r="r" b="b"/>
              <a:pathLst>
                <a:path w="4254" h="2026" extrusionOk="0">
                  <a:moveTo>
                    <a:pt x="910" y="0"/>
                  </a:moveTo>
                  <a:cubicBezTo>
                    <a:pt x="499" y="0"/>
                    <a:pt x="178" y="268"/>
                    <a:pt x="64" y="639"/>
                  </a:cubicBezTo>
                  <a:cubicBezTo>
                    <a:pt x="1" y="1112"/>
                    <a:pt x="253" y="1553"/>
                    <a:pt x="694" y="1616"/>
                  </a:cubicBezTo>
                  <a:lnTo>
                    <a:pt x="2427" y="2025"/>
                  </a:lnTo>
                  <a:lnTo>
                    <a:pt x="4254" y="891"/>
                  </a:lnTo>
                  <a:lnTo>
                    <a:pt x="1041" y="9"/>
                  </a:lnTo>
                  <a:cubicBezTo>
                    <a:pt x="996" y="3"/>
                    <a:pt x="953" y="0"/>
                    <a:pt x="9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3" name="Google Shape;8253;p74"/>
          <p:cNvGrpSpPr/>
          <p:nvPr/>
        </p:nvGrpSpPr>
        <p:grpSpPr>
          <a:xfrm>
            <a:off x="7950093" y="2738451"/>
            <a:ext cx="360175" cy="358423"/>
            <a:chOff x="-9961625" y="4048175"/>
            <a:chExt cx="357600" cy="355825"/>
          </a:xfrm>
        </p:grpSpPr>
        <p:sp>
          <p:nvSpPr>
            <p:cNvPr id="8254" name="Google Shape;8254;p74"/>
            <p:cNvSpPr/>
            <p:nvPr/>
          </p:nvSpPr>
          <p:spPr>
            <a:xfrm>
              <a:off x="-9958475" y="4048175"/>
              <a:ext cx="64625" cy="62650"/>
            </a:xfrm>
            <a:custGeom>
              <a:avLst/>
              <a:gdLst/>
              <a:ahLst/>
              <a:cxnLst/>
              <a:rect l="l" t="t" r="r" b="b"/>
              <a:pathLst>
                <a:path w="2585" h="2506" extrusionOk="0">
                  <a:moveTo>
                    <a:pt x="442" y="0"/>
                  </a:moveTo>
                  <a:cubicBezTo>
                    <a:pt x="339" y="0"/>
                    <a:pt x="237" y="40"/>
                    <a:pt x="158" y="119"/>
                  </a:cubicBezTo>
                  <a:cubicBezTo>
                    <a:pt x="1" y="339"/>
                    <a:pt x="1" y="560"/>
                    <a:pt x="158" y="717"/>
                  </a:cubicBezTo>
                  <a:lnTo>
                    <a:pt x="1828" y="2387"/>
                  </a:lnTo>
                  <a:cubicBezTo>
                    <a:pt x="1923" y="2466"/>
                    <a:pt x="2033" y="2505"/>
                    <a:pt x="2139" y="2505"/>
                  </a:cubicBezTo>
                  <a:cubicBezTo>
                    <a:pt x="2246" y="2505"/>
                    <a:pt x="2348" y="2466"/>
                    <a:pt x="2427" y="2387"/>
                  </a:cubicBezTo>
                  <a:cubicBezTo>
                    <a:pt x="2584" y="2229"/>
                    <a:pt x="2584" y="1946"/>
                    <a:pt x="2427" y="1788"/>
                  </a:cubicBezTo>
                  <a:lnTo>
                    <a:pt x="725" y="119"/>
                  </a:lnTo>
                  <a:cubicBezTo>
                    <a:pt x="647" y="40"/>
                    <a:pt x="544"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5" name="Google Shape;8255;p74"/>
            <p:cNvSpPr/>
            <p:nvPr/>
          </p:nvSpPr>
          <p:spPr>
            <a:xfrm>
              <a:off x="-9873400" y="4048775"/>
              <a:ext cx="21275" cy="63025"/>
            </a:xfrm>
            <a:custGeom>
              <a:avLst/>
              <a:gdLst/>
              <a:ahLst/>
              <a:cxnLst/>
              <a:rect l="l" t="t" r="r" b="b"/>
              <a:pathLst>
                <a:path w="851" h="2521" extrusionOk="0">
                  <a:moveTo>
                    <a:pt x="410" y="0"/>
                  </a:moveTo>
                  <a:cubicBezTo>
                    <a:pt x="189" y="0"/>
                    <a:pt x="0" y="189"/>
                    <a:pt x="0" y="410"/>
                  </a:cubicBezTo>
                  <a:lnTo>
                    <a:pt x="0" y="2079"/>
                  </a:lnTo>
                  <a:cubicBezTo>
                    <a:pt x="0" y="2300"/>
                    <a:pt x="221" y="2520"/>
                    <a:pt x="410" y="2520"/>
                  </a:cubicBezTo>
                  <a:cubicBezTo>
                    <a:pt x="630" y="2520"/>
                    <a:pt x="851" y="2300"/>
                    <a:pt x="851" y="2079"/>
                  </a:cubicBezTo>
                  <a:lnTo>
                    <a:pt x="851" y="410"/>
                  </a:lnTo>
                  <a:cubicBezTo>
                    <a:pt x="851"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6" name="Google Shape;8256;p74"/>
            <p:cNvSpPr/>
            <p:nvPr/>
          </p:nvSpPr>
          <p:spPr>
            <a:xfrm>
              <a:off x="-9957675" y="4133050"/>
              <a:ext cx="63025" cy="19700"/>
            </a:xfrm>
            <a:custGeom>
              <a:avLst/>
              <a:gdLst/>
              <a:ahLst/>
              <a:cxnLst/>
              <a:rect l="l" t="t" r="r" b="b"/>
              <a:pathLst>
                <a:path w="2521" h="788" extrusionOk="0">
                  <a:moveTo>
                    <a:pt x="441" y="0"/>
                  </a:moveTo>
                  <a:cubicBezTo>
                    <a:pt x="189" y="0"/>
                    <a:pt x="0" y="189"/>
                    <a:pt x="0" y="410"/>
                  </a:cubicBezTo>
                  <a:cubicBezTo>
                    <a:pt x="0" y="599"/>
                    <a:pt x="189" y="788"/>
                    <a:pt x="441" y="788"/>
                  </a:cubicBezTo>
                  <a:lnTo>
                    <a:pt x="2111" y="788"/>
                  </a:lnTo>
                  <a:cubicBezTo>
                    <a:pt x="2363" y="788"/>
                    <a:pt x="2521" y="599"/>
                    <a:pt x="2521" y="410"/>
                  </a:cubicBezTo>
                  <a:cubicBezTo>
                    <a:pt x="2521" y="158"/>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74"/>
            <p:cNvSpPr/>
            <p:nvPr/>
          </p:nvSpPr>
          <p:spPr>
            <a:xfrm>
              <a:off x="-9961625" y="4132250"/>
              <a:ext cx="253650" cy="271750"/>
            </a:xfrm>
            <a:custGeom>
              <a:avLst/>
              <a:gdLst/>
              <a:ahLst/>
              <a:cxnLst/>
              <a:rect l="l" t="t" r="r" b="b"/>
              <a:pathLst>
                <a:path w="10146" h="10870" extrusionOk="0">
                  <a:moveTo>
                    <a:pt x="5357" y="1"/>
                  </a:moveTo>
                  <a:cubicBezTo>
                    <a:pt x="5010" y="1"/>
                    <a:pt x="4727" y="253"/>
                    <a:pt x="4727" y="631"/>
                  </a:cubicBezTo>
                  <a:lnTo>
                    <a:pt x="4727" y="5388"/>
                  </a:lnTo>
                  <a:cubicBezTo>
                    <a:pt x="4727" y="5640"/>
                    <a:pt x="4537" y="5797"/>
                    <a:pt x="4317" y="5797"/>
                  </a:cubicBezTo>
                  <a:cubicBezTo>
                    <a:pt x="4128" y="5797"/>
                    <a:pt x="3907" y="5577"/>
                    <a:pt x="3907" y="5388"/>
                  </a:cubicBezTo>
                  <a:lnTo>
                    <a:pt x="3907" y="1450"/>
                  </a:lnTo>
                  <a:cubicBezTo>
                    <a:pt x="3907" y="1103"/>
                    <a:pt x="3624" y="820"/>
                    <a:pt x="3277" y="820"/>
                  </a:cubicBezTo>
                  <a:cubicBezTo>
                    <a:pt x="2931" y="820"/>
                    <a:pt x="2647" y="1103"/>
                    <a:pt x="2647" y="1450"/>
                  </a:cubicBezTo>
                  <a:lnTo>
                    <a:pt x="2647" y="7940"/>
                  </a:lnTo>
                  <a:lnTo>
                    <a:pt x="1576" y="6900"/>
                  </a:lnTo>
                  <a:cubicBezTo>
                    <a:pt x="1416" y="6740"/>
                    <a:pt x="1176" y="6640"/>
                    <a:pt x="935" y="6640"/>
                  </a:cubicBezTo>
                  <a:cubicBezTo>
                    <a:pt x="748" y="6640"/>
                    <a:pt x="561" y="6700"/>
                    <a:pt x="410" y="6837"/>
                  </a:cubicBezTo>
                  <a:cubicBezTo>
                    <a:pt x="95" y="7121"/>
                    <a:pt x="1" y="7625"/>
                    <a:pt x="284" y="7971"/>
                  </a:cubicBezTo>
                  <a:lnTo>
                    <a:pt x="1734" y="10208"/>
                  </a:lnTo>
                  <a:cubicBezTo>
                    <a:pt x="2049" y="10618"/>
                    <a:pt x="2521" y="10870"/>
                    <a:pt x="3088" y="10870"/>
                  </a:cubicBezTo>
                  <a:lnTo>
                    <a:pt x="8035" y="10870"/>
                  </a:lnTo>
                  <a:cubicBezTo>
                    <a:pt x="9169" y="10870"/>
                    <a:pt x="10114" y="9925"/>
                    <a:pt x="10114" y="8759"/>
                  </a:cubicBezTo>
                  <a:lnTo>
                    <a:pt x="10114" y="4002"/>
                  </a:lnTo>
                  <a:cubicBezTo>
                    <a:pt x="10145" y="3592"/>
                    <a:pt x="9893" y="3309"/>
                    <a:pt x="9515" y="3309"/>
                  </a:cubicBezTo>
                  <a:cubicBezTo>
                    <a:pt x="9169" y="3309"/>
                    <a:pt x="8885" y="3592"/>
                    <a:pt x="8885" y="3939"/>
                  </a:cubicBezTo>
                  <a:lnTo>
                    <a:pt x="8885" y="5388"/>
                  </a:lnTo>
                  <a:cubicBezTo>
                    <a:pt x="8885" y="5640"/>
                    <a:pt x="8696" y="5797"/>
                    <a:pt x="8507" y="5797"/>
                  </a:cubicBezTo>
                  <a:cubicBezTo>
                    <a:pt x="8255" y="5797"/>
                    <a:pt x="8066" y="5577"/>
                    <a:pt x="8066" y="5388"/>
                  </a:cubicBezTo>
                  <a:lnTo>
                    <a:pt x="8066" y="1450"/>
                  </a:lnTo>
                  <a:cubicBezTo>
                    <a:pt x="8066" y="1103"/>
                    <a:pt x="7782" y="820"/>
                    <a:pt x="7436" y="820"/>
                  </a:cubicBezTo>
                  <a:cubicBezTo>
                    <a:pt x="7089" y="820"/>
                    <a:pt x="6806" y="1103"/>
                    <a:pt x="6806" y="1450"/>
                  </a:cubicBezTo>
                  <a:lnTo>
                    <a:pt x="6806" y="5388"/>
                  </a:lnTo>
                  <a:cubicBezTo>
                    <a:pt x="6806" y="5640"/>
                    <a:pt x="6617" y="5797"/>
                    <a:pt x="6428" y="5797"/>
                  </a:cubicBezTo>
                  <a:cubicBezTo>
                    <a:pt x="6176" y="5797"/>
                    <a:pt x="5987" y="5577"/>
                    <a:pt x="5987" y="5388"/>
                  </a:cubicBezTo>
                  <a:lnTo>
                    <a:pt x="5987" y="631"/>
                  </a:lnTo>
                  <a:cubicBezTo>
                    <a:pt x="5987" y="284"/>
                    <a:pt x="570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74"/>
            <p:cNvSpPr/>
            <p:nvPr/>
          </p:nvSpPr>
          <p:spPr>
            <a:xfrm>
              <a:off x="-9791500" y="4069250"/>
              <a:ext cx="31550" cy="66175"/>
            </a:xfrm>
            <a:custGeom>
              <a:avLst/>
              <a:gdLst/>
              <a:ahLst/>
              <a:cxnLst/>
              <a:rect l="l" t="t" r="r" b="b"/>
              <a:pathLst>
                <a:path w="1262" h="2647" extrusionOk="0">
                  <a:moveTo>
                    <a:pt x="631" y="0"/>
                  </a:moveTo>
                  <a:cubicBezTo>
                    <a:pt x="284" y="0"/>
                    <a:pt x="1" y="252"/>
                    <a:pt x="1" y="630"/>
                  </a:cubicBezTo>
                  <a:lnTo>
                    <a:pt x="1" y="2647"/>
                  </a:lnTo>
                  <a:cubicBezTo>
                    <a:pt x="190" y="2552"/>
                    <a:pt x="410" y="2489"/>
                    <a:pt x="631" y="2489"/>
                  </a:cubicBezTo>
                  <a:cubicBezTo>
                    <a:pt x="883" y="2521"/>
                    <a:pt x="1072" y="2552"/>
                    <a:pt x="1261" y="2647"/>
                  </a:cubicBezTo>
                  <a:lnTo>
                    <a:pt x="1261" y="630"/>
                  </a:lnTo>
                  <a:cubicBezTo>
                    <a:pt x="1261" y="284"/>
                    <a:pt x="97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4"/>
            <p:cNvSpPr/>
            <p:nvPr/>
          </p:nvSpPr>
          <p:spPr>
            <a:xfrm>
              <a:off x="-9740300" y="4049550"/>
              <a:ext cx="136275" cy="268600"/>
            </a:xfrm>
            <a:custGeom>
              <a:avLst/>
              <a:gdLst/>
              <a:ahLst/>
              <a:cxnLst/>
              <a:rect l="l" t="t" r="r" b="b"/>
              <a:pathLst>
                <a:path w="5451" h="10744" extrusionOk="0">
                  <a:moveTo>
                    <a:pt x="631" y="1"/>
                  </a:moveTo>
                  <a:cubicBezTo>
                    <a:pt x="284" y="1"/>
                    <a:pt x="1" y="253"/>
                    <a:pt x="1" y="631"/>
                  </a:cubicBezTo>
                  <a:lnTo>
                    <a:pt x="1" y="5955"/>
                  </a:lnTo>
                  <a:cubicBezTo>
                    <a:pt x="190" y="5860"/>
                    <a:pt x="410" y="5797"/>
                    <a:pt x="631" y="5797"/>
                  </a:cubicBezTo>
                  <a:cubicBezTo>
                    <a:pt x="1418" y="5797"/>
                    <a:pt x="2080" y="6428"/>
                    <a:pt x="2080" y="7247"/>
                  </a:cubicBezTo>
                  <a:lnTo>
                    <a:pt x="2080" y="10744"/>
                  </a:lnTo>
                  <a:lnTo>
                    <a:pt x="3309" y="10744"/>
                  </a:lnTo>
                  <a:cubicBezTo>
                    <a:pt x="4443" y="10744"/>
                    <a:pt x="5388" y="9799"/>
                    <a:pt x="5388" y="8664"/>
                  </a:cubicBezTo>
                  <a:lnTo>
                    <a:pt x="5388" y="3876"/>
                  </a:lnTo>
                  <a:cubicBezTo>
                    <a:pt x="5451" y="3592"/>
                    <a:pt x="5167" y="3309"/>
                    <a:pt x="4821" y="3309"/>
                  </a:cubicBezTo>
                  <a:cubicBezTo>
                    <a:pt x="4443" y="3309"/>
                    <a:pt x="4191" y="3592"/>
                    <a:pt x="4191" y="3939"/>
                  </a:cubicBezTo>
                  <a:lnTo>
                    <a:pt x="4191" y="5388"/>
                  </a:lnTo>
                  <a:cubicBezTo>
                    <a:pt x="4191" y="5640"/>
                    <a:pt x="3970" y="5797"/>
                    <a:pt x="3781" y="5797"/>
                  </a:cubicBezTo>
                  <a:cubicBezTo>
                    <a:pt x="3561" y="5797"/>
                    <a:pt x="3340" y="5577"/>
                    <a:pt x="3340" y="5388"/>
                  </a:cubicBezTo>
                  <a:lnTo>
                    <a:pt x="3340" y="1450"/>
                  </a:lnTo>
                  <a:cubicBezTo>
                    <a:pt x="3340" y="1103"/>
                    <a:pt x="3088" y="820"/>
                    <a:pt x="2710" y="820"/>
                  </a:cubicBezTo>
                  <a:cubicBezTo>
                    <a:pt x="2364" y="820"/>
                    <a:pt x="2080" y="1103"/>
                    <a:pt x="2080" y="1450"/>
                  </a:cubicBezTo>
                  <a:lnTo>
                    <a:pt x="2080" y="5388"/>
                  </a:lnTo>
                  <a:cubicBezTo>
                    <a:pt x="2080" y="5640"/>
                    <a:pt x="1891" y="5797"/>
                    <a:pt x="1702" y="5797"/>
                  </a:cubicBezTo>
                  <a:cubicBezTo>
                    <a:pt x="1450" y="5797"/>
                    <a:pt x="1261" y="5577"/>
                    <a:pt x="1261" y="5388"/>
                  </a:cubicBezTo>
                  <a:lnTo>
                    <a:pt x="1261" y="631"/>
                  </a:lnTo>
                  <a:cubicBezTo>
                    <a:pt x="1261" y="284"/>
                    <a:pt x="97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0" name="Google Shape;8260;p74"/>
          <p:cNvGrpSpPr/>
          <p:nvPr/>
        </p:nvGrpSpPr>
        <p:grpSpPr>
          <a:xfrm>
            <a:off x="6636814" y="3213963"/>
            <a:ext cx="364959" cy="357289"/>
            <a:chOff x="-8680950" y="3624225"/>
            <a:chExt cx="362350" cy="354700"/>
          </a:xfrm>
        </p:grpSpPr>
        <p:sp>
          <p:nvSpPr>
            <p:cNvPr id="8261" name="Google Shape;8261;p74"/>
            <p:cNvSpPr/>
            <p:nvPr/>
          </p:nvSpPr>
          <p:spPr>
            <a:xfrm>
              <a:off x="-8512400" y="3686450"/>
              <a:ext cx="130775" cy="129800"/>
            </a:xfrm>
            <a:custGeom>
              <a:avLst/>
              <a:gdLst/>
              <a:ahLst/>
              <a:cxnLst/>
              <a:rect l="l" t="t" r="r" b="b"/>
              <a:pathLst>
                <a:path w="5231" h="5192" extrusionOk="0">
                  <a:moveTo>
                    <a:pt x="4065" y="1"/>
                  </a:moveTo>
                  <a:lnTo>
                    <a:pt x="158" y="3876"/>
                  </a:lnTo>
                  <a:cubicBezTo>
                    <a:pt x="1" y="4096"/>
                    <a:pt x="1" y="4317"/>
                    <a:pt x="158" y="4474"/>
                  </a:cubicBezTo>
                  <a:lnTo>
                    <a:pt x="757" y="5073"/>
                  </a:lnTo>
                  <a:cubicBezTo>
                    <a:pt x="836" y="5152"/>
                    <a:pt x="938" y="5191"/>
                    <a:pt x="1041" y="5191"/>
                  </a:cubicBezTo>
                  <a:cubicBezTo>
                    <a:pt x="1143" y="5191"/>
                    <a:pt x="1245" y="5152"/>
                    <a:pt x="1324" y="5073"/>
                  </a:cubicBezTo>
                  <a:lnTo>
                    <a:pt x="5231" y="1166"/>
                  </a:lnTo>
                  <a:lnTo>
                    <a:pt x="40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4"/>
            <p:cNvSpPr/>
            <p:nvPr/>
          </p:nvSpPr>
          <p:spPr>
            <a:xfrm>
              <a:off x="-8395825" y="3624225"/>
              <a:ext cx="77225" cy="77225"/>
            </a:xfrm>
            <a:custGeom>
              <a:avLst/>
              <a:gdLst/>
              <a:ahLst/>
              <a:cxnLst/>
              <a:rect l="l" t="t" r="r" b="b"/>
              <a:pathLst>
                <a:path w="3089" h="3089" extrusionOk="0">
                  <a:moveTo>
                    <a:pt x="1607" y="1"/>
                  </a:moveTo>
                  <a:cubicBezTo>
                    <a:pt x="1481" y="1"/>
                    <a:pt x="1355" y="64"/>
                    <a:pt x="1292" y="158"/>
                  </a:cubicBezTo>
                  <a:lnTo>
                    <a:pt x="1" y="1891"/>
                  </a:lnTo>
                  <a:lnTo>
                    <a:pt x="1198" y="3088"/>
                  </a:lnTo>
                  <a:lnTo>
                    <a:pt x="2931" y="1797"/>
                  </a:lnTo>
                  <a:cubicBezTo>
                    <a:pt x="3057" y="1734"/>
                    <a:pt x="3088" y="1608"/>
                    <a:pt x="3088" y="1482"/>
                  </a:cubicBezTo>
                  <a:lnTo>
                    <a:pt x="3088" y="442"/>
                  </a:lnTo>
                  <a:cubicBezTo>
                    <a:pt x="3057" y="190"/>
                    <a:pt x="2868"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74"/>
            <p:cNvSpPr/>
            <p:nvPr/>
          </p:nvSpPr>
          <p:spPr>
            <a:xfrm>
              <a:off x="-8676125" y="3883875"/>
              <a:ext cx="98375" cy="92925"/>
            </a:xfrm>
            <a:custGeom>
              <a:avLst/>
              <a:gdLst/>
              <a:ahLst/>
              <a:cxnLst/>
              <a:rect l="l" t="t" r="r" b="b"/>
              <a:pathLst>
                <a:path w="3935" h="3717" extrusionOk="0">
                  <a:moveTo>
                    <a:pt x="2478" y="0"/>
                  </a:moveTo>
                  <a:cubicBezTo>
                    <a:pt x="2338" y="0"/>
                    <a:pt x="2197" y="75"/>
                    <a:pt x="2108" y="201"/>
                  </a:cubicBezTo>
                  <a:lnTo>
                    <a:pt x="154" y="3130"/>
                  </a:lnTo>
                  <a:cubicBezTo>
                    <a:pt x="0" y="3413"/>
                    <a:pt x="244" y="3717"/>
                    <a:pt x="527" y="3717"/>
                  </a:cubicBezTo>
                  <a:cubicBezTo>
                    <a:pt x="591" y="3717"/>
                    <a:pt x="657" y="3701"/>
                    <a:pt x="721" y="3666"/>
                  </a:cubicBezTo>
                  <a:lnTo>
                    <a:pt x="3620" y="1744"/>
                  </a:lnTo>
                  <a:cubicBezTo>
                    <a:pt x="3903" y="1618"/>
                    <a:pt x="3935" y="1303"/>
                    <a:pt x="3746" y="1114"/>
                  </a:cubicBezTo>
                  <a:lnTo>
                    <a:pt x="2769" y="138"/>
                  </a:lnTo>
                  <a:cubicBezTo>
                    <a:pt x="2688" y="43"/>
                    <a:pt x="2583" y="0"/>
                    <a:pt x="24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74"/>
            <p:cNvSpPr/>
            <p:nvPr/>
          </p:nvSpPr>
          <p:spPr>
            <a:xfrm>
              <a:off x="-8680950" y="3708850"/>
              <a:ext cx="282800" cy="270075"/>
            </a:xfrm>
            <a:custGeom>
              <a:avLst/>
              <a:gdLst/>
              <a:ahLst/>
              <a:cxnLst/>
              <a:rect l="l" t="t" r="r" b="b"/>
              <a:pathLst>
                <a:path w="11312" h="10803" extrusionOk="0">
                  <a:moveTo>
                    <a:pt x="4337" y="4327"/>
                  </a:moveTo>
                  <a:cubicBezTo>
                    <a:pt x="4656" y="4327"/>
                    <a:pt x="4979" y="4445"/>
                    <a:pt x="5231" y="4681"/>
                  </a:cubicBezTo>
                  <a:cubicBezTo>
                    <a:pt x="5388" y="4839"/>
                    <a:pt x="5388" y="5122"/>
                    <a:pt x="5231" y="5280"/>
                  </a:cubicBezTo>
                  <a:cubicBezTo>
                    <a:pt x="5152" y="5359"/>
                    <a:pt x="5050" y="5398"/>
                    <a:pt x="4947" y="5398"/>
                  </a:cubicBezTo>
                  <a:cubicBezTo>
                    <a:pt x="4845" y="5398"/>
                    <a:pt x="4742" y="5359"/>
                    <a:pt x="4664" y="5280"/>
                  </a:cubicBezTo>
                  <a:cubicBezTo>
                    <a:pt x="4585" y="5201"/>
                    <a:pt x="4475" y="5162"/>
                    <a:pt x="4364" y="5162"/>
                  </a:cubicBezTo>
                  <a:cubicBezTo>
                    <a:pt x="4254" y="5162"/>
                    <a:pt x="4144" y="5201"/>
                    <a:pt x="4065" y="5280"/>
                  </a:cubicBezTo>
                  <a:cubicBezTo>
                    <a:pt x="3829" y="5516"/>
                    <a:pt x="3514" y="5634"/>
                    <a:pt x="3195" y="5634"/>
                  </a:cubicBezTo>
                  <a:cubicBezTo>
                    <a:pt x="2876" y="5634"/>
                    <a:pt x="2553" y="5516"/>
                    <a:pt x="2301" y="5280"/>
                  </a:cubicBezTo>
                  <a:cubicBezTo>
                    <a:pt x="2143" y="5122"/>
                    <a:pt x="2143" y="4839"/>
                    <a:pt x="2301" y="4681"/>
                  </a:cubicBezTo>
                  <a:cubicBezTo>
                    <a:pt x="2379" y="4602"/>
                    <a:pt x="2482" y="4563"/>
                    <a:pt x="2584" y="4563"/>
                  </a:cubicBezTo>
                  <a:cubicBezTo>
                    <a:pt x="2687" y="4563"/>
                    <a:pt x="2789" y="4602"/>
                    <a:pt x="2868" y="4681"/>
                  </a:cubicBezTo>
                  <a:cubicBezTo>
                    <a:pt x="2947" y="4760"/>
                    <a:pt x="3057" y="4799"/>
                    <a:pt x="3167" y="4799"/>
                  </a:cubicBezTo>
                  <a:cubicBezTo>
                    <a:pt x="3277" y="4799"/>
                    <a:pt x="3388" y="4760"/>
                    <a:pt x="3466" y="4681"/>
                  </a:cubicBezTo>
                  <a:cubicBezTo>
                    <a:pt x="3703" y="4445"/>
                    <a:pt x="4018" y="4327"/>
                    <a:pt x="4337" y="4327"/>
                  </a:cubicBezTo>
                  <a:close/>
                  <a:moveTo>
                    <a:pt x="6097" y="5697"/>
                  </a:moveTo>
                  <a:cubicBezTo>
                    <a:pt x="6207" y="5697"/>
                    <a:pt x="6318" y="5737"/>
                    <a:pt x="6396" y="5815"/>
                  </a:cubicBezTo>
                  <a:cubicBezTo>
                    <a:pt x="6869" y="6288"/>
                    <a:pt x="6869" y="7076"/>
                    <a:pt x="6396" y="7611"/>
                  </a:cubicBezTo>
                  <a:cubicBezTo>
                    <a:pt x="6239" y="7769"/>
                    <a:pt x="6239" y="8021"/>
                    <a:pt x="6396" y="8178"/>
                  </a:cubicBezTo>
                  <a:cubicBezTo>
                    <a:pt x="6554" y="8336"/>
                    <a:pt x="6554" y="8619"/>
                    <a:pt x="6396" y="8777"/>
                  </a:cubicBezTo>
                  <a:cubicBezTo>
                    <a:pt x="6318" y="8856"/>
                    <a:pt x="6207" y="8895"/>
                    <a:pt x="6097" y="8895"/>
                  </a:cubicBezTo>
                  <a:cubicBezTo>
                    <a:pt x="5987" y="8895"/>
                    <a:pt x="5877" y="8856"/>
                    <a:pt x="5798" y="8777"/>
                  </a:cubicBezTo>
                  <a:cubicBezTo>
                    <a:pt x="5325" y="8304"/>
                    <a:pt x="5325" y="7517"/>
                    <a:pt x="5798" y="7013"/>
                  </a:cubicBezTo>
                  <a:cubicBezTo>
                    <a:pt x="5955" y="6855"/>
                    <a:pt x="5955" y="6571"/>
                    <a:pt x="5798" y="6414"/>
                  </a:cubicBezTo>
                  <a:cubicBezTo>
                    <a:pt x="5640" y="6256"/>
                    <a:pt x="5640" y="5973"/>
                    <a:pt x="5798" y="5815"/>
                  </a:cubicBezTo>
                  <a:cubicBezTo>
                    <a:pt x="5877" y="5737"/>
                    <a:pt x="5987" y="5697"/>
                    <a:pt x="6097" y="5697"/>
                  </a:cubicBezTo>
                  <a:close/>
                  <a:moveTo>
                    <a:pt x="6968" y="1"/>
                  </a:moveTo>
                  <a:cubicBezTo>
                    <a:pt x="6230" y="1"/>
                    <a:pt x="5491" y="269"/>
                    <a:pt x="4916" y="806"/>
                  </a:cubicBezTo>
                  <a:lnTo>
                    <a:pt x="4286" y="1468"/>
                  </a:lnTo>
                  <a:cubicBezTo>
                    <a:pt x="4191" y="1562"/>
                    <a:pt x="4128" y="1783"/>
                    <a:pt x="4222" y="1909"/>
                  </a:cubicBezTo>
                  <a:cubicBezTo>
                    <a:pt x="4380" y="2255"/>
                    <a:pt x="4286" y="2633"/>
                    <a:pt x="4065" y="2854"/>
                  </a:cubicBezTo>
                  <a:cubicBezTo>
                    <a:pt x="3892" y="3027"/>
                    <a:pt x="3643" y="3124"/>
                    <a:pt x="3401" y="3124"/>
                  </a:cubicBezTo>
                  <a:cubicBezTo>
                    <a:pt x="3203" y="3124"/>
                    <a:pt x="3010" y="3059"/>
                    <a:pt x="2868" y="2917"/>
                  </a:cubicBezTo>
                  <a:lnTo>
                    <a:pt x="2616" y="2633"/>
                  </a:lnTo>
                  <a:cubicBezTo>
                    <a:pt x="2537" y="2555"/>
                    <a:pt x="2427" y="2515"/>
                    <a:pt x="2316" y="2515"/>
                  </a:cubicBezTo>
                  <a:cubicBezTo>
                    <a:pt x="2206" y="2515"/>
                    <a:pt x="2096" y="2555"/>
                    <a:pt x="2017" y="2633"/>
                  </a:cubicBezTo>
                  <a:lnTo>
                    <a:pt x="1419" y="3232"/>
                  </a:lnTo>
                  <a:cubicBezTo>
                    <a:pt x="158" y="4492"/>
                    <a:pt x="1" y="6445"/>
                    <a:pt x="946" y="7895"/>
                  </a:cubicBezTo>
                  <a:lnTo>
                    <a:pt x="1608" y="6792"/>
                  </a:lnTo>
                  <a:cubicBezTo>
                    <a:pt x="1765" y="6477"/>
                    <a:pt x="2143" y="6256"/>
                    <a:pt x="2521" y="6225"/>
                  </a:cubicBezTo>
                  <a:cubicBezTo>
                    <a:pt x="2590" y="6214"/>
                    <a:pt x="2659" y="6209"/>
                    <a:pt x="2726" y="6209"/>
                  </a:cubicBezTo>
                  <a:cubicBezTo>
                    <a:pt x="3056" y="6209"/>
                    <a:pt x="3357" y="6336"/>
                    <a:pt x="3592" y="6571"/>
                  </a:cubicBezTo>
                  <a:lnTo>
                    <a:pt x="4569" y="7548"/>
                  </a:lnTo>
                  <a:cubicBezTo>
                    <a:pt x="4853" y="7832"/>
                    <a:pt x="4979" y="8210"/>
                    <a:pt x="4916" y="8619"/>
                  </a:cubicBezTo>
                  <a:cubicBezTo>
                    <a:pt x="4884" y="8997"/>
                    <a:pt x="4601" y="9312"/>
                    <a:pt x="4286" y="9533"/>
                  </a:cubicBezTo>
                  <a:lnTo>
                    <a:pt x="3246" y="10195"/>
                  </a:lnTo>
                  <a:cubicBezTo>
                    <a:pt x="3867" y="10600"/>
                    <a:pt x="4575" y="10802"/>
                    <a:pt x="5283" y="10802"/>
                  </a:cubicBezTo>
                  <a:cubicBezTo>
                    <a:pt x="6227" y="10802"/>
                    <a:pt x="7170" y="10442"/>
                    <a:pt x="7909" y="9722"/>
                  </a:cubicBezTo>
                  <a:lnTo>
                    <a:pt x="8507" y="9123"/>
                  </a:lnTo>
                  <a:cubicBezTo>
                    <a:pt x="8665" y="8966"/>
                    <a:pt x="8665" y="8682"/>
                    <a:pt x="8507" y="8525"/>
                  </a:cubicBezTo>
                  <a:lnTo>
                    <a:pt x="8224" y="8273"/>
                  </a:lnTo>
                  <a:cubicBezTo>
                    <a:pt x="7909" y="7958"/>
                    <a:pt x="7972" y="7391"/>
                    <a:pt x="8287" y="7076"/>
                  </a:cubicBezTo>
                  <a:cubicBezTo>
                    <a:pt x="8432" y="6930"/>
                    <a:pt x="8659" y="6840"/>
                    <a:pt x="8887" y="6840"/>
                  </a:cubicBezTo>
                  <a:cubicBezTo>
                    <a:pt x="9005" y="6840"/>
                    <a:pt x="9124" y="6864"/>
                    <a:pt x="9232" y="6918"/>
                  </a:cubicBezTo>
                  <a:cubicBezTo>
                    <a:pt x="9294" y="6955"/>
                    <a:pt x="9361" y="6973"/>
                    <a:pt x="9427" y="6973"/>
                  </a:cubicBezTo>
                  <a:cubicBezTo>
                    <a:pt x="9529" y="6973"/>
                    <a:pt x="9628" y="6931"/>
                    <a:pt x="9704" y="6855"/>
                  </a:cubicBezTo>
                  <a:lnTo>
                    <a:pt x="10334" y="6225"/>
                  </a:lnTo>
                  <a:cubicBezTo>
                    <a:pt x="11154" y="5185"/>
                    <a:pt x="11311" y="3831"/>
                    <a:pt x="10713" y="2696"/>
                  </a:cubicBezTo>
                  <a:lnTo>
                    <a:pt x="10713" y="2696"/>
                  </a:lnTo>
                  <a:lnTo>
                    <a:pt x="8665" y="4744"/>
                  </a:lnTo>
                  <a:cubicBezTo>
                    <a:pt x="8428" y="4980"/>
                    <a:pt x="8113" y="5099"/>
                    <a:pt x="7794" y="5099"/>
                  </a:cubicBezTo>
                  <a:cubicBezTo>
                    <a:pt x="7475" y="5099"/>
                    <a:pt x="7152" y="4980"/>
                    <a:pt x="6900" y="4744"/>
                  </a:cubicBezTo>
                  <a:lnTo>
                    <a:pt x="6302" y="4177"/>
                  </a:lnTo>
                  <a:cubicBezTo>
                    <a:pt x="5829" y="3705"/>
                    <a:pt x="5829" y="2917"/>
                    <a:pt x="6302" y="2381"/>
                  </a:cubicBezTo>
                  <a:lnTo>
                    <a:pt x="8350" y="334"/>
                  </a:lnTo>
                  <a:cubicBezTo>
                    <a:pt x="7918" y="112"/>
                    <a:pt x="7443" y="1"/>
                    <a:pt x="69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74"/>
            <p:cNvSpPr/>
            <p:nvPr/>
          </p:nvSpPr>
          <p:spPr>
            <a:xfrm>
              <a:off x="-8440725" y="3857375"/>
              <a:ext cx="117400" cy="86450"/>
            </a:xfrm>
            <a:custGeom>
              <a:avLst/>
              <a:gdLst/>
              <a:ahLst/>
              <a:cxnLst/>
              <a:rect l="l" t="t" r="r" b="b"/>
              <a:pathLst>
                <a:path w="4696" h="3458" extrusionOk="0">
                  <a:moveTo>
                    <a:pt x="1765" y="0"/>
                  </a:moveTo>
                  <a:cubicBezTo>
                    <a:pt x="1608" y="284"/>
                    <a:pt x="1419" y="567"/>
                    <a:pt x="1198" y="788"/>
                  </a:cubicBezTo>
                  <a:lnTo>
                    <a:pt x="568" y="1418"/>
                  </a:lnTo>
                  <a:cubicBezTo>
                    <a:pt x="410" y="1576"/>
                    <a:pt x="190" y="1702"/>
                    <a:pt x="1" y="1733"/>
                  </a:cubicBezTo>
                  <a:lnTo>
                    <a:pt x="442" y="2174"/>
                  </a:lnTo>
                  <a:cubicBezTo>
                    <a:pt x="830" y="2563"/>
                    <a:pt x="1382" y="2767"/>
                    <a:pt x="1930" y="2767"/>
                  </a:cubicBezTo>
                  <a:cubicBezTo>
                    <a:pt x="2316" y="2767"/>
                    <a:pt x="2700" y="2666"/>
                    <a:pt x="3025" y="2458"/>
                  </a:cubicBezTo>
                  <a:lnTo>
                    <a:pt x="3939" y="3340"/>
                  </a:lnTo>
                  <a:cubicBezTo>
                    <a:pt x="4018" y="3419"/>
                    <a:pt x="4128" y="3458"/>
                    <a:pt x="4238" y="3458"/>
                  </a:cubicBezTo>
                  <a:cubicBezTo>
                    <a:pt x="4349" y="3458"/>
                    <a:pt x="4459" y="3419"/>
                    <a:pt x="4538" y="3340"/>
                  </a:cubicBezTo>
                  <a:cubicBezTo>
                    <a:pt x="4695" y="3182"/>
                    <a:pt x="4695" y="2930"/>
                    <a:pt x="4538" y="2773"/>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74"/>
            <p:cNvSpPr/>
            <p:nvPr/>
          </p:nvSpPr>
          <p:spPr>
            <a:xfrm>
              <a:off x="-8638400" y="3630725"/>
              <a:ext cx="86650" cy="115625"/>
            </a:xfrm>
            <a:custGeom>
              <a:avLst/>
              <a:gdLst/>
              <a:ahLst/>
              <a:cxnLst/>
              <a:rect l="l" t="t" r="r" b="b"/>
              <a:pathLst>
                <a:path w="3466" h="4625" extrusionOk="0">
                  <a:moveTo>
                    <a:pt x="457" y="1"/>
                  </a:moveTo>
                  <a:cubicBezTo>
                    <a:pt x="347" y="1"/>
                    <a:pt x="236" y="40"/>
                    <a:pt x="158" y="119"/>
                  </a:cubicBezTo>
                  <a:cubicBezTo>
                    <a:pt x="0" y="277"/>
                    <a:pt x="0" y="560"/>
                    <a:pt x="158" y="718"/>
                  </a:cubicBezTo>
                  <a:lnTo>
                    <a:pt x="1071" y="1631"/>
                  </a:lnTo>
                  <a:cubicBezTo>
                    <a:pt x="819" y="1978"/>
                    <a:pt x="693" y="2387"/>
                    <a:pt x="693" y="2765"/>
                  </a:cubicBezTo>
                  <a:cubicBezTo>
                    <a:pt x="693" y="3269"/>
                    <a:pt x="914" y="3805"/>
                    <a:pt x="1292" y="4183"/>
                  </a:cubicBezTo>
                  <a:lnTo>
                    <a:pt x="1733" y="4624"/>
                  </a:lnTo>
                  <a:cubicBezTo>
                    <a:pt x="1764" y="4435"/>
                    <a:pt x="1890" y="4215"/>
                    <a:pt x="2048" y="4057"/>
                  </a:cubicBezTo>
                  <a:lnTo>
                    <a:pt x="2678" y="3427"/>
                  </a:lnTo>
                  <a:cubicBezTo>
                    <a:pt x="2899" y="3206"/>
                    <a:pt x="3182" y="3017"/>
                    <a:pt x="3466" y="2860"/>
                  </a:cubicBezTo>
                  <a:lnTo>
                    <a:pt x="756" y="119"/>
                  </a:lnTo>
                  <a:cubicBezTo>
                    <a:pt x="677" y="40"/>
                    <a:pt x="567"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7" name="Google Shape;8267;p74"/>
          <p:cNvGrpSpPr/>
          <p:nvPr/>
        </p:nvGrpSpPr>
        <p:grpSpPr>
          <a:xfrm>
            <a:off x="5773058" y="1379624"/>
            <a:ext cx="313365" cy="355476"/>
            <a:chOff x="-13056975" y="3212300"/>
            <a:chExt cx="311125" cy="352900"/>
          </a:xfrm>
        </p:grpSpPr>
        <p:sp>
          <p:nvSpPr>
            <p:cNvPr id="8268" name="Google Shape;8268;p74"/>
            <p:cNvSpPr/>
            <p:nvPr/>
          </p:nvSpPr>
          <p:spPr>
            <a:xfrm>
              <a:off x="-12972700" y="3273750"/>
              <a:ext cx="144950" cy="229225"/>
            </a:xfrm>
            <a:custGeom>
              <a:avLst/>
              <a:gdLst/>
              <a:ahLst/>
              <a:cxnLst/>
              <a:rect l="l" t="t" r="r" b="b"/>
              <a:pathLst>
                <a:path w="5798" h="9169" extrusionOk="0">
                  <a:moveTo>
                    <a:pt x="0" y="0"/>
                  </a:moveTo>
                  <a:lnTo>
                    <a:pt x="0" y="819"/>
                  </a:lnTo>
                  <a:lnTo>
                    <a:pt x="851" y="819"/>
                  </a:lnTo>
                  <a:lnTo>
                    <a:pt x="851" y="8538"/>
                  </a:lnTo>
                  <a:lnTo>
                    <a:pt x="788" y="8538"/>
                  </a:lnTo>
                  <a:cubicBezTo>
                    <a:pt x="1071" y="8696"/>
                    <a:pt x="1355" y="8853"/>
                    <a:pt x="1639" y="8948"/>
                  </a:cubicBezTo>
                  <a:lnTo>
                    <a:pt x="1639" y="851"/>
                  </a:lnTo>
                  <a:lnTo>
                    <a:pt x="2458" y="851"/>
                  </a:lnTo>
                  <a:lnTo>
                    <a:pt x="2458" y="9137"/>
                  </a:lnTo>
                  <a:cubicBezTo>
                    <a:pt x="2615" y="9137"/>
                    <a:pt x="2741" y="9168"/>
                    <a:pt x="2899" y="9168"/>
                  </a:cubicBezTo>
                  <a:cubicBezTo>
                    <a:pt x="3056" y="9168"/>
                    <a:pt x="3151" y="9137"/>
                    <a:pt x="3308" y="9137"/>
                  </a:cubicBezTo>
                  <a:lnTo>
                    <a:pt x="3308" y="851"/>
                  </a:lnTo>
                  <a:lnTo>
                    <a:pt x="4159" y="851"/>
                  </a:lnTo>
                  <a:lnTo>
                    <a:pt x="4159" y="8948"/>
                  </a:lnTo>
                  <a:cubicBezTo>
                    <a:pt x="4411" y="8822"/>
                    <a:pt x="4695" y="8696"/>
                    <a:pt x="4978" y="8538"/>
                  </a:cubicBezTo>
                  <a:lnTo>
                    <a:pt x="4978" y="819"/>
                  </a:lnTo>
                  <a:lnTo>
                    <a:pt x="5797" y="819"/>
                  </a:ln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74"/>
            <p:cNvSpPr/>
            <p:nvPr/>
          </p:nvSpPr>
          <p:spPr>
            <a:xfrm>
              <a:off x="-12808875" y="3212300"/>
              <a:ext cx="63025" cy="278075"/>
            </a:xfrm>
            <a:custGeom>
              <a:avLst/>
              <a:gdLst/>
              <a:ahLst/>
              <a:cxnLst/>
              <a:rect l="l" t="t" r="r" b="b"/>
              <a:pathLst>
                <a:path w="2521" h="11123" extrusionOk="0">
                  <a:moveTo>
                    <a:pt x="1261" y="1"/>
                  </a:moveTo>
                  <a:cubicBezTo>
                    <a:pt x="599" y="1"/>
                    <a:pt x="0" y="568"/>
                    <a:pt x="0" y="1230"/>
                  </a:cubicBezTo>
                  <a:lnTo>
                    <a:pt x="0" y="5514"/>
                  </a:lnTo>
                  <a:cubicBezTo>
                    <a:pt x="0" y="5672"/>
                    <a:pt x="32" y="5829"/>
                    <a:pt x="158" y="5987"/>
                  </a:cubicBezTo>
                  <a:cubicBezTo>
                    <a:pt x="536" y="6617"/>
                    <a:pt x="788" y="7310"/>
                    <a:pt x="851" y="8003"/>
                  </a:cubicBezTo>
                  <a:cubicBezTo>
                    <a:pt x="945" y="8759"/>
                    <a:pt x="756" y="9452"/>
                    <a:pt x="347" y="10114"/>
                  </a:cubicBezTo>
                  <a:lnTo>
                    <a:pt x="1607" y="11122"/>
                  </a:lnTo>
                  <a:cubicBezTo>
                    <a:pt x="2174" y="10208"/>
                    <a:pt x="2521" y="9137"/>
                    <a:pt x="2521" y="8003"/>
                  </a:cubicBezTo>
                  <a:cubicBezTo>
                    <a:pt x="2489" y="7026"/>
                    <a:pt x="2174" y="6113"/>
                    <a:pt x="1702" y="5294"/>
                  </a:cubicBezTo>
                  <a:lnTo>
                    <a:pt x="1702" y="4979"/>
                  </a:lnTo>
                  <a:lnTo>
                    <a:pt x="1702" y="2395"/>
                  </a:lnTo>
                  <a:lnTo>
                    <a:pt x="1891" y="2301"/>
                  </a:lnTo>
                  <a:cubicBezTo>
                    <a:pt x="2269" y="2049"/>
                    <a:pt x="2521" y="1671"/>
                    <a:pt x="2521" y="1230"/>
                  </a:cubicBezTo>
                  <a:cubicBezTo>
                    <a:pt x="2521" y="568"/>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74"/>
            <p:cNvSpPr/>
            <p:nvPr/>
          </p:nvSpPr>
          <p:spPr>
            <a:xfrm>
              <a:off x="-13056975" y="3212300"/>
              <a:ext cx="63025" cy="278075"/>
            </a:xfrm>
            <a:custGeom>
              <a:avLst/>
              <a:gdLst/>
              <a:ahLst/>
              <a:cxnLst/>
              <a:rect l="l" t="t" r="r" b="b"/>
              <a:pathLst>
                <a:path w="2521" h="11123" extrusionOk="0">
                  <a:moveTo>
                    <a:pt x="1260" y="1"/>
                  </a:moveTo>
                  <a:cubicBezTo>
                    <a:pt x="567" y="1"/>
                    <a:pt x="0" y="568"/>
                    <a:pt x="0" y="1230"/>
                  </a:cubicBezTo>
                  <a:cubicBezTo>
                    <a:pt x="32" y="1671"/>
                    <a:pt x="284" y="2112"/>
                    <a:pt x="662" y="2301"/>
                  </a:cubicBezTo>
                  <a:lnTo>
                    <a:pt x="851" y="2427"/>
                  </a:lnTo>
                  <a:lnTo>
                    <a:pt x="851" y="4979"/>
                  </a:lnTo>
                  <a:lnTo>
                    <a:pt x="851" y="5294"/>
                  </a:lnTo>
                  <a:cubicBezTo>
                    <a:pt x="378" y="6113"/>
                    <a:pt x="63" y="7026"/>
                    <a:pt x="32" y="8003"/>
                  </a:cubicBezTo>
                  <a:cubicBezTo>
                    <a:pt x="32" y="9137"/>
                    <a:pt x="378" y="10208"/>
                    <a:pt x="945" y="11122"/>
                  </a:cubicBezTo>
                  <a:lnTo>
                    <a:pt x="2206" y="10145"/>
                  </a:lnTo>
                  <a:cubicBezTo>
                    <a:pt x="1859" y="9515"/>
                    <a:pt x="1639" y="8791"/>
                    <a:pt x="1702" y="8035"/>
                  </a:cubicBezTo>
                  <a:lnTo>
                    <a:pt x="1702" y="8003"/>
                  </a:lnTo>
                  <a:cubicBezTo>
                    <a:pt x="1733" y="7279"/>
                    <a:pt x="1954" y="6585"/>
                    <a:pt x="2363" y="5987"/>
                  </a:cubicBezTo>
                  <a:cubicBezTo>
                    <a:pt x="2458" y="5829"/>
                    <a:pt x="2521" y="5672"/>
                    <a:pt x="2521" y="5514"/>
                  </a:cubicBezTo>
                  <a:lnTo>
                    <a:pt x="2521" y="1230"/>
                  </a:lnTo>
                  <a:cubicBezTo>
                    <a:pt x="2521" y="568"/>
                    <a:pt x="1954"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74"/>
            <p:cNvSpPr/>
            <p:nvPr/>
          </p:nvSpPr>
          <p:spPr>
            <a:xfrm>
              <a:off x="-13020750" y="3483250"/>
              <a:ext cx="240250" cy="81950"/>
            </a:xfrm>
            <a:custGeom>
              <a:avLst/>
              <a:gdLst/>
              <a:ahLst/>
              <a:cxnLst/>
              <a:rect l="l" t="t" r="r" b="b"/>
              <a:pathLst>
                <a:path w="9610" h="3278" extrusionOk="0">
                  <a:moveTo>
                    <a:pt x="1261" y="1"/>
                  </a:moveTo>
                  <a:lnTo>
                    <a:pt x="0" y="977"/>
                  </a:lnTo>
                  <a:cubicBezTo>
                    <a:pt x="1103" y="2395"/>
                    <a:pt x="2867" y="3277"/>
                    <a:pt x="4821" y="3277"/>
                  </a:cubicBezTo>
                  <a:cubicBezTo>
                    <a:pt x="6743" y="3277"/>
                    <a:pt x="8475" y="2363"/>
                    <a:pt x="9610" y="977"/>
                  </a:cubicBezTo>
                  <a:lnTo>
                    <a:pt x="8349" y="1"/>
                  </a:lnTo>
                  <a:cubicBezTo>
                    <a:pt x="7530" y="946"/>
                    <a:pt x="6270" y="1639"/>
                    <a:pt x="4821" y="1639"/>
                  </a:cubicBezTo>
                  <a:cubicBezTo>
                    <a:pt x="3466" y="1639"/>
                    <a:pt x="2143" y="1009"/>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2" name="Google Shape;8272;p74"/>
          <p:cNvGrpSpPr/>
          <p:nvPr/>
        </p:nvGrpSpPr>
        <p:grpSpPr>
          <a:xfrm>
            <a:off x="5750446" y="1820418"/>
            <a:ext cx="358588" cy="355325"/>
            <a:chOff x="-13077450" y="3647075"/>
            <a:chExt cx="356025" cy="352750"/>
          </a:xfrm>
        </p:grpSpPr>
        <p:sp>
          <p:nvSpPr>
            <p:cNvPr id="8273" name="Google Shape;8273;p74"/>
            <p:cNvSpPr/>
            <p:nvPr/>
          </p:nvSpPr>
          <p:spPr>
            <a:xfrm>
              <a:off x="-13014450" y="3708500"/>
              <a:ext cx="104000" cy="145750"/>
            </a:xfrm>
            <a:custGeom>
              <a:avLst/>
              <a:gdLst/>
              <a:ahLst/>
              <a:cxnLst/>
              <a:rect l="l" t="t" r="r" b="b"/>
              <a:pathLst>
                <a:path w="4160" h="5830" extrusionOk="0">
                  <a:moveTo>
                    <a:pt x="2899" y="820"/>
                  </a:moveTo>
                  <a:cubicBezTo>
                    <a:pt x="3151" y="820"/>
                    <a:pt x="3309" y="1041"/>
                    <a:pt x="3309" y="1261"/>
                  </a:cubicBezTo>
                  <a:cubicBezTo>
                    <a:pt x="3309" y="1513"/>
                    <a:pt x="3088" y="1671"/>
                    <a:pt x="2899" y="1671"/>
                  </a:cubicBezTo>
                  <a:lnTo>
                    <a:pt x="1198" y="1671"/>
                  </a:lnTo>
                  <a:cubicBezTo>
                    <a:pt x="977" y="1671"/>
                    <a:pt x="788" y="1482"/>
                    <a:pt x="788" y="1261"/>
                  </a:cubicBezTo>
                  <a:cubicBezTo>
                    <a:pt x="788" y="1041"/>
                    <a:pt x="977" y="820"/>
                    <a:pt x="1198" y="820"/>
                  </a:cubicBezTo>
                  <a:close/>
                  <a:moveTo>
                    <a:pt x="2899" y="2490"/>
                  </a:moveTo>
                  <a:cubicBezTo>
                    <a:pt x="3151" y="2490"/>
                    <a:pt x="3309" y="2679"/>
                    <a:pt x="3309" y="2868"/>
                  </a:cubicBezTo>
                  <a:cubicBezTo>
                    <a:pt x="3309" y="3151"/>
                    <a:pt x="3088" y="3309"/>
                    <a:pt x="2899" y="3309"/>
                  </a:cubicBezTo>
                  <a:lnTo>
                    <a:pt x="1198" y="3309"/>
                  </a:lnTo>
                  <a:cubicBezTo>
                    <a:pt x="977" y="3309"/>
                    <a:pt x="788" y="3120"/>
                    <a:pt x="788" y="2868"/>
                  </a:cubicBezTo>
                  <a:cubicBezTo>
                    <a:pt x="788" y="2647"/>
                    <a:pt x="977" y="2490"/>
                    <a:pt x="1198" y="2490"/>
                  </a:cubicBezTo>
                  <a:close/>
                  <a:moveTo>
                    <a:pt x="2899" y="4191"/>
                  </a:moveTo>
                  <a:cubicBezTo>
                    <a:pt x="3151" y="4191"/>
                    <a:pt x="3309" y="4380"/>
                    <a:pt x="3309" y="4632"/>
                  </a:cubicBezTo>
                  <a:cubicBezTo>
                    <a:pt x="3309" y="4821"/>
                    <a:pt x="3088" y="5010"/>
                    <a:pt x="2899" y="5010"/>
                  </a:cubicBezTo>
                  <a:lnTo>
                    <a:pt x="1198" y="5010"/>
                  </a:lnTo>
                  <a:cubicBezTo>
                    <a:pt x="977" y="5010"/>
                    <a:pt x="788" y="4821"/>
                    <a:pt x="788" y="4632"/>
                  </a:cubicBezTo>
                  <a:cubicBezTo>
                    <a:pt x="788" y="4380"/>
                    <a:pt x="977" y="4191"/>
                    <a:pt x="1198" y="4191"/>
                  </a:cubicBezTo>
                  <a:close/>
                  <a:moveTo>
                    <a:pt x="1" y="1"/>
                  </a:moveTo>
                  <a:lnTo>
                    <a:pt x="1" y="5829"/>
                  </a:lnTo>
                  <a:lnTo>
                    <a:pt x="4159" y="5829"/>
                  </a:lnTo>
                  <a:lnTo>
                    <a:pt x="4159" y="1261"/>
                  </a:lnTo>
                  <a:cubicBezTo>
                    <a:pt x="4128" y="600"/>
                    <a:pt x="3561"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74"/>
            <p:cNvSpPr/>
            <p:nvPr/>
          </p:nvSpPr>
          <p:spPr>
            <a:xfrm>
              <a:off x="-12890800" y="3708500"/>
              <a:ext cx="104775" cy="145750"/>
            </a:xfrm>
            <a:custGeom>
              <a:avLst/>
              <a:gdLst/>
              <a:ahLst/>
              <a:cxnLst/>
              <a:rect l="l" t="t" r="r" b="b"/>
              <a:pathLst>
                <a:path w="4191" h="5830" extrusionOk="0">
                  <a:moveTo>
                    <a:pt x="2931" y="820"/>
                  </a:moveTo>
                  <a:cubicBezTo>
                    <a:pt x="3151" y="852"/>
                    <a:pt x="3340" y="1041"/>
                    <a:pt x="3340" y="1261"/>
                  </a:cubicBezTo>
                  <a:cubicBezTo>
                    <a:pt x="3340" y="1513"/>
                    <a:pt x="3151" y="1671"/>
                    <a:pt x="2931" y="1671"/>
                  </a:cubicBezTo>
                  <a:lnTo>
                    <a:pt x="1230" y="1671"/>
                  </a:lnTo>
                  <a:cubicBezTo>
                    <a:pt x="1009" y="1671"/>
                    <a:pt x="820" y="1482"/>
                    <a:pt x="820" y="1261"/>
                  </a:cubicBezTo>
                  <a:cubicBezTo>
                    <a:pt x="820" y="1041"/>
                    <a:pt x="1040" y="820"/>
                    <a:pt x="1230" y="820"/>
                  </a:cubicBezTo>
                  <a:close/>
                  <a:moveTo>
                    <a:pt x="2931" y="2490"/>
                  </a:moveTo>
                  <a:cubicBezTo>
                    <a:pt x="3151" y="2490"/>
                    <a:pt x="3340" y="2679"/>
                    <a:pt x="3340" y="2868"/>
                  </a:cubicBezTo>
                  <a:cubicBezTo>
                    <a:pt x="3340" y="3151"/>
                    <a:pt x="3151" y="3309"/>
                    <a:pt x="2931" y="3309"/>
                  </a:cubicBezTo>
                  <a:lnTo>
                    <a:pt x="1230" y="3309"/>
                  </a:lnTo>
                  <a:cubicBezTo>
                    <a:pt x="1009" y="3309"/>
                    <a:pt x="820" y="3120"/>
                    <a:pt x="820" y="2868"/>
                  </a:cubicBezTo>
                  <a:cubicBezTo>
                    <a:pt x="820" y="2647"/>
                    <a:pt x="1040" y="2490"/>
                    <a:pt x="1230" y="2490"/>
                  </a:cubicBezTo>
                  <a:close/>
                  <a:moveTo>
                    <a:pt x="2931" y="4191"/>
                  </a:moveTo>
                  <a:cubicBezTo>
                    <a:pt x="3151" y="4191"/>
                    <a:pt x="3340" y="4380"/>
                    <a:pt x="3340" y="4632"/>
                  </a:cubicBezTo>
                  <a:cubicBezTo>
                    <a:pt x="3340" y="4821"/>
                    <a:pt x="3151" y="5010"/>
                    <a:pt x="2931" y="5010"/>
                  </a:cubicBezTo>
                  <a:lnTo>
                    <a:pt x="1230" y="5010"/>
                  </a:lnTo>
                  <a:cubicBezTo>
                    <a:pt x="1009" y="5010"/>
                    <a:pt x="820" y="4821"/>
                    <a:pt x="820" y="4632"/>
                  </a:cubicBezTo>
                  <a:cubicBezTo>
                    <a:pt x="820" y="4380"/>
                    <a:pt x="1040" y="4191"/>
                    <a:pt x="1230" y="4191"/>
                  </a:cubicBezTo>
                  <a:close/>
                  <a:moveTo>
                    <a:pt x="1261" y="1"/>
                  </a:moveTo>
                  <a:cubicBezTo>
                    <a:pt x="568" y="1"/>
                    <a:pt x="1" y="600"/>
                    <a:pt x="1" y="1261"/>
                  </a:cubicBezTo>
                  <a:lnTo>
                    <a:pt x="1" y="5829"/>
                  </a:lnTo>
                  <a:lnTo>
                    <a:pt x="4191" y="5829"/>
                  </a:lnTo>
                  <a:lnTo>
                    <a:pt x="4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4"/>
            <p:cNvSpPr/>
            <p:nvPr/>
          </p:nvSpPr>
          <p:spPr>
            <a:xfrm>
              <a:off x="-13077450" y="3647075"/>
              <a:ext cx="356025" cy="352750"/>
            </a:xfrm>
            <a:custGeom>
              <a:avLst/>
              <a:gdLst/>
              <a:ahLst/>
              <a:cxnLst/>
              <a:rect l="l" t="t" r="r" b="b"/>
              <a:pathLst>
                <a:path w="14241" h="14110" extrusionOk="0">
                  <a:moveTo>
                    <a:pt x="12130" y="1670"/>
                  </a:moveTo>
                  <a:cubicBezTo>
                    <a:pt x="12350" y="1670"/>
                    <a:pt x="12508" y="1891"/>
                    <a:pt x="12508" y="2080"/>
                  </a:cubicBezTo>
                  <a:lnTo>
                    <a:pt x="12508" y="8727"/>
                  </a:lnTo>
                  <a:lnTo>
                    <a:pt x="12476" y="8727"/>
                  </a:lnTo>
                  <a:cubicBezTo>
                    <a:pt x="12476" y="8979"/>
                    <a:pt x="12287" y="9168"/>
                    <a:pt x="12067" y="9168"/>
                  </a:cubicBezTo>
                  <a:lnTo>
                    <a:pt x="2111" y="9168"/>
                  </a:lnTo>
                  <a:cubicBezTo>
                    <a:pt x="1890" y="9168"/>
                    <a:pt x="1733" y="8979"/>
                    <a:pt x="1733" y="8727"/>
                  </a:cubicBezTo>
                  <a:lnTo>
                    <a:pt x="1733" y="2080"/>
                  </a:lnTo>
                  <a:cubicBezTo>
                    <a:pt x="1733" y="1828"/>
                    <a:pt x="1922" y="1670"/>
                    <a:pt x="2111" y="1670"/>
                  </a:cubicBezTo>
                  <a:lnTo>
                    <a:pt x="5450" y="1670"/>
                  </a:lnTo>
                  <a:cubicBezTo>
                    <a:pt x="6144" y="1670"/>
                    <a:pt x="6711" y="1985"/>
                    <a:pt x="7120" y="2521"/>
                  </a:cubicBezTo>
                  <a:cubicBezTo>
                    <a:pt x="7498" y="1985"/>
                    <a:pt x="8097" y="1670"/>
                    <a:pt x="8790" y="1670"/>
                  </a:cubicBezTo>
                  <a:close/>
                  <a:moveTo>
                    <a:pt x="1260" y="1"/>
                  </a:moveTo>
                  <a:cubicBezTo>
                    <a:pt x="567" y="1"/>
                    <a:pt x="0" y="536"/>
                    <a:pt x="0" y="1229"/>
                  </a:cubicBezTo>
                  <a:lnTo>
                    <a:pt x="0" y="9547"/>
                  </a:lnTo>
                  <a:cubicBezTo>
                    <a:pt x="0" y="10240"/>
                    <a:pt x="536" y="10775"/>
                    <a:pt x="1260" y="10775"/>
                  </a:cubicBezTo>
                  <a:lnTo>
                    <a:pt x="6238" y="10775"/>
                  </a:lnTo>
                  <a:lnTo>
                    <a:pt x="4285" y="13422"/>
                  </a:lnTo>
                  <a:cubicBezTo>
                    <a:pt x="4159" y="13611"/>
                    <a:pt x="4159" y="13863"/>
                    <a:pt x="4348" y="14020"/>
                  </a:cubicBezTo>
                  <a:cubicBezTo>
                    <a:pt x="4439" y="14059"/>
                    <a:pt x="4531" y="14082"/>
                    <a:pt x="4617" y="14082"/>
                  </a:cubicBezTo>
                  <a:cubicBezTo>
                    <a:pt x="4740" y="14082"/>
                    <a:pt x="4854" y="14036"/>
                    <a:pt x="4946" y="13926"/>
                  </a:cubicBezTo>
                  <a:lnTo>
                    <a:pt x="6679" y="11594"/>
                  </a:lnTo>
                  <a:lnTo>
                    <a:pt x="6679" y="12855"/>
                  </a:lnTo>
                  <a:cubicBezTo>
                    <a:pt x="6679" y="13107"/>
                    <a:pt x="6900" y="13296"/>
                    <a:pt x="7120" y="13296"/>
                  </a:cubicBezTo>
                  <a:cubicBezTo>
                    <a:pt x="7341" y="13296"/>
                    <a:pt x="7561" y="13107"/>
                    <a:pt x="7561" y="12855"/>
                  </a:cubicBezTo>
                  <a:lnTo>
                    <a:pt x="7561" y="11594"/>
                  </a:lnTo>
                  <a:lnTo>
                    <a:pt x="9294" y="13926"/>
                  </a:lnTo>
                  <a:cubicBezTo>
                    <a:pt x="9352" y="14041"/>
                    <a:pt x="9480" y="14109"/>
                    <a:pt x="9614" y="14109"/>
                  </a:cubicBezTo>
                  <a:cubicBezTo>
                    <a:pt x="9700" y="14109"/>
                    <a:pt x="9788" y="14082"/>
                    <a:pt x="9861" y="14020"/>
                  </a:cubicBezTo>
                  <a:cubicBezTo>
                    <a:pt x="10082" y="13894"/>
                    <a:pt x="10113" y="13611"/>
                    <a:pt x="9956" y="13422"/>
                  </a:cubicBezTo>
                  <a:lnTo>
                    <a:pt x="8002" y="10775"/>
                  </a:lnTo>
                  <a:lnTo>
                    <a:pt x="12980" y="10775"/>
                  </a:lnTo>
                  <a:cubicBezTo>
                    <a:pt x="13673" y="10775"/>
                    <a:pt x="14240" y="10240"/>
                    <a:pt x="14240" y="9547"/>
                  </a:cubicBezTo>
                  <a:lnTo>
                    <a:pt x="14240" y="1229"/>
                  </a:lnTo>
                  <a:cubicBezTo>
                    <a:pt x="14114" y="536"/>
                    <a:pt x="13579" y="1"/>
                    <a:pt x="128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6" name="Google Shape;8276;p74"/>
          <p:cNvGrpSpPr/>
          <p:nvPr/>
        </p:nvGrpSpPr>
        <p:grpSpPr>
          <a:xfrm>
            <a:off x="5761552" y="2264018"/>
            <a:ext cx="357002" cy="357037"/>
            <a:chOff x="-13079025" y="4079475"/>
            <a:chExt cx="354450" cy="354450"/>
          </a:xfrm>
        </p:grpSpPr>
        <p:sp>
          <p:nvSpPr>
            <p:cNvPr id="8277" name="Google Shape;8277;p74"/>
            <p:cNvSpPr/>
            <p:nvPr/>
          </p:nvSpPr>
          <p:spPr>
            <a:xfrm>
              <a:off x="-13004200" y="4079475"/>
              <a:ext cx="207150" cy="63050"/>
            </a:xfrm>
            <a:custGeom>
              <a:avLst/>
              <a:gdLst/>
              <a:ahLst/>
              <a:cxnLst/>
              <a:rect l="l" t="t" r="r" b="b"/>
              <a:pathLst>
                <a:path w="8286" h="2522" extrusionOk="0">
                  <a:moveTo>
                    <a:pt x="4159" y="1"/>
                  </a:moveTo>
                  <a:cubicBezTo>
                    <a:pt x="1859" y="1"/>
                    <a:pt x="0" y="568"/>
                    <a:pt x="0" y="1261"/>
                  </a:cubicBezTo>
                  <a:cubicBezTo>
                    <a:pt x="0" y="1986"/>
                    <a:pt x="1859" y="2521"/>
                    <a:pt x="4159" y="2521"/>
                  </a:cubicBezTo>
                  <a:cubicBezTo>
                    <a:pt x="6427" y="2521"/>
                    <a:pt x="8286" y="1986"/>
                    <a:pt x="8286" y="1261"/>
                  </a:cubicBezTo>
                  <a:cubicBezTo>
                    <a:pt x="8286" y="568"/>
                    <a:pt x="6427"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74"/>
            <p:cNvSpPr/>
            <p:nvPr/>
          </p:nvSpPr>
          <p:spPr>
            <a:xfrm>
              <a:off x="-13079025" y="4303175"/>
              <a:ext cx="354450" cy="130750"/>
            </a:xfrm>
            <a:custGeom>
              <a:avLst/>
              <a:gdLst/>
              <a:ahLst/>
              <a:cxnLst/>
              <a:rect l="l" t="t" r="r" b="b"/>
              <a:pathLst>
                <a:path w="14178" h="5230" extrusionOk="0">
                  <a:moveTo>
                    <a:pt x="2773" y="0"/>
                  </a:moveTo>
                  <a:cubicBezTo>
                    <a:pt x="1040" y="536"/>
                    <a:pt x="0" y="1355"/>
                    <a:pt x="0" y="2331"/>
                  </a:cubicBezTo>
                  <a:cubicBezTo>
                    <a:pt x="0" y="4222"/>
                    <a:pt x="3686" y="5230"/>
                    <a:pt x="7057" y="5230"/>
                  </a:cubicBezTo>
                  <a:cubicBezTo>
                    <a:pt x="10460" y="5230"/>
                    <a:pt x="14114" y="4222"/>
                    <a:pt x="14114" y="2331"/>
                  </a:cubicBezTo>
                  <a:cubicBezTo>
                    <a:pt x="14177" y="1355"/>
                    <a:pt x="13169" y="567"/>
                    <a:pt x="11436" y="0"/>
                  </a:cubicBezTo>
                  <a:lnTo>
                    <a:pt x="11247" y="1985"/>
                  </a:lnTo>
                  <a:cubicBezTo>
                    <a:pt x="11216" y="2993"/>
                    <a:pt x="9830" y="3560"/>
                    <a:pt x="7089" y="3560"/>
                  </a:cubicBezTo>
                  <a:cubicBezTo>
                    <a:pt x="5577" y="3560"/>
                    <a:pt x="2962" y="3371"/>
                    <a:pt x="2962" y="1890"/>
                  </a:cubicBez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74"/>
            <p:cNvSpPr/>
            <p:nvPr/>
          </p:nvSpPr>
          <p:spPr>
            <a:xfrm>
              <a:off x="-12986875" y="4313400"/>
              <a:ext cx="173300" cy="58300"/>
            </a:xfrm>
            <a:custGeom>
              <a:avLst/>
              <a:gdLst/>
              <a:ahLst/>
              <a:cxnLst/>
              <a:rect l="l" t="t" r="r" b="b"/>
              <a:pathLst>
                <a:path w="6932" h="2332" extrusionOk="0">
                  <a:moveTo>
                    <a:pt x="0" y="1"/>
                  </a:moveTo>
                  <a:lnTo>
                    <a:pt x="158" y="1481"/>
                  </a:lnTo>
                  <a:cubicBezTo>
                    <a:pt x="158" y="1954"/>
                    <a:pt x="1638" y="2332"/>
                    <a:pt x="3466" y="2332"/>
                  </a:cubicBezTo>
                  <a:cubicBezTo>
                    <a:pt x="4159" y="2332"/>
                    <a:pt x="6774" y="2206"/>
                    <a:pt x="6774" y="1481"/>
                  </a:cubicBezTo>
                  <a:lnTo>
                    <a:pt x="6931" y="1"/>
                  </a:lnTo>
                  <a:lnTo>
                    <a:pt x="6931" y="1"/>
                  </a:lnTo>
                  <a:cubicBezTo>
                    <a:pt x="5860" y="442"/>
                    <a:pt x="4694" y="662"/>
                    <a:pt x="3466" y="662"/>
                  </a:cubicBezTo>
                  <a:cubicBezTo>
                    <a:pt x="2237" y="662"/>
                    <a:pt x="1040" y="44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74"/>
            <p:cNvSpPr/>
            <p:nvPr/>
          </p:nvSpPr>
          <p:spPr>
            <a:xfrm>
              <a:off x="-13004200" y="4143275"/>
              <a:ext cx="206375" cy="166225"/>
            </a:xfrm>
            <a:custGeom>
              <a:avLst/>
              <a:gdLst/>
              <a:ahLst/>
              <a:cxnLst/>
              <a:rect l="l" t="t" r="r" b="b"/>
              <a:pathLst>
                <a:path w="8255" h="6649" extrusionOk="0">
                  <a:moveTo>
                    <a:pt x="8254" y="1"/>
                  </a:moveTo>
                  <a:lnTo>
                    <a:pt x="8254" y="1"/>
                  </a:lnTo>
                  <a:cubicBezTo>
                    <a:pt x="6994" y="725"/>
                    <a:pt x="4694" y="820"/>
                    <a:pt x="4096" y="820"/>
                  </a:cubicBezTo>
                  <a:cubicBezTo>
                    <a:pt x="3529" y="820"/>
                    <a:pt x="1260" y="788"/>
                    <a:pt x="0" y="32"/>
                  </a:cubicBezTo>
                  <a:lnTo>
                    <a:pt x="0" y="32"/>
                  </a:lnTo>
                  <a:lnTo>
                    <a:pt x="567" y="5892"/>
                  </a:lnTo>
                  <a:cubicBezTo>
                    <a:pt x="1638" y="6365"/>
                    <a:pt x="2836" y="6648"/>
                    <a:pt x="4096" y="6648"/>
                  </a:cubicBezTo>
                  <a:cubicBezTo>
                    <a:pt x="5356" y="6648"/>
                    <a:pt x="6585" y="6365"/>
                    <a:pt x="7656" y="5892"/>
                  </a:cubicBezTo>
                  <a:lnTo>
                    <a:pt x="82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1" name="Google Shape;8281;p74"/>
          <p:cNvGrpSpPr/>
          <p:nvPr/>
        </p:nvGrpSpPr>
        <p:grpSpPr>
          <a:xfrm>
            <a:off x="7534619" y="1380027"/>
            <a:ext cx="356221" cy="354670"/>
            <a:chOff x="-11292700" y="3213875"/>
            <a:chExt cx="353675" cy="352100"/>
          </a:xfrm>
        </p:grpSpPr>
        <p:sp>
          <p:nvSpPr>
            <p:cNvPr id="8282" name="Google Shape;8282;p74"/>
            <p:cNvSpPr/>
            <p:nvPr/>
          </p:nvSpPr>
          <p:spPr>
            <a:xfrm>
              <a:off x="-11178500" y="3213875"/>
              <a:ext cx="124475" cy="124475"/>
            </a:xfrm>
            <a:custGeom>
              <a:avLst/>
              <a:gdLst/>
              <a:ahLst/>
              <a:cxnLst/>
              <a:rect l="l" t="t" r="r" b="b"/>
              <a:pathLst>
                <a:path w="4979" h="4979" extrusionOk="0">
                  <a:moveTo>
                    <a:pt x="2489" y="1671"/>
                  </a:moveTo>
                  <a:cubicBezTo>
                    <a:pt x="2962" y="1671"/>
                    <a:pt x="3309" y="2049"/>
                    <a:pt x="3309" y="2521"/>
                  </a:cubicBezTo>
                  <a:cubicBezTo>
                    <a:pt x="3309" y="2994"/>
                    <a:pt x="2962" y="3340"/>
                    <a:pt x="2489" y="3340"/>
                  </a:cubicBezTo>
                  <a:cubicBezTo>
                    <a:pt x="2017" y="3340"/>
                    <a:pt x="1670" y="2994"/>
                    <a:pt x="1670" y="2521"/>
                  </a:cubicBezTo>
                  <a:cubicBezTo>
                    <a:pt x="1639" y="2049"/>
                    <a:pt x="2017" y="1671"/>
                    <a:pt x="2489" y="1671"/>
                  </a:cubicBezTo>
                  <a:close/>
                  <a:moveTo>
                    <a:pt x="2489" y="1"/>
                  </a:moveTo>
                  <a:cubicBezTo>
                    <a:pt x="2048" y="1"/>
                    <a:pt x="1891" y="221"/>
                    <a:pt x="1702" y="537"/>
                  </a:cubicBezTo>
                  <a:cubicBezTo>
                    <a:pt x="1555" y="523"/>
                    <a:pt x="1414" y="498"/>
                    <a:pt x="1278" y="498"/>
                  </a:cubicBezTo>
                  <a:cubicBezTo>
                    <a:pt x="1094" y="498"/>
                    <a:pt x="920" y="544"/>
                    <a:pt x="757" y="726"/>
                  </a:cubicBezTo>
                  <a:cubicBezTo>
                    <a:pt x="442" y="1041"/>
                    <a:pt x="505" y="1324"/>
                    <a:pt x="568" y="1734"/>
                  </a:cubicBezTo>
                  <a:cubicBezTo>
                    <a:pt x="221" y="1923"/>
                    <a:pt x="1" y="2080"/>
                    <a:pt x="1" y="2521"/>
                  </a:cubicBezTo>
                  <a:cubicBezTo>
                    <a:pt x="1" y="2931"/>
                    <a:pt x="221" y="3088"/>
                    <a:pt x="568" y="3309"/>
                  </a:cubicBezTo>
                  <a:cubicBezTo>
                    <a:pt x="473" y="3687"/>
                    <a:pt x="442" y="3939"/>
                    <a:pt x="757" y="4254"/>
                  </a:cubicBezTo>
                  <a:cubicBezTo>
                    <a:pt x="938" y="4436"/>
                    <a:pt x="1109" y="4481"/>
                    <a:pt x="1288" y="4481"/>
                  </a:cubicBezTo>
                  <a:cubicBezTo>
                    <a:pt x="1419" y="4481"/>
                    <a:pt x="1555" y="4456"/>
                    <a:pt x="1702" y="4443"/>
                  </a:cubicBezTo>
                  <a:cubicBezTo>
                    <a:pt x="1922" y="4758"/>
                    <a:pt x="2080" y="4979"/>
                    <a:pt x="2489" y="4979"/>
                  </a:cubicBezTo>
                  <a:cubicBezTo>
                    <a:pt x="2931" y="4979"/>
                    <a:pt x="3088" y="4758"/>
                    <a:pt x="3277" y="4443"/>
                  </a:cubicBezTo>
                  <a:cubicBezTo>
                    <a:pt x="3431" y="4469"/>
                    <a:pt x="3565" y="4495"/>
                    <a:pt x="3690" y="4495"/>
                  </a:cubicBezTo>
                  <a:cubicBezTo>
                    <a:pt x="3871" y="4495"/>
                    <a:pt x="4036" y="4441"/>
                    <a:pt x="4222" y="4254"/>
                  </a:cubicBezTo>
                  <a:cubicBezTo>
                    <a:pt x="4537" y="3939"/>
                    <a:pt x="4443" y="3655"/>
                    <a:pt x="4411" y="3309"/>
                  </a:cubicBezTo>
                  <a:cubicBezTo>
                    <a:pt x="4726" y="3057"/>
                    <a:pt x="4978" y="2899"/>
                    <a:pt x="4978" y="2521"/>
                  </a:cubicBezTo>
                  <a:cubicBezTo>
                    <a:pt x="4978" y="2080"/>
                    <a:pt x="4726" y="1923"/>
                    <a:pt x="4411" y="1734"/>
                  </a:cubicBezTo>
                  <a:cubicBezTo>
                    <a:pt x="4506" y="1324"/>
                    <a:pt x="4537" y="1041"/>
                    <a:pt x="4222" y="726"/>
                  </a:cubicBezTo>
                  <a:cubicBezTo>
                    <a:pt x="4041" y="544"/>
                    <a:pt x="3870" y="498"/>
                    <a:pt x="3691" y="498"/>
                  </a:cubicBezTo>
                  <a:cubicBezTo>
                    <a:pt x="3560" y="498"/>
                    <a:pt x="3424" y="523"/>
                    <a:pt x="3277" y="537"/>
                  </a:cubicBezTo>
                  <a:cubicBezTo>
                    <a:pt x="3025" y="221"/>
                    <a:pt x="286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74"/>
            <p:cNvSpPr/>
            <p:nvPr/>
          </p:nvSpPr>
          <p:spPr>
            <a:xfrm>
              <a:off x="-11292700" y="3255625"/>
              <a:ext cx="117375" cy="124475"/>
            </a:xfrm>
            <a:custGeom>
              <a:avLst/>
              <a:gdLst/>
              <a:ahLst/>
              <a:cxnLst/>
              <a:rect l="l" t="t" r="r" b="b"/>
              <a:pathLst>
                <a:path w="4695" h="4979" extrusionOk="0">
                  <a:moveTo>
                    <a:pt x="2521" y="1670"/>
                  </a:moveTo>
                  <a:cubicBezTo>
                    <a:pt x="2993" y="1670"/>
                    <a:pt x="3340" y="2017"/>
                    <a:pt x="3340" y="2490"/>
                  </a:cubicBezTo>
                  <a:cubicBezTo>
                    <a:pt x="3340" y="2962"/>
                    <a:pt x="2993" y="3309"/>
                    <a:pt x="2521" y="3309"/>
                  </a:cubicBezTo>
                  <a:cubicBezTo>
                    <a:pt x="2048" y="3309"/>
                    <a:pt x="1702" y="2962"/>
                    <a:pt x="1702" y="2490"/>
                  </a:cubicBezTo>
                  <a:cubicBezTo>
                    <a:pt x="1702" y="2017"/>
                    <a:pt x="2048" y="1670"/>
                    <a:pt x="2521" y="1670"/>
                  </a:cubicBezTo>
                  <a:close/>
                  <a:moveTo>
                    <a:pt x="2552" y="1"/>
                  </a:moveTo>
                  <a:cubicBezTo>
                    <a:pt x="2111" y="1"/>
                    <a:pt x="1954" y="253"/>
                    <a:pt x="1765" y="568"/>
                  </a:cubicBezTo>
                  <a:cubicBezTo>
                    <a:pt x="1618" y="554"/>
                    <a:pt x="1476" y="530"/>
                    <a:pt x="1339" y="530"/>
                  </a:cubicBezTo>
                  <a:cubicBezTo>
                    <a:pt x="1151" y="530"/>
                    <a:pt x="969" y="575"/>
                    <a:pt x="788" y="757"/>
                  </a:cubicBezTo>
                  <a:cubicBezTo>
                    <a:pt x="473" y="1072"/>
                    <a:pt x="536" y="1355"/>
                    <a:pt x="599" y="1702"/>
                  </a:cubicBezTo>
                  <a:cubicBezTo>
                    <a:pt x="252" y="1891"/>
                    <a:pt x="0" y="2048"/>
                    <a:pt x="0" y="2490"/>
                  </a:cubicBezTo>
                  <a:cubicBezTo>
                    <a:pt x="0" y="2931"/>
                    <a:pt x="221" y="3088"/>
                    <a:pt x="536" y="3277"/>
                  </a:cubicBezTo>
                  <a:cubicBezTo>
                    <a:pt x="473" y="3687"/>
                    <a:pt x="441" y="3907"/>
                    <a:pt x="756" y="4222"/>
                  </a:cubicBezTo>
                  <a:cubicBezTo>
                    <a:pt x="943" y="4409"/>
                    <a:pt x="1107" y="4463"/>
                    <a:pt x="1295" y="4463"/>
                  </a:cubicBezTo>
                  <a:cubicBezTo>
                    <a:pt x="1425" y="4463"/>
                    <a:pt x="1566" y="4437"/>
                    <a:pt x="1733" y="4411"/>
                  </a:cubicBezTo>
                  <a:cubicBezTo>
                    <a:pt x="1954" y="4726"/>
                    <a:pt x="2111" y="4978"/>
                    <a:pt x="2521" y="4978"/>
                  </a:cubicBezTo>
                  <a:cubicBezTo>
                    <a:pt x="2962" y="4978"/>
                    <a:pt x="3119" y="4726"/>
                    <a:pt x="3308" y="4411"/>
                  </a:cubicBezTo>
                  <a:cubicBezTo>
                    <a:pt x="3458" y="4449"/>
                    <a:pt x="3588" y="4476"/>
                    <a:pt x="3710" y="4476"/>
                  </a:cubicBezTo>
                  <a:cubicBezTo>
                    <a:pt x="3896" y="4476"/>
                    <a:pt x="4063" y="4412"/>
                    <a:pt x="4254" y="4222"/>
                  </a:cubicBezTo>
                  <a:cubicBezTo>
                    <a:pt x="4569" y="3907"/>
                    <a:pt x="4474" y="3624"/>
                    <a:pt x="4443" y="3277"/>
                  </a:cubicBezTo>
                  <a:cubicBezTo>
                    <a:pt x="4583" y="3183"/>
                    <a:pt x="4592" y="3175"/>
                    <a:pt x="4592" y="3175"/>
                  </a:cubicBezTo>
                  <a:lnTo>
                    <a:pt x="4592" y="3175"/>
                  </a:lnTo>
                  <a:cubicBezTo>
                    <a:pt x="4592" y="3175"/>
                    <a:pt x="4592" y="3175"/>
                    <a:pt x="4592" y="3175"/>
                  </a:cubicBezTo>
                  <a:cubicBezTo>
                    <a:pt x="4594" y="3175"/>
                    <a:pt x="4606" y="3170"/>
                    <a:pt x="4695" y="3120"/>
                  </a:cubicBezTo>
                  <a:cubicBezTo>
                    <a:pt x="4411" y="2805"/>
                    <a:pt x="4254" y="2427"/>
                    <a:pt x="4254" y="2017"/>
                  </a:cubicBezTo>
                  <a:cubicBezTo>
                    <a:pt x="3939" y="1702"/>
                    <a:pt x="3781" y="1324"/>
                    <a:pt x="3781" y="851"/>
                  </a:cubicBezTo>
                  <a:cubicBezTo>
                    <a:pt x="3781" y="725"/>
                    <a:pt x="3781" y="631"/>
                    <a:pt x="3812" y="536"/>
                  </a:cubicBezTo>
                  <a:cubicBezTo>
                    <a:pt x="3754" y="517"/>
                    <a:pt x="3710" y="509"/>
                    <a:pt x="3671" y="509"/>
                  </a:cubicBezTo>
                  <a:cubicBezTo>
                    <a:pt x="3583" y="509"/>
                    <a:pt x="3514" y="546"/>
                    <a:pt x="3340" y="568"/>
                  </a:cubicBezTo>
                  <a:cubicBezTo>
                    <a:pt x="3119" y="253"/>
                    <a:pt x="2962" y="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74"/>
            <p:cNvSpPr/>
            <p:nvPr/>
          </p:nvSpPr>
          <p:spPr>
            <a:xfrm>
              <a:off x="-11056425" y="3254850"/>
              <a:ext cx="117400" cy="125250"/>
            </a:xfrm>
            <a:custGeom>
              <a:avLst/>
              <a:gdLst/>
              <a:ahLst/>
              <a:cxnLst/>
              <a:rect l="l" t="t" r="r" b="b"/>
              <a:pathLst>
                <a:path w="4696" h="5010" extrusionOk="0">
                  <a:moveTo>
                    <a:pt x="2175" y="1701"/>
                  </a:moveTo>
                  <a:cubicBezTo>
                    <a:pt x="2647" y="1701"/>
                    <a:pt x="2994" y="2048"/>
                    <a:pt x="2994" y="2521"/>
                  </a:cubicBezTo>
                  <a:cubicBezTo>
                    <a:pt x="2994" y="2962"/>
                    <a:pt x="2616" y="3340"/>
                    <a:pt x="2175" y="3340"/>
                  </a:cubicBezTo>
                  <a:cubicBezTo>
                    <a:pt x="1702" y="3340"/>
                    <a:pt x="1324" y="2993"/>
                    <a:pt x="1324" y="2521"/>
                  </a:cubicBezTo>
                  <a:cubicBezTo>
                    <a:pt x="1324" y="2048"/>
                    <a:pt x="1702" y="1701"/>
                    <a:pt x="2175" y="1701"/>
                  </a:cubicBezTo>
                  <a:close/>
                  <a:moveTo>
                    <a:pt x="2112" y="0"/>
                  </a:moveTo>
                  <a:cubicBezTo>
                    <a:pt x="1702" y="0"/>
                    <a:pt x="1545" y="221"/>
                    <a:pt x="1324" y="567"/>
                  </a:cubicBezTo>
                  <a:cubicBezTo>
                    <a:pt x="1022" y="511"/>
                    <a:pt x="957" y="499"/>
                    <a:pt x="927" y="499"/>
                  </a:cubicBezTo>
                  <a:cubicBezTo>
                    <a:pt x="907" y="499"/>
                    <a:pt x="902" y="504"/>
                    <a:pt x="852" y="504"/>
                  </a:cubicBezTo>
                  <a:cubicBezTo>
                    <a:pt x="915" y="630"/>
                    <a:pt x="915" y="725"/>
                    <a:pt x="915" y="819"/>
                  </a:cubicBezTo>
                  <a:cubicBezTo>
                    <a:pt x="915" y="1260"/>
                    <a:pt x="757" y="1701"/>
                    <a:pt x="442" y="2016"/>
                  </a:cubicBezTo>
                  <a:cubicBezTo>
                    <a:pt x="442" y="2458"/>
                    <a:pt x="284" y="2836"/>
                    <a:pt x="1" y="3119"/>
                  </a:cubicBezTo>
                  <a:lnTo>
                    <a:pt x="32" y="3151"/>
                  </a:lnTo>
                  <a:lnTo>
                    <a:pt x="221" y="3308"/>
                  </a:lnTo>
                  <a:cubicBezTo>
                    <a:pt x="158" y="3718"/>
                    <a:pt x="127" y="3938"/>
                    <a:pt x="442" y="4253"/>
                  </a:cubicBezTo>
                  <a:cubicBezTo>
                    <a:pt x="628" y="4440"/>
                    <a:pt x="793" y="4494"/>
                    <a:pt x="974" y="4494"/>
                  </a:cubicBezTo>
                  <a:cubicBezTo>
                    <a:pt x="1099" y="4494"/>
                    <a:pt x="1233" y="4468"/>
                    <a:pt x="1387" y="4442"/>
                  </a:cubicBezTo>
                  <a:cubicBezTo>
                    <a:pt x="1608" y="4757"/>
                    <a:pt x="1765" y="5009"/>
                    <a:pt x="2175" y="5009"/>
                  </a:cubicBezTo>
                  <a:cubicBezTo>
                    <a:pt x="2584" y="5009"/>
                    <a:pt x="2742" y="4757"/>
                    <a:pt x="2962" y="4442"/>
                  </a:cubicBezTo>
                  <a:cubicBezTo>
                    <a:pt x="3112" y="4480"/>
                    <a:pt x="3247" y="4507"/>
                    <a:pt x="3375" y="4507"/>
                  </a:cubicBezTo>
                  <a:cubicBezTo>
                    <a:pt x="3570" y="4507"/>
                    <a:pt x="3749" y="4443"/>
                    <a:pt x="3939" y="4253"/>
                  </a:cubicBezTo>
                  <a:cubicBezTo>
                    <a:pt x="4254" y="3938"/>
                    <a:pt x="4160" y="3655"/>
                    <a:pt x="4128" y="3308"/>
                  </a:cubicBezTo>
                  <a:cubicBezTo>
                    <a:pt x="4443" y="3088"/>
                    <a:pt x="4695" y="2930"/>
                    <a:pt x="4695" y="2521"/>
                  </a:cubicBezTo>
                  <a:cubicBezTo>
                    <a:pt x="4632" y="2079"/>
                    <a:pt x="4412" y="1922"/>
                    <a:pt x="4097" y="1701"/>
                  </a:cubicBezTo>
                  <a:cubicBezTo>
                    <a:pt x="4191" y="1292"/>
                    <a:pt x="4223" y="1071"/>
                    <a:pt x="3907" y="756"/>
                  </a:cubicBezTo>
                  <a:cubicBezTo>
                    <a:pt x="3721" y="570"/>
                    <a:pt x="3546" y="516"/>
                    <a:pt x="3349" y="516"/>
                  </a:cubicBezTo>
                  <a:cubicBezTo>
                    <a:pt x="3213" y="516"/>
                    <a:pt x="3067" y="542"/>
                    <a:pt x="2899" y="567"/>
                  </a:cubicBezTo>
                  <a:cubicBezTo>
                    <a:pt x="2679" y="221"/>
                    <a:pt x="2521" y="0"/>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4"/>
            <p:cNvSpPr/>
            <p:nvPr/>
          </p:nvSpPr>
          <p:spPr>
            <a:xfrm>
              <a:off x="-11209225" y="3503725"/>
              <a:ext cx="188275" cy="62250"/>
            </a:xfrm>
            <a:custGeom>
              <a:avLst/>
              <a:gdLst/>
              <a:ahLst/>
              <a:cxnLst/>
              <a:rect l="l" t="t" r="r" b="b"/>
              <a:pathLst>
                <a:path w="7531" h="2490" extrusionOk="0">
                  <a:moveTo>
                    <a:pt x="1356" y="1"/>
                  </a:moveTo>
                  <a:lnTo>
                    <a:pt x="127" y="1859"/>
                  </a:lnTo>
                  <a:cubicBezTo>
                    <a:pt x="1" y="2017"/>
                    <a:pt x="32" y="2206"/>
                    <a:pt x="158" y="2364"/>
                  </a:cubicBezTo>
                  <a:cubicBezTo>
                    <a:pt x="179" y="2448"/>
                    <a:pt x="284" y="2490"/>
                    <a:pt x="408" y="2490"/>
                  </a:cubicBezTo>
                  <a:cubicBezTo>
                    <a:pt x="470" y="2490"/>
                    <a:pt x="536" y="2479"/>
                    <a:pt x="600" y="2458"/>
                  </a:cubicBezTo>
                  <a:lnTo>
                    <a:pt x="1419" y="2017"/>
                  </a:lnTo>
                  <a:cubicBezTo>
                    <a:pt x="1623" y="1922"/>
                    <a:pt x="1844" y="1875"/>
                    <a:pt x="2064" y="1875"/>
                  </a:cubicBezTo>
                  <a:cubicBezTo>
                    <a:pt x="2285" y="1875"/>
                    <a:pt x="2506" y="1922"/>
                    <a:pt x="2710" y="2017"/>
                  </a:cubicBezTo>
                  <a:cubicBezTo>
                    <a:pt x="3025" y="2175"/>
                    <a:pt x="3372" y="2253"/>
                    <a:pt x="3718" y="2253"/>
                  </a:cubicBezTo>
                  <a:cubicBezTo>
                    <a:pt x="4065" y="2253"/>
                    <a:pt x="4412" y="2175"/>
                    <a:pt x="4727" y="2017"/>
                  </a:cubicBezTo>
                  <a:cubicBezTo>
                    <a:pt x="4931" y="1922"/>
                    <a:pt x="5152" y="1875"/>
                    <a:pt x="5373" y="1875"/>
                  </a:cubicBezTo>
                  <a:cubicBezTo>
                    <a:pt x="5593" y="1875"/>
                    <a:pt x="5814" y="1922"/>
                    <a:pt x="6018" y="2017"/>
                  </a:cubicBezTo>
                  <a:lnTo>
                    <a:pt x="6869" y="2458"/>
                  </a:lnTo>
                  <a:cubicBezTo>
                    <a:pt x="6921" y="2479"/>
                    <a:pt x="6978" y="2490"/>
                    <a:pt x="7035" y="2490"/>
                  </a:cubicBezTo>
                  <a:cubicBezTo>
                    <a:pt x="7149" y="2490"/>
                    <a:pt x="7268" y="2448"/>
                    <a:pt x="7373" y="2364"/>
                  </a:cubicBezTo>
                  <a:cubicBezTo>
                    <a:pt x="7499" y="2206"/>
                    <a:pt x="7531" y="2017"/>
                    <a:pt x="7405" y="1859"/>
                  </a:cubicBezTo>
                  <a:lnTo>
                    <a:pt x="61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74"/>
            <p:cNvSpPr/>
            <p:nvPr/>
          </p:nvSpPr>
          <p:spPr>
            <a:xfrm>
              <a:off x="-11167475" y="3462775"/>
              <a:ext cx="103200" cy="20500"/>
            </a:xfrm>
            <a:custGeom>
              <a:avLst/>
              <a:gdLst/>
              <a:ahLst/>
              <a:cxnLst/>
              <a:rect l="l" t="t" r="r" b="b"/>
              <a:pathLst>
                <a:path w="4128" h="820" extrusionOk="0">
                  <a:moveTo>
                    <a:pt x="1" y="0"/>
                  </a:moveTo>
                  <a:lnTo>
                    <a:pt x="1" y="820"/>
                  </a:lnTo>
                  <a:lnTo>
                    <a:pt x="4128" y="820"/>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74"/>
            <p:cNvSpPr/>
            <p:nvPr/>
          </p:nvSpPr>
          <p:spPr>
            <a:xfrm>
              <a:off x="-11213150" y="3344625"/>
              <a:ext cx="141000" cy="97700"/>
            </a:xfrm>
            <a:custGeom>
              <a:avLst/>
              <a:gdLst/>
              <a:ahLst/>
              <a:cxnLst/>
              <a:rect l="l" t="t" r="r" b="b"/>
              <a:pathLst>
                <a:path w="5640" h="3908" extrusionOk="0">
                  <a:moveTo>
                    <a:pt x="2206" y="1"/>
                  </a:moveTo>
                  <a:lnTo>
                    <a:pt x="2080" y="64"/>
                  </a:lnTo>
                  <a:cubicBezTo>
                    <a:pt x="2080" y="442"/>
                    <a:pt x="2017" y="851"/>
                    <a:pt x="1607" y="1261"/>
                  </a:cubicBezTo>
                  <a:cubicBezTo>
                    <a:pt x="1292" y="1576"/>
                    <a:pt x="946" y="1733"/>
                    <a:pt x="504" y="1733"/>
                  </a:cubicBezTo>
                  <a:lnTo>
                    <a:pt x="441" y="1733"/>
                  </a:lnTo>
                  <a:cubicBezTo>
                    <a:pt x="315" y="1860"/>
                    <a:pt x="158" y="1954"/>
                    <a:pt x="0" y="2080"/>
                  </a:cubicBezTo>
                  <a:lnTo>
                    <a:pt x="1355" y="3907"/>
                  </a:lnTo>
                  <a:lnTo>
                    <a:pt x="4411" y="3907"/>
                  </a:lnTo>
                  <a:lnTo>
                    <a:pt x="5608" y="536"/>
                  </a:lnTo>
                  <a:cubicBezTo>
                    <a:pt x="5640" y="379"/>
                    <a:pt x="5608" y="221"/>
                    <a:pt x="5608" y="127"/>
                  </a:cubicBezTo>
                  <a:lnTo>
                    <a:pt x="5482" y="32"/>
                  </a:lnTo>
                  <a:cubicBezTo>
                    <a:pt x="5356" y="64"/>
                    <a:pt x="5199" y="64"/>
                    <a:pt x="5073" y="64"/>
                  </a:cubicBezTo>
                  <a:lnTo>
                    <a:pt x="5010" y="64"/>
                  </a:lnTo>
                  <a:cubicBezTo>
                    <a:pt x="4758" y="347"/>
                    <a:pt x="4411" y="599"/>
                    <a:pt x="3875" y="599"/>
                  </a:cubicBezTo>
                  <a:cubicBezTo>
                    <a:pt x="3308" y="599"/>
                    <a:pt x="2962" y="347"/>
                    <a:pt x="2678" y="64"/>
                  </a:cubicBezTo>
                  <a:lnTo>
                    <a:pt x="2647" y="64"/>
                  </a:lnTo>
                  <a:cubicBezTo>
                    <a:pt x="2489" y="64"/>
                    <a:pt x="2363" y="32"/>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74"/>
            <p:cNvSpPr/>
            <p:nvPr/>
          </p:nvSpPr>
          <p:spPr>
            <a:xfrm>
              <a:off x="-11080825" y="3379275"/>
              <a:ext cx="59100" cy="61475"/>
            </a:xfrm>
            <a:custGeom>
              <a:avLst/>
              <a:gdLst/>
              <a:ahLst/>
              <a:cxnLst/>
              <a:rect l="l" t="t" r="r" b="b"/>
              <a:pathLst>
                <a:path w="2364" h="2459" extrusionOk="0">
                  <a:moveTo>
                    <a:pt x="882" y="1"/>
                  </a:moveTo>
                  <a:lnTo>
                    <a:pt x="0" y="2458"/>
                  </a:lnTo>
                  <a:lnTo>
                    <a:pt x="1008" y="2458"/>
                  </a:lnTo>
                  <a:lnTo>
                    <a:pt x="2363" y="663"/>
                  </a:lnTo>
                  <a:cubicBezTo>
                    <a:pt x="2237" y="568"/>
                    <a:pt x="2080" y="474"/>
                    <a:pt x="1954" y="347"/>
                  </a:cubicBezTo>
                  <a:lnTo>
                    <a:pt x="1891" y="347"/>
                  </a:lnTo>
                  <a:cubicBezTo>
                    <a:pt x="1512" y="347"/>
                    <a:pt x="1197" y="22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9" name="Google Shape;8289;p74"/>
          <p:cNvGrpSpPr/>
          <p:nvPr/>
        </p:nvGrpSpPr>
        <p:grpSpPr>
          <a:xfrm>
            <a:off x="7528677" y="1819965"/>
            <a:ext cx="368106" cy="356232"/>
            <a:chOff x="-11299000" y="3647875"/>
            <a:chExt cx="365475" cy="353650"/>
          </a:xfrm>
        </p:grpSpPr>
        <p:sp>
          <p:nvSpPr>
            <p:cNvPr id="8290" name="Google Shape;8290;p74"/>
            <p:cNvSpPr/>
            <p:nvPr/>
          </p:nvSpPr>
          <p:spPr>
            <a:xfrm>
              <a:off x="-11299000" y="3734700"/>
              <a:ext cx="142575" cy="134325"/>
            </a:xfrm>
            <a:custGeom>
              <a:avLst/>
              <a:gdLst/>
              <a:ahLst/>
              <a:cxnLst/>
              <a:rect l="l" t="t" r="r" b="b"/>
              <a:pathLst>
                <a:path w="5703" h="5373" extrusionOk="0">
                  <a:moveTo>
                    <a:pt x="2300" y="0"/>
                  </a:moveTo>
                  <a:cubicBezTo>
                    <a:pt x="1772" y="0"/>
                    <a:pt x="1245" y="197"/>
                    <a:pt x="851" y="591"/>
                  </a:cubicBezTo>
                  <a:cubicBezTo>
                    <a:pt x="0" y="1379"/>
                    <a:pt x="0" y="2702"/>
                    <a:pt x="851" y="3490"/>
                  </a:cubicBezTo>
                  <a:lnTo>
                    <a:pt x="2615" y="5254"/>
                  </a:lnTo>
                  <a:cubicBezTo>
                    <a:pt x="2694" y="5333"/>
                    <a:pt x="2804" y="5372"/>
                    <a:pt x="2915" y="5372"/>
                  </a:cubicBezTo>
                  <a:cubicBezTo>
                    <a:pt x="3025" y="5372"/>
                    <a:pt x="3135" y="5333"/>
                    <a:pt x="3214" y="5254"/>
                  </a:cubicBezTo>
                  <a:lnTo>
                    <a:pt x="5514" y="2954"/>
                  </a:lnTo>
                  <a:cubicBezTo>
                    <a:pt x="5703" y="2797"/>
                    <a:pt x="5703" y="2513"/>
                    <a:pt x="5514" y="2355"/>
                  </a:cubicBezTo>
                  <a:lnTo>
                    <a:pt x="3749" y="591"/>
                  </a:lnTo>
                  <a:cubicBezTo>
                    <a:pt x="3356" y="197"/>
                    <a:pt x="2828"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4"/>
            <p:cNvSpPr/>
            <p:nvPr/>
          </p:nvSpPr>
          <p:spPr>
            <a:xfrm>
              <a:off x="-11076100" y="3734700"/>
              <a:ext cx="142575" cy="134325"/>
            </a:xfrm>
            <a:custGeom>
              <a:avLst/>
              <a:gdLst/>
              <a:ahLst/>
              <a:cxnLst/>
              <a:rect l="l" t="t" r="r" b="b"/>
              <a:pathLst>
                <a:path w="5703" h="5373" extrusionOk="0">
                  <a:moveTo>
                    <a:pt x="3379" y="0"/>
                  </a:moveTo>
                  <a:cubicBezTo>
                    <a:pt x="2836" y="0"/>
                    <a:pt x="2300" y="197"/>
                    <a:pt x="1922" y="591"/>
                  </a:cubicBezTo>
                  <a:lnTo>
                    <a:pt x="158" y="2355"/>
                  </a:lnTo>
                  <a:cubicBezTo>
                    <a:pt x="0" y="2513"/>
                    <a:pt x="0" y="2797"/>
                    <a:pt x="158" y="2954"/>
                  </a:cubicBezTo>
                  <a:lnTo>
                    <a:pt x="2521" y="5254"/>
                  </a:lnTo>
                  <a:cubicBezTo>
                    <a:pt x="2599" y="5333"/>
                    <a:pt x="2710" y="5372"/>
                    <a:pt x="2820" y="5372"/>
                  </a:cubicBezTo>
                  <a:cubicBezTo>
                    <a:pt x="2930" y="5372"/>
                    <a:pt x="3040" y="5333"/>
                    <a:pt x="3119" y="5254"/>
                  </a:cubicBezTo>
                  <a:lnTo>
                    <a:pt x="4884" y="3490"/>
                  </a:lnTo>
                  <a:cubicBezTo>
                    <a:pt x="5703" y="2702"/>
                    <a:pt x="5703" y="1379"/>
                    <a:pt x="4884" y="591"/>
                  </a:cubicBezTo>
                  <a:cubicBezTo>
                    <a:pt x="4474" y="197"/>
                    <a:pt x="3923" y="0"/>
                    <a:pt x="3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74"/>
            <p:cNvSpPr/>
            <p:nvPr/>
          </p:nvSpPr>
          <p:spPr>
            <a:xfrm>
              <a:off x="-11254900" y="3917225"/>
              <a:ext cx="124475" cy="84300"/>
            </a:xfrm>
            <a:custGeom>
              <a:avLst/>
              <a:gdLst/>
              <a:ahLst/>
              <a:cxnLst/>
              <a:rect l="l" t="t" r="r" b="b"/>
              <a:pathLst>
                <a:path w="4979" h="3372" extrusionOk="0">
                  <a:moveTo>
                    <a:pt x="3466" y="1"/>
                  </a:moveTo>
                  <a:lnTo>
                    <a:pt x="316" y="2616"/>
                  </a:lnTo>
                  <a:cubicBezTo>
                    <a:pt x="1" y="2836"/>
                    <a:pt x="190" y="3372"/>
                    <a:pt x="568" y="3372"/>
                  </a:cubicBezTo>
                  <a:lnTo>
                    <a:pt x="3372" y="3372"/>
                  </a:lnTo>
                  <a:cubicBezTo>
                    <a:pt x="3466" y="3309"/>
                    <a:pt x="3561" y="3277"/>
                    <a:pt x="3655" y="3214"/>
                  </a:cubicBezTo>
                  <a:lnTo>
                    <a:pt x="4978" y="1702"/>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74"/>
            <p:cNvSpPr/>
            <p:nvPr/>
          </p:nvSpPr>
          <p:spPr>
            <a:xfrm>
              <a:off x="-11099725" y="3838475"/>
              <a:ext cx="55150" cy="50425"/>
            </a:xfrm>
            <a:custGeom>
              <a:avLst/>
              <a:gdLst/>
              <a:ahLst/>
              <a:cxnLst/>
              <a:rect l="l" t="t" r="r" b="b"/>
              <a:pathLst>
                <a:path w="2206" h="2017" extrusionOk="0">
                  <a:moveTo>
                    <a:pt x="1197" y="0"/>
                  </a:moveTo>
                  <a:lnTo>
                    <a:pt x="0" y="914"/>
                  </a:lnTo>
                  <a:lnTo>
                    <a:pt x="1323" y="2017"/>
                  </a:lnTo>
                  <a:lnTo>
                    <a:pt x="2205" y="1040"/>
                  </a:lnTo>
                  <a:lnTo>
                    <a:pt x="11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74"/>
            <p:cNvSpPr/>
            <p:nvPr/>
          </p:nvSpPr>
          <p:spPr>
            <a:xfrm>
              <a:off x="-11187950" y="3836900"/>
              <a:ext cx="210325" cy="162275"/>
            </a:xfrm>
            <a:custGeom>
              <a:avLst/>
              <a:gdLst/>
              <a:ahLst/>
              <a:cxnLst/>
              <a:rect l="l" t="t" r="r" b="b"/>
              <a:pathLst>
                <a:path w="8413" h="6491" extrusionOk="0">
                  <a:moveTo>
                    <a:pt x="1040" y="0"/>
                  </a:moveTo>
                  <a:lnTo>
                    <a:pt x="1" y="1103"/>
                  </a:lnTo>
                  <a:lnTo>
                    <a:pt x="4758" y="6364"/>
                  </a:lnTo>
                  <a:cubicBezTo>
                    <a:pt x="4821" y="6459"/>
                    <a:pt x="4947" y="6490"/>
                    <a:pt x="5073" y="6490"/>
                  </a:cubicBezTo>
                  <a:lnTo>
                    <a:pt x="7845" y="6490"/>
                  </a:lnTo>
                  <a:cubicBezTo>
                    <a:pt x="8255" y="6490"/>
                    <a:pt x="8412" y="6018"/>
                    <a:pt x="8129" y="5734"/>
                  </a:cubicBez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74"/>
            <p:cNvSpPr/>
            <p:nvPr/>
          </p:nvSpPr>
          <p:spPr>
            <a:xfrm>
              <a:off x="-11292700" y="3647875"/>
              <a:ext cx="353675" cy="87450"/>
            </a:xfrm>
            <a:custGeom>
              <a:avLst/>
              <a:gdLst/>
              <a:ahLst/>
              <a:cxnLst/>
              <a:rect l="l" t="t" r="r" b="b"/>
              <a:pathLst>
                <a:path w="14147" h="3498" extrusionOk="0">
                  <a:moveTo>
                    <a:pt x="441" y="0"/>
                  </a:moveTo>
                  <a:cubicBezTo>
                    <a:pt x="189" y="0"/>
                    <a:pt x="0" y="189"/>
                    <a:pt x="0" y="378"/>
                  </a:cubicBezTo>
                  <a:cubicBezTo>
                    <a:pt x="0" y="630"/>
                    <a:pt x="189" y="819"/>
                    <a:pt x="441" y="819"/>
                  </a:cubicBezTo>
                  <a:lnTo>
                    <a:pt x="1639" y="819"/>
                  </a:lnTo>
                  <a:lnTo>
                    <a:pt x="1639" y="1670"/>
                  </a:lnTo>
                  <a:lnTo>
                    <a:pt x="1261" y="1670"/>
                  </a:lnTo>
                  <a:cubicBezTo>
                    <a:pt x="599" y="1670"/>
                    <a:pt x="0" y="2237"/>
                    <a:pt x="0" y="2899"/>
                  </a:cubicBezTo>
                  <a:lnTo>
                    <a:pt x="0" y="3497"/>
                  </a:lnTo>
                  <a:lnTo>
                    <a:pt x="32" y="3466"/>
                  </a:lnTo>
                  <a:cubicBezTo>
                    <a:pt x="536" y="2930"/>
                    <a:pt x="1292" y="2615"/>
                    <a:pt x="2080" y="2615"/>
                  </a:cubicBezTo>
                  <a:cubicBezTo>
                    <a:pt x="2867" y="2615"/>
                    <a:pt x="3623" y="2930"/>
                    <a:pt x="4128" y="3466"/>
                  </a:cubicBezTo>
                  <a:lnTo>
                    <a:pt x="4159" y="3497"/>
                  </a:lnTo>
                  <a:lnTo>
                    <a:pt x="4159" y="2899"/>
                  </a:lnTo>
                  <a:cubicBezTo>
                    <a:pt x="4159" y="2237"/>
                    <a:pt x="3623" y="1670"/>
                    <a:pt x="2899" y="1670"/>
                  </a:cubicBezTo>
                  <a:lnTo>
                    <a:pt x="2521" y="1670"/>
                  </a:lnTo>
                  <a:lnTo>
                    <a:pt x="2521" y="819"/>
                  </a:lnTo>
                  <a:lnTo>
                    <a:pt x="11657" y="819"/>
                  </a:lnTo>
                  <a:lnTo>
                    <a:pt x="11657" y="1670"/>
                  </a:lnTo>
                  <a:lnTo>
                    <a:pt x="11216" y="1670"/>
                  </a:lnTo>
                  <a:cubicBezTo>
                    <a:pt x="10555" y="1670"/>
                    <a:pt x="9956" y="2237"/>
                    <a:pt x="9956" y="2899"/>
                  </a:cubicBezTo>
                  <a:lnTo>
                    <a:pt x="9956" y="3497"/>
                  </a:lnTo>
                  <a:lnTo>
                    <a:pt x="9987" y="3466"/>
                  </a:lnTo>
                  <a:cubicBezTo>
                    <a:pt x="10523" y="2930"/>
                    <a:pt x="11248" y="2615"/>
                    <a:pt x="12035" y="2615"/>
                  </a:cubicBezTo>
                  <a:cubicBezTo>
                    <a:pt x="12823" y="2615"/>
                    <a:pt x="13579" y="2930"/>
                    <a:pt x="14083" y="3466"/>
                  </a:cubicBezTo>
                  <a:lnTo>
                    <a:pt x="14146" y="3497"/>
                  </a:lnTo>
                  <a:lnTo>
                    <a:pt x="14146" y="2899"/>
                  </a:lnTo>
                  <a:cubicBezTo>
                    <a:pt x="14146" y="2237"/>
                    <a:pt x="13579" y="1670"/>
                    <a:pt x="12917" y="1670"/>
                  </a:cubicBezTo>
                  <a:lnTo>
                    <a:pt x="12476" y="1670"/>
                  </a:lnTo>
                  <a:lnTo>
                    <a:pt x="12476" y="819"/>
                  </a:lnTo>
                  <a:lnTo>
                    <a:pt x="13705" y="819"/>
                  </a:lnTo>
                  <a:cubicBezTo>
                    <a:pt x="13926" y="819"/>
                    <a:pt x="14083" y="630"/>
                    <a:pt x="14083" y="378"/>
                  </a:cubicBezTo>
                  <a:cubicBezTo>
                    <a:pt x="14083" y="158"/>
                    <a:pt x="13894" y="0"/>
                    <a:pt x="137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6" name="Google Shape;8296;p74"/>
          <p:cNvGrpSpPr/>
          <p:nvPr/>
        </p:nvGrpSpPr>
        <p:grpSpPr>
          <a:xfrm>
            <a:off x="7544139" y="2275916"/>
            <a:ext cx="357808" cy="333240"/>
            <a:chOff x="-11295075" y="4092875"/>
            <a:chExt cx="355250" cy="330825"/>
          </a:xfrm>
        </p:grpSpPr>
        <p:sp>
          <p:nvSpPr>
            <p:cNvPr id="8297" name="Google Shape;8297;p74"/>
            <p:cNvSpPr/>
            <p:nvPr/>
          </p:nvSpPr>
          <p:spPr>
            <a:xfrm>
              <a:off x="-11084775" y="4196825"/>
              <a:ext cx="61475" cy="61475"/>
            </a:xfrm>
            <a:custGeom>
              <a:avLst/>
              <a:gdLst/>
              <a:ahLst/>
              <a:cxnLst/>
              <a:rect l="l" t="t" r="r" b="b"/>
              <a:pathLst>
                <a:path w="2459" h="2459" extrusionOk="0">
                  <a:moveTo>
                    <a:pt x="64" y="1"/>
                  </a:moveTo>
                  <a:cubicBezTo>
                    <a:pt x="32" y="410"/>
                    <a:pt x="1" y="852"/>
                    <a:pt x="1" y="1230"/>
                  </a:cubicBezTo>
                  <a:cubicBezTo>
                    <a:pt x="1" y="1639"/>
                    <a:pt x="32" y="2049"/>
                    <a:pt x="64" y="2458"/>
                  </a:cubicBezTo>
                  <a:lnTo>
                    <a:pt x="1198" y="2458"/>
                  </a:lnTo>
                  <a:cubicBezTo>
                    <a:pt x="1891" y="2458"/>
                    <a:pt x="2458" y="1891"/>
                    <a:pt x="2458" y="1230"/>
                  </a:cubicBezTo>
                  <a:cubicBezTo>
                    <a:pt x="2458" y="568"/>
                    <a:pt x="1922" y="1"/>
                    <a:pt x="11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74"/>
            <p:cNvSpPr/>
            <p:nvPr/>
          </p:nvSpPr>
          <p:spPr>
            <a:xfrm>
              <a:off x="-11080050" y="4092875"/>
              <a:ext cx="140225" cy="269375"/>
            </a:xfrm>
            <a:custGeom>
              <a:avLst/>
              <a:gdLst/>
              <a:ahLst/>
              <a:cxnLst/>
              <a:rect l="l" t="t" r="r" b="b"/>
              <a:pathLst>
                <a:path w="5609" h="10775" extrusionOk="0">
                  <a:moveTo>
                    <a:pt x="2679" y="0"/>
                  </a:moveTo>
                  <a:cubicBezTo>
                    <a:pt x="1450" y="0"/>
                    <a:pt x="442" y="1387"/>
                    <a:pt x="1" y="3308"/>
                  </a:cubicBezTo>
                  <a:lnTo>
                    <a:pt x="1009" y="3308"/>
                  </a:lnTo>
                  <a:cubicBezTo>
                    <a:pt x="2175" y="3308"/>
                    <a:pt x="3120" y="4253"/>
                    <a:pt x="3120" y="5388"/>
                  </a:cubicBezTo>
                  <a:cubicBezTo>
                    <a:pt x="3120" y="6522"/>
                    <a:pt x="2175" y="7467"/>
                    <a:pt x="1009" y="7467"/>
                  </a:cubicBezTo>
                  <a:lnTo>
                    <a:pt x="1" y="7467"/>
                  </a:lnTo>
                  <a:cubicBezTo>
                    <a:pt x="442" y="9420"/>
                    <a:pt x="1450" y="10775"/>
                    <a:pt x="2679" y="10775"/>
                  </a:cubicBezTo>
                  <a:cubicBezTo>
                    <a:pt x="4285" y="10775"/>
                    <a:pt x="5609" y="8381"/>
                    <a:pt x="5609" y="5419"/>
                  </a:cubicBezTo>
                  <a:cubicBezTo>
                    <a:pt x="5609" y="2458"/>
                    <a:pt x="4285" y="0"/>
                    <a:pt x="26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74"/>
            <p:cNvSpPr/>
            <p:nvPr/>
          </p:nvSpPr>
          <p:spPr>
            <a:xfrm>
              <a:off x="-11230475" y="4320500"/>
              <a:ext cx="103975" cy="103200"/>
            </a:xfrm>
            <a:custGeom>
              <a:avLst/>
              <a:gdLst/>
              <a:ahLst/>
              <a:cxnLst/>
              <a:rect l="l" t="t" r="r" b="b"/>
              <a:pathLst>
                <a:path w="4159" h="4128" extrusionOk="0">
                  <a:moveTo>
                    <a:pt x="0" y="0"/>
                  </a:moveTo>
                  <a:lnTo>
                    <a:pt x="0" y="2867"/>
                  </a:lnTo>
                  <a:cubicBezTo>
                    <a:pt x="0" y="3529"/>
                    <a:pt x="536" y="4127"/>
                    <a:pt x="1260" y="4127"/>
                  </a:cubicBezTo>
                  <a:cubicBezTo>
                    <a:pt x="1922" y="4127"/>
                    <a:pt x="2521" y="3560"/>
                    <a:pt x="2521" y="2867"/>
                  </a:cubicBezTo>
                  <a:lnTo>
                    <a:pt x="2521" y="1638"/>
                  </a:lnTo>
                  <a:lnTo>
                    <a:pt x="2962" y="1638"/>
                  </a:lnTo>
                  <a:cubicBezTo>
                    <a:pt x="3623" y="1638"/>
                    <a:pt x="4127" y="1134"/>
                    <a:pt x="4159" y="473"/>
                  </a:cubicBezTo>
                  <a:cubicBezTo>
                    <a:pt x="3875" y="347"/>
                    <a:pt x="3623" y="221"/>
                    <a:pt x="3340" y="158"/>
                  </a:cubicBezTo>
                  <a:lnTo>
                    <a:pt x="3340" y="378"/>
                  </a:lnTo>
                  <a:cubicBezTo>
                    <a:pt x="3340" y="630"/>
                    <a:pt x="3151" y="788"/>
                    <a:pt x="2962" y="788"/>
                  </a:cubicBezTo>
                  <a:lnTo>
                    <a:pt x="2521" y="788"/>
                  </a:lnTo>
                  <a:lnTo>
                    <a:pt x="2521" y="0"/>
                  </a:lnTo>
                  <a:cubicBezTo>
                    <a:pt x="2468" y="11"/>
                    <a:pt x="2416" y="14"/>
                    <a:pt x="2364" y="14"/>
                  </a:cubicBezTo>
                  <a:cubicBezTo>
                    <a:pt x="2262" y="14"/>
                    <a:pt x="216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74"/>
            <p:cNvSpPr/>
            <p:nvPr/>
          </p:nvSpPr>
          <p:spPr>
            <a:xfrm>
              <a:off x="-11210000" y="4113350"/>
              <a:ext cx="137850" cy="226075"/>
            </a:xfrm>
            <a:custGeom>
              <a:avLst/>
              <a:gdLst/>
              <a:ahLst/>
              <a:cxnLst/>
              <a:rect l="l" t="t" r="r" b="b"/>
              <a:pathLst>
                <a:path w="5514" h="9043" extrusionOk="0">
                  <a:moveTo>
                    <a:pt x="5514" y="0"/>
                  </a:moveTo>
                  <a:lnTo>
                    <a:pt x="4096" y="883"/>
                  </a:lnTo>
                  <a:cubicBezTo>
                    <a:pt x="3308" y="1355"/>
                    <a:pt x="2363" y="1607"/>
                    <a:pt x="1418" y="1607"/>
                  </a:cubicBezTo>
                  <a:cubicBezTo>
                    <a:pt x="536" y="2300"/>
                    <a:pt x="0" y="3340"/>
                    <a:pt x="0" y="4537"/>
                  </a:cubicBezTo>
                  <a:cubicBezTo>
                    <a:pt x="0" y="5703"/>
                    <a:pt x="567" y="6774"/>
                    <a:pt x="1418" y="7436"/>
                  </a:cubicBezTo>
                  <a:cubicBezTo>
                    <a:pt x="2363" y="7499"/>
                    <a:pt x="3308" y="7719"/>
                    <a:pt x="4096" y="8192"/>
                  </a:cubicBezTo>
                  <a:lnTo>
                    <a:pt x="5514" y="9042"/>
                  </a:lnTo>
                  <a:cubicBezTo>
                    <a:pt x="4695" y="8097"/>
                    <a:pt x="4159" y="6427"/>
                    <a:pt x="4159" y="4537"/>
                  </a:cubicBezTo>
                  <a:cubicBezTo>
                    <a:pt x="4159" y="2647"/>
                    <a:pt x="4726" y="946"/>
                    <a:pt x="55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4"/>
            <p:cNvSpPr/>
            <p:nvPr/>
          </p:nvSpPr>
          <p:spPr>
            <a:xfrm>
              <a:off x="-11295075" y="4153525"/>
              <a:ext cx="89825" cy="145725"/>
            </a:xfrm>
            <a:custGeom>
              <a:avLst/>
              <a:gdLst/>
              <a:ahLst/>
              <a:cxnLst/>
              <a:rect l="l" t="t" r="r" b="b"/>
              <a:pathLst>
                <a:path w="3593" h="5829" extrusionOk="0">
                  <a:moveTo>
                    <a:pt x="3088" y="0"/>
                  </a:moveTo>
                  <a:cubicBezTo>
                    <a:pt x="1482" y="0"/>
                    <a:pt x="127" y="1229"/>
                    <a:pt x="64" y="2773"/>
                  </a:cubicBezTo>
                  <a:cubicBezTo>
                    <a:pt x="1" y="4505"/>
                    <a:pt x="1356" y="5829"/>
                    <a:pt x="2962" y="5829"/>
                  </a:cubicBezTo>
                  <a:lnTo>
                    <a:pt x="3592" y="5829"/>
                  </a:lnTo>
                  <a:cubicBezTo>
                    <a:pt x="2931" y="5041"/>
                    <a:pt x="2521" y="4064"/>
                    <a:pt x="2521" y="2930"/>
                  </a:cubicBezTo>
                  <a:cubicBezTo>
                    <a:pt x="2521" y="1796"/>
                    <a:pt x="2931" y="788"/>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2" name="Google Shape;8302;p74"/>
          <p:cNvGrpSpPr/>
          <p:nvPr/>
        </p:nvGrpSpPr>
        <p:grpSpPr>
          <a:xfrm>
            <a:off x="5769739" y="2738964"/>
            <a:ext cx="312585" cy="355451"/>
            <a:chOff x="-9500075" y="3180800"/>
            <a:chExt cx="310350" cy="352875"/>
          </a:xfrm>
        </p:grpSpPr>
        <p:sp>
          <p:nvSpPr>
            <p:cNvPr id="8303" name="Google Shape;8303;p74"/>
            <p:cNvSpPr/>
            <p:nvPr/>
          </p:nvSpPr>
          <p:spPr>
            <a:xfrm>
              <a:off x="-9429175" y="3332825"/>
              <a:ext cx="82725" cy="55150"/>
            </a:xfrm>
            <a:custGeom>
              <a:avLst/>
              <a:gdLst/>
              <a:ahLst/>
              <a:cxnLst/>
              <a:rect l="l" t="t" r="r" b="b"/>
              <a:pathLst>
                <a:path w="3309" h="2206" extrusionOk="0">
                  <a:moveTo>
                    <a:pt x="1670" y="0"/>
                  </a:moveTo>
                  <a:lnTo>
                    <a:pt x="0" y="2205"/>
                  </a:lnTo>
                  <a:lnTo>
                    <a:pt x="3308" y="2205"/>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74"/>
            <p:cNvSpPr/>
            <p:nvPr/>
          </p:nvSpPr>
          <p:spPr>
            <a:xfrm>
              <a:off x="-9335450" y="3274525"/>
              <a:ext cx="19700" cy="19725"/>
            </a:xfrm>
            <a:custGeom>
              <a:avLst/>
              <a:gdLst/>
              <a:ahLst/>
              <a:cxnLst/>
              <a:rect l="l" t="t" r="r" b="b"/>
              <a:pathLst>
                <a:path w="788" h="789" extrusionOk="0">
                  <a:moveTo>
                    <a:pt x="378" y="1"/>
                  </a:moveTo>
                  <a:cubicBezTo>
                    <a:pt x="189" y="1"/>
                    <a:pt x="0" y="190"/>
                    <a:pt x="0" y="379"/>
                  </a:cubicBezTo>
                  <a:cubicBezTo>
                    <a:pt x="0" y="599"/>
                    <a:pt x="189" y="788"/>
                    <a:pt x="378" y="788"/>
                  </a:cubicBezTo>
                  <a:cubicBezTo>
                    <a:pt x="599" y="788"/>
                    <a:pt x="788" y="599"/>
                    <a:pt x="788" y="379"/>
                  </a:cubicBezTo>
                  <a:cubicBezTo>
                    <a:pt x="788" y="190"/>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4"/>
            <p:cNvSpPr/>
            <p:nvPr/>
          </p:nvSpPr>
          <p:spPr>
            <a:xfrm>
              <a:off x="-9330725" y="3351725"/>
              <a:ext cx="62250" cy="36250"/>
            </a:xfrm>
            <a:custGeom>
              <a:avLst/>
              <a:gdLst/>
              <a:ahLst/>
              <a:cxnLst/>
              <a:rect l="l" t="t" r="r" b="b"/>
              <a:pathLst>
                <a:path w="2490" h="1450" extrusionOk="0">
                  <a:moveTo>
                    <a:pt x="1040" y="0"/>
                  </a:moveTo>
                  <a:lnTo>
                    <a:pt x="0" y="977"/>
                  </a:lnTo>
                  <a:lnTo>
                    <a:pt x="410" y="1449"/>
                  </a:lnTo>
                  <a:lnTo>
                    <a:pt x="2489" y="1449"/>
                  </a:ln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74"/>
            <p:cNvSpPr/>
            <p:nvPr/>
          </p:nvSpPr>
          <p:spPr>
            <a:xfrm>
              <a:off x="-9440200" y="3220975"/>
              <a:ext cx="186675" cy="152025"/>
            </a:xfrm>
            <a:custGeom>
              <a:avLst/>
              <a:gdLst/>
              <a:ahLst/>
              <a:cxnLst/>
              <a:rect l="l" t="t" r="r" b="b"/>
              <a:pathLst>
                <a:path w="7467" h="6081" extrusionOk="0">
                  <a:moveTo>
                    <a:pt x="4568" y="1324"/>
                  </a:moveTo>
                  <a:cubicBezTo>
                    <a:pt x="5261" y="1324"/>
                    <a:pt x="5828" y="1859"/>
                    <a:pt x="5828" y="2552"/>
                  </a:cubicBezTo>
                  <a:cubicBezTo>
                    <a:pt x="5828" y="3214"/>
                    <a:pt x="5293" y="3813"/>
                    <a:pt x="4568" y="3813"/>
                  </a:cubicBezTo>
                  <a:cubicBezTo>
                    <a:pt x="3875" y="3813"/>
                    <a:pt x="3308" y="3245"/>
                    <a:pt x="3308" y="2552"/>
                  </a:cubicBezTo>
                  <a:cubicBezTo>
                    <a:pt x="3308" y="1828"/>
                    <a:pt x="3875" y="1324"/>
                    <a:pt x="4568" y="1324"/>
                  </a:cubicBezTo>
                  <a:close/>
                  <a:moveTo>
                    <a:pt x="0" y="0"/>
                  </a:moveTo>
                  <a:lnTo>
                    <a:pt x="0" y="5860"/>
                  </a:lnTo>
                  <a:lnTo>
                    <a:pt x="1733" y="3529"/>
                  </a:lnTo>
                  <a:cubicBezTo>
                    <a:pt x="1812" y="3434"/>
                    <a:pt x="1945" y="3387"/>
                    <a:pt x="2079" y="3387"/>
                  </a:cubicBezTo>
                  <a:cubicBezTo>
                    <a:pt x="2213" y="3387"/>
                    <a:pt x="2347" y="3434"/>
                    <a:pt x="2426" y="3529"/>
                  </a:cubicBezTo>
                  <a:lnTo>
                    <a:pt x="3907" y="5482"/>
                  </a:lnTo>
                  <a:lnTo>
                    <a:pt x="5104" y="4317"/>
                  </a:lnTo>
                  <a:cubicBezTo>
                    <a:pt x="5183" y="4238"/>
                    <a:pt x="5285" y="4198"/>
                    <a:pt x="5387" y="4198"/>
                  </a:cubicBezTo>
                  <a:cubicBezTo>
                    <a:pt x="5490" y="4198"/>
                    <a:pt x="5592" y="4238"/>
                    <a:pt x="5671" y="4317"/>
                  </a:cubicBezTo>
                  <a:lnTo>
                    <a:pt x="7467" y="6081"/>
                  </a:lnTo>
                  <a:lnTo>
                    <a:pt x="74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74"/>
            <p:cNvSpPr/>
            <p:nvPr/>
          </p:nvSpPr>
          <p:spPr>
            <a:xfrm>
              <a:off x="-9500075" y="3222550"/>
              <a:ext cx="310350" cy="228425"/>
            </a:xfrm>
            <a:custGeom>
              <a:avLst/>
              <a:gdLst/>
              <a:ahLst/>
              <a:cxnLst/>
              <a:rect l="l" t="t" r="r" b="b"/>
              <a:pathLst>
                <a:path w="12414" h="9137" extrusionOk="0">
                  <a:moveTo>
                    <a:pt x="1229" y="0"/>
                  </a:moveTo>
                  <a:cubicBezTo>
                    <a:pt x="568" y="0"/>
                    <a:pt x="1" y="599"/>
                    <a:pt x="1" y="1261"/>
                  </a:cubicBezTo>
                  <a:lnTo>
                    <a:pt x="1" y="7877"/>
                  </a:lnTo>
                  <a:cubicBezTo>
                    <a:pt x="1" y="8538"/>
                    <a:pt x="568" y="9137"/>
                    <a:pt x="1229" y="9137"/>
                  </a:cubicBezTo>
                  <a:lnTo>
                    <a:pt x="11153" y="9137"/>
                  </a:lnTo>
                  <a:cubicBezTo>
                    <a:pt x="11815" y="9137"/>
                    <a:pt x="12414" y="8538"/>
                    <a:pt x="12414" y="7877"/>
                  </a:cubicBezTo>
                  <a:lnTo>
                    <a:pt x="12414" y="1261"/>
                  </a:lnTo>
                  <a:cubicBezTo>
                    <a:pt x="12319" y="536"/>
                    <a:pt x="11784" y="0"/>
                    <a:pt x="11122" y="0"/>
                  </a:cubicBezTo>
                  <a:lnTo>
                    <a:pt x="10712" y="0"/>
                  </a:lnTo>
                  <a:lnTo>
                    <a:pt x="10712" y="7058"/>
                  </a:lnTo>
                  <a:cubicBezTo>
                    <a:pt x="10712" y="7278"/>
                    <a:pt x="10523" y="7436"/>
                    <a:pt x="10334" y="7436"/>
                  </a:cubicBezTo>
                  <a:lnTo>
                    <a:pt x="2048" y="7436"/>
                  </a:lnTo>
                  <a:cubicBezTo>
                    <a:pt x="1828" y="7436"/>
                    <a:pt x="1607" y="7247"/>
                    <a:pt x="1607" y="7058"/>
                  </a:cubicBezTo>
                  <a:lnTo>
                    <a:pt x="16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74"/>
            <p:cNvSpPr/>
            <p:nvPr/>
          </p:nvSpPr>
          <p:spPr>
            <a:xfrm>
              <a:off x="-9398475" y="3180800"/>
              <a:ext cx="103200" cy="21300"/>
            </a:xfrm>
            <a:custGeom>
              <a:avLst/>
              <a:gdLst/>
              <a:ahLst/>
              <a:cxnLst/>
              <a:rect l="l" t="t" r="r" b="b"/>
              <a:pathLst>
                <a:path w="4128" h="852" extrusionOk="0">
                  <a:moveTo>
                    <a:pt x="820" y="1"/>
                  </a:moveTo>
                  <a:cubicBezTo>
                    <a:pt x="347" y="1"/>
                    <a:pt x="1" y="379"/>
                    <a:pt x="1" y="851"/>
                  </a:cubicBezTo>
                  <a:lnTo>
                    <a:pt x="4128" y="851"/>
                  </a:lnTo>
                  <a:cubicBezTo>
                    <a:pt x="4128" y="379"/>
                    <a:pt x="3781"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74"/>
            <p:cNvSpPr/>
            <p:nvPr/>
          </p:nvSpPr>
          <p:spPr>
            <a:xfrm>
              <a:off x="-9460700" y="3471450"/>
              <a:ext cx="41775" cy="62225"/>
            </a:xfrm>
            <a:custGeom>
              <a:avLst/>
              <a:gdLst/>
              <a:ahLst/>
              <a:cxnLst/>
              <a:rect l="l" t="t" r="r" b="b"/>
              <a:pathLst>
                <a:path w="1671" h="2489" extrusionOk="0">
                  <a:moveTo>
                    <a:pt x="1" y="0"/>
                  </a:moveTo>
                  <a:lnTo>
                    <a:pt x="1" y="1670"/>
                  </a:lnTo>
                  <a:cubicBezTo>
                    <a:pt x="1" y="2142"/>
                    <a:pt x="347" y="2489"/>
                    <a:pt x="820" y="2489"/>
                  </a:cubicBezTo>
                  <a:cubicBezTo>
                    <a:pt x="1293" y="2489"/>
                    <a:pt x="1671" y="2142"/>
                    <a:pt x="1671" y="1670"/>
                  </a:cubicBez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74"/>
            <p:cNvSpPr/>
            <p:nvPr/>
          </p:nvSpPr>
          <p:spPr>
            <a:xfrm>
              <a:off x="-9274800" y="3471450"/>
              <a:ext cx="41750" cy="62225"/>
            </a:xfrm>
            <a:custGeom>
              <a:avLst/>
              <a:gdLst/>
              <a:ahLst/>
              <a:cxnLst/>
              <a:rect l="l" t="t" r="r" b="b"/>
              <a:pathLst>
                <a:path w="1670" h="2489" extrusionOk="0">
                  <a:moveTo>
                    <a:pt x="0" y="0"/>
                  </a:moveTo>
                  <a:lnTo>
                    <a:pt x="0" y="1670"/>
                  </a:lnTo>
                  <a:cubicBezTo>
                    <a:pt x="0" y="2142"/>
                    <a:pt x="378" y="2489"/>
                    <a:pt x="851" y="2489"/>
                  </a:cubicBezTo>
                  <a:cubicBezTo>
                    <a:pt x="1323" y="2489"/>
                    <a:pt x="1670" y="2142"/>
                    <a:pt x="1670" y="1670"/>
                  </a:cubicBez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4"/>
            <p:cNvSpPr/>
            <p:nvPr/>
          </p:nvSpPr>
          <p:spPr>
            <a:xfrm>
              <a:off x="-9398475" y="3471450"/>
              <a:ext cx="103200" cy="20500"/>
            </a:xfrm>
            <a:custGeom>
              <a:avLst/>
              <a:gdLst/>
              <a:ahLst/>
              <a:cxnLst/>
              <a:rect l="l" t="t" r="r" b="b"/>
              <a:pathLst>
                <a:path w="4128" h="820" extrusionOk="0">
                  <a:moveTo>
                    <a:pt x="1" y="0"/>
                  </a:moveTo>
                  <a:lnTo>
                    <a:pt x="1" y="819"/>
                  </a:lnTo>
                  <a:lnTo>
                    <a:pt x="4128" y="819"/>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74"/>
          <p:cNvGrpSpPr/>
          <p:nvPr/>
        </p:nvGrpSpPr>
        <p:grpSpPr>
          <a:xfrm>
            <a:off x="5747530" y="3214479"/>
            <a:ext cx="356221" cy="356257"/>
            <a:chOff x="-9523700" y="3614000"/>
            <a:chExt cx="353675" cy="353675"/>
          </a:xfrm>
        </p:grpSpPr>
        <p:sp>
          <p:nvSpPr>
            <p:cNvPr id="8313" name="Google Shape;8313;p74"/>
            <p:cNvSpPr/>
            <p:nvPr/>
          </p:nvSpPr>
          <p:spPr>
            <a:xfrm>
              <a:off x="-95237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828" y="1198"/>
                    <a:pt x="2489" y="1198"/>
                  </a:cubicBezTo>
                  <a:close/>
                  <a:moveTo>
                    <a:pt x="2489" y="1"/>
                  </a:moveTo>
                  <a:cubicBezTo>
                    <a:pt x="1103" y="1"/>
                    <a:pt x="1" y="1103"/>
                    <a:pt x="1" y="2458"/>
                  </a:cubicBezTo>
                  <a:cubicBezTo>
                    <a:pt x="1" y="3844"/>
                    <a:pt x="1135"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4"/>
            <p:cNvSpPr/>
            <p:nvPr/>
          </p:nvSpPr>
          <p:spPr>
            <a:xfrm>
              <a:off x="-9515825" y="3656525"/>
              <a:ext cx="116600" cy="195350"/>
            </a:xfrm>
            <a:custGeom>
              <a:avLst/>
              <a:gdLst/>
              <a:ahLst/>
              <a:cxnLst/>
              <a:rect l="l" t="t" r="r" b="b"/>
              <a:pathLst>
                <a:path w="4664" h="7814" extrusionOk="0">
                  <a:moveTo>
                    <a:pt x="2994" y="1"/>
                  </a:moveTo>
                  <a:cubicBezTo>
                    <a:pt x="2206" y="1"/>
                    <a:pt x="1513" y="536"/>
                    <a:pt x="1387" y="1324"/>
                  </a:cubicBezTo>
                  <a:lnTo>
                    <a:pt x="1" y="7499"/>
                  </a:lnTo>
                  <a:cubicBezTo>
                    <a:pt x="599" y="6963"/>
                    <a:pt x="1355" y="6648"/>
                    <a:pt x="2174" y="6648"/>
                  </a:cubicBezTo>
                  <a:cubicBezTo>
                    <a:pt x="3151" y="6648"/>
                    <a:pt x="4065" y="7089"/>
                    <a:pt x="4663" y="7814"/>
                  </a:cubicBezTo>
                  <a:lnTo>
                    <a:pt x="4663" y="1639"/>
                  </a:lnTo>
                  <a:cubicBezTo>
                    <a:pt x="4663" y="757"/>
                    <a:pt x="3907"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5" name="Google Shape;8315;p74"/>
            <p:cNvSpPr/>
            <p:nvPr/>
          </p:nvSpPr>
          <p:spPr>
            <a:xfrm>
              <a:off x="-9481175" y="3614000"/>
              <a:ext cx="80375" cy="37050"/>
            </a:xfrm>
            <a:custGeom>
              <a:avLst/>
              <a:gdLst/>
              <a:ahLst/>
              <a:cxnLst/>
              <a:rect l="l" t="t" r="r" b="b"/>
              <a:pathLst>
                <a:path w="3215" h="1482" extrusionOk="0">
                  <a:moveTo>
                    <a:pt x="1608" y="0"/>
                  </a:moveTo>
                  <a:cubicBezTo>
                    <a:pt x="788" y="63"/>
                    <a:pt x="127" y="693"/>
                    <a:pt x="1" y="1481"/>
                  </a:cubicBezTo>
                  <a:cubicBezTo>
                    <a:pt x="442" y="1072"/>
                    <a:pt x="1009" y="851"/>
                    <a:pt x="1608" y="851"/>
                  </a:cubicBezTo>
                  <a:cubicBezTo>
                    <a:pt x="2238" y="851"/>
                    <a:pt x="2805" y="1072"/>
                    <a:pt x="3214" y="1481"/>
                  </a:cubicBezTo>
                  <a:cubicBezTo>
                    <a:pt x="3120" y="630"/>
                    <a:pt x="2427" y="0"/>
                    <a:pt x="1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6" name="Google Shape;8316;p74"/>
            <p:cNvSpPr/>
            <p:nvPr/>
          </p:nvSpPr>
          <p:spPr>
            <a:xfrm>
              <a:off x="-92945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796" y="1198"/>
                    <a:pt x="2489" y="1198"/>
                  </a:cubicBezTo>
                  <a:close/>
                  <a:moveTo>
                    <a:pt x="2489" y="1"/>
                  </a:moveTo>
                  <a:cubicBezTo>
                    <a:pt x="1103" y="1"/>
                    <a:pt x="0" y="1103"/>
                    <a:pt x="0" y="2458"/>
                  </a:cubicBezTo>
                  <a:cubicBezTo>
                    <a:pt x="0" y="3844"/>
                    <a:pt x="1103"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74"/>
            <p:cNvSpPr/>
            <p:nvPr/>
          </p:nvSpPr>
          <p:spPr>
            <a:xfrm>
              <a:off x="-9294500" y="3656525"/>
              <a:ext cx="116600" cy="195350"/>
            </a:xfrm>
            <a:custGeom>
              <a:avLst/>
              <a:gdLst/>
              <a:ahLst/>
              <a:cxnLst/>
              <a:rect l="l" t="t" r="r" b="b"/>
              <a:pathLst>
                <a:path w="4664" h="7814" extrusionOk="0">
                  <a:moveTo>
                    <a:pt x="1670" y="1"/>
                  </a:moveTo>
                  <a:cubicBezTo>
                    <a:pt x="757" y="1"/>
                    <a:pt x="0" y="757"/>
                    <a:pt x="0" y="1639"/>
                  </a:cubicBezTo>
                  <a:lnTo>
                    <a:pt x="0" y="7814"/>
                  </a:lnTo>
                  <a:cubicBezTo>
                    <a:pt x="599" y="7089"/>
                    <a:pt x="1513" y="6648"/>
                    <a:pt x="2489" y="6648"/>
                  </a:cubicBezTo>
                  <a:cubicBezTo>
                    <a:pt x="3308" y="6648"/>
                    <a:pt x="4065" y="6963"/>
                    <a:pt x="4663" y="7499"/>
                  </a:cubicBezTo>
                  <a:lnTo>
                    <a:pt x="3277" y="1324"/>
                  </a:lnTo>
                  <a:cubicBezTo>
                    <a:pt x="3119" y="536"/>
                    <a:pt x="245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4"/>
            <p:cNvSpPr/>
            <p:nvPr/>
          </p:nvSpPr>
          <p:spPr>
            <a:xfrm>
              <a:off x="-9294500" y="3615575"/>
              <a:ext cx="81150" cy="36250"/>
            </a:xfrm>
            <a:custGeom>
              <a:avLst/>
              <a:gdLst/>
              <a:ahLst/>
              <a:cxnLst/>
              <a:rect l="l" t="t" r="r" b="b"/>
              <a:pathLst>
                <a:path w="3246" h="1450" extrusionOk="0">
                  <a:moveTo>
                    <a:pt x="1639" y="0"/>
                  </a:moveTo>
                  <a:cubicBezTo>
                    <a:pt x="788" y="0"/>
                    <a:pt x="126" y="630"/>
                    <a:pt x="0" y="1450"/>
                  </a:cubicBezTo>
                  <a:cubicBezTo>
                    <a:pt x="442" y="1040"/>
                    <a:pt x="1040" y="820"/>
                    <a:pt x="1639" y="820"/>
                  </a:cubicBezTo>
                  <a:cubicBezTo>
                    <a:pt x="2269" y="820"/>
                    <a:pt x="2804" y="1040"/>
                    <a:pt x="3245" y="1450"/>
                  </a:cubicBezTo>
                  <a:cubicBezTo>
                    <a:pt x="3119" y="599"/>
                    <a:pt x="2458"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4"/>
            <p:cNvSpPr/>
            <p:nvPr/>
          </p:nvSpPr>
          <p:spPr>
            <a:xfrm>
              <a:off x="-9378775" y="3822725"/>
              <a:ext cx="63025" cy="41750"/>
            </a:xfrm>
            <a:custGeom>
              <a:avLst/>
              <a:gdLst/>
              <a:ahLst/>
              <a:cxnLst/>
              <a:rect l="l" t="t" r="r" b="b"/>
              <a:pathLst>
                <a:path w="2521" h="1670" extrusionOk="0">
                  <a:moveTo>
                    <a:pt x="0" y="0"/>
                  </a:moveTo>
                  <a:lnTo>
                    <a:pt x="0" y="1670"/>
                  </a:lnTo>
                  <a:lnTo>
                    <a:pt x="2521" y="1670"/>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4"/>
            <p:cNvSpPr/>
            <p:nvPr/>
          </p:nvSpPr>
          <p:spPr>
            <a:xfrm>
              <a:off x="-9336250" y="3739225"/>
              <a:ext cx="21300" cy="63050"/>
            </a:xfrm>
            <a:custGeom>
              <a:avLst/>
              <a:gdLst/>
              <a:ahLst/>
              <a:cxnLst/>
              <a:rect l="l" t="t" r="r" b="b"/>
              <a:pathLst>
                <a:path w="852" h="2522" extrusionOk="0">
                  <a:moveTo>
                    <a:pt x="1" y="1"/>
                  </a:moveTo>
                  <a:lnTo>
                    <a:pt x="1" y="2521"/>
                  </a:lnTo>
                  <a:lnTo>
                    <a:pt x="851" y="2521"/>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1" name="Google Shape;8321;p74"/>
            <p:cNvSpPr/>
            <p:nvPr/>
          </p:nvSpPr>
          <p:spPr>
            <a:xfrm>
              <a:off x="-9378775" y="3739225"/>
              <a:ext cx="20500" cy="63050"/>
            </a:xfrm>
            <a:custGeom>
              <a:avLst/>
              <a:gdLst/>
              <a:ahLst/>
              <a:cxnLst/>
              <a:rect l="l" t="t" r="r" b="b"/>
              <a:pathLst>
                <a:path w="820" h="2522" extrusionOk="0">
                  <a:moveTo>
                    <a:pt x="0" y="1"/>
                  </a:moveTo>
                  <a:lnTo>
                    <a:pt x="0" y="2521"/>
                  </a:lnTo>
                  <a:lnTo>
                    <a:pt x="820" y="2521"/>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2" name="Google Shape;8322;p74"/>
          <p:cNvGrpSpPr/>
          <p:nvPr/>
        </p:nvGrpSpPr>
        <p:grpSpPr>
          <a:xfrm>
            <a:off x="7532481" y="3237121"/>
            <a:ext cx="356221" cy="354670"/>
            <a:chOff x="-9523700" y="4049550"/>
            <a:chExt cx="353675" cy="352100"/>
          </a:xfrm>
        </p:grpSpPr>
        <p:sp>
          <p:nvSpPr>
            <p:cNvPr id="8323" name="Google Shape;8323;p74"/>
            <p:cNvSpPr/>
            <p:nvPr/>
          </p:nvSpPr>
          <p:spPr>
            <a:xfrm>
              <a:off x="-9523700" y="4049550"/>
              <a:ext cx="82725" cy="82725"/>
            </a:xfrm>
            <a:custGeom>
              <a:avLst/>
              <a:gdLst/>
              <a:ahLst/>
              <a:cxnLst/>
              <a:rect l="l" t="t" r="r" b="b"/>
              <a:pathLst>
                <a:path w="3309" h="3309" extrusionOk="0">
                  <a:moveTo>
                    <a:pt x="1670" y="1"/>
                  </a:moveTo>
                  <a:cubicBezTo>
                    <a:pt x="757" y="1"/>
                    <a:pt x="1" y="725"/>
                    <a:pt x="1" y="1639"/>
                  </a:cubicBezTo>
                  <a:cubicBezTo>
                    <a:pt x="1" y="2552"/>
                    <a:pt x="757" y="3309"/>
                    <a:pt x="1670" y="3309"/>
                  </a:cubicBezTo>
                  <a:cubicBezTo>
                    <a:pt x="2584" y="3309"/>
                    <a:pt x="3309" y="2552"/>
                    <a:pt x="3309" y="1639"/>
                  </a:cubicBezTo>
                  <a:cubicBezTo>
                    <a:pt x="3309" y="725"/>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4" name="Google Shape;8324;p74"/>
            <p:cNvSpPr/>
            <p:nvPr/>
          </p:nvSpPr>
          <p:spPr>
            <a:xfrm>
              <a:off x="-9523700" y="4148800"/>
              <a:ext cx="82725" cy="252850"/>
            </a:xfrm>
            <a:custGeom>
              <a:avLst/>
              <a:gdLst/>
              <a:ahLst/>
              <a:cxnLst/>
              <a:rect l="l" t="t" r="r" b="b"/>
              <a:pathLst>
                <a:path w="3309" h="10114" extrusionOk="0">
                  <a:moveTo>
                    <a:pt x="820" y="0"/>
                  </a:moveTo>
                  <a:lnTo>
                    <a:pt x="820" y="7876"/>
                  </a:lnTo>
                  <a:cubicBezTo>
                    <a:pt x="316" y="8160"/>
                    <a:pt x="1" y="8695"/>
                    <a:pt x="1" y="9294"/>
                  </a:cubicBezTo>
                  <a:lnTo>
                    <a:pt x="1" y="9672"/>
                  </a:lnTo>
                  <a:cubicBezTo>
                    <a:pt x="1" y="9924"/>
                    <a:pt x="190" y="10113"/>
                    <a:pt x="442" y="10113"/>
                  </a:cubicBezTo>
                  <a:lnTo>
                    <a:pt x="2930" y="10113"/>
                  </a:lnTo>
                  <a:cubicBezTo>
                    <a:pt x="3151" y="10113"/>
                    <a:pt x="3309" y="9924"/>
                    <a:pt x="3309" y="9672"/>
                  </a:cubicBezTo>
                  <a:lnTo>
                    <a:pt x="3309" y="9294"/>
                  </a:lnTo>
                  <a:cubicBezTo>
                    <a:pt x="3309" y="8664"/>
                    <a:pt x="2993" y="8160"/>
                    <a:pt x="2489" y="7876"/>
                  </a:cubicBezTo>
                  <a:lnTo>
                    <a:pt x="2489" y="0"/>
                  </a:lnTo>
                  <a:cubicBezTo>
                    <a:pt x="2206" y="63"/>
                    <a:pt x="1922" y="158"/>
                    <a:pt x="1670" y="158"/>
                  </a:cubicBezTo>
                  <a:cubicBezTo>
                    <a:pt x="1387" y="158"/>
                    <a:pt x="1103" y="6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5" name="Google Shape;8325;p74"/>
            <p:cNvSpPr/>
            <p:nvPr/>
          </p:nvSpPr>
          <p:spPr>
            <a:xfrm>
              <a:off x="-9252750" y="4049550"/>
              <a:ext cx="82725" cy="82725"/>
            </a:xfrm>
            <a:custGeom>
              <a:avLst/>
              <a:gdLst/>
              <a:ahLst/>
              <a:cxnLst/>
              <a:rect l="l" t="t" r="r" b="b"/>
              <a:pathLst>
                <a:path w="3309" h="3309" extrusionOk="0">
                  <a:moveTo>
                    <a:pt x="1670" y="1"/>
                  </a:moveTo>
                  <a:cubicBezTo>
                    <a:pt x="756" y="1"/>
                    <a:pt x="0" y="725"/>
                    <a:pt x="0" y="1639"/>
                  </a:cubicBezTo>
                  <a:cubicBezTo>
                    <a:pt x="0" y="2552"/>
                    <a:pt x="756" y="3309"/>
                    <a:pt x="1670" y="3309"/>
                  </a:cubicBezTo>
                  <a:cubicBezTo>
                    <a:pt x="2552" y="3309"/>
                    <a:pt x="3308" y="2552"/>
                    <a:pt x="3308" y="1639"/>
                  </a:cubicBezTo>
                  <a:cubicBezTo>
                    <a:pt x="3308" y="725"/>
                    <a:pt x="2552"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74"/>
            <p:cNvSpPr/>
            <p:nvPr/>
          </p:nvSpPr>
          <p:spPr>
            <a:xfrm>
              <a:off x="-9252750" y="4148800"/>
              <a:ext cx="82725" cy="252850"/>
            </a:xfrm>
            <a:custGeom>
              <a:avLst/>
              <a:gdLst/>
              <a:ahLst/>
              <a:cxnLst/>
              <a:rect l="l" t="t" r="r" b="b"/>
              <a:pathLst>
                <a:path w="3309" h="10114" extrusionOk="0">
                  <a:moveTo>
                    <a:pt x="819" y="0"/>
                  </a:moveTo>
                  <a:lnTo>
                    <a:pt x="819" y="7876"/>
                  </a:lnTo>
                  <a:cubicBezTo>
                    <a:pt x="315" y="8160"/>
                    <a:pt x="0" y="8695"/>
                    <a:pt x="0" y="9294"/>
                  </a:cubicBezTo>
                  <a:lnTo>
                    <a:pt x="0" y="9704"/>
                  </a:lnTo>
                  <a:cubicBezTo>
                    <a:pt x="0" y="9924"/>
                    <a:pt x="189" y="10113"/>
                    <a:pt x="441" y="10113"/>
                  </a:cubicBezTo>
                  <a:lnTo>
                    <a:pt x="2899" y="10113"/>
                  </a:lnTo>
                  <a:cubicBezTo>
                    <a:pt x="3151" y="10113"/>
                    <a:pt x="3308" y="9924"/>
                    <a:pt x="3308" y="9704"/>
                  </a:cubicBezTo>
                  <a:lnTo>
                    <a:pt x="3308" y="9294"/>
                  </a:lnTo>
                  <a:cubicBezTo>
                    <a:pt x="3308" y="8664"/>
                    <a:pt x="2962" y="8160"/>
                    <a:pt x="2489" y="7876"/>
                  </a:cubicBezTo>
                  <a:lnTo>
                    <a:pt x="2489" y="0"/>
                  </a:lnTo>
                  <a:cubicBezTo>
                    <a:pt x="2206" y="95"/>
                    <a:pt x="1922" y="158"/>
                    <a:pt x="1638" y="158"/>
                  </a:cubicBezTo>
                  <a:cubicBezTo>
                    <a:pt x="1386" y="158"/>
                    <a:pt x="1103" y="95"/>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7" name="Google Shape;8327;p74"/>
            <p:cNvSpPr/>
            <p:nvPr/>
          </p:nvSpPr>
          <p:spPr>
            <a:xfrm>
              <a:off x="-9440200" y="4214950"/>
              <a:ext cx="187475" cy="167000"/>
            </a:xfrm>
            <a:custGeom>
              <a:avLst/>
              <a:gdLst/>
              <a:ahLst/>
              <a:cxnLst/>
              <a:rect l="l" t="t" r="r" b="b"/>
              <a:pathLst>
                <a:path w="7499" h="6680" extrusionOk="0">
                  <a:moveTo>
                    <a:pt x="1229" y="1"/>
                  </a:moveTo>
                  <a:cubicBezTo>
                    <a:pt x="1071" y="1"/>
                    <a:pt x="914" y="64"/>
                    <a:pt x="882" y="221"/>
                  </a:cubicBezTo>
                  <a:lnTo>
                    <a:pt x="0" y="1954"/>
                  </a:lnTo>
                  <a:lnTo>
                    <a:pt x="0" y="4852"/>
                  </a:lnTo>
                  <a:cubicBezTo>
                    <a:pt x="536" y="5325"/>
                    <a:pt x="851" y="5955"/>
                    <a:pt x="851" y="6680"/>
                  </a:cubicBezTo>
                  <a:lnTo>
                    <a:pt x="6679" y="6680"/>
                  </a:lnTo>
                  <a:cubicBezTo>
                    <a:pt x="6679" y="5955"/>
                    <a:pt x="6994" y="5325"/>
                    <a:pt x="7498" y="4852"/>
                  </a:cubicBezTo>
                  <a:lnTo>
                    <a:pt x="7498" y="1954"/>
                  </a:lnTo>
                  <a:lnTo>
                    <a:pt x="6616" y="221"/>
                  </a:lnTo>
                  <a:cubicBezTo>
                    <a:pt x="6553" y="64"/>
                    <a:pt x="6427" y="1"/>
                    <a:pt x="6270" y="1"/>
                  </a:cubicBezTo>
                  <a:lnTo>
                    <a:pt x="4726" y="1"/>
                  </a:lnTo>
                  <a:lnTo>
                    <a:pt x="6616" y="4443"/>
                  </a:lnTo>
                  <a:cubicBezTo>
                    <a:pt x="6679" y="4569"/>
                    <a:pt x="6679" y="4726"/>
                    <a:pt x="6585" y="4852"/>
                  </a:cubicBezTo>
                  <a:cubicBezTo>
                    <a:pt x="6522" y="4947"/>
                    <a:pt x="6396" y="5041"/>
                    <a:pt x="6238" y="5041"/>
                  </a:cubicBezTo>
                  <a:lnTo>
                    <a:pt x="1260" y="5041"/>
                  </a:lnTo>
                  <a:cubicBezTo>
                    <a:pt x="1103" y="5041"/>
                    <a:pt x="1008" y="4947"/>
                    <a:pt x="914" y="4852"/>
                  </a:cubicBezTo>
                  <a:cubicBezTo>
                    <a:pt x="851" y="4726"/>
                    <a:pt x="851" y="4569"/>
                    <a:pt x="882" y="4443"/>
                  </a:cubicBezTo>
                  <a:lnTo>
                    <a:pt x="27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8" name="Google Shape;8328;p74"/>
            <p:cNvSpPr/>
            <p:nvPr/>
          </p:nvSpPr>
          <p:spPr>
            <a:xfrm>
              <a:off x="-9393750" y="4214950"/>
              <a:ext cx="93750" cy="104000"/>
            </a:xfrm>
            <a:custGeom>
              <a:avLst/>
              <a:gdLst/>
              <a:ahLst/>
              <a:cxnLst/>
              <a:rect l="l" t="t" r="r" b="b"/>
              <a:pathLst>
                <a:path w="3750" h="4160" extrusionOk="0">
                  <a:moveTo>
                    <a:pt x="1828" y="1"/>
                  </a:moveTo>
                  <a:lnTo>
                    <a:pt x="1" y="4159"/>
                  </a:lnTo>
                  <a:lnTo>
                    <a:pt x="3750" y="4159"/>
                  </a:lnTo>
                  <a:lnTo>
                    <a:pt x="1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4"/>
            <p:cNvSpPr/>
            <p:nvPr/>
          </p:nvSpPr>
          <p:spPr>
            <a:xfrm>
              <a:off x="-9440200" y="4140125"/>
              <a:ext cx="187475" cy="32325"/>
            </a:xfrm>
            <a:custGeom>
              <a:avLst/>
              <a:gdLst/>
              <a:ahLst/>
              <a:cxnLst/>
              <a:rect l="l" t="t" r="r" b="b"/>
              <a:pathLst>
                <a:path w="7499" h="1293" extrusionOk="0">
                  <a:moveTo>
                    <a:pt x="0" y="1"/>
                  </a:moveTo>
                  <a:lnTo>
                    <a:pt x="0" y="851"/>
                  </a:lnTo>
                  <a:cubicBezTo>
                    <a:pt x="1229" y="1135"/>
                    <a:pt x="2489" y="1292"/>
                    <a:pt x="3749" y="1292"/>
                  </a:cubicBezTo>
                  <a:cubicBezTo>
                    <a:pt x="5009" y="1292"/>
                    <a:pt x="6270" y="1135"/>
                    <a:pt x="7498" y="851"/>
                  </a:cubicBezTo>
                  <a:lnTo>
                    <a:pt x="7498" y="1"/>
                  </a:lnTo>
                  <a:cubicBezTo>
                    <a:pt x="6270" y="300"/>
                    <a:pt x="5001" y="450"/>
                    <a:pt x="3737" y="450"/>
                  </a:cubicBezTo>
                  <a:cubicBezTo>
                    <a:pt x="2473" y="450"/>
                    <a:pt x="1213" y="30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4"/>
          <p:cNvGrpSpPr/>
          <p:nvPr/>
        </p:nvGrpSpPr>
        <p:grpSpPr>
          <a:xfrm>
            <a:off x="7088596" y="3237094"/>
            <a:ext cx="357002" cy="311029"/>
            <a:chOff x="-8209150" y="3659675"/>
            <a:chExt cx="354450" cy="308775"/>
          </a:xfrm>
        </p:grpSpPr>
        <p:sp>
          <p:nvSpPr>
            <p:cNvPr id="8331" name="Google Shape;8331;p74"/>
            <p:cNvSpPr/>
            <p:nvPr/>
          </p:nvSpPr>
          <p:spPr>
            <a:xfrm>
              <a:off x="-8209150" y="3907775"/>
              <a:ext cx="353675" cy="60675"/>
            </a:xfrm>
            <a:custGeom>
              <a:avLst/>
              <a:gdLst/>
              <a:ahLst/>
              <a:cxnLst/>
              <a:rect l="l" t="t" r="r" b="b"/>
              <a:pathLst>
                <a:path w="14147" h="2427" extrusionOk="0">
                  <a:moveTo>
                    <a:pt x="1261" y="1"/>
                  </a:moveTo>
                  <a:cubicBezTo>
                    <a:pt x="599" y="1"/>
                    <a:pt x="0" y="536"/>
                    <a:pt x="0" y="1229"/>
                  </a:cubicBezTo>
                  <a:lnTo>
                    <a:pt x="0" y="2048"/>
                  </a:lnTo>
                  <a:cubicBezTo>
                    <a:pt x="0" y="2269"/>
                    <a:pt x="189" y="2427"/>
                    <a:pt x="378" y="2427"/>
                  </a:cubicBezTo>
                  <a:lnTo>
                    <a:pt x="13673" y="2427"/>
                  </a:lnTo>
                  <a:cubicBezTo>
                    <a:pt x="13894" y="2427"/>
                    <a:pt x="14052" y="2238"/>
                    <a:pt x="14052" y="2048"/>
                  </a:cubicBezTo>
                  <a:lnTo>
                    <a:pt x="14052" y="1229"/>
                  </a:lnTo>
                  <a:cubicBezTo>
                    <a:pt x="14146" y="599"/>
                    <a:pt x="13579" y="1"/>
                    <a:pt x="128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4"/>
            <p:cNvSpPr/>
            <p:nvPr/>
          </p:nvSpPr>
          <p:spPr>
            <a:xfrm>
              <a:off x="-8188675" y="3825075"/>
              <a:ext cx="311125" cy="63050"/>
            </a:xfrm>
            <a:custGeom>
              <a:avLst/>
              <a:gdLst/>
              <a:ahLst/>
              <a:cxnLst/>
              <a:rect l="l" t="t" r="r" b="b"/>
              <a:pathLst>
                <a:path w="12445" h="2522" extrusionOk="0">
                  <a:moveTo>
                    <a:pt x="442" y="1"/>
                  </a:moveTo>
                  <a:cubicBezTo>
                    <a:pt x="189" y="1"/>
                    <a:pt x="0" y="190"/>
                    <a:pt x="0" y="410"/>
                  </a:cubicBezTo>
                  <a:lnTo>
                    <a:pt x="0" y="2521"/>
                  </a:lnTo>
                  <a:lnTo>
                    <a:pt x="3308" y="2521"/>
                  </a:lnTo>
                  <a:lnTo>
                    <a:pt x="3308" y="2080"/>
                  </a:lnTo>
                  <a:cubicBezTo>
                    <a:pt x="3308" y="1828"/>
                    <a:pt x="3497" y="1670"/>
                    <a:pt x="3718" y="1670"/>
                  </a:cubicBezTo>
                  <a:cubicBezTo>
                    <a:pt x="3939" y="1670"/>
                    <a:pt x="4128" y="1891"/>
                    <a:pt x="4128" y="2080"/>
                  </a:cubicBezTo>
                  <a:lnTo>
                    <a:pt x="4128" y="2521"/>
                  </a:lnTo>
                  <a:lnTo>
                    <a:pt x="5797" y="2521"/>
                  </a:lnTo>
                  <a:lnTo>
                    <a:pt x="5797" y="2080"/>
                  </a:lnTo>
                  <a:cubicBezTo>
                    <a:pt x="5797" y="1828"/>
                    <a:pt x="5986" y="1670"/>
                    <a:pt x="6238" y="1670"/>
                  </a:cubicBezTo>
                  <a:cubicBezTo>
                    <a:pt x="6459" y="1670"/>
                    <a:pt x="6616" y="1891"/>
                    <a:pt x="6616" y="2080"/>
                  </a:cubicBezTo>
                  <a:lnTo>
                    <a:pt x="6616" y="2521"/>
                  </a:lnTo>
                  <a:lnTo>
                    <a:pt x="8318" y="2521"/>
                  </a:lnTo>
                  <a:lnTo>
                    <a:pt x="8318" y="2080"/>
                  </a:lnTo>
                  <a:cubicBezTo>
                    <a:pt x="8318" y="1828"/>
                    <a:pt x="8507" y="1670"/>
                    <a:pt x="8696" y="1670"/>
                  </a:cubicBezTo>
                  <a:cubicBezTo>
                    <a:pt x="8948" y="1670"/>
                    <a:pt x="9105" y="1891"/>
                    <a:pt x="9105" y="2080"/>
                  </a:cubicBezTo>
                  <a:lnTo>
                    <a:pt x="9105" y="2521"/>
                  </a:lnTo>
                  <a:lnTo>
                    <a:pt x="12445" y="2521"/>
                  </a:lnTo>
                  <a:lnTo>
                    <a:pt x="12445" y="410"/>
                  </a:lnTo>
                  <a:cubicBezTo>
                    <a:pt x="12445" y="190"/>
                    <a:pt x="12256" y="1"/>
                    <a:pt x="120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3" name="Google Shape;8333;p74"/>
            <p:cNvSpPr/>
            <p:nvPr/>
          </p:nvSpPr>
          <p:spPr>
            <a:xfrm>
              <a:off x="-7913800" y="3743175"/>
              <a:ext cx="59100" cy="62250"/>
            </a:xfrm>
            <a:custGeom>
              <a:avLst/>
              <a:gdLst/>
              <a:ahLst/>
              <a:cxnLst/>
              <a:rect l="l" t="t" r="r" b="b"/>
              <a:pathLst>
                <a:path w="2364" h="2490" extrusionOk="0">
                  <a:moveTo>
                    <a:pt x="1922" y="0"/>
                  </a:moveTo>
                  <a:cubicBezTo>
                    <a:pt x="1261" y="0"/>
                    <a:pt x="599" y="189"/>
                    <a:pt x="1" y="567"/>
                  </a:cubicBezTo>
                  <a:cubicBezTo>
                    <a:pt x="284" y="1134"/>
                    <a:pt x="473" y="1827"/>
                    <a:pt x="536" y="2489"/>
                  </a:cubicBezTo>
                  <a:lnTo>
                    <a:pt x="1796" y="2489"/>
                  </a:lnTo>
                  <a:lnTo>
                    <a:pt x="2332" y="504"/>
                  </a:lnTo>
                  <a:cubicBezTo>
                    <a:pt x="2364" y="410"/>
                    <a:pt x="2332" y="284"/>
                    <a:pt x="2238" y="158"/>
                  </a:cubicBezTo>
                  <a:cubicBezTo>
                    <a:pt x="2175" y="32"/>
                    <a:pt x="2048" y="0"/>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4" name="Google Shape;8334;p74"/>
            <p:cNvSpPr/>
            <p:nvPr/>
          </p:nvSpPr>
          <p:spPr>
            <a:xfrm>
              <a:off x="-8105975" y="3659675"/>
              <a:ext cx="185125" cy="145750"/>
            </a:xfrm>
            <a:custGeom>
              <a:avLst/>
              <a:gdLst/>
              <a:ahLst/>
              <a:cxnLst/>
              <a:rect l="l" t="t" r="r" b="b"/>
              <a:pathLst>
                <a:path w="7405" h="5830" extrusionOk="0">
                  <a:moveTo>
                    <a:pt x="442" y="1"/>
                  </a:moveTo>
                  <a:cubicBezTo>
                    <a:pt x="316" y="1"/>
                    <a:pt x="158" y="64"/>
                    <a:pt x="95" y="190"/>
                  </a:cubicBezTo>
                  <a:cubicBezTo>
                    <a:pt x="0" y="316"/>
                    <a:pt x="0" y="442"/>
                    <a:pt x="32" y="599"/>
                  </a:cubicBezTo>
                  <a:lnTo>
                    <a:pt x="2017" y="5829"/>
                  </a:lnTo>
                  <a:lnTo>
                    <a:pt x="7404" y="5829"/>
                  </a:lnTo>
                  <a:cubicBezTo>
                    <a:pt x="6806" y="2521"/>
                    <a:pt x="3907"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4"/>
            <p:cNvSpPr/>
            <p:nvPr/>
          </p:nvSpPr>
          <p:spPr>
            <a:xfrm>
              <a:off x="-8168975" y="3700625"/>
              <a:ext cx="91375" cy="104000"/>
            </a:xfrm>
            <a:custGeom>
              <a:avLst/>
              <a:gdLst/>
              <a:ahLst/>
              <a:cxnLst/>
              <a:rect l="l" t="t" r="r" b="b"/>
              <a:pathLst>
                <a:path w="3655" h="4160" extrusionOk="0">
                  <a:moveTo>
                    <a:pt x="473" y="1"/>
                  </a:moveTo>
                  <a:cubicBezTo>
                    <a:pt x="347" y="1"/>
                    <a:pt x="189" y="95"/>
                    <a:pt x="126" y="158"/>
                  </a:cubicBezTo>
                  <a:cubicBezTo>
                    <a:pt x="32" y="284"/>
                    <a:pt x="0" y="410"/>
                    <a:pt x="95" y="505"/>
                  </a:cubicBezTo>
                  <a:lnTo>
                    <a:pt x="1260" y="4097"/>
                  </a:lnTo>
                  <a:lnTo>
                    <a:pt x="3631" y="4097"/>
                  </a:lnTo>
                  <a:lnTo>
                    <a:pt x="2205" y="284"/>
                  </a:lnTo>
                  <a:cubicBezTo>
                    <a:pt x="1670" y="95"/>
                    <a:pt x="1071" y="1"/>
                    <a:pt x="473" y="1"/>
                  </a:cubicBezTo>
                  <a:close/>
                  <a:moveTo>
                    <a:pt x="3631" y="4097"/>
                  </a:moveTo>
                  <a:lnTo>
                    <a:pt x="3655" y="4160"/>
                  </a:lnTo>
                  <a:lnTo>
                    <a:pt x="3655" y="4097"/>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6" name="Google Shape;8336;p74"/>
            <p:cNvSpPr/>
            <p:nvPr/>
          </p:nvSpPr>
          <p:spPr>
            <a:xfrm>
              <a:off x="-8209150" y="3742375"/>
              <a:ext cx="50425" cy="61475"/>
            </a:xfrm>
            <a:custGeom>
              <a:avLst/>
              <a:gdLst/>
              <a:ahLst/>
              <a:cxnLst/>
              <a:rect l="l" t="t" r="r" b="b"/>
              <a:pathLst>
                <a:path w="2017" h="2459" extrusionOk="0">
                  <a:moveTo>
                    <a:pt x="441" y="1"/>
                  </a:moveTo>
                  <a:cubicBezTo>
                    <a:pt x="315" y="1"/>
                    <a:pt x="189" y="32"/>
                    <a:pt x="126" y="158"/>
                  </a:cubicBezTo>
                  <a:cubicBezTo>
                    <a:pt x="32" y="253"/>
                    <a:pt x="0" y="379"/>
                    <a:pt x="32" y="505"/>
                  </a:cubicBezTo>
                  <a:lnTo>
                    <a:pt x="504" y="2458"/>
                  </a:lnTo>
                  <a:lnTo>
                    <a:pt x="2017" y="2458"/>
                  </a:lnTo>
                  <a:lnTo>
                    <a:pt x="1229" y="64"/>
                  </a:lnTo>
                  <a:cubicBezTo>
                    <a:pt x="977" y="32"/>
                    <a:pt x="693"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7" name="Google Shape;8337;p74"/>
          <p:cNvGrpSpPr/>
          <p:nvPr/>
        </p:nvGrpSpPr>
        <p:grpSpPr>
          <a:xfrm>
            <a:off x="6202157" y="2266007"/>
            <a:ext cx="356221" cy="353059"/>
            <a:chOff x="-12643475" y="4081850"/>
            <a:chExt cx="353675" cy="350500"/>
          </a:xfrm>
        </p:grpSpPr>
        <p:sp>
          <p:nvSpPr>
            <p:cNvPr id="8338" name="Google Shape;8338;p74"/>
            <p:cNvSpPr/>
            <p:nvPr/>
          </p:nvSpPr>
          <p:spPr>
            <a:xfrm>
              <a:off x="-12552125" y="4262400"/>
              <a:ext cx="22875" cy="20125"/>
            </a:xfrm>
            <a:custGeom>
              <a:avLst/>
              <a:gdLst/>
              <a:ahLst/>
              <a:cxnLst/>
              <a:rect l="l" t="t" r="r" b="b"/>
              <a:pathLst>
                <a:path w="915" h="805" extrusionOk="0">
                  <a:moveTo>
                    <a:pt x="458" y="1"/>
                  </a:moveTo>
                  <a:cubicBezTo>
                    <a:pt x="348" y="1"/>
                    <a:pt x="237" y="40"/>
                    <a:pt x="158" y="119"/>
                  </a:cubicBezTo>
                  <a:cubicBezTo>
                    <a:pt x="1" y="276"/>
                    <a:pt x="1" y="528"/>
                    <a:pt x="158" y="686"/>
                  </a:cubicBezTo>
                  <a:cubicBezTo>
                    <a:pt x="237" y="765"/>
                    <a:pt x="348" y="804"/>
                    <a:pt x="458" y="804"/>
                  </a:cubicBezTo>
                  <a:cubicBezTo>
                    <a:pt x="568" y="804"/>
                    <a:pt x="678" y="765"/>
                    <a:pt x="757" y="686"/>
                  </a:cubicBezTo>
                  <a:cubicBezTo>
                    <a:pt x="915" y="528"/>
                    <a:pt x="915" y="276"/>
                    <a:pt x="757" y="119"/>
                  </a:cubicBezTo>
                  <a:cubicBezTo>
                    <a:pt x="678" y="40"/>
                    <a:pt x="568" y="1"/>
                    <a:pt x="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9" name="Google Shape;8339;p74"/>
            <p:cNvSpPr/>
            <p:nvPr/>
          </p:nvSpPr>
          <p:spPr>
            <a:xfrm>
              <a:off x="-12480450" y="4241725"/>
              <a:ext cx="69350" cy="47275"/>
            </a:xfrm>
            <a:custGeom>
              <a:avLst/>
              <a:gdLst/>
              <a:ahLst/>
              <a:cxnLst/>
              <a:rect l="l" t="t" r="r" b="b"/>
              <a:pathLst>
                <a:path w="2774" h="1891" extrusionOk="0">
                  <a:moveTo>
                    <a:pt x="568" y="1"/>
                  </a:moveTo>
                  <a:lnTo>
                    <a:pt x="1" y="568"/>
                  </a:lnTo>
                  <a:lnTo>
                    <a:pt x="2206" y="1891"/>
                  </a:lnTo>
                  <a:lnTo>
                    <a:pt x="2773" y="1324"/>
                  </a:lnTo>
                  <a:lnTo>
                    <a:pt x="5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0" name="Google Shape;8340;p74"/>
            <p:cNvSpPr/>
            <p:nvPr/>
          </p:nvSpPr>
          <p:spPr>
            <a:xfrm>
              <a:off x="-12643475" y="4081850"/>
              <a:ext cx="353675" cy="350500"/>
            </a:xfrm>
            <a:custGeom>
              <a:avLst/>
              <a:gdLst/>
              <a:ahLst/>
              <a:cxnLst/>
              <a:rect l="l" t="t" r="r" b="b"/>
              <a:pathLst>
                <a:path w="14147" h="14020" extrusionOk="0">
                  <a:moveTo>
                    <a:pt x="8207" y="3127"/>
                  </a:moveTo>
                  <a:cubicBezTo>
                    <a:pt x="8318" y="3127"/>
                    <a:pt x="8428" y="3166"/>
                    <a:pt x="8507" y="3245"/>
                  </a:cubicBezTo>
                  <a:lnTo>
                    <a:pt x="9105" y="3812"/>
                  </a:lnTo>
                  <a:cubicBezTo>
                    <a:pt x="9263" y="3970"/>
                    <a:pt x="9263" y="4253"/>
                    <a:pt x="9105" y="4411"/>
                  </a:cubicBezTo>
                  <a:cubicBezTo>
                    <a:pt x="9027" y="4490"/>
                    <a:pt x="8916" y="4529"/>
                    <a:pt x="8806" y="4529"/>
                  </a:cubicBezTo>
                  <a:cubicBezTo>
                    <a:pt x="8696" y="4529"/>
                    <a:pt x="8585" y="4490"/>
                    <a:pt x="8507" y="4411"/>
                  </a:cubicBezTo>
                  <a:lnTo>
                    <a:pt x="7908" y="3812"/>
                  </a:lnTo>
                  <a:cubicBezTo>
                    <a:pt x="7751" y="3655"/>
                    <a:pt x="7751" y="3403"/>
                    <a:pt x="7908" y="3245"/>
                  </a:cubicBezTo>
                  <a:cubicBezTo>
                    <a:pt x="7987" y="3166"/>
                    <a:pt x="8097" y="3127"/>
                    <a:pt x="8207" y="3127"/>
                  </a:cubicBezTo>
                  <a:close/>
                  <a:moveTo>
                    <a:pt x="9940" y="4860"/>
                  </a:moveTo>
                  <a:cubicBezTo>
                    <a:pt x="10050" y="4860"/>
                    <a:pt x="10161" y="4899"/>
                    <a:pt x="10239" y="4978"/>
                  </a:cubicBezTo>
                  <a:lnTo>
                    <a:pt x="10838" y="5545"/>
                  </a:lnTo>
                  <a:cubicBezTo>
                    <a:pt x="10996" y="5766"/>
                    <a:pt x="10996" y="5986"/>
                    <a:pt x="10838" y="6144"/>
                  </a:cubicBezTo>
                  <a:cubicBezTo>
                    <a:pt x="10759" y="6222"/>
                    <a:pt x="10649" y="6262"/>
                    <a:pt x="10539" y="6262"/>
                  </a:cubicBezTo>
                  <a:cubicBezTo>
                    <a:pt x="10429" y="6262"/>
                    <a:pt x="10318" y="6222"/>
                    <a:pt x="10239" y="6144"/>
                  </a:cubicBezTo>
                  <a:lnTo>
                    <a:pt x="9641" y="5545"/>
                  </a:lnTo>
                  <a:cubicBezTo>
                    <a:pt x="9483" y="5388"/>
                    <a:pt x="9483" y="5136"/>
                    <a:pt x="9641" y="4978"/>
                  </a:cubicBezTo>
                  <a:cubicBezTo>
                    <a:pt x="9720" y="4899"/>
                    <a:pt x="9830" y="4860"/>
                    <a:pt x="9940" y="4860"/>
                  </a:cubicBezTo>
                  <a:close/>
                  <a:moveTo>
                    <a:pt x="7058" y="5467"/>
                  </a:moveTo>
                  <a:cubicBezTo>
                    <a:pt x="7125" y="5467"/>
                    <a:pt x="7192" y="5481"/>
                    <a:pt x="7247" y="5514"/>
                  </a:cubicBezTo>
                  <a:lnTo>
                    <a:pt x="10145" y="7278"/>
                  </a:lnTo>
                  <a:cubicBezTo>
                    <a:pt x="10397" y="7404"/>
                    <a:pt x="10429" y="7719"/>
                    <a:pt x="10271" y="7908"/>
                  </a:cubicBezTo>
                  <a:lnTo>
                    <a:pt x="7373" y="10838"/>
                  </a:lnTo>
                  <a:cubicBezTo>
                    <a:pt x="7136" y="11074"/>
                    <a:pt x="6821" y="11192"/>
                    <a:pt x="6498" y="11192"/>
                  </a:cubicBezTo>
                  <a:cubicBezTo>
                    <a:pt x="6175" y="11192"/>
                    <a:pt x="5845" y="11074"/>
                    <a:pt x="5577" y="10838"/>
                  </a:cubicBezTo>
                  <a:cubicBezTo>
                    <a:pt x="5104" y="10365"/>
                    <a:pt x="5104" y="9578"/>
                    <a:pt x="5577" y="9074"/>
                  </a:cubicBezTo>
                  <a:cubicBezTo>
                    <a:pt x="5813" y="8837"/>
                    <a:pt x="6144" y="8719"/>
                    <a:pt x="6475" y="8719"/>
                  </a:cubicBezTo>
                  <a:cubicBezTo>
                    <a:pt x="6805" y="8719"/>
                    <a:pt x="7136" y="8837"/>
                    <a:pt x="7373" y="9074"/>
                  </a:cubicBezTo>
                  <a:cubicBezTo>
                    <a:pt x="7467" y="9168"/>
                    <a:pt x="7562" y="9294"/>
                    <a:pt x="7593" y="9420"/>
                  </a:cubicBezTo>
                  <a:lnTo>
                    <a:pt x="8160" y="8853"/>
                  </a:lnTo>
                  <a:lnTo>
                    <a:pt x="5955" y="7561"/>
                  </a:lnTo>
                  <a:lnTo>
                    <a:pt x="5010" y="8507"/>
                  </a:lnTo>
                  <a:cubicBezTo>
                    <a:pt x="4773" y="8743"/>
                    <a:pt x="4458" y="8861"/>
                    <a:pt x="4135" y="8861"/>
                  </a:cubicBezTo>
                  <a:cubicBezTo>
                    <a:pt x="3812" y="8861"/>
                    <a:pt x="3482" y="8743"/>
                    <a:pt x="3214" y="8507"/>
                  </a:cubicBezTo>
                  <a:cubicBezTo>
                    <a:pt x="2741" y="8034"/>
                    <a:pt x="2741" y="7246"/>
                    <a:pt x="3214" y="6742"/>
                  </a:cubicBezTo>
                  <a:cubicBezTo>
                    <a:pt x="3450" y="6506"/>
                    <a:pt x="3781" y="6388"/>
                    <a:pt x="4112" y="6388"/>
                  </a:cubicBezTo>
                  <a:cubicBezTo>
                    <a:pt x="4443" y="6388"/>
                    <a:pt x="4773" y="6506"/>
                    <a:pt x="5010" y="6742"/>
                  </a:cubicBezTo>
                  <a:cubicBezTo>
                    <a:pt x="5104" y="6837"/>
                    <a:pt x="5199" y="6963"/>
                    <a:pt x="5230" y="7089"/>
                  </a:cubicBezTo>
                  <a:lnTo>
                    <a:pt x="6742" y="5577"/>
                  </a:lnTo>
                  <a:cubicBezTo>
                    <a:pt x="6804" y="5515"/>
                    <a:pt x="6932" y="5467"/>
                    <a:pt x="7058" y="5467"/>
                  </a:cubicBezTo>
                  <a:close/>
                  <a:moveTo>
                    <a:pt x="9042" y="0"/>
                  </a:moveTo>
                  <a:cubicBezTo>
                    <a:pt x="8948" y="0"/>
                    <a:pt x="8853" y="32"/>
                    <a:pt x="8790" y="126"/>
                  </a:cubicBezTo>
                  <a:cubicBezTo>
                    <a:pt x="8711" y="205"/>
                    <a:pt x="8601" y="244"/>
                    <a:pt x="8491" y="244"/>
                  </a:cubicBezTo>
                  <a:cubicBezTo>
                    <a:pt x="8381" y="244"/>
                    <a:pt x="8270" y="205"/>
                    <a:pt x="8192" y="126"/>
                  </a:cubicBezTo>
                  <a:cubicBezTo>
                    <a:pt x="8113" y="47"/>
                    <a:pt x="8003" y="8"/>
                    <a:pt x="7892" y="8"/>
                  </a:cubicBezTo>
                  <a:cubicBezTo>
                    <a:pt x="7782" y="8"/>
                    <a:pt x="7672" y="47"/>
                    <a:pt x="7593" y="126"/>
                  </a:cubicBezTo>
                  <a:lnTo>
                    <a:pt x="6490" y="1229"/>
                  </a:lnTo>
                  <a:lnTo>
                    <a:pt x="7373" y="2080"/>
                  </a:lnTo>
                  <a:cubicBezTo>
                    <a:pt x="7530" y="2237"/>
                    <a:pt x="7530" y="2521"/>
                    <a:pt x="7373" y="2678"/>
                  </a:cubicBezTo>
                  <a:cubicBezTo>
                    <a:pt x="7294" y="2757"/>
                    <a:pt x="7184" y="2796"/>
                    <a:pt x="7073" y="2796"/>
                  </a:cubicBezTo>
                  <a:cubicBezTo>
                    <a:pt x="6963" y="2796"/>
                    <a:pt x="6853" y="2757"/>
                    <a:pt x="6774" y="2678"/>
                  </a:cubicBezTo>
                  <a:lnTo>
                    <a:pt x="5892" y="1828"/>
                  </a:lnTo>
                  <a:lnTo>
                    <a:pt x="158" y="7561"/>
                  </a:lnTo>
                  <a:cubicBezTo>
                    <a:pt x="0" y="7719"/>
                    <a:pt x="0" y="8002"/>
                    <a:pt x="158" y="8160"/>
                  </a:cubicBezTo>
                  <a:cubicBezTo>
                    <a:pt x="221" y="8223"/>
                    <a:pt x="284" y="8349"/>
                    <a:pt x="284" y="8444"/>
                  </a:cubicBezTo>
                  <a:cubicBezTo>
                    <a:pt x="284" y="8538"/>
                    <a:pt x="221" y="8633"/>
                    <a:pt x="158" y="8696"/>
                  </a:cubicBezTo>
                  <a:cubicBezTo>
                    <a:pt x="63" y="8790"/>
                    <a:pt x="32" y="8916"/>
                    <a:pt x="32" y="8979"/>
                  </a:cubicBezTo>
                  <a:cubicBezTo>
                    <a:pt x="32" y="9105"/>
                    <a:pt x="63" y="9168"/>
                    <a:pt x="158" y="9263"/>
                  </a:cubicBezTo>
                  <a:lnTo>
                    <a:pt x="756" y="9861"/>
                  </a:lnTo>
                  <a:cubicBezTo>
                    <a:pt x="820" y="9924"/>
                    <a:pt x="946" y="9956"/>
                    <a:pt x="1009" y="9956"/>
                  </a:cubicBezTo>
                  <a:cubicBezTo>
                    <a:pt x="1135" y="9956"/>
                    <a:pt x="1229" y="9924"/>
                    <a:pt x="1292" y="9861"/>
                  </a:cubicBezTo>
                  <a:cubicBezTo>
                    <a:pt x="1371" y="9782"/>
                    <a:pt x="1481" y="9743"/>
                    <a:pt x="1591" y="9743"/>
                  </a:cubicBezTo>
                  <a:cubicBezTo>
                    <a:pt x="1702" y="9743"/>
                    <a:pt x="1812" y="9782"/>
                    <a:pt x="1891" y="9861"/>
                  </a:cubicBezTo>
                  <a:cubicBezTo>
                    <a:pt x="1985" y="9924"/>
                    <a:pt x="2017" y="10050"/>
                    <a:pt x="2017" y="10113"/>
                  </a:cubicBezTo>
                  <a:cubicBezTo>
                    <a:pt x="2017" y="10239"/>
                    <a:pt x="1985" y="10334"/>
                    <a:pt x="1891" y="10397"/>
                  </a:cubicBezTo>
                  <a:cubicBezTo>
                    <a:pt x="1733" y="10554"/>
                    <a:pt x="1733" y="10838"/>
                    <a:pt x="1891" y="10995"/>
                  </a:cubicBezTo>
                  <a:lnTo>
                    <a:pt x="3088" y="12161"/>
                  </a:lnTo>
                  <a:cubicBezTo>
                    <a:pt x="3167" y="12240"/>
                    <a:pt x="3269" y="12279"/>
                    <a:pt x="3371" y="12279"/>
                  </a:cubicBezTo>
                  <a:cubicBezTo>
                    <a:pt x="3474" y="12279"/>
                    <a:pt x="3576" y="12240"/>
                    <a:pt x="3655" y="12161"/>
                  </a:cubicBezTo>
                  <a:cubicBezTo>
                    <a:pt x="3734" y="12082"/>
                    <a:pt x="3844" y="12043"/>
                    <a:pt x="3954" y="12043"/>
                  </a:cubicBezTo>
                  <a:cubicBezTo>
                    <a:pt x="4065" y="12043"/>
                    <a:pt x="4175" y="12082"/>
                    <a:pt x="4254" y="12161"/>
                  </a:cubicBezTo>
                  <a:cubicBezTo>
                    <a:pt x="4411" y="12319"/>
                    <a:pt x="4411" y="12602"/>
                    <a:pt x="4254" y="12760"/>
                  </a:cubicBezTo>
                  <a:cubicBezTo>
                    <a:pt x="4159" y="12854"/>
                    <a:pt x="4128" y="12949"/>
                    <a:pt x="4128" y="13043"/>
                  </a:cubicBezTo>
                  <a:cubicBezTo>
                    <a:pt x="4128" y="13169"/>
                    <a:pt x="4159" y="13232"/>
                    <a:pt x="4254" y="13327"/>
                  </a:cubicBezTo>
                  <a:lnTo>
                    <a:pt x="4852" y="13894"/>
                  </a:lnTo>
                  <a:cubicBezTo>
                    <a:pt x="4915" y="13988"/>
                    <a:pt x="5041" y="14020"/>
                    <a:pt x="5136" y="14020"/>
                  </a:cubicBezTo>
                  <a:cubicBezTo>
                    <a:pt x="5230" y="14020"/>
                    <a:pt x="5325" y="13988"/>
                    <a:pt x="5388" y="13894"/>
                  </a:cubicBezTo>
                  <a:cubicBezTo>
                    <a:pt x="5466" y="13815"/>
                    <a:pt x="5577" y="13776"/>
                    <a:pt x="5687" y="13776"/>
                  </a:cubicBezTo>
                  <a:cubicBezTo>
                    <a:pt x="5797" y="13776"/>
                    <a:pt x="5908" y="13815"/>
                    <a:pt x="5986" y="13894"/>
                  </a:cubicBezTo>
                  <a:cubicBezTo>
                    <a:pt x="6081" y="13988"/>
                    <a:pt x="6175" y="14020"/>
                    <a:pt x="6270" y="14020"/>
                  </a:cubicBezTo>
                  <a:cubicBezTo>
                    <a:pt x="6396" y="14020"/>
                    <a:pt x="6459" y="13988"/>
                    <a:pt x="6553" y="13894"/>
                  </a:cubicBezTo>
                  <a:lnTo>
                    <a:pt x="12287" y="8160"/>
                  </a:lnTo>
                  <a:lnTo>
                    <a:pt x="11437" y="7278"/>
                  </a:lnTo>
                  <a:cubicBezTo>
                    <a:pt x="11248" y="7120"/>
                    <a:pt x="11248" y="6837"/>
                    <a:pt x="11437" y="6711"/>
                  </a:cubicBezTo>
                  <a:cubicBezTo>
                    <a:pt x="11515" y="6632"/>
                    <a:pt x="11618" y="6593"/>
                    <a:pt x="11720" y="6593"/>
                  </a:cubicBezTo>
                  <a:cubicBezTo>
                    <a:pt x="11823" y="6593"/>
                    <a:pt x="11925" y="6632"/>
                    <a:pt x="12004" y="6711"/>
                  </a:cubicBezTo>
                  <a:lnTo>
                    <a:pt x="12886" y="7561"/>
                  </a:lnTo>
                  <a:lnTo>
                    <a:pt x="13989" y="6459"/>
                  </a:lnTo>
                  <a:cubicBezTo>
                    <a:pt x="14146" y="6301"/>
                    <a:pt x="14146" y="6018"/>
                    <a:pt x="13989" y="5860"/>
                  </a:cubicBezTo>
                  <a:cubicBezTo>
                    <a:pt x="13894" y="5797"/>
                    <a:pt x="13863" y="5671"/>
                    <a:pt x="13863" y="5608"/>
                  </a:cubicBezTo>
                  <a:cubicBezTo>
                    <a:pt x="13863" y="5482"/>
                    <a:pt x="13894" y="5388"/>
                    <a:pt x="13989" y="5325"/>
                  </a:cubicBezTo>
                  <a:cubicBezTo>
                    <a:pt x="14115" y="5293"/>
                    <a:pt x="14146" y="5167"/>
                    <a:pt x="14146" y="5041"/>
                  </a:cubicBezTo>
                  <a:cubicBezTo>
                    <a:pt x="14146" y="4915"/>
                    <a:pt x="14115" y="4852"/>
                    <a:pt x="14020" y="4757"/>
                  </a:cubicBezTo>
                  <a:lnTo>
                    <a:pt x="13421" y="4190"/>
                  </a:lnTo>
                  <a:cubicBezTo>
                    <a:pt x="13358" y="4096"/>
                    <a:pt x="13232" y="4064"/>
                    <a:pt x="13138" y="4064"/>
                  </a:cubicBezTo>
                  <a:cubicBezTo>
                    <a:pt x="13075" y="4064"/>
                    <a:pt x="12949" y="4096"/>
                    <a:pt x="12886" y="4190"/>
                  </a:cubicBezTo>
                  <a:cubicBezTo>
                    <a:pt x="12807" y="4269"/>
                    <a:pt x="12697" y="4309"/>
                    <a:pt x="12587" y="4309"/>
                  </a:cubicBezTo>
                  <a:cubicBezTo>
                    <a:pt x="12476" y="4309"/>
                    <a:pt x="12366" y="4269"/>
                    <a:pt x="12287" y="4190"/>
                  </a:cubicBezTo>
                  <a:cubicBezTo>
                    <a:pt x="12193" y="4096"/>
                    <a:pt x="12161" y="3970"/>
                    <a:pt x="12161" y="3907"/>
                  </a:cubicBezTo>
                  <a:cubicBezTo>
                    <a:pt x="12161" y="3781"/>
                    <a:pt x="12193" y="3718"/>
                    <a:pt x="12287" y="3623"/>
                  </a:cubicBezTo>
                  <a:cubicBezTo>
                    <a:pt x="12445" y="3466"/>
                    <a:pt x="12445" y="3182"/>
                    <a:pt x="12287" y="3025"/>
                  </a:cubicBezTo>
                  <a:lnTo>
                    <a:pt x="11090" y="1859"/>
                  </a:lnTo>
                  <a:cubicBezTo>
                    <a:pt x="11011" y="1780"/>
                    <a:pt x="10909" y="1741"/>
                    <a:pt x="10807" y="1741"/>
                  </a:cubicBezTo>
                  <a:cubicBezTo>
                    <a:pt x="10704" y="1741"/>
                    <a:pt x="10602" y="1780"/>
                    <a:pt x="10523" y="1859"/>
                  </a:cubicBezTo>
                  <a:cubicBezTo>
                    <a:pt x="10444" y="1938"/>
                    <a:pt x="10334" y="1977"/>
                    <a:pt x="10224" y="1977"/>
                  </a:cubicBezTo>
                  <a:cubicBezTo>
                    <a:pt x="10113" y="1977"/>
                    <a:pt x="10003" y="1938"/>
                    <a:pt x="9924" y="1859"/>
                  </a:cubicBezTo>
                  <a:cubicBezTo>
                    <a:pt x="9767" y="1701"/>
                    <a:pt x="9767" y="1418"/>
                    <a:pt x="9924" y="1260"/>
                  </a:cubicBezTo>
                  <a:cubicBezTo>
                    <a:pt x="9987" y="1197"/>
                    <a:pt x="10050" y="1071"/>
                    <a:pt x="10050" y="977"/>
                  </a:cubicBezTo>
                  <a:cubicBezTo>
                    <a:pt x="10050" y="882"/>
                    <a:pt x="9987" y="788"/>
                    <a:pt x="9924" y="725"/>
                  </a:cubicBezTo>
                  <a:lnTo>
                    <a:pt x="9326" y="126"/>
                  </a:lnTo>
                  <a:cubicBezTo>
                    <a:pt x="9263" y="32"/>
                    <a:pt x="9137" y="0"/>
                    <a:pt x="9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74"/>
            <p:cNvSpPr/>
            <p:nvPr/>
          </p:nvSpPr>
          <p:spPr>
            <a:xfrm>
              <a:off x="-12493050" y="4319900"/>
              <a:ext cx="22875" cy="20900"/>
            </a:xfrm>
            <a:custGeom>
              <a:avLst/>
              <a:gdLst/>
              <a:ahLst/>
              <a:cxnLst/>
              <a:rect l="l" t="t" r="r" b="b"/>
              <a:pathLst>
                <a:path w="915" h="836" extrusionOk="0">
                  <a:moveTo>
                    <a:pt x="446" y="1"/>
                  </a:moveTo>
                  <a:cubicBezTo>
                    <a:pt x="339" y="1"/>
                    <a:pt x="237" y="40"/>
                    <a:pt x="158" y="119"/>
                  </a:cubicBezTo>
                  <a:cubicBezTo>
                    <a:pt x="1" y="276"/>
                    <a:pt x="1" y="560"/>
                    <a:pt x="158" y="717"/>
                  </a:cubicBezTo>
                  <a:cubicBezTo>
                    <a:pt x="237" y="796"/>
                    <a:pt x="347" y="835"/>
                    <a:pt x="458" y="835"/>
                  </a:cubicBezTo>
                  <a:cubicBezTo>
                    <a:pt x="568" y="835"/>
                    <a:pt x="678" y="796"/>
                    <a:pt x="757" y="717"/>
                  </a:cubicBezTo>
                  <a:cubicBezTo>
                    <a:pt x="914" y="560"/>
                    <a:pt x="914" y="276"/>
                    <a:pt x="757" y="119"/>
                  </a:cubicBezTo>
                  <a:cubicBezTo>
                    <a:pt x="662" y="40"/>
                    <a:pt x="552" y="1"/>
                    <a:pt x="4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2" name="Google Shape;8342;p74"/>
          <p:cNvSpPr/>
          <p:nvPr/>
        </p:nvSpPr>
        <p:spPr>
          <a:xfrm>
            <a:off x="8015262" y="1820647"/>
            <a:ext cx="273732" cy="354519"/>
          </a:xfrm>
          <a:custGeom>
            <a:avLst/>
            <a:gdLst/>
            <a:ahLst/>
            <a:cxnLst/>
            <a:rect l="l" t="t" r="r" b="b"/>
            <a:pathLst>
              <a:path w="10871" h="14078" extrusionOk="0">
                <a:moveTo>
                  <a:pt x="8255" y="5009"/>
                </a:moveTo>
                <a:lnTo>
                  <a:pt x="8255" y="6648"/>
                </a:lnTo>
                <a:lnTo>
                  <a:pt x="2490" y="6648"/>
                </a:lnTo>
                <a:lnTo>
                  <a:pt x="2490" y="5009"/>
                </a:lnTo>
                <a:close/>
                <a:moveTo>
                  <a:pt x="9106" y="5230"/>
                </a:moveTo>
                <a:lnTo>
                  <a:pt x="9925" y="5639"/>
                </a:lnTo>
                <a:lnTo>
                  <a:pt x="9925" y="6679"/>
                </a:lnTo>
                <a:cubicBezTo>
                  <a:pt x="9799" y="6648"/>
                  <a:pt x="9641" y="6616"/>
                  <a:pt x="9484" y="6616"/>
                </a:cubicBezTo>
                <a:lnTo>
                  <a:pt x="9043" y="6616"/>
                </a:lnTo>
                <a:lnTo>
                  <a:pt x="9043" y="5230"/>
                </a:lnTo>
                <a:close/>
                <a:moveTo>
                  <a:pt x="1608" y="5261"/>
                </a:moveTo>
                <a:lnTo>
                  <a:pt x="1608" y="6648"/>
                </a:lnTo>
                <a:lnTo>
                  <a:pt x="1230" y="6648"/>
                </a:lnTo>
                <a:cubicBezTo>
                  <a:pt x="1072" y="6648"/>
                  <a:pt x="946" y="6679"/>
                  <a:pt x="789" y="6711"/>
                </a:cubicBezTo>
                <a:lnTo>
                  <a:pt x="789" y="5671"/>
                </a:lnTo>
                <a:lnTo>
                  <a:pt x="1608" y="5261"/>
                </a:lnTo>
                <a:close/>
                <a:moveTo>
                  <a:pt x="7405" y="9136"/>
                </a:moveTo>
                <a:lnTo>
                  <a:pt x="5357" y="10649"/>
                </a:lnTo>
                <a:lnTo>
                  <a:pt x="3277" y="9136"/>
                </a:lnTo>
                <a:close/>
                <a:moveTo>
                  <a:pt x="2049" y="0"/>
                </a:moveTo>
                <a:cubicBezTo>
                  <a:pt x="1828" y="0"/>
                  <a:pt x="1671" y="189"/>
                  <a:pt x="1671" y="378"/>
                </a:cubicBezTo>
                <a:lnTo>
                  <a:pt x="1671" y="4285"/>
                </a:lnTo>
                <a:lnTo>
                  <a:pt x="253" y="5009"/>
                </a:lnTo>
                <a:cubicBezTo>
                  <a:pt x="127" y="5041"/>
                  <a:pt x="1" y="5198"/>
                  <a:pt x="1" y="5356"/>
                </a:cubicBezTo>
                <a:lnTo>
                  <a:pt x="1" y="7845"/>
                </a:lnTo>
                <a:cubicBezTo>
                  <a:pt x="1" y="8506"/>
                  <a:pt x="568" y="9042"/>
                  <a:pt x="1261" y="9042"/>
                </a:cubicBezTo>
                <a:lnTo>
                  <a:pt x="1986" y="9042"/>
                </a:lnTo>
                <a:lnTo>
                  <a:pt x="4727" y="11153"/>
                </a:lnTo>
                <a:lnTo>
                  <a:pt x="1860" y="13295"/>
                </a:lnTo>
                <a:cubicBezTo>
                  <a:pt x="1671" y="13421"/>
                  <a:pt x="1608" y="13705"/>
                  <a:pt x="1765" y="13894"/>
                </a:cubicBezTo>
                <a:cubicBezTo>
                  <a:pt x="1842" y="14009"/>
                  <a:pt x="1978" y="14077"/>
                  <a:pt x="2115" y="14077"/>
                </a:cubicBezTo>
                <a:cubicBezTo>
                  <a:pt x="2202" y="14077"/>
                  <a:pt x="2290" y="14050"/>
                  <a:pt x="2364" y="13988"/>
                </a:cubicBezTo>
                <a:lnTo>
                  <a:pt x="5451" y="11657"/>
                </a:lnTo>
                <a:lnTo>
                  <a:pt x="8507" y="13988"/>
                </a:lnTo>
                <a:cubicBezTo>
                  <a:pt x="8586" y="14027"/>
                  <a:pt x="8675" y="14050"/>
                  <a:pt x="8763" y="14050"/>
                </a:cubicBezTo>
                <a:cubicBezTo>
                  <a:pt x="8889" y="14050"/>
                  <a:pt x="9014" y="14004"/>
                  <a:pt x="9106" y="13894"/>
                </a:cubicBezTo>
                <a:cubicBezTo>
                  <a:pt x="9232" y="13705"/>
                  <a:pt x="9232" y="13453"/>
                  <a:pt x="9011" y="13295"/>
                </a:cubicBezTo>
                <a:lnTo>
                  <a:pt x="6144" y="11153"/>
                </a:lnTo>
                <a:lnTo>
                  <a:pt x="8917" y="9042"/>
                </a:lnTo>
                <a:lnTo>
                  <a:pt x="9610" y="9042"/>
                </a:lnTo>
                <a:cubicBezTo>
                  <a:pt x="10271" y="9042"/>
                  <a:pt x="10870" y="8506"/>
                  <a:pt x="10870" y="7845"/>
                </a:cubicBezTo>
                <a:lnTo>
                  <a:pt x="10870" y="5387"/>
                </a:lnTo>
                <a:cubicBezTo>
                  <a:pt x="10870" y="5230"/>
                  <a:pt x="10744" y="5072"/>
                  <a:pt x="10650" y="5041"/>
                </a:cubicBezTo>
                <a:lnTo>
                  <a:pt x="9232" y="4316"/>
                </a:lnTo>
                <a:lnTo>
                  <a:pt x="9232" y="441"/>
                </a:lnTo>
                <a:cubicBezTo>
                  <a:pt x="9232" y="189"/>
                  <a:pt x="9011" y="32"/>
                  <a:pt x="8822" y="32"/>
                </a:cubicBezTo>
                <a:cubicBezTo>
                  <a:pt x="8602" y="32"/>
                  <a:pt x="8381" y="221"/>
                  <a:pt x="8381" y="441"/>
                </a:cubicBezTo>
                <a:lnTo>
                  <a:pt x="8381" y="851"/>
                </a:lnTo>
                <a:lnTo>
                  <a:pt x="2616" y="851"/>
                </a:lnTo>
                <a:lnTo>
                  <a:pt x="2616" y="378"/>
                </a:lnTo>
                <a:lnTo>
                  <a:pt x="2490" y="378"/>
                </a:lnTo>
                <a:cubicBezTo>
                  <a:pt x="2490" y="158"/>
                  <a:pt x="2269" y="0"/>
                  <a:pt x="20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3" name="Google Shape;8343;p74"/>
          <p:cNvGrpSpPr/>
          <p:nvPr/>
        </p:nvGrpSpPr>
        <p:grpSpPr>
          <a:xfrm>
            <a:off x="7984757" y="2275916"/>
            <a:ext cx="356221" cy="333240"/>
            <a:chOff x="-10858725" y="4092875"/>
            <a:chExt cx="353675" cy="330825"/>
          </a:xfrm>
        </p:grpSpPr>
        <p:sp>
          <p:nvSpPr>
            <p:cNvPr id="8344" name="Google Shape;8344;p74"/>
            <p:cNvSpPr/>
            <p:nvPr/>
          </p:nvSpPr>
          <p:spPr>
            <a:xfrm>
              <a:off x="-10795700" y="42370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5" name="Google Shape;8345;p74"/>
            <p:cNvSpPr/>
            <p:nvPr/>
          </p:nvSpPr>
          <p:spPr>
            <a:xfrm>
              <a:off x="-10713000" y="41543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4"/>
            <p:cNvSpPr/>
            <p:nvPr/>
          </p:nvSpPr>
          <p:spPr>
            <a:xfrm>
              <a:off x="-10713000" y="4320500"/>
              <a:ext cx="41750" cy="40975"/>
            </a:xfrm>
            <a:custGeom>
              <a:avLst/>
              <a:gdLst/>
              <a:ahLst/>
              <a:cxnLst/>
              <a:rect l="l" t="t" r="r" b="b"/>
              <a:pathLst>
                <a:path w="1670" h="1639" extrusionOk="0">
                  <a:moveTo>
                    <a:pt x="851" y="0"/>
                  </a:moveTo>
                  <a:cubicBezTo>
                    <a:pt x="378" y="0"/>
                    <a:pt x="0" y="347"/>
                    <a:pt x="0" y="819"/>
                  </a:cubicBezTo>
                  <a:cubicBezTo>
                    <a:pt x="0" y="1260"/>
                    <a:pt x="378" y="1638"/>
                    <a:pt x="851" y="1638"/>
                  </a:cubicBezTo>
                  <a:cubicBezTo>
                    <a:pt x="1292" y="1638"/>
                    <a:pt x="1670" y="1260"/>
                    <a:pt x="1670" y="819"/>
                  </a:cubicBezTo>
                  <a:cubicBezTo>
                    <a:pt x="1670" y="347"/>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7" name="Google Shape;8347;p74"/>
            <p:cNvSpPr/>
            <p:nvPr/>
          </p:nvSpPr>
          <p:spPr>
            <a:xfrm>
              <a:off x="-10858725" y="4092875"/>
              <a:ext cx="331625" cy="330825"/>
            </a:xfrm>
            <a:custGeom>
              <a:avLst/>
              <a:gdLst/>
              <a:ahLst/>
              <a:cxnLst/>
              <a:rect l="l" t="t" r="r" b="b"/>
              <a:pathLst>
                <a:path w="13265" h="13233" extrusionOk="0">
                  <a:moveTo>
                    <a:pt x="6648" y="1639"/>
                  </a:moveTo>
                  <a:cubicBezTo>
                    <a:pt x="7562" y="1639"/>
                    <a:pt x="8318" y="2395"/>
                    <a:pt x="8318" y="3308"/>
                  </a:cubicBezTo>
                  <a:cubicBezTo>
                    <a:pt x="8318" y="4222"/>
                    <a:pt x="7562" y="4947"/>
                    <a:pt x="6648" y="4947"/>
                  </a:cubicBezTo>
                  <a:cubicBezTo>
                    <a:pt x="5766" y="4947"/>
                    <a:pt x="5010" y="4222"/>
                    <a:pt x="5010" y="3308"/>
                  </a:cubicBezTo>
                  <a:cubicBezTo>
                    <a:pt x="5010" y="2395"/>
                    <a:pt x="5735" y="1639"/>
                    <a:pt x="6648" y="1639"/>
                  </a:cubicBezTo>
                  <a:close/>
                  <a:moveTo>
                    <a:pt x="6648" y="5797"/>
                  </a:moveTo>
                  <a:cubicBezTo>
                    <a:pt x="7121" y="5797"/>
                    <a:pt x="7499" y="6144"/>
                    <a:pt x="7499" y="6616"/>
                  </a:cubicBezTo>
                  <a:cubicBezTo>
                    <a:pt x="7499" y="7089"/>
                    <a:pt x="7121" y="7435"/>
                    <a:pt x="6648" y="7435"/>
                  </a:cubicBezTo>
                  <a:cubicBezTo>
                    <a:pt x="6207" y="7435"/>
                    <a:pt x="5829" y="7089"/>
                    <a:pt x="5829" y="6616"/>
                  </a:cubicBezTo>
                  <a:cubicBezTo>
                    <a:pt x="5829" y="6144"/>
                    <a:pt x="6207" y="5797"/>
                    <a:pt x="6648" y="5797"/>
                  </a:cubicBezTo>
                  <a:close/>
                  <a:moveTo>
                    <a:pt x="3372" y="4947"/>
                  </a:moveTo>
                  <a:cubicBezTo>
                    <a:pt x="4254" y="4947"/>
                    <a:pt x="5010" y="5703"/>
                    <a:pt x="5010" y="6616"/>
                  </a:cubicBezTo>
                  <a:cubicBezTo>
                    <a:pt x="5010" y="7530"/>
                    <a:pt x="4254" y="8255"/>
                    <a:pt x="3372" y="8255"/>
                  </a:cubicBezTo>
                  <a:cubicBezTo>
                    <a:pt x="2458" y="8255"/>
                    <a:pt x="1702" y="7530"/>
                    <a:pt x="1702" y="6616"/>
                  </a:cubicBezTo>
                  <a:cubicBezTo>
                    <a:pt x="1702" y="5703"/>
                    <a:pt x="2395" y="4947"/>
                    <a:pt x="3372" y="4947"/>
                  </a:cubicBezTo>
                  <a:close/>
                  <a:moveTo>
                    <a:pt x="9956" y="4947"/>
                  </a:moveTo>
                  <a:cubicBezTo>
                    <a:pt x="10870" y="4947"/>
                    <a:pt x="11626" y="5703"/>
                    <a:pt x="11626" y="6616"/>
                  </a:cubicBezTo>
                  <a:cubicBezTo>
                    <a:pt x="11626" y="7530"/>
                    <a:pt x="10870" y="8255"/>
                    <a:pt x="9956" y="8255"/>
                  </a:cubicBezTo>
                  <a:cubicBezTo>
                    <a:pt x="9074" y="8255"/>
                    <a:pt x="8318" y="7530"/>
                    <a:pt x="8318" y="6616"/>
                  </a:cubicBezTo>
                  <a:cubicBezTo>
                    <a:pt x="8318" y="5703"/>
                    <a:pt x="9011" y="4947"/>
                    <a:pt x="9956" y="4947"/>
                  </a:cubicBezTo>
                  <a:close/>
                  <a:moveTo>
                    <a:pt x="6648" y="8255"/>
                  </a:moveTo>
                  <a:cubicBezTo>
                    <a:pt x="7562" y="8255"/>
                    <a:pt x="8318" y="9011"/>
                    <a:pt x="8318" y="9924"/>
                  </a:cubicBezTo>
                  <a:cubicBezTo>
                    <a:pt x="8318" y="10838"/>
                    <a:pt x="7562" y="11563"/>
                    <a:pt x="6648" y="11563"/>
                  </a:cubicBezTo>
                  <a:cubicBezTo>
                    <a:pt x="5766" y="11563"/>
                    <a:pt x="5010" y="10838"/>
                    <a:pt x="5010" y="9924"/>
                  </a:cubicBezTo>
                  <a:cubicBezTo>
                    <a:pt x="5010" y="9011"/>
                    <a:pt x="5766" y="8255"/>
                    <a:pt x="6648" y="8255"/>
                  </a:cubicBezTo>
                  <a:close/>
                  <a:moveTo>
                    <a:pt x="6648" y="0"/>
                  </a:moveTo>
                  <a:cubicBezTo>
                    <a:pt x="2994" y="0"/>
                    <a:pt x="1" y="2962"/>
                    <a:pt x="1" y="6616"/>
                  </a:cubicBezTo>
                  <a:cubicBezTo>
                    <a:pt x="1" y="10271"/>
                    <a:pt x="2994" y="13232"/>
                    <a:pt x="6648" y="13232"/>
                  </a:cubicBezTo>
                  <a:cubicBezTo>
                    <a:pt x="10334" y="13232"/>
                    <a:pt x="13264" y="10271"/>
                    <a:pt x="13264" y="6616"/>
                  </a:cubicBezTo>
                  <a:cubicBezTo>
                    <a:pt x="13264" y="2962"/>
                    <a:pt x="10334"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8" name="Google Shape;8348;p74"/>
            <p:cNvSpPr/>
            <p:nvPr/>
          </p:nvSpPr>
          <p:spPr>
            <a:xfrm>
              <a:off x="-10630300" y="4237000"/>
              <a:ext cx="41750" cy="41775"/>
            </a:xfrm>
            <a:custGeom>
              <a:avLst/>
              <a:gdLst/>
              <a:ahLst/>
              <a:cxnLst/>
              <a:rect l="l" t="t" r="r" b="b"/>
              <a:pathLst>
                <a:path w="1670" h="1671" extrusionOk="0">
                  <a:moveTo>
                    <a:pt x="819" y="1"/>
                  </a:moveTo>
                  <a:cubicBezTo>
                    <a:pt x="378" y="1"/>
                    <a:pt x="0" y="379"/>
                    <a:pt x="0" y="851"/>
                  </a:cubicBezTo>
                  <a:cubicBezTo>
                    <a:pt x="0" y="1292"/>
                    <a:pt x="378" y="1670"/>
                    <a:pt x="819" y="1670"/>
                  </a:cubicBezTo>
                  <a:cubicBezTo>
                    <a:pt x="1292" y="1670"/>
                    <a:pt x="1670" y="1292"/>
                    <a:pt x="1670" y="851"/>
                  </a:cubicBezTo>
                  <a:cubicBezTo>
                    <a:pt x="1670" y="379"/>
                    <a:pt x="1292"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74"/>
            <p:cNvSpPr/>
            <p:nvPr/>
          </p:nvSpPr>
          <p:spPr>
            <a:xfrm>
              <a:off x="-10607475" y="4340975"/>
              <a:ext cx="102425" cy="82725"/>
            </a:xfrm>
            <a:custGeom>
              <a:avLst/>
              <a:gdLst/>
              <a:ahLst/>
              <a:cxnLst/>
              <a:rect l="l" t="t" r="r" b="b"/>
              <a:pathLst>
                <a:path w="4097" h="3309" extrusionOk="0">
                  <a:moveTo>
                    <a:pt x="3309" y="0"/>
                  </a:moveTo>
                  <a:cubicBezTo>
                    <a:pt x="2584" y="1418"/>
                    <a:pt x="1418" y="2584"/>
                    <a:pt x="1" y="3308"/>
                  </a:cubicBezTo>
                  <a:lnTo>
                    <a:pt x="3655" y="3308"/>
                  </a:lnTo>
                  <a:cubicBezTo>
                    <a:pt x="3907" y="3308"/>
                    <a:pt x="4096" y="3119"/>
                    <a:pt x="4096" y="2867"/>
                  </a:cubicBezTo>
                  <a:lnTo>
                    <a:pt x="4096" y="378"/>
                  </a:lnTo>
                  <a:cubicBezTo>
                    <a:pt x="4065" y="189"/>
                    <a:pt x="3907"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74"/>
          <p:cNvGrpSpPr/>
          <p:nvPr/>
        </p:nvGrpSpPr>
        <p:grpSpPr>
          <a:xfrm>
            <a:off x="6243280" y="3214882"/>
            <a:ext cx="252278" cy="355451"/>
            <a:chOff x="-9039300" y="3614000"/>
            <a:chExt cx="250475" cy="352875"/>
          </a:xfrm>
        </p:grpSpPr>
        <p:sp>
          <p:nvSpPr>
            <p:cNvPr id="8351" name="Google Shape;8351;p74"/>
            <p:cNvSpPr/>
            <p:nvPr/>
          </p:nvSpPr>
          <p:spPr>
            <a:xfrm>
              <a:off x="-8944000" y="3614000"/>
              <a:ext cx="63025" cy="63025"/>
            </a:xfrm>
            <a:custGeom>
              <a:avLst/>
              <a:gdLst/>
              <a:ahLst/>
              <a:cxnLst/>
              <a:rect l="l" t="t" r="r" b="b"/>
              <a:pathLst>
                <a:path w="2521" h="2521" extrusionOk="0">
                  <a:moveTo>
                    <a:pt x="1260" y="0"/>
                  </a:moveTo>
                  <a:cubicBezTo>
                    <a:pt x="567" y="0"/>
                    <a:pt x="0" y="567"/>
                    <a:pt x="0" y="1261"/>
                  </a:cubicBezTo>
                  <a:cubicBezTo>
                    <a:pt x="0" y="1954"/>
                    <a:pt x="567" y="2521"/>
                    <a:pt x="1260" y="2521"/>
                  </a:cubicBezTo>
                  <a:cubicBezTo>
                    <a:pt x="1985" y="2521"/>
                    <a:pt x="2521" y="1954"/>
                    <a:pt x="2521" y="1261"/>
                  </a:cubicBezTo>
                  <a:cubicBezTo>
                    <a:pt x="2521" y="567"/>
                    <a:pt x="1985"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74"/>
            <p:cNvSpPr/>
            <p:nvPr/>
          </p:nvSpPr>
          <p:spPr>
            <a:xfrm>
              <a:off x="-9039300" y="3696700"/>
              <a:ext cx="250475" cy="270175"/>
            </a:xfrm>
            <a:custGeom>
              <a:avLst/>
              <a:gdLst/>
              <a:ahLst/>
              <a:cxnLst/>
              <a:rect l="l" t="t" r="r" b="b"/>
              <a:pathLst>
                <a:path w="10019" h="10807" extrusionOk="0">
                  <a:moveTo>
                    <a:pt x="914" y="0"/>
                  </a:moveTo>
                  <a:cubicBezTo>
                    <a:pt x="473" y="32"/>
                    <a:pt x="126" y="410"/>
                    <a:pt x="126" y="883"/>
                  </a:cubicBezTo>
                  <a:cubicBezTo>
                    <a:pt x="126" y="1355"/>
                    <a:pt x="473" y="1702"/>
                    <a:pt x="945" y="1702"/>
                  </a:cubicBezTo>
                  <a:lnTo>
                    <a:pt x="4253" y="1702"/>
                  </a:lnTo>
                  <a:lnTo>
                    <a:pt x="4253" y="4033"/>
                  </a:lnTo>
                  <a:lnTo>
                    <a:pt x="441" y="6868"/>
                  </a:lnTo>
                  <a:cubicBezTo>
                    <a:pt x="95" y="7120"/>
                    <a:pt x="0" y="7656"/>
                    <a:pt x="284" y="8003"/>
                  </a:cubicBezTo>
                  <a:cubicBezTo>
                    <a:pt x="453" y="8210"/>
                    <a:pt x="713" y="8327"/>
                    <a:pt x="962" y="8327"/>
                  </a:cubicBezTo>
                  <a:cubicBezTo>
                    <a:pt x="1129" y="8327"/>
                    <a:pt x="1291" y="8274"/>
                    <a:pt x="1418" y="8160"/>
                  </a:cubicBezTo>
                  <a:lnTo>
                    <a:pt x="4222" y="6018"/>
                  </a:lnTo>
                  <a:lnTo>
                    <a:pt x="4222" y="9956"/>
                  </a:lnTo>
                  <a:cubicBezTo>
                    <a:pt x="4222" y="10428"/>
                    <a:pt x="4568" y="10807"/>
                    <a:pt x="5041" y="10807"/>
                  </a:cubicBezTo>
                  <a:cubicBezTo>
                    <a:pt x="5513" y="10807"/>
                    <a:pt x="5860" y="10460"/>
                    <a:pt x="5860" y="9956"/>
                  </a:cubicBezTo>
                  <a:lnTo>
                    <a:pt x="5860" y="1670"/>
                  </a:lnTo>
                  <a:lnTo>
                    <a:pt x="9168" y="1670"/>
                  </a:lnTo>
                  <a:cubicBezTo>
                    <a:pt x="9641" y="1670"/>
                    <a:pt x="10019" y="1292"/>
                    <a:pt x="10019" y="820"/>
                  </a:cubicBezTo>
                  <a:cubicBezTo>
                    <a:pt x="10019" y="347"/>
                    <a:pt x="9641" y="0"/>
                    <a:pt x="91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74"/>
          <p:cNvGrpSpPr/>
          <p:nvPr/>
        </p:nvGrpSpPr>
        <p:grpSpPr>
          <a:xfrm>
            <a:off x="7975246" y="3237121"/>
            <a:ext cx="354635" cy="354670"/>
            <a:chOff x="-9088150" y="4049550"/>
            <a:chExt cx="352100" cy="352100"/>
          </a:xfrm>
        </p:grpSpPr>
        <p:sp>
          <p:nvSpPr>
            <p:cNvPr id="8354" name="Google Shape;8354;p74"/>
            <p:cNvSpPr/>
            <p:nvPr/>
          </p:nvSpPr>
          <p:spPr>
            <a:xfrm>
              <a:off x="-9047975" y="4049550"/>
              <a:ext cx="290650" cy="165425"/>
            </a:xfrm>
            <a:custGeom>
              <a:avLst/>
              <a:gdLst/>
              <a:ahLst/>
              <a:cxnLst/>
              <a:rect l="l" t="t" r="r" b="b"/>
              <a:pathLst>
                <a:path w="11626" h="6617" extrusionOk="0">
                  <a:moveTo>
                    <a:pt x="473" y="1"/>
                  </a:moveTo>
                  <a:cubicBezTo>
                    <a:pt x="316" y="1"/>
                    <a:pt x="158" y="64"/>
                    <a:pt x="64" y="221"/>
                  </a:cubicBezTo>
                  <a:cubicBezTo>
                    <a:pt x="1" y="379"/>
                    <a:pt x="32" y="536"/>
                    <a:pt x="158" y="662"/>
                  </a:cubicBezTo>
                  <a:lnTo>
                    <a:pt x="3340" y="4317"/>
                  </a:lnTo>
                  <a:lnTo>
                    <a:pt x="3340" y="2048"/>
                  </a:lnTo>
                  <a:cubicBezTo>
                    <a:pt x="3340" y="1796"/>
                    <a:pt x="3529" y="1639"/>
                    <a:pt x="3781" y="1639"/>
                  </a:cubicBezTo>
                  <a:cubicBezTo>
                    <a:pt x="4002" y="1639"/>
                    <a:pt x="4159" y="1859"/>
                    <a:pt x="4159" y="2048"/>
                  </a:cubicBezTo>
                  <a:lnTo>
                    <a:pt x="4159" y="5262"/>
                  </a:lnTo>
                  <a:lnTo>
                    <a:pt x="5325" y="6617"/>
                  </a:lnTo>
                  <a:lnTo>
                    <a:pt x="10744" y="6617"/>
                  </a:lnTo>
                  <a:cubicBezTo>
                    <a:pt x="11311" y="6112"/>
                    <a:pt x="11626" y="5356"/>
                    <a:pt x="11626" y="4537"/>
                  </a:cubicBezTo>
                  <a:cubicBezTo>
                    <a:pt x="11626" y="2899"/>
                    <a:pt x="10303" y="1607"/>
                    <a:pt x="8727" y="1607"/>
                  </a:cubicBezTo>
                  <a:lnTo>
                    <a:pt x="7751" y="1607"/>
                  </a:lnTo>
                  <a:cubicBezTo>
                    <a:pt x="7436" y="1607"/>
                    <a:pt x="7121" y="1481"/>
                    <a:pt x="6900" y="1261"/>
                  </a:cubicBezTo>
                  <a:lnTo>
                    <a:pt x="6207" y="599"/>
                  </a:lnTo>
                  <a:cubicBezTo>
                    <a:pt x="5829" y="190"/>
                    <a:pt x="5325"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74"/>
            <p:cNvSpPr/>
            <p:nvPr/>
          </p:nvSpPr>
          <p:spPr>
            <a:xfrm>
              <a:off x="-8964475" y="4157450"/>
              <a:ext cx="20500" cy="57525"/>
            </a:xfrm>
            <a:custGeom>
              <a:avLst/>
              <a:gdLst/>
              <a:ahLst/>
              <a:cxnLst/>
              <a:rect l="l" t="t" r="r" b="b"/>
              <a:pathLst>
                <a:path w="820" h="2301" extrusionOk="0">
                  <a:moveTo>
                    <a:pt x="0" y="1"/>
                  </a:moveTo>
                  <a:lnTo>
                    <a:pt x="0" y="2301"/>
                  </a:lnTo>
                  <a:lnTo>
                    <a:pt x="819" y="2301"/>
                  </a:lnTo>
                  <a:lnTo>
                    <a:pt x="819" y="946"/>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6" name="Google Shape;8356;p74"/>
            <p:cNvSpPr/>
            <p:nvPr/>
          </p:nvSpPr>
          <p:spPr>
            <a:xfrm>
              <a:off x="-9088150" y="4235425"/>
              <a:ext cx="352100" cy="82725"/>
            </a:xfrm>
            <a:custGeom>
              <a:avLst/>
              <a:gdLst/>
              <a:ahLst/>
              <a:cxnLst/>
              <a:rect l="l" t="t" r="r" b="b"/>
              <a:pathLst>
                <a:path w="14084" h="3309" extrusionOk="0">
                  <a:moveTo>
                    <a:pt x="2868" y="1"/>
                  </a:moveTo>
                  <a:cubicBezTo>
                    <a:pt x="2206" y="1"/>
                    <a:pt x="1639" y="568"/>
                    <a:pt x="1639" y="1229"/>
                  </a:cubicBezTo>
                  <a:lnTo>
                    <a:pt x="1639" y="1670"/>
                  </a:lnTo>
                  <a:lnTo>
                    <a:pt x="820" y="1670"/>
                  </a:lnTo>
                  <a:cubicBezTo>
                    <a:pt x="347" y="1670"/>
                    <a:pt x="1" y="2017"/>
                    <a:pt x="1" y="2490"/>
                  </a:cubicBezTo>
                  <a:lnTo>
                    <a:pt x="1" y="2868"/>
                  </a:lnTo>
                  <a:cubicBezTo>
                    <a:pt x="1" y="3120"/>
                    <a:pt x="190" y="3309"/>
                    <a:pt x="379" y="3309"/>
                  </a:cubicBezTo>
                  <a:lnTo>
                    <a:pt x="13264" y="3309"/>
                  </a:lnTo>
                  <a:cubicBezTo>
                    <a:pt x="13737" y="3309"/>
                    <a:pt x="14083" y="2962"/>
                    <a:pt x="14083" y="2490"/>
                  </a:cubicBezTo>
                  <a:lnTo>
                    <a:pt x="14083" y="410"/>
                  </a:lnTo>
                  <a:cubicBezTo>
                    <a:pt x="14083" y="158"/>
                    <a:pt x="13894" y="1"/>
                    <a:pt x="136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7" name="Google Shape;8357;p74"/>
            <p:cNvSpPr/>
            <p:nvPr/>
          </p:nvSpPr>
          <p:spPr>
            <a:xfrm>
              <a:off x="-9064525" y="4338600"/>
              <a:ext cx="53600" cy="63050"/>
            </a:xfrm>
            <a:custGeom>
              <a:avLst/>
              <a:gdLst/>
              <a:ahLst/>
              <a:cxnLst/>
              <a:rect l="l" t="t" r="r" b="b"/>
              <a:pathLst>
                <a:path w="2144" h="2522" extrusionOk="0">
                  <a:moveTo>
                    <a:pt x="1" y="1"/>
                  </a:moveTo>
                  <a:lnTo>
                    <a:pt x="253" y="2175"/>
                  </a:lnTo>
                  <a:cubicBezTo>
                    <a:pt x="316" y="2364"/>
                    <a:pt x="473" y="2521"/>
                    <a:pt x="663" y="2521"/>
                  </a:cubicBezTo>
                  <a:lnTo>
                    <a:pt x="1482" y="2521"/>
                  </a:lnTo>
                  <a:cubicBezTo>
                    <a:pt x="1671" y="2521"/>
                    <a:pt x="1891" y="2364"/>
                    <a:pt x="1891" y="2175"/>
                  </a:cubicBezTo>
                  <a:lnTo>
                    <a:pt x="21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74"/>
            <p:cNvSpPr/>
            <p:nvPr/>
          </p:nvSpPr>
          <p:spPr>
            <a:xfrm>
              <a:off x="-8898325" y="4338600"/>
              <a:ext cx="54375" cy="63050"/>
            </a:xfrm>
            <a:custGeom>
              <a:avLst/>
              <a:gdLst/>
              <a:ahLst/>
              <a:cxnLst/>
              <a:rect l="l" t="t" r="r" b="b"/>
              <a:pathLst>
                <a:path w="2175" h="2522" extrusionOk="0">
                  <a:moveTo>
                    <a:pt x="0" y="1"/>
                  </a:moveTo>
                  <a:lnTo>
                    <a:pt x="284" y="2175"/>
                  </a:lnTo>
                  <a:cubicBezTo>
                    <a:pt x="284" y="2364"/>
                    <a:pt x="473" y="2521"/>
                    <a:pt x="662" y="2521"/>
                  </a:cubicBezTo>
                  <a:lnTo>
                    <a:pt x="1481" y="2521"/>
                  </a:lnTo>
                  <a:cubicBezTo>
                    <a:pt x="1702" y="2521"/>
                    <a:pt x="1891" y="2364"/>
                    <a:pt x="1891" y="2175"/>
                  </a:cubicBez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9" name="Google Shape;8359;p74"/>
            <p:cNvSpPr/>
            <p:nvPr/>
          </p:nvSpPr>
          <p:spPr>
            <a:xfrm>
              <a:off x="-8814850" y="4338600"/>
              <a:ext cx="54375" cy="63050"/>
            </a:xfrm>
            <a:custGeom>
              <a:avLst/>
              <a:gdLst/>
              <a:ahLst/>
              <a:cxnLst/>
              <a:rect l="l" t="t" r="r" b="b"/>
              <a:pathLst>
                <a:path w="2175" h="2522" extrusionOk="0">
                  <a:moveTo>
                    <a:pt x="1" y="1"/>
                  </a:moveTo>
                  <a:lnTo>
                    <a:pt x="285" y="2175"/>
                  </a:lnTo>
                  <a:cubicBezTo>
                    <a:pt x="285" y="2364"/>
                    <a:pt x="442" y="2521"/>
                    <a:pt x="663" y="2521"/>
                  </a:cubicBezTo>
                  <a:lnTo>
                    <a:pt x="1513" y="2521"/>
                  </a:lnTo>
                  <a:cubicBezTo>
                    <a:pt x="1702" y="2521"/>
                    <a:pt x="1891" y="2364"/>
                    <a:pt x="1891" y="2175"/>
                  </a:cubicBezTo>
                  <a:lnTo>
                    <a:pt x="21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0" name="Google Shape;8360;p74"/>
          <p:cNvGrpSpPr/>
          <p:nvPr/>
        </p:nvGrpSpPr>
        <p:grpSpPr>
          <a:xfrm>
            <a:off x="7109610" y="2739354"/>
            <a:ext cx="315757" cy="354670"/>
            <a:chOff x="-8191825" y="3174500"/>
            <a:chExt cx="313500" cy="352100"/>
          </a:xfrm>
        </p:grpSpPr>
        <p:sp>
          <p:nvSpPr>
            <p:cNvPr id="8361" name="Google Shape;8361;p74"/>
            <p:cNvSpPr/>
            <p:nvPr/>
          </p:nvSpPr>
          <p:spPr>
            <a:xfrm>
              <a:off x="-8191825" y="3486400"/>
              <a:ext cx="310350" cy="40200"/>
            </a:xfrm>
            <a:custGeom>
              <a:avLst/>
              <a:gdLst/>
              <a:ahLst/>
              <a:cxnLst/>
              <a:rect l="l" t="t" r="r" b="b"/>
              <a:pathLst>
                <a:path w="12414" h="1608" extrusionOk="0">
                  <a:moveTo>
                    <a:pt x="0" y="1"/>
                  </a:moveTo>
                  <a:lnTo>
                    <a:pt x="0" y="1229"/>
                  </a:lnTo>
                  <a:lnTo>
                    <a:pt x="63" y="1229"/>
                  </a:lnTo>
                  <a:cubicBezTo>
                    <a:pt x="63" y="1450"/>
                    <a:pt x="252" y="1607"/>
                    <a:pt x="441" y="1607"/>
                  </a:cubicBezTo>
                  <a:lnTo>
                    <a:pt x="12035" y="1607"/>
                  </a:lnTo>
                  <a:cubicBezTo>
                    <a:pt x="12256" y="1607"/>
                    <a:pt x="12413" y="1418"/>
                    <a:pt x="12413" y="1229"/>
                  </a:cubicBezTo>
                  <a:lnTo>
                    <a:pt x="124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2" name="Google Shape;8362;p74"/>
            <p:cNvSpPr/>
            <p:nvPr/>
          </p:nvSpPr>
          <p:spPr>
            <a:xfrm>
              <a:off x="-8188675" y="3318650"/>
              <a:ext cx="310350" cy="146500"/>
            </a:xfrm>
            <a:custGeom>
              <a:avLst/>
              <a:gdLst/>
              <a:ahLst/>
              <a:cxnLst/>
              <a:rect l="l" t="t" r="r" b="b"/>
              <a:pathLst>
                <a:path w="12414" h="5860" extrusionOk="0">
                  <a:moveTo>
                    <a:pt x="5199" y="0"/>
                  </a:moveTo>
                  <a:lnTo>
                    <a:pt x="4096" y="2237"/>
                  </a:lnTo>
                  <a:cubicBezTo>
                    <a:pt x="4024" y="2404"/>
                    <a:pt x="3863" y="2481"/>
                    <a:pt x="3706" y="2481"/>
                  </a:cubicBezTo>
                  <a:cubicBezTo>
                    <a:pt x="3656" y="2481"/>
                    <a:pt x="3606" y="2473"/>
                    <a:pt x="3560" y="2457"/>
                  </a:cubicBezTo>
                  <a:cubicBezTo>
                    <a:pt x="3371" y="2331"/>
                    <a:pt x="3277" y="2111"/>
                    <a:pt x="3371" y="1890"/>
                  </a:cubicBezTo>
                  <a:lnTo>
                    <a:pt x="4222" y="126"/>
                  </a:lnTo>
                  <a:lnTo>
                    <a:pt x="4222" y="126"/>
                  </a:lnTo>
                  <a:cubicBezTo>
                    <a:pt x="1828" y="630"/>
                    <a:pt x="0" y="2836"/>
                    <a:pt x="0" y="5450"/>
                  </a:cubicBezTo>
                  <a:lnTo>
                    <a:pt x="0" y="5860"/>
                  </a:lnTo>
                  <a:lnTo>
                    <a:pt x="12413" y="5860"/>
                  </a:lnTo>
                  <a:lnTo>
                    <a:pt x="12413" y="5450"/>
                  </a:lnTo>
                  <a:cubicBezTo>
                    <a:pt x="12319" y="2836"/>
                    <a:pt x="10523" y="630"/>
                    <a:pt x="8129" y="126"/>
                  </a:cubicBezTo>
                  <a:lnTo>
                    <a:pt x="8129" y="126"/>
                  </a:lnTo>
                  <a:lnTo>
                    <a:pt x="8979" y="1890"/>
                  </a:lnTo>
                  <a:cubicBezTo>
                    <a:pt x="9105" y="2111"/>
                    <a:pt x="8979" y="2331"/>
                    <a:pt x="8790" y="2457"/>
                  </a:cubicBezTo>
                  <a:cubicBezTo>
                    <a:pt x="8741" y="2482"/>
                    <a:pt x="8685" y="2494"/>
                    <a:pt x="8628" y="2494"/>
                  </a:cubicBezTo>
                  <a:cubicBezTo>
                    <a:pt x="8468" y="2494"/>
                    <a:pt x="8301" y="2400"/>
                    <a:pt x="8255" y="2237"/>
                  </a:cubicBezTo>
                  <a:lnTo>
                    <a:pt x="7152" y="0"/>
                  </a:lnTo>
                  <a:lnTo>
                    <a:pt x="6585" y="0"/>
                  </a:lnTo>
                  <a:lnTo>
                    <a:pt x="6585" y="2899"/>
                  </a:lnTo>
                  <a:cubicBezTo>
                    <a:pt x="6585" y="3119"/>
                    <a:pt x="6396" y="3308"/>
                    <a:pt x="6207" y="3308"/>
                  </a:cubicBezTo>
                  <a:cubicBezTo>
                    <a:pt x="5955" y="3308"/>
                    <a:pt x="5797" y="3119"/>
                    <a:pt x="5797" y="2899"/>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3" name="Google Shape;8363;p74"/>
            <p:cNvSpPr/>
            <p:nvPr/>
          </p:nvSpPr>
          <p:spPr>
            <a:xfrm>
              <a:off x="-8169775" y="3174500"/>
              <a:ext cx="267825" cy="129975"/>
            </a:xfrm>
            <a:custGeom>
              <a:avLst/>
              <a:gdLst/>
              <a:ahLst/>
              <a:cxnLst/>
              <a:rect l="l" t="t" r="r" b="b"/>
              <a:pathLst>
                <a:path w="10713" h="5199" extrusionOk="0">
                  <a:moveTo>
                    <a:pt x="1639" y="1"/>
                  </a:moveTo>
                  <a:cubicBezTo>
                    <a:pt x="757" y="1"/>
                    <a:pt x="1" y="725"/>
                    <a:pt x="1" y="1639"/>
                  </a:cubicBezTo>
                  <a:lnTo>
                    <a:pt x="1" y="2080"/>
                  </a:lnTo>
                  <a:cubicBezTo>
                    <a:pt x="1" y="2301"/>
                    <a:pt x="190" y="2521"/>
                    <a:pt x="379" y="2521"/>
                  </a:cubicBezTo>
                  <a:lnTo>
                    <a:pt x="2521" y="2521"/>
                  </a:lnTo>
                  <a:lnTo>
                    <a:pt x="3057" y="5199"/>
                  </a:lnTo>
                  <a:cubicBezTo>
                    <a:pt x="3529" y="5073"/>
                    <a:pt x="4002" y="4978"/>
                    <a:pt x="4537" y="4978"/>
                  </a:cubicBezTo>
                  <a:lnTo>
                    <a:pt x="6176" y="4978"/>
                  </a:lnTo>
                  <a:cubicBezTo>
                    <a:pt x="6680" y="4978"/>
                    <a:pt x="7152" y="5073"/>
                    <a:pt x="7625" y="5199"/>
                  </a:cubicBezTo>
                  <a:lnTo>
                    <a:pt x="8192" y="2521"/>
                  </a:lnTo>
                  <a:lnTo>
                    <a:pt x="10303" y="2521"/>
                  </a:lnTo>
                  <a:cubicBezTo>
                    <a:pt x="10555" y="2521"/>
                    <a:pt x="10712" y="2301"/>
                    <a:pt x="10712" y="2080"/>
                  </a:cubicBezTo>
                  <a:lnTo>
                    <a:pt x="10712" y="1639"/>
                  </a:lnTo>
                  <a:cubicBezTo>
                    <a:pt x="10712" y="725"/>
                    <a:pt x="9956" y="1"/>
                    <a:pt x="9042" y="1"/>
                  </a:cubicBezTo>
                  <a:cubicBezTo>
                    <a:pt x="8160" y="1"/>
                    <a:pt x="7404" y="725"/>
                    <a:pt x="7404" y="1639"/>
                  </a:cubicBezTo>
                  <a:lnTo>
                    <a:pt x="7310" y="1639"/>
                  </a:lnTo>
                  <a:cubicBezTo>
                    <a:pt x="6617" y="1639"/>
                    <a:pt x="5892" y="1891"/>
                    <a:pt x="5325" y="2364"/>
                  </a:cubicBezTo>
                  <a:cubicBezTo>
                    <a:pt x="4852" y="1891"/>
                    <a:pt x="4128" y="1639"/>
                    <a:pt x="3372" y="1639"/>
                  </a:cubicBezTo>
                  <a:lnTo>
                    <a:pt x="3309" y="1639"/>
                  </a:lnTo>
                  <a:cubicBezTo>
                    <a:pt x="3309" y="725"/>
                    <a:pt x="2552"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4" name="Google Shape;8364;p74"/>
          <p:cNvGrpSpPr/>
          <p:nvPr/>
        </p:nvGrpSpPr>
        <p:grpSpPr>
          <a:xfrm>
            <a:off x="4858968" y="1379875"/>
            <a:ext cx="356221" cy="354973"/>
            <a:chOff x="-13947000" y="3212800"/>
            <a:chExt cx="353675" cy="352400"/>
          </a:xfrm>
        </p:grpSpPr>
        <p:sp>
          <p:nvSpPr>
            <p:cNvPr id="8365" name="Google Shape;8365;p74"/>
            <p:cNvSpPr/>
            <p:nvPr/>
          </p:nvSpPr>
          <p:spPr>
            <a:xfrm>
              <a:off x="-13947000" y="3212800"/>
              <a:ext cx="229225" cy="268125"/>
            </a:xfrm>
            <a:custGeom>
              <a:avLst/>
              <a:gdLst/>
              <a:ahLst/>
              <a:cxnLst/>
              <a:rect l="l" t="t" r="r" b="b"/>
              <a:pathLst>
                <a:path w="9169" h="10725" extrusionOk="0">
                  <a:moveTo>
                    <a:pt x="2959" y="2501"/>
                  </a:moveTo>
                  <a:cubicBezTo>
                    <a:pt x="3099" y="2501"/>
                    <a:pt x="3225" y="2585"/>
                    <a:pt x="3309" y="2753"/>
                  </a:cubicBezTo>
                  <a:cubicBezTo>
                    <a:pt x="3435" y="2942"/>
                    <a:pt x="3309" y="3194"/>
                    <a:pt x="3120" y="3289"/>
                  </a:cubicBezTo>
                  <a:lnTo>
                    <a:pt x="1450" y="4140"/>
                  </a:lnTo>
                  <a:cubicBezTo>
                    <a:pt x="1404" y="4155"/>
                    <a:pt x="1354" y="4163"/>
                    <a:pt x="1304" y="4163"/>
                  </a:cubicBezTo>
                  <a:cubicBezTo>
                    <a:pt x="1148" y="4163"/>
                    <a:pt x="986" y="4086"/>
                    <a:pt x="914" y="3919"/>
                  </a:cubicBezTo>
                  <a:cubicBezTo>
                    <a:pt x="788" y="3730"/>
                    <a:pt x="914" y="3509"/>
                    <a:pt x="1103" y="3383"/>
                  </a:cubicBezTo>
                  <a:lnTo>
                    <a:pt x="2742" y="2564"/>
                  </a:lnTo>
                  <a:cubicBezTo>
                    <a:pt x="2815" y="2522"/>
                    <a:pt x="2889" y="2501"/>
                    <a:pt x="2959" y="2501"/>
                  </a:cubicBezTo>
                  <a:close/>
                  <a:moveTo>
                    <a:pt x="416" y="0"/>
                  </a:moveTo>
                  <a:cubicBezTo>
                    <a:pt x="338" y="0"/>
                    <a:pt x="259" y="23"/>
                    <a:pt x="190" y="75"/>
                  </a:cubicBezTo>
                  <a:cubicBezTo>
                    <a:pt x="64" y="138"/>
                    <a:pt x="1" y="264"/>
                    <a:pt x="1" y="422"/>
                  </a:cubicBezTo>
                  <a:lnTo>
                    <a:pt x="1" y="5337"/>
                  </a:lnTo>
                  <a:cubicBezTo>
                    <a:pt x="32" y="7952"/>
                    <a:pt x="1922" y="10220"/>
                    <a:pt x="4537" y="10724"/>
                  </a:cubicBezTo>
                  <a:lnTo>
                    <a:pt x="4569" y="10724"/>
                  </a:lnTo>
                  <a:cubicBezTo>
                    <a:pt x="4317" y="10062"/>
                    <a:pt x="4159" y="9369"/>
                    <a:pt x="4159" y="8613"/>
                  </a:cubicBezTo>
                  <a:lnTo>
                    <a:pt x="4159" y="7511"/>
                  </a:lnTo>
                  <a:cubicBezTo>
                    <a:pt x="3813" y="7574"/>
                    <a:pt x="3498" y="7763"/>
                    <a:pt x="3214" y="8015"/>
                  </a:cubicBezTo>
                  <a:cubicBezTo>
                    <a:pt x="3135" y="8093"/>
                    <a:pt x="3033" y="8133"/>
                    <a:pt x="2931" y="8133"/>
                  </a:cubicBezTo>
                  <a:cubicBezTo>
                    <a:pt x="2828" y="8133"/>
                    <a:pt x="2726" y="8093"/>
                    <a:pt x="2647" y="8015"/>
                  </a:cubicBezTo>
                  <a:cubicBezTo>
                    <a:pt x="2490" y="7857"/>
                    <a:pt x="2490" y="7574"/>
                    <a:pt x="2647" y="7448"/>
                  </a:cubicBezTo>
                  <a:cubicBezTo>
                    <a:pt x="3057" y="7006"/>
                    <a:pt x="3592" y="6754"/>
                    <a:pt x="4159" y="6691"/>
                  </a:cubicBezTo>
                  <a:lnTo>
                    <a:pt x="4159" y="3761"/>
                  </a:lnTo>
                  <a:cubicBezTo>
                    <a:pt x="4159" y="3068"/>
                    <a:pt x="4726" y="2564"/>
                    <a:pt x="5420" y="2564"/>
                  </a:cubicBezTo>
                  <a:cubicBezTo>
                    <a:pt x="5577" y="2564"/>
                    <a:pt x="5735" y="2596"/>
                    <a:pt x="5892" y="2627"/>
                  </a:cubicBezTo>
                  <a:cubicBezTo>
                    <a:pt x="6932" y="3068"/>
                    <a:pt x="8066" y="3257"/>
                    <a:pt x="9169" y="3289"/>
                  </a:cubicBezTo>
                  <a:lnTo>
                    <a:pt x="9169" y="422"/>
                  </a:lnTo>
                  <a:cubicBezTo>
                    <a:pt x="9169" y="296"/>
                    <a:pt x="9106" y="138"/>
                    <a:pt x="8980" y="75"/>
                  </a:cubicBezTo>
                  <a:cubicBezTo>
                    <a:pt x="8910" y="23"/>
                    <a:pt x="8831" y="0"/>
                    <a:pt x="8753" y="0"/>
                  </a:cubicBezTo>
                  <a:cubicBezTo>
                    <a:pt x="8690" y="0"/>
                    <a:pt x="8627" y="16"/>
                    <a:pt x="8570" y="44"/>
                  </a:cubicBezTo>
                  <a:cubicBezTo>
                    <a:pt x="7294" y="548"/>
                    <a:pt x="5939" y="800"/>
                    <a:pt x="4585" y="800"/>
                  </a:cubicBezTo>
                  <a:cubicBezTo>
                    <a:pt x="3230" y="800"/>
                    <a:pt x="1875" y="548"/>
                    <a:pt x="599" y="44"/>
                  </a:cubicBezTo>
                  <a:cubicBezTo>
                    <a:pt x="543" y="16"/>
                    <a:pt x="480" y="0"/>
                    <a:pt x="4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6" name="Google Shape;8366;p74"/>
            <p:cNvSpPr/>
            <p:nvPr/>
          </p:nvSpPr>
          <p:spPr>
            <a:xfrm>
              <a:off x="-13821775" y="3295600"/>
              <a:ext cx="228450" cy="269600"/>
            </a:xfrm>
            <a:custGeom>
              <a:avLst/>
              <a:gdLst/>
              <a:ahLst/>
              <a:cxnLst/>
              <a:rect l="l" t="t" r="r" b="b"/>
              <a:pathLst>
                <a:path w="9138" h="10784" extrusionOk="0">
                  <a:moveTo>
                    <a:pt x="2108" y="3311"/>
                  </a:moveTo>
                  <a:cubicBezTo>
                    <a:pt x="2163" y="3311"/>
                    <a:pt x="2219" y="3323"/>
                    <a:pt x="2269" y="3348"/>
                  </a:cubicBezTo>
                  <a:lnTo>
                    <a:pt x="3939" y="4167"/>
                  </a:lnTo>
                  <a:cubicBezTo>
                    <a:pt x="4128" y="4293"/>
                    <a:pt x="4191" y="4514"/>
                    <a:pt x="4128" y="4703"/>
                  </a:cubicBezTo>
                  <a:cubicBezTo>
                    <a:pt x="4033" y="4870"/>
                    <a:pt x="3883" y="4946"/>
                    <a:pt x="3720" y="4946"/>
                  </a:cubicBezTo>
                  <a:cubicBezTo>
                    <a:pt x="3668" y="4946"/>
                    <a:pt x="3615" y="4938"/>
                    <a:pt x="3561" y="4923"/>
                  </a:cubicBezTo>
                  <a:lnTo>
                    <a:pt x="1923" y="4073"/>
                  </a:lnTo>
                  <a:cubicBezTo>
                    <a:pt x="1734" y="4010"/>
                    <a:pt x="1639" y="3726"/>
                    <a:pt x="1734" y="3537"/>
                  </a:cubicBezTo>
                  <a:cubicBezTo>
                    <a:pt x="1803" y="3399"/>
                    <a:pt x="1957" y="3311"/>
                    <a:pt x="2108" y="3311"/>
                  </a:cubicBezTo>
                  <a:close/>
                  <a:moveTo>
                    <a:pt x="7086" y="3316"/>
                  </a:moveTo>
                  <a:cubicBezTo>
                    <a:pt x="7226" y="3316"/>
                    <a:pt x="7352" y="3400"/>
                    <a:pt x="7436" y="3568"/>
                  </a:cubicBezTo>
                  <a:cubicBezTo>
                    <a:pt x="7562" y="3758"/>
                    <a:pt x="7436" y="4010"/>
                    <a:pt x="7247" y="4104"/>
                  </a:cubicBezTo>
                  <a:lnTo>
                    <a:pt x="5577" y="4955"/>
                  </a:lnTo>
                  <a:cubicBezTo>
                    <a:pt x="5528" y="4979"/>
                    <a:pt x="5472" y="4991"/>
                    <a:pt x="5415" y="4991"/>
                  </a:cubicBezTo>
                  <a:cubicBezTo>
                    <a:pt x="5255" y="4991"/>
                    <a:pt x="5088" y="4897"/>
                    <a:pt x="5042" y="4734"/>
                  </a:cubicBezTo>
                  <a:cubicBezTo>
                    <a:pt x="4947" y="4514"/>
                    <a:pt x="5042" y="4262"/>
                    <a:pt x="5231" y="4199"/>
                  </a:cubicBezTo>
                  <a:lnTo>
                    <a:pt x="6869" y="3379"/>
                  </a:lnTo>
                  <a:cubicBezTo>
                    <a:pt x="6943" y="3337"/>
                    <a:pt x="7016" y="3316"/>
                    <a:pt x="7086" y="3316"/>
                  </a:cubicBezTo>
                  <a:close/>
                  <a:moveTo>
                    <a:pt x="6223" y="6632"/>
                  </a:moveTo>
                  <a:cubicBezTo>
                    <a:pt x="6333" y="6632"/>
                    <a:pt x="6444" y="6672"/>
                    <a:pt x="6522" y="6750"/>
                  </a:cubicBezTo>
                  <a:cubicBezTo>
                    <a:pt x="6680" y="6908"/>
                    <a:pt x="6680" y="7192"/>
                    <a:pt x="6522" y="7349"/>
                  </a:cubicBezTo>
                  <a:cubicBezTo>
                    <a:pt x="5987" y="7885"/>
                    <a:pt x="5262" y="8137"/>
                    <a:pt x="4601" y="8137"/>
                  </a:cubicBezTo>
                  <a:cubicBezTo>
                    <a:pt x="3939" y="8137"/>
                    <a:pt x="3183" y="7853"/>
                    <a:pt x="2679" y="7349"/>
                  </a:cubicBezTo>
                  <a:cubicBezTo>
                    <a:pt x="2521" y="7192"/>
                    <a:pt x="2521" y="6908"/>
                    <a:pt x="2679" y="6750"/>
                  </a:cubicBezTo>
                  <a:cubicBezTo>
                    <a:pt x="2758" y="6672"/>
                    <a:pt x="2860" y="6632"/>
                    <a:pt x="2962" y="6632"/>
                  </a:cubicBezTo>
                  <a:cubicBezTo>
                    <a:pt x="3065" y="6632"/>
                    <a:pt x="3167" y="6672"/>
                    <a:pt x="3246" y="6750"/>
                  </a:cubicBezTo>
                  <a:cubicBezTo>
                    <a:pt x="3608" y="7129"/>
                    <a:pt x="4097" y="7318"/>
                    <a:pt x="4585" y="7318"/>
                  </a:cubicBezTo>
                  <a:cubicBezTo>
                    <a:pt x="5073" y="7318"/>
                    <a:pt x="5562" y="7129"/>
                    <a:pt x="5924" y="6750"/>
                  </a:cubicBezTo>
                  <a:cubicBezTo>
                    <a:pt x="6003" y="6672"/>
                    <a:pt x="6113" y="6632"/>
                    <a:pt x="6223" y="6632"/>
                  </a:cubicBezTo>
                  <a:close/>
                  <a:moveTo>
                    <a:pt x="8737" y="0"/>
                  </a:moveTo>
                  <a:cubicBezTo>
                    <a:pt x="8681" y="0"/>
                    <a:pt x="8624" y="13"/>
                    <a:pt x="8570" y="40"/>
                  </a:cubicBezTo>
                  <a:cubicBezTo>
                    <a:pt x="7294" y="544"/>
                    <a:pt x="5932" y="796"/>
                    <a:pt x="4565" y="796"/>
                  </a:cubicBezTo>
                  <a:cubicBezTo>
                    <a:pt x="3199" y="796"/>
                    <a:pt x="1828" y="544"/>
                    <a:pt x="537" y="40"/>
                  </a:cubicBezTo>
                  <a:cubicBezTo>
                    <a:pt x="494" y="22"/>
                    <a:pt x="447" y="13"/>
                    <a:pt x="400" y="13"/>
                  </a:cubicBezTo>
                  <a:cubicBezTo>
                    <a:pt x="205" y="13"/>
                    <a:pt x="1" y="164"/>
                    <a:pt x="1" y="418"/>
                  </a:cubicBezTo>
                  <a:lnTo>
                    <a:pt x="1" y="5301"/>
                  </a:lnTo>
                  <a:cubicBezTo>
                    <a:pt x="1" y="7948"/>
                    <a:pt x="1891" y="10279"/>
                    <a:pt x="4475" y="10783"/>
                  </a:cubicBezTo>
                  <a:lnTo>
                    <a:pt x="4632" y="10783"/>
                  </a:lnTo>
                  <a:cubicBezTo>
                    <a:pt x="7247" y="10247"/>
                    <a:pt x="9137" y="7948"/>
                    <a:pt x="9137" y="5301"/>
                  </a:cubicBezTo>
                  <a:lnTo>
                    <a:pt x="9137" y="418"/>
                  </a:lnTo>
                  <a:cubicBezTo>
                    <a:pt x="9137" y="170"/>
                    <a:pt x="8943" y="0"/>
                    <a:pt x="87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67" name="Google Shape;8367;p74"/>
          <p:cNvSpPr/>
          <p:nvPr/>
        </p:nvSpPr>
        <p:spPr>
          <a:xfrm>
            <a:off x="4902088" y="2265409"/>
            <a:ext cx="271340" cy="353864"/>
          </a:xfrm>
          <a:custGeom>
            <a:avLst/>
            <a:gdLst/>
            <a:ahLst/>
            <a:cxnLst/>
            <a:rect l="l" t="t" r="r" b="b"/>
            <a:pathLst>
              <a:path w="10776" h="14052" extrusionOk="0">
                <a:moveTo>
                  <a:pt x="5388" y="0"/>
                </a:moveTo>
                <a:cubicBezTo>
                  <a:pt x="3939" y="0"/>
                  <a:pt x="2741" y="1071"/>
                  <a:pt x="2552" y="2489"/>
                </a:cubicBezTo>
                <a:lnTo>
                  <a:pt x="4569" y="2489"/>
                </a:lnTo>
                <a:cubicBezTo>
                  <a:pt x="4789" y="2489"/>
                  <a:pt x="5010" y="2678"/>
                  <a:pt x="5010" y="2867"/>
                </a:cubicBezTo>
                <a:cubicBezTo>
                  <a:pt x="5010" y="3056"/>
                  <a:pt x="4789" y="3277"/>
                  <a:pt x="4569" y="3277"/>
                </a:cubicBezTo>
                <a:lnTo>
                  <a:pt x="2489" y="3277"/>
                </a:lnTo>
                <a:lnTo>
                  <a:pt x="2489" y="4096"/>
                </a:lnTo>
                <a:lnTo>
                  <a:pt x="4569" y="4096"/>
                </a:lnTo>
                <a:cubicBezTo>
                  <a:pt x="4789" y="4096"/>
                  <a:pt x="5010" y="4285"/>
                  <a:pt x="5010" y="4537"/>
                </a:cubicBezTo>
                <a:cubicBezTo>
                  <a:pt x="5010" y="4757"/>
                  <a:pt x="4789" y="4915"/>
                  <a:pt x="4569" y="4915"/>
                </a:cubicBezTo>
                <a:lnTo>
                  <a:pt x="2489" y="4915"/>
                </a:lnTo>
                <a:lnTo>
                  <a:pt x="2489" y="5734"/>
                </a:lnTo>
                <a:lnTo>
                  <a:pt x="4569" y="5734"/>
                </a:lnTo>
                <a:cubicBezTo>
                  <a:pt x="4789" y="5734"/>
                  <a:pt x="5010" y="5955"/>
                  <a:pt x="5010" y="6144"/>
                </a:cubicBezTo>
                <a:cubicBezTo>
                  <a:pt x="5010" y="6396"/>
                  <a:pt x="4789" y="6585"/>
                  <a:pt x="4569" y="6585"/>
                </a:cubicBezTo>
                <a:lnTo>
                  <a:pt x="2552" y="6585"/>
                </a:lnTo>
                <a:cubicBezTo>
                  <a:pt x="2741" y="7845"/>
                  <a:pt x="3750" y="8822"/>
                  <a:pt x="5010" y="9011"/>
                </a:cubicBezTo>
                <a:lnTo>
                  <a:pt x="5010" y="9861"/>
                </a:lnTo>
                <a:cubicBezTo>
                  <a:pt x="2804" y="9641"/>
                  <a:pt x="1072" y="7876"/>
                  <a:pt x="851" y="5671"/>
                </a:cubicBezTo>
                <a:lnTo>
                  <a:pt x="851" y="5671"/>
                </a:lnTo>
                <a:cubicBezTo>
                  <a:pt x="977" y="5703"/>
                  <a:pt x="1135" y="5734"/>
                  <a:pt x="1261" y="5734"/>
                </a:cubicBezTo>
                <a:cubicBezTo>
                  <a:pt x="1418" y="5734"/>
                  <a:pt x="1544" y="5703"/>
                  <a:pt x="1702" y="5671"/>
                </a:cubicBezTo>
                <a:lnTo>
                  <a:pt x="1702" y="3340"/>
                </a:lnTo>
                <a:cubicBezTo>
                  <a:pt x="1576" y="3308"/>
                  <a:pt x="1418" y="3277"/>
                  <a:pt x="1261" y="3277"/>
                </a:cubicBezTo>
                <a:cubicBezTo>
                  <a:pt x="599" y="3277"/>
                  <a:pt x="0" y="3812"/>
                  <a:pt x="0" y="4537"/>
                </a:cubicBezTo>
                <a:lnTo>
                  <a:pt x="0" y="5356"/>
                </a:lnTo>
                <a:cubicBezTo>
                  <a:pt x="0" y="8191"/>
                  <a:pt x="2206" y="10523"/>
                  <a:pt x="4947" y="10712"/>
                </a:cubicBezTo>
                <a:lnTo>
                  <a:pt x="4947" y="11657"/>
                </a:lnTo>
                <a:cubicBezTo>
                  <a:pt x="4002" y="11846"/>
                  <a:pt x="3308" y="12697"/>
                  <a:pt x="3308" y="13673"/>
                </a:cubicBezTo>
                <a:cubicBezTo>
                  <a:pt x="3308" y="13894"/>
                  <a:pt x="3497" y="14051"/>
                  <a:pt x="3750" y="14051"/>
                </a:cubicBezTo>
                <a:lnTo>
                  <a:pt x="7058" y="14051"/>
                </a:lnTo>
                <a:cubicBezTo>
                  <a:pt x="7278" y="14051"/>
                  <a:pt x="7436" y="13862"/>
                  <a:pt x="7436" y="13673"/>
                </a:cubicBezTo>
                <a:cubicBezTo>
                  <a:pt x="7436" y="12697"/>
                  <a:pt x="6743" y="11815"/>
                  <a:pt x="5797" y="11657"/>
                </a:cubicBezTo>
                <a:lnTo>
                  <a:pt x="5797" y="10712"/>
                </a:lnTo>
                <a:cubicBezTo>
                  <a:pt x="8570" y="10523"/>
                  <a:pt x="10775" y="8191"/>
                  <a:pt x="10775" y="5356"/>
                </a:cubicBezTo>
                <a:lnTo>
                  <a:pt x="10775" y="4537"/>
                </a:lnTo>
                <a:cubicBezTo>
                  <a:pt x="10775" y="3875"/>
                  <a:pt x="10240" y="3277"/>
                  <a:pt x="9515" y="3277"/>
                </a:cubicBezTo>
                <a:cubicBezTo>
                  <a:pt x="9357" y="3277"/>
                  <a:pt x="9263" y="3308"/>
                  <a:pt x="9137" y="3340"/>
                </a:cubicBezTo>
                <a:lnTo>
                  <a:pt x="9137" y="5671"/>
                </a:lnTo>
                <a:cubicBezTo>
                  <a:pt x="9263" y="5703"/>
                  <a:pt x="9420" y="5734"/>
                  <a:pt x="9515" y="5734"/>
                </a:cubicBezTo>
                <a:cubicBezTo>
                  <a:pt x="9672" y="5734"/>
                  <a:pt x="9798" y="5703"/>
                  <a:pt x="9925" y="5671"/>
                </a:cubicBezTo>
                <a:lnTo>
                  <a:pt x="9925" y="5671"/>
                </a:lnTo>
                <a:cubicBezTo>
                  <a:pt x="9767" y="7876"/>
                  <a:pt x="8003" y="9641"/>
                  <a:pt x="5797" y="9861"/>
                </a:cubicBezTo>
                <a:lnTo>
                  <a:pt x="5797" y="9011"/>
                </a:lnTo>
                <a:cubicBezTo>
                  <a:pt x="7058" y="8822"/>
                  <a:pt x="8034" y="7845"/>
                  <a:pt x="8223" y="6585"/>
                </a:cubicBezTo>
                <a:lnTo>
                  <a:pt x="6207" y="6585"/>
                </a:lnTo>
                <a:cubicBezTo>
                  <a:pt x="5986" y="6585"/>
                  <a:pt x="5829" y="6396"/>
                  <a:pt x="5829" y="6144"/>
                </a:cubicBezTo>
                <a:cubicBezTo>
                  <a:pt x="5829" y="5892"/>
                  <a:pt x="6018" y="5734"/>
                  <a:pt x="6207" y="5734"/>
                </a:cubicBezTo>
                <a:lnTo>
                  <a:pt x="8318" y="5734"/>
                </a:lnTo>
                <a:lnTo>
                  <a:pt x="8318" y="4915"/>
                </a:lnTo>
                <a:lnTo>
                  <a:pt x="6207" y="4915"/>
                </a:lnTo>
                <a:cubicBezTo>
                  <a:pt x="5986" y="4915"/>
                  <a:pt x="5829" y="4726"/>
                  <a:pt x="5829" y="4537"/>
                </a:cubicBezTo>
                <a:cubicBezTo>
                  <a:pt x="5829" y="4285"/>
                  <a:pt x="6018" y="4096"/>
                  <a:pt x="6207" y="4096"/>
                </a:cubicBezTo>
                <a:lnTo>
                  <a:pt x="8318" y="4096"/>
                </a:lnTo>
                <a:lnTo>
                  <a:pt x="8318" y="3277"/>
                </a:lnTo>
                <a:lnTo>
                  <a:pt x="6207" y="3277"/>
                </a:lnTo>
                <a:cubicBezTo>
                  <a:pt x="5986" y="3277"/>
                  <a:pt x="5829" y="3056"/>
                  <a:pt x="5829" y="2867"/>
                </a:cubicBezTo>
                <a:cubicBezTo>
                  <a:pt x="5829" y="2678"/>
                  <a:pt x="6018" y="2489"/>
                  <a:pt x="6207" y="2489"/>
                </a:cubicBezTo>
                <a:lnTo>
                  <a:pt x="8223" y="2489"/>
                </a:lnTo>
                <a:cubicBezTo>
                  <a:pt x="8034" y="1071"/>
                  <a:pt x="6806"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68" name="Google Shape;8368;p74"/>
          <p:cNvGrpSpPr/>
          <p:nvPr/>
        </p:nvGrpSpPr>
        <p:grpSpPr>
          <a:xfrm>
            <a:off x="5301563" y="1379233"/>
            <a:ext cx="356221" cy="356257"/>
            <a:chOff x="-13512225" y="3211525"/>
            <a:chExt cx="353675" cy="353675"/>
          </a:xfrm>
        </p:grpSpPr>
        <p:sp>
          <p:nvSpPr>
            <p:cNvPr id="8369" name="Google Shape;8369;p74"/>
            <p:cNvSpPr/>
            <p:nvPr/>
          </p:nvSpPr>
          <p:spPr>
            <a:xfrm>
              <a:off x="-13283825" y="3482475"/>
              <a:ext cx="125275" cy="82725"/>
            </a:xfrm>
            <a:custGeom>
              <a:avLst/>
              <a:gdLst/>
              <a:ahLst/>
              <a:cxnLst/>
              <a:rect l="l" t="t" r="r" b="b"/>
              <a:pathLst>
                <a:path w="5011" h="3309" extrusionOk="0">
                  <a:moveTo>
                    <a:pt x="1671" y="0"/>
                  </a:moveTo>
                  <a:cubicBezTo>
                    <a:pt x="757" y="0"/>
                    <a:pt x="1" y="725"/>
                    <a:pt x="1" y="1638"/>
                  </a:cubicBezTo>
                  <a:cubicBezTo>
                    <a:pt x="1" y="2552"/>
                    <a:pt x="757" y="3308"/>
                    <a:pt x="1671" y="3308"/>
                  </a:cubicBezTo>
                  <a:cubicBezTo>
                    <a:pt x="2269" y="3308"/>
                    <a:pt x="2584" y="3056"/>
                    <a:pt x="4790" y="1985"/>
                  </a:cubicBezTo>
                  <a:cubicBezTo>
                    <a:pt x="4884" y="1953"/>
                    <a:pt x="5010" y="1796"/>
                    <a:pt x="5010" y="1638"/>
                  </a:cubicBezTo>
                  <a:cubicBezTo>
                    <a:pt x="5010" y="1481"/>
                    <a:pt x="4947" y="1323"/>
                    <a:pt x="4790" y="1292"/>
                  </a:cubicBezTo>
                  <a:cubicBezTo>
                    <a:pt x="2584" y="221"/>
                    <a:pt x="2269" y="0"/>
                    <a:pt x="1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74"/>
            <p:cNvSpPr/>
            <p:nvPr/>
          </p:nvSpPr>
          <p:spPr>
            <a:xfrm>
              <a:off x="-13512225" y="3211525"/>
              <a:ext cx="353675" cy="249700"/>
            </a:xfrm>
            <a:custGeom>
              <a:avLst/>
              <a:gdLst/>
              <a:ahLst/>
              <a:cxnLst/>
              <a:rect l="l" t="t" r="r" b="b"/>
              <a:pathLst>
                <a:path w="14147" h="9988" extrusionOk="0">
                  <a:moveTo>
                    <a:pt x="6679" y="1702"/>
                  </a:moveTo>
                  <a:cubicBezTo>
                    <a:pt x="7152" y="1702"/>
                    <a:pt x="7499" y="2048"/>
                    <a:pt x="7499" y="2521"/>
                  </a:cubicBezTo>
                  <a:cubicBezTo>
                    <a:pt x="7499" y="2993"/>
                    <a:pt x="7152" y="3340"/>
                    <a:pt x="6679" y="3340"/>
                  </a:cubicBezTo>
                  <a:cubicBezTo>
                    <a:pt x="6207" y="3340"/>
                    <a:pt x="5829" y="2993"/>
                    <a:pt x="5829" y="2521"/>
                  </a:cubicBezTo>
                  <a:cubicBezTo>
                    <a:pt x="5829" y="2048"/>
                    <a:pt x="6207" y="1702"/>
                    <a:pt x="6679" y="1702"/>
                  </a:cubicBezTo>
                  <a:close/>
                  <a:moveTo>
                    <a:pt x="4191" y="2143"/>
                  </a:moveTo>
                  <a:cubicBezTo>
                    <a:pt x="4663" y="2143"/>
                    <a:pt x="5010" y="2489"/>
                    <a:pt x="5010" y="2962"/>
                  </a:cubicBezTo>
                  <a:cubicBezTo>
                    <a:pt x="5010" y="3434"/>
                    <a:pt x="4663" y="3781"/>
                    <a:pt x="4191" y="3781"/>
                  </a:cubicBezTo>
                  <a:cubicBezTo>
                    <a:pt x="3718" y="3781"/>
                    <a:pt x="3371" y="3434"/>
                    <a:pt x="3371" y="2962"/>
                  </a:cubicBezTo>
                  <a:cubicBezTo>
                    <a:pt x="3371" y="2489"/>
                    <a:pt x="3718" y="2143"/>
                    <a:pt x="4191" y="2143"/>
                  </a:cubicBezTo>
                  <a:close/>
                  <a:moveTo>
                    <a:pt x="2521" y="4191"/>
                  </a:moveTo>
                  <a:cubicBezTo>
                    <a:pt x="2993" y="4191"/>
                    <a:pt x="3371" y="4537"/>
                    <a:pt x="3371" y="5010"/>
                  </a:cubicBezTo>
                  <a:cubicBezTo>
                    <a:pt x="3371" y="5482"/>
                    <a:pt x="2993" y="5829"/>
                    <a:pt x="2521" y="5829"/>
                  </a:cubicBezTo>
                  <a:cubicBezTo>
                    <a:pt x="2048" y="5829"/>
                    <a:pt x="1702" y="5482"/>
                    <a:pt x="1702" y="5010"/>
                  </a:cubicBezTo>
                  <a:cubicBezTo>
                    <a:pt x="1702" y="4537"/>
                    <a:pt x="2048" y="4191"/>
                    <a:pt x="2521" y="4191"/>
                  </a:cubicBezTo>
                  <a:close/>
                  <a:moveTo>
                    <a:pt x="10397" y="3340"/>
                  </a:moveTo>
                  <a:cubicBezTo>
                    <a:pt x="11563" y="3340"/>
                    <a:pt x="12508" y="4096"/>
                    <a:pt x="12508" y="5010"/>
                  </a:cubicBezTo>
                  <a:cubicBezTo>
                    <a:pt x="12508" y="5923"/>
                    <a:pt x="11563" y="6648"/>
                    <a:pt x="10397" y="6648"/>
                  </a:cubicBezTo>
                  <a:cubicBezTo>
                    <a:pt x="9263" y="6648"/>
                    <a:pt x="8318" y="5892"/>
                    <a:pt x="8318" y="5010"/>
                  </a:cubicBezTo>
                  <a:cubicBezTo>
                    <a:pt x="8318" y="4096"/>
                    <a:pt x="9263" y="3340"/>
                    <a:pt x="10397" y="3340"/>
                  </a:cubicBezTo>
                  <a:close/>
                  <a:moveTo>
                    <a:pt x="4191" y="6270"/>
                  </a:moveTo>
                  <a:cubicBezTo>
                    <a:pt x="4663" y="6270"/>
                    <a:pt x="5010" y="6616"/>
                    <a:pt x="5010" y="7089"/>
                  </a:cubicBezTo>
                  <a:cubicBezTo>
                    <a:pt x="5010" y="7562"/>
                    <a:pt x="4663" y="7908"/>
                    <a:pt x="4191" y="7908"/>
                  </a:cubicBezTo>
                  <a:cubicBezTo>
                    <a:pt x="3718" y="7908"/>
                    <a:pt x="3371" y="7562"/>
                    <a:pt x="3371" y="7089"/>
                  </a:cubicBezTo>
                  <a:cubicBezTo>
                    <a:pt x="3371" y="6616"/>
                    <a:pt x="3718" y="6270"/>
                    <a:pt x="4191" y="6270"/>
                  </a:cubicBezTo>
                  <a:close/>
                  <a:moveTo>
                    <a:pt x="6679" y="6648"/>
                  </a:moveTo>
                  <a:cubicBezTo>
                    <a:pt x="7152" y="6648"/>
                    <a:pt x="7499" y="6994"/>
                    <a:pt x="7499" y="7499"/>
                  </a:cubicBezTo>
                  <a:cubicBezTo>
                    <a:pt x="7499" y="7971"/>
                    <a:pt x="7152" y="8318"/>
                    <a:pt x="6679" y="8318"/>
                  </a:cubicBezTo>
                  <a:cubicBezTo>
                    <a:pt x="6207" y="8318"/>
                    <a:pt x="5829" y="7971"/>
                    <a:pt x="5829" y="7499"/>
                  </a:cubicBezTo>
                  <a:cubicBezTo>
                    <a:pt x="5829" y="7057"/>
                    <a:pt x="6207" y="6648"/>
                    <a:pt x="6679" y="6648"/>
                  </a:cubicBezTo>
                  <a:close/>
                  <a:moveTo>
                    <a:pt x="7089" y="0"/>
                  </a:moveTo>
                  <a:cubicBezTo>
                    <a:pt x="3245" y="0"/>
                    <a:pt x="63" y="2237"/>
                    <a:pt x="63" y="5010"/>
                  </a:cubicBezTo>
                  <a:cubicBezTo>
                    <a:pt x="0" y="7751"/>
                    <a:pt x="3214" y="9987"/>
                    <a:pt x="7089" y="9987"/>
                  </a:cubicBezTo>
                  <a:cubicBezTo>
                    <a:pt x="10964" y="9987"/>
                    <a:pt x="14146" y="7751"/>
                    <a:pt x="14146" y="5010"/>
                  </a:cubicBezTo>
                  <a:cubicBezTo>
                    <a:pt x="14146" y="2300"/>
                    <a:pt x="10964"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1" name="Google Shape;8371;p74"/>
            <p:cNvSpPr/>
            <p:nvPr/>
          </p:nvSpPr>
          <p:spPr>
            <a:xfrm>
              <a:off x="-13512225" y="3483250"/>
              <a:ext cx="100050" cy="81150"/>
            </a:xfrm>
            <a:custGeom>
              <a:avLst/>
              <a:gdLst/>
              <a:ahLst/>
              <a:cxnLst/>
              <a:rect l="l" t="t" r="r" b="b"/>
              <a:pathLst>
                <a:path w="4002" h="3246" extrusionOk="0">
                  <a:moveTo>
                    <a:pt x="4002" y="1"/>
                  </a:moveTo>
                  <a:cubicBezTo>
                    <a:pt x="2206" y="127"/>
                    <a:pt x="63" y="536"/>
                    <a:pt x="63" y="1607"/>
                  </a:cubicBezTo>
                  <a:cubicBezTo>
                    <a:pt x="0" y="2710"/>
                    <a:pt x="2174" y="3120"/>
                    <a:pt x="4002" y="3246"/>
                  </a:cubicBezTo>
                  <a:cubicBezTo>
                    <a:pt x="3592" y="2805"/>
                    <a:pt x="3371" y="2206"/>
                    <a:pt x="3371" y="1607"/>
                  </a:cubicBezTo>
                  <a:cubicBezTo>
                    <a:pt x="3371" y="1040"/>
                    <a:pt x="3592" y="442"/>
                    <a:pt x="40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2" name="Google Shape;8372;p74"/>
            <p:cNvSpPr/>
            <p:nvPr/>
          </p:nvSpPr>
          <p:spPr>
            <a:xfrm>
              <a:off x="-13407475" y="3483250"/>
              <a:ext cx="36250" cy="81150"/>
            </a:xfrm>
            <a:custGeom>
              <a:avLst/>
              <a:gdLst/>
              <a:ahLst/>
              <a:cxnLst/>
              <a:rect l="l" t="t" r="r" b="b"/>
              <a:pathLst>
                <a:path w="1450" h="3246" extrusionOk="0">
                  <a:moveTo>
                    <a:pt x="1418" y="1"/>
                  </a:moveTo>
                  <a:lnTo>
                    <a:pt x="1418" y="1"/>
                  </a:lnTo>
                  <a:cubicBezTo>
                    <a:pt x="1103" y="32"/>
                    <a:pt x="788" y="190"/>
                    <a:pt x="505" y="442"/>
                  </a:cubicBezTo>
                  <a:cubicBezTo>
                    <a:pt x="190" y="757"/>
                    <a:pt x="1" y="1166"/>
                    <a:pt x="1" y="1607"/>
                  </a:cubicBezTo>
                  <a:cubicBezTo>
                    <a:pt x="1" y="2048"/>
                    <a:pt x="158" y="2489"/>
                    <a:pt x="505" y="2805"/>
                  </a:cubicBezTo>
                  <a:cubicBezTo>
                    <a:pt x="788" y="3025"/>
                    <a:pt x="1103" y="3183"/>
                    <a:pt x="1450" y="3246"/>
                  </a:cubicBezTo>
                  <a:cubicBezTo>
                    <a:pt x="1072" y="2805"/>
                    <a:pt x="820" y="2206"/>
                    <a:pt x="820" y="1607"/>
                  </a:cubicBezTo>
                  <a:cubicBezTo>
                    <a:pt x="820" y="977"/>
                    <a:pt x="1072" y="442"/>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74"/>
            <p:cNvSpPr/>
            <p:nvPr/>
          </p:nvSpPr>
          <p:spPr>
            <a:xfrm>
              <a:off x="-13366525" y="3485625"/>
              <a:ext cx="70125" cy="76425"/>
            </a:xfrm>
            <a:custGeom>
              <a:avLst/>
              <a:gdLst/>
              <a:ahLst/>
              <a:cxnLst/>
              <a:rect l="l" t="t" r="r" b="b"/>
              <a:pathLst>
                <a:path w="2805" h="3057" extrusionOk="0">
                  <a:moveTo>
                    <a:pt x="1072" y="0"/>
                  </a:moveTo>
                  <a:cubicBezTo>
                    <a:pt x="442" y="221"/>
                    <a:pt x="1" y="819"/>
                    <a:pt x="1" y="1512"/>
                  </a:cubicBezTo>
                  <a:cubicBezTo>
                    <a:pt x="1" y="2237"/>
                    <a:pt x="442" y="2836"/>
                    <a:pt x="1072" y="3056"/>
                  </a:cubicBezTo>
                  <a:cubicBezTo>
                    <a:pt x="1702" y="2962"/>
                    <a:pt x="2301" y="2867"/>
                    <a:pt x="2805" y="2710"/>
                  </a:cubicBezTo>
                  <a:cubicBezTo>
                    <a:pt x="2616" y="2363"/>
                    <a:pt x="2490" y="1953"/>
                    <a:pt x="2490" y="1512"/>
                  </a:cubicBezTo>
                  <a:cubicBezTo>
                    <a:pt x="2490" y="1071"/>
                    <a:pt x="2616" y="693"/>
                    <a:pt x="2805" y="347"/>
                  </a:cubicBezTo>
                  <a:cubicBezTo>
                    <a:pt x="2301" y="189"/>
                    <a:pt x="1702" y="63"/>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74"/>
          <p:cNvGrpSpPr/>
          <p:nvPr/>
        </p:nvGrpSpPr>
        <p:grpSpPr>
          <a:xfrm>
            <a:off x="6191845" y="1379624"/>
            <a:ext cx="356221" cy="355476"/>
            <a:chOff x="-12643475" y="3212300"/>
            <a:chExt cx="353675" cy="352900"/>
          </a:xfrm>
        </p:grpSpPr>
        <p:sp>
          <p:nvSpPr>
            <p:cNvPr id="8375" name="Google Shape;8375;p74"/>
            <p:cNvSpPr/>
            <p:nvPr/>
          </p:nvSpPr>
          <p:spPr>
            <a:xfrm>
              <a:off x="-12372525" y="3517125"/>
              <a:ext cx="20500" cy="48075"/>
            </a:xfrm>
            <a:custGeom>
              <a:avLst/>
              <a:gdLst/>
              <a:ahLst/>
              <a:cxnLst/>
              <a:rect l="l" t="t" r="r" b="b"/>
              <a:pathLst>
                <a:path w="820" h="1923" extrusionOk="0">
                  <a:moveTo>
                    <a:pt x="0" y="0"/>
                  </a:moveTo>
                  <a:lnTo>
                    <a:pt x="0" y="1513"/>
                  </a:lnTo>
                  <a:cubicBezTo>
                    <a:pt x="0" y="1765"/>
                    <a:pt x="189" y="1922"/>
                    <a:pt x="410" y="1922"/>
                  </a:cubicBezTo>
                  <a:cubicBezTo>
                    <a:pt x="662" y="1922"/>
                    <a:pt x="819" y="1702"/>
                    <a:pt x="819" y="1513"/>
                  </a:cubicBezTo>
                  <a:lnTo>
                    <a:pt x="819" y="0"/>
                  </a:lnTo>
                  <a:cubicBezTo>
                    <a:pt x="662" y="126"/>
                    <a:pt x="567" y="221"/>
                    <a:pt x="410" y="221"/>
                  </a:cubicBezTo>
                  <a:cubicBezTo>
                    <a:pt x="189" y="221"/>
                    <a:pt x="126"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74"/>
            <p:cNvSpPr/>
            <p:nvPr/>
          </p:nvSpPr>
          <p:spPr>
            <a:xfrm>
              <a:off x="-12581250" y="3480900"/>
              <a:ext cx="63025" cy="21275"/>
            </a:xfrm>
            <a:custGeom>
              <a:avLst/>
              <a:gdLst/>
              <a:ahLst/>
              <a:cxnLst/>
              <a:rect l="l" t="t" r="r" b="b"/>
              <a:pathLst>
                <a:path w="2521" h="851" extrusionOk="0">
                  <a:moveTo>
                    <a:pt x="0" y="0"/>
                  </a:moveTo>
                  <a:lnTo>
                    <a:pt x="0" y="851"/>
                  </a:lnTo>
                  <a:lnTo>
                    <a:pt x="2521" y="851"/>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7" name="Google Shape;8377;p74"/>
            <p:cNvSpPr/>
            <p:nvPr/>
          </p:nvSpPr>
          <p:spPr>
            <a:xfrm>
              <a:off x="-12643475" y="3398975"/>
              <a:ext cx="186700" cy="166225"/>
            </a:xfrm>
            <a:custGeom>
              <a:avLst/>
              <a:gdLst/>
              <a:ahLst/>
              <a:cxnLst/>
              <a:rect l="l" t="t" r="r" b="b"/>
              <a:pathLst>
                <a:path w="7468" h="6649" extrusionOk="0">
                  <a:moveTo>
                    <a:pt x="5419" y="2458"/>
                  </a:moveTo>
                  <a:cubicBezTo>
                    <a:pt x="5671" y="2458"/>
                    <a:pt x="5860" y="2647"/>
                    <a:pt x="5860" y="2899"/>
                  </a:cubicBezTo>
                  <a:lnTo>
                    <a:pt x="5860" y="4537"/>
                  </a:lnTo>
                  <a:cubicBezTo>
                    <a:pt x="5860" y="4789"/>
                    <a:pt x="5671" y="4978"/>
                    <a:pt x="5419" y="4978"/>
                  </a:cubicBezTo>
                  <a:lnTo>
                    <a:pt x="2080" y="4978"/>
                  </a:lnTo>
                  <a:cubicBezTo>
                    <a:pt x="1859" y="4978"/>
                    <a:pt x="1639" y="4789"/>
                    <a:pt x="1639" y="4537"/>
                  </a:cubicBezTo>
                  <a:lnTo>
                    <a:pt x="1639" y="2899"/>
                  </a:lnTo>
                  <a:cubicBezTo>
                    <a:pt x="1639" y="2647"/>
                    <a:pt x="1859" y="2458"/>
                    <a:pt x="2080" y="2458"/>
                  </a:cubicBezTo>
                  <a:close/>
                  <a:moveTo>
                    <a:pt x="1639" y="1"/>
                  </a:moveTo>
                  <a:lnTo>
                    <a:pt x="1639" y="977"/>
                  </a:lnTo>
                  <a:lnTo>
                    <a:pt x="662" y="1450"/>
                  </a:lnTo>
                  <a:cubicBezTo>
                    <a:pt x="221" y="1639"/>
                    <a:pt x="0" y="2080"/>
                    <a:pt x="0" y="2552"/>
                  </a:cubicBezTo>
                  <a:lnTo>
                    <a:pt x="0" y="5356"/>
                  </a:lnTo>
                  <a:cubicBezTo>
                    <a:pt x="0" y="6049"/>
                    <a:pt x="536" y="6648"/>
                    <a:pt x="1261" y="6648"/>
                  </a:cubicBezTo>
                  <a:lnTo>
                    <a:pt x="6270" y="6648"/>
                  </a:lnTo>
                  <a:cubicBezTo>
                    <a:pt x="6931" y="6648"/>
                    <a:pt x="7467" y="6049"/>
                    <a:pt x="7467" y="5388"/>
                  </a:cubicBezTo>
                  <a:lnTo>
                    <a:pt x="7467" y="2584"/>
                  </a:lnTo>
                  <a:cubicBezTo>
                    <a:pt x="7467" y="2111"/>
                    <a:pt x="7215" y="1670"/>
                    <a:pt x="6805" y="1481"/>
                  </a:cubicBezTo>
                  <a:lnTo>
                    <a:pt x="5829" y="1009"/>
                  </a:ln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4"/>
            <p:cNvSpPr/>
            <p:nvPr/>
          </p:nvSpPr>
          <p:spPr>
            <a:xfrm>
              <a:off x="-12431600" y="3212300"/>
              <a:ext cx="141800" cy="137075"/>
            </a:xfrm>
            <a:custGeom>
              <a:avLst/>
              <a:gdLst/>
              <a:ahLst/>
              <a:cxnLst/>
              <a:rect l="l" t="t" r="r" b="b"/>
              <a:pathLst>
                <a:path w="5672" h="5483" extrusionOk="0">
                  <a:moveTo>
                    <a:pt x="2741" y="1"/>
                  </a:moveTo>
                  <a:cubicBezTo>
                    <a:pt x="1481" y="1"/>
                    <a:pt x="378" y="883"/>
                    <a:pt x="0" y="2017"/>
                  </a:cubicBezTo>
                  <a:lnTo>
                    <a:pt x="2300" y="3845"/>
                  </a:lnTo>
                  <a:lnTo>
                    <a:pt x="2300" y="2143"/>
                  </a:lnTo>
                  <a:cubicBezTo>
                    <a:pt x="2300" y="1891"/>
                    <a:pt x="2521" y="1702"/>
                    <a:pt x="2741" y="1702"/>
                  </a:cubicBezTo>
                  <a:cubicBezTo>
                    <a:pt x="2993" y="1702"/>
                    <a:pt x="3151" y="1891"/>
                    <a:pt x="3151" y="2143"/>
                  </a:cubicBezTo>
                  <a:lnTo>
                    <a:pt x="3151" y="5483"/>
                  </a:lnTo>
                  <a:lnTo>
                    <a:pt x="5608" y="3561"/>
                  </a:lnTo>
                  <a:lnTo>
                    <a:pt x="5608" y="2931"/>
                  </a:lnTo>
                  <a:cubicBezTo>
                    <a:pt x="5671" y="1324"/>
                    <a:pt x="434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74"/>
            <p:cNvSpPr/>
            <p:nvPr/>
          </p:nvSpPr>
          <p:spPr>
            <a:xfrm>
              <a:off x="-12352050" y="3326525"/>
              <a:ext cx="62250" cy="104775"/>
            </a:xfrm>
            <a:custGeom>
              <a:avLst/>
              <a:gdLst/>
              <a:ahLst/>
              <a:cxnLst/>
              <a:rect l="l" t="t" r="r" b="b"/>
              <a:pathLst>
                <a:path w="2490" h="4191" extrusionOk="0">
                  <a:moveTo>
                    <a:pt x="2489" y="0"/>
                  </a:moveTo>
                  <a:lnTo>
                    <a:pt x="0" y="1890"/>
                  </a:lnTo>
                  <a:lnTo>
                    <a:pt x="0" y="4190"/>
                  </a:lnTo>
                  <a:lnTo>
                    <a:pt x="2489" y="230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0" name="Google Shape;8380;p74"/>
            <p:cNvSpPr/>
            <p:nvPr/>
          </p:nvSpPr>
          <p:spPr>
            <a:xfrm>
              <a:off x="-12434750" y="3285550"/>
              <a:ext cx="62250" cy="104000"/>
            </a:xfrm>
            <a:custGeom>
              <a:avLst/>
              <a:gdLst/>
              <a:ahLst/>
              <a:cxnLst/>
              <a:rect l="l" t="t" r="r" b="b"/>
              <a:pathLst>
                <a:path w="2490" h="4160" extrusionOk="0">
                  <a:moveTo>
                    <a:pt x="0" y="1"/>
                  </a:moveTo>
                  <a:lnTo>
                    <a:pt x="0" y="2269"/>
                  </a:lnTo>
                  <a:lnTo>
                    <a:pt x="2489" y="4160"/>
                  </a:lnTo>
                  <a:lnTo>
                    <a:pt x="2489" y="1891"/>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1" name="Google Shape;8381;p74"/>
            <p:cNvSpPr/>
            <p:nvPr/>
          </p:nvSpPr>
          <p:spPr>
            <a:xfrm>
              <a:off x="-12352050" y="3409225"/>
              <a:ext cx="62250" cy="107925"/>
            </a:xfrm>
            <a:custGeom>
              <a:avLst/>
              <a:gdLst/>
              <a:ahLst/>
              <a:cxnLst/>
              <a:rect l="l" t="t" r="r" b="b"/>
              <a:pathLst>
                <a:path w="2490" h="4317" extrusionOk="0">
                  <a:moveTo>
                    <a:pt x="2489" y="0"/>
                  </a:moveTo>
                  <a:lnTo>
                    <a:pt x="0" y="1859"/>
                  </a:lnTo>
                  <a:lnTo>
                    <a:pt x="0" y="4316"/>
                  </a:lnTo>
                  <a:lnTo>
                    <a:pt x="1607" y="2678"/>
                  </a:lnTo>
                  <a:cubicBezTo>
                    <a:pt x="2174" y="2142"/>
                    <a:pt x="2489" y="1418"/>
                    <a:pt x="2489" y="630"/>
                  </a:cubicBez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74"/>
            <p:cNvSpPr/>
            <p:nvPr/>
          </p:nvSpPr>
          <p:spPr>
            <a:xfrm>
              <a:off x="-12434750" y="3368250"/>
              <a:ext cx="62250" cy="148900"/>
            </a:xfrm>
            <a:custGeom>
              <a:avLst/>
              <a:gdLst/>
              <a:ahLst/>
              <a:cxnLst/>
              <a:rect l="l" t="t" r="r" b="b"/>
              <a:pathLst>
                <a:path w="2490" h="5956" extrusionOk="0">
                  <a:moveTo>
                    <a:pt x="0" y="1"/>
                  </a:moveTo>
                  <a:lnTo>
                    <a:pt x="0" y="2269"/>
                  </a:lnTo>
                  <a:cubicBezTo>
                    <a:pt x="0" y="3057"/>
                    <a:pt x="315" y="3781"/>
                    <a:pt x="851" y="4317"/>
                  </a:cubicBezTo>
                  <a:lnTo>
                    <a:pt x="2489" y="5955"/>
                  </a:lnTo>
                  <a:lnTo>
                    <a:pt x="2489" y="186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3" name="Google Shape;8383;p74"/>
            <p:cNvSpPr/>
            <p:nvPr/>
          </p:nvSpPr>
          <p:spPr>
            <a:xfrm>
              <a:off x="-12623000" y="3336750"/>
              <a:ext cx="145725" cy="40975"/>
            </a:xfrm>
            <a:custGeom>
              <a:avLst/>
              <a:gdLst/>
              <a:ahLst/>
              <a:cxnLst/>
              <a:rect l="l" t="t" r="r" b="b"/>
              <a:pathLst>
                <a:path w="5829" h="1639" extrusionOk="0">
                  <a:moveTo>
                    <a:pt x="820" y="1"/>
                  </a:moveTo>
                  <a:cubicBezTo>
                    <a:pt x="347" y="1"/>
                    <a:pt x="1" y="347"/>
                    <a:pt x="1" y="820"/>
                  </a:cubicBezTo>
                  <a:cubicBezTo>
                    <a:pt x="1" y="1292"/>
                    <a:pt x="410" y="1639"/>
                    <a:pt x="820" y="1639"/>
                  </a:cubicBezTo>
                  <a:lnTo>
                    <a:pt x="5010" y="1639"/>
                  </a:lnTo>
                  <a:cubicBezTo>
                    <a:pt x="5482" y="1639"/>
                    <a:pt x="5829" y="1292"/>
                    <a:pt x="5829" y="820"/>
                  </a:cubicBezTo>
                  <a:cubicBezTo>
                    <a:pt x="5829" y="347"/>
                    <a:pt x="5482" y="1"/>
                    <a:pt x="5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4" name="Google Shape;8384;p74"/>
          <p:cNvGrpSpPr/>
          <p:nvPr/>
        </p:nvGrpSpPr>
        <p:grpSpPr>
          <a:xfrm>
            <a:off x="6191845" y="1831398"/>
            <a:ext cx="356221" cy="333366"/>
            <a:chOff x="-12643475" y="3657325"/>
            <a:chExt cx="353675" cy="330950"/>
          </a:xfrm>
        </p:grpSpPr>
        <p:sp>
          <p:nvSpPr>
            <p:cNvPr id="8385" name="Google Shape;8385;p74"/>
            <p:cNvSpPr/>
            <p:nvPr/>
          </p:nvSpPr>
          <p:spPr>
            <a:xfrm>
              <a:off x="-12580475" y="3719550"/>
              <a:ext cx="19725" cy="19700"/>
            </a:xfrm>
            <a:custGeom>
              <a:avLst/>
              <a:gdLst/>
              <a:ahLst/>
              <a:cxnLst/>
              <a:rect l="l" t="t" r="r" b="b"/>
              <a:pathLst>
                <a:path w="789" h="788" extrusionOk="0">
                  <a:moveTo>
                    <a:pt x="379" y="0"/>
                  </a:moveTo>
                  <a:cubicBezTo>
                    <a:pt x="190" y="0"/>
                    <a:pt x="1" y="189"/>
                    <a:pt x="1" y="410"/>
                  </a:cubicBezTo>
                  <a:cubicBezTo>
                    <a:pt x="1" y="599"/>
                    <a:pt x="190" y="788"/>
                    <a:pt x="379" y="788"/>
                  </a:cubicBezTo>
                  <a:cubicBezTo>
                    <a:pt x="599" y="788"/>
                    <a:pt x="788" y="599"/>
                    <a:pt x="788" y="410"/>
                  </a:cubicBezTo>
                  <a:cubicBezTo>
                    <a:pt x="788" y="189"/>
                    <a:pt x="599"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6" name="Google Shape;8386;p74"/>
            <p:cNvSpPr/>
            <p:nvPr/>
          </p:nvSpPr>
          <p:spPr>
            <a:xfrm>
              <a:off x="-12456800" y="3719550"/>
              <a:ext cx="19700" cy="19700"/>
            </a:xfrm>
            <a:custGeom>
              <a:avLst/>
              <a:gdLst/>
              <a:ahLst/>
              <a:cxnLst/>
              <a:rect l="l" t="t" r="r" b="b"/>
              <a:pathLst>
                <a:path w="788" h="788" extrusionOk="0">
                  <a:moveTo>
                    <a:pt x="410" y="0"/>
                  </a:moveTo>
                  <a:cubicBezTo>
                    <a:pt x="189" y="0"/>
                    <a:pt x="0" y="189"/>
                    <a:pt x="0" y="410"/>
                  </a:cubicBezTo>
                  <a:cubicBezTo>
                    <a:pt x="0" y="599"/>
                    <a:pt x="189" y="788"/>
                    <a:pt x="410" y="788"/>
                  </a:cubicBezTo>
                  <a:cubicBezTo>
                    <a:pt x="630" y="788"/>
                    <a:pt x="788" y="599"/>
                    <a:pt x="788" y="410"/>
                  </a:cubicBezTo>
                  <a:cubicBezTo>
                    <a:pt x="788"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7" name="Google Shape;8387;p74"/>
            <p:cNvSpPr/>
            <p:nvPr/>
          </p:nvSpPr>
          <p:spPr>
            <a:xfrm>
              <a:off x="-12643475" y="3657325"/>
              <a:ext cx="268600" cy="144950"/>
            </a:xfrm>
            <a:custGeom>
              <a:avLst/>
              <a:gdLst/>
              <a:ahLst/>
              <a:cxnLst/>
              <a:rect l="l" t="t" r="r" b="b"/>
              <a:pathLst>
                <a:path w="10744" h="5798" extrusionOk="0">
                  <a:moveTo>
                    <a:pt x="2899" y="1670"/>
                  </a:moveTo>
                  <a:cubicBezTo>
                    <a:pt x="3592" y="1670"/>
                    <a:pt x="4159" y="2205"/>
                    <a:pt x="4159" y="2899"/>
                  </a:cubicBezTo>
                  <a:cubicBezTo>
                    <a:pt x="4159" y="3560"/>
                    <a:pt x="3623" y="4159"/>
                    <a:pt x="2899" y="4159"/>
                  </a:cubicBezTo>
                  <a:cubicBezTo>
                    <a:pt x="2237" y="4159"/>
                    <a:pt x="1639" y="3592"/>
                    <a:pt x="1639" y="2899"/>
                  </a:cubicBezTo>
                  <a:cubicBezTo>
                    <a:pt x="1639" y="2205"/>
                    <a:pt x="2206" y="1670"/>
                    <a:pt x="2899" y="1670"/>
                  </a:cubicBezTo>
                  <a:close/>
                  <a:moveTo>
                    <a:pt x="7877" y="1670"/>
                  </a:moveTo>
                  <a:cubicBezTo>
                    <a:pt x="8538" y="1670"/>
                    <a:pt x="9137" y="2205"/>
                    <a:pt x="9137" y="2899"/>
                  </a:cubicBezTo>
                  <a:cubicBezTo>
                    <a:pt x="9137" y="3560"/>
                    <a:pt x="8570" y="4159"/>
                    <a:pt x="7877" y="4159"/>
                  </a:cubicBezTo>
                  <a:cubicBezTo>
                    <a:pt x="7215" y="4159"/>
                    <a:pt x="6616" y="3592"/>
                    <a:pt x="6616" y="2899"/>
                  </a:cubicBezTo>
                  <a:cubicBezTo>
                    <a:pt x="6616" y="2205"/>
                    <a:pt x="7152" y="1670"/>
                    <a:pt x="7877" y="1670"/>
                  </a:cubicBezTo>
                  <a:close/>
                  <a:moveTo>
                    <a:pt x="2899" y="0"/>
                  </a:moveTo>
                  <a:cubicBezTo>
                    <a:pt x="1292" y="0"/>
                    <a:pt x="32" y="1323"/>
                    <a:pt x="32" y="2899"/>
                  </a:cubicBezTo>
                  <a:cubicBezTo>
                    <a:pt x="0" y="4505"/>
                    <a:pt x="1292" y="5797"/>
                    <a:pt x="2899" y="5797"/>
                  </a:cubicBezTo>
                  <a:cubicBezTo>
                    <a:pt x="3970" y="5797"/>
                    <a:pt x="4884" y="5198"/>
                    <a:pt x="5388" y="4379"/>
                  </a:cubicBezTo>
                  <a:cubicBezTo>
                    <a:pt x="5892" y="5230"/>
                    <a:pt x="6805" y="5797"/>
                    <a:pt x="7877" y="5797"/>
                  </a:cubicBezTo>
                  <a:cubicBezTo>
                    <a:pt x="9483" y="5797"/>
                    <a:pt x="10744" y="4505"/>
                    <a:pt x="10744" y="2899"/>
                  </a:cubicBezTo>
                  <a:cubicBezTo>
                    <a:pt x="10744" y="1260"/>
                    <a:pt x="9452" y="0"/>
                    <a:pt x="7877" y="0"/>
                  </a:cubicBezTo>
                  <a:cubicBezTo>
                    <a:pt x="6805" y="0"/>
                    <a:pt x="5892" y="599"/>
                    <a:pt x="5388" y="1418"/>
                  </a:cubicBezTo>
                  <a:cubicBezTo>
                    <a:pt x="4884" y="567"/>
                    <a:pt x="3970"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4"/>
            <p:cNvSpPr/>
            <p:nvPr/>
          </p:nvSpPr>
          <p:spPr>
            <a:xfrm>
              <a:off x="-12581250" y="3905425"/>
              <a:ext cx="62250" cy="20500"/>
            </a:xfrm>
            <a:custGeom>
              <a:avLst/>
              <a:gdLst/>
              <a:ahLst/>
              <a:cxnLst/>
              <a:rect l="l" t="t" r="r" b="b"/>
              <a:pathLst>
                <a:path w="2490" h="820" extrusionOk="0">
                  <a:moveTo>
                    <a:pt x="0" y="0"/>
                  </a:moveTo>
                  <a:lnTo>
                    <a:pt x="0" y="819"/>
                  </a:lnTo>
                  <a:lnTo>
                    <a:pt x="2489" y="819"/>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9" name="Google Shape;8389;p74"/>
            <p:cNvSpPr/>
            <p:nvPr/>
          </p:nvSpPr>
          <p:spPr>
            <a:xfrm>
              <a:off x="-12643475" y="3802250"/>
              <a:ext cx="269400" cy="185900"/>
            </a:xfrm>
            <a:custGeom>
              <a:avLst/>
              <a:gdLst/>
              <a:ahLst/>
              <a:cxnLst/>
              <a:rect l="l" t="t" r="r" b="b"/>
              <a:pathLst>
                <a:path w="10776" h="7436" extrusionOk="0">
                  <a:moveTo>
                    <a:pt x="7057" y="1670"/>
                  </a:moveTo>
                  <a:cubicBezTo>
                    <a:pt x="7278" y="1670"/>
                    <a:pt x="7436" y="1859"/>
                    <a:pt x="7436" y="2048"/>
                  </a:cubicBezTo>
                  <a:cubicBezTo>
                    <a:pt x="7436" y="2300"/>
                    <a:pt x="7247" y="2489"/>
                    <a:pt x="7057" y="2489"/>
                  </a:cubicBezTo>
                  <a:cubicBezTo>
                    <a:pt x="6805" y="2489"/>
                    <a:pt x="6616" y="2300"/>
                    <a:pt x="6616" y="2048"/>
                  </a:cubicBezTo>
                  <a:cubicBezTo>
                    <a:pt x="6616" y="1859"/>
                    <a:pt x="6805" y="1670"/>
                    <a:pt x="7057" y="1670"/>
                  </a:cubicBezTo>
                  <a:close/>
                  <a:moveTo>
                    <a:pt x="8696" y="1670"/>
                  </a:moveTo>
                  <a:cubicBezTo>
                    <a:pt x="8948" y="1670"/>
                    <a:pt x="9137" y="1859"/>
                    <a:pt x="9137" y="2048"/>
                  </a:cubicBezTo>
                  <a:cubicBezTo>
                    <a:pt x="9137" y="2300"/>
                    <a:pt x="8948" y="2489"/>
                    <a:pt x="8696" y="2489"/>
                  </a:cubicBezTo>
                  <a:cubicBezTo>
                    <a:pt x="8475" y="2489"/>
                    <a:pt x="8318" y="2300"/>
                    <a:pt x="8318" y="2048"/>
                  </a:cubicBezTo>
                  <a:cubicBezTo>
                    <a:pt x="8255" y="1859"/>
                    <a:pt x="8475" y="1670"/>
                    <a:pt x="8696" y="1670"/>
                  </a:cubicBezTo>
                  <a:close/>
                  <a:moveTo>
                    <a:pt x="5388" y="3277"/>
                  </a:moveTo>
                  <a:cubicBezTo>
                    <a:pt x="5640" y="3277"/>
                    <a:pt x="5829" y="3466"/>
                    <a:pt x="5829" y="3686"/>
                  </a:cubicBezTo>
                  <a:lnTo>
                    <a:pt x="5829" y="5356"/>
                  </a:lnTo>
                  <a:cubicBezTo>
                    <a:pt x="5829" y="5608"/>
                    <a:pt x="5640" y="5797"/>
                    <a:pt x="5388" y="5797"/>
                  </a:cubicBezTo>
                  <a:lnTo>
                    <a:pt x="2080" y="5797"/>
                  </a:lnTo>
                  <a:cubicBezTo>
                    <a:pt x="1859" y="5797"/>
                    <a:pt x="1639" y="5608"/>
                    <a:pt x="1639" y="5356"/>
                  </a:cubicBezTo>
                  <a:lnTo>
                    <a:pt x="1639" y="3686"/>
                  </a:lnTo>
                  <a:cubicBezTo>
                    <a:pt x="1639" y="3466"/>
                    <a:pt x="1859" y="3277"/>
                    <a:pt x="2080" y="3277"/>
                  </a:cubicBezTo>
                  <a:close/>
                  <a:moveTo>
                    <a:pt x="5230" y="0"/>
                  </a:moveTo>
                  <a:cubicBezTo>
                    <a:pt x="4600" y="504"/>
                    <a:pt x="3781" y="819"/>
                    <a:pt x="2899" y="819"/>
                  </a:cubicBezTo>
                  <a:cubicBezTo>
                    <a:pt x="2080" y="819"/>
                    <a:pt x="1324" y="536"/>
                    <a:pt x="756" y="126"/>
                  </a:cubicBezTo>
                  <a:cubicBezTo>
                    <a:pt x="315" y="315"/>
                    <a:pt x="32" y="756"/>
                    <a:pt x="32" y="1260"/>
                  </a:cubicBezTo>
                  <a:lnTo>
                    <a:pt x="32" y="6206"/>
                  </a:lnTo>
                  <a:cubicBezTo>
                    <a:pt x="0" y="6900"/>
                    <a:pt x="536" y="7435"/>
                    <a:pt x="1261" y="7435"/>
                  </a:cubicBezTo>
                  <a:lnTo>
                    <a:pt x="9515" y="7435"/>
                  </a:lnTo>
                  <a:cubicBezTo>
                    <a:pt x="10208" y="7435"/>
                    <a:pt x="10775" y="6900"/>
                    <a:pt x="10775" y="6206"/>
                  </a:cubicBezTo>
                  <a:lnTo>
                    <a:pt x="10775" y="1260"/>
                  </a:lnTo>
                  <a:cubicBezTo>
                    <a:pt x="10775" y="756"/>
                    <a:pt x="10460" y="315"/>
                    <a:pt x="10082" y="126"/>
                  </a:cubicBezTo>
                  <a:cubicBezTo>
                    <a:pt x="9452" y="536"/>
                    <a:pt x="8727" y="819"/>
                    <a:pt x="7908" y="819"/>
                  </a:cubicBezTo>
                  <a:cubicBezTo>
                    <a:pt x="7057" y="819"/>
                    <a:pt x="6270" y="504"/>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0" name="Google Shape;8390;p74"/>
            <p:cNvSpPr/>
            <p:nvPr/>
          </p:nvSpPr>
          <p:spPr>
            <a:xfrm>
              <a:off x="-12352850" y="3802125"/>
              <a:ext cx="63050" cy="186150"/>
            </a:xfrm>
            <a:custGeom>
              <a:avLst/>
              <a:gdLst/>
              <a:ahLst/>
              <a:cxnLst/>
              <a:rect l="l" t="t" r="r" b="b"/>
              <a:pathLst>
                <a:path w="2522" h="7446" extrusionOk="0">
                  <a:moveTo>
                    <a:pt x="2092" y="0"/>
                  </a:moveTo>
                  <a:cubicBezTo>
                    <a:pt x="2035" y="0"/>
                    <a:pt x="1976" y="10"/>
                    <a:pt x="1923" y="37"/>
                  </a:cubicBezTo>
                  <a:lnTo>
                    <a:pt x="1" y="982"/>
                  </a:lnTo>
                  <a:lnTo>
                    <a:pt x="1" y="6464"/>
                  </a:lnTo>
                  <a:lnTo>
                    <a:pt x="1923" y="7409"/>
                  </a:lnTo>
                  <a:cubicBezTo>
                    <a:pt x="1976" y="7435"/>
                    <a:pt x="2035" y="7445"/>
                    <a:pt x="2092" y="7445"/>
                  </a:cubicBezTo>
                  <a:cubicBezTo>
                    <a:pt x="2170" y="7445"/>
                    <a:pt x="2246" y="7427"/>
                    <a:pt x="2301" y="7409"/>
                  </a:cubicBezTo>
                  <a:cubicBezTo>
                    <a:pt x="2427" y="7314"/>
                    <a:pt x="2521" y="7220"/>
                    <a:pt x="2521" y="7062"/>
                  </a:cubicBezTo>
                  <a:lnTo>
                    <a:pt x="2521" y="415"/>
                  </a:lnTo>
                  <a:cubicBezTo>
                    <a:pt x="2521" y="257"/>
                    <a:pt x="2427" y="131"/>
                    <a:pt x="2301" y="37"/>
                  </a:cubicBezTo>
                  <a:cubicBezTo>
                    <a:pt x="2246" y="18"/>
                    <a:pt x="2170"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1" name="Google Shape;8391;p74"/>
          <p:cNvGrpSpPr/>
          <p:nvPr/>
        </p:nvGrpSpPr>
        <p:grpSpPr>
          <a:xfrm>
            <a:off x="7974847" y="1380027"/>
            <a:ext cx="355416" cy="354670"/>
            <a:chOff x="-10857925" y="3213875"/>
            <a:chExt cx="352875" cy="352100"/>
          </a:xfrm>
        </p:grpSpPr>
        <p:sp>
          <p:nvSpPr>
            <p:cNvPr id="8392" name="Google Shape;8392;p74"/>
            <p:cNvSpPr/>
            <p:nvPr/>
          </p:nvSpPr>
          <p:spPr>
            <a:xfrm>
              <a:off x="-10759475" y="3265875"/>
              <a:ext cx="64600" cy="87450"/>
            </a:xfrm>
            <a:custGeom>
              <a:avLst/>
              <a:gdLst/>
              <a:ahLst/>
              <a:cxnLst/>
              <a:rect l="l" t="t" r="r" b="b"/>
              <a:pathLst>
                <a:path w="2584" h="3498" extrusionOk="0">
                  <a:moveTo>
                    <a:pt x="1702" y="0"/>
                  </a:moveTo>
                  <a:lnTo>
                    <a:pt x="0" y="1418"/>
                  </a:lnTo>
                  <a:lnTo>
                    <a:pt x="2584" y="3497"/>
                  </a:lnTo>
                  <a:cubicBezTo>
                    <a:pt x="2458" y="2111"/>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3" name="Google Shape;8393;p74"/>
            <p:cNvSpPr/>
            <p:nvPr/>
          </p:nvSpPr>
          <p:spPr>
            <a:xfrm>
              <a:off x="-10857925" y="3265075"/>
              <a:ext cx="64600" cy="87450"/>
            </a:xfrm>
            <a:custGeom>
              <a:avLst/>
              <a:gdLst/>
              <a:ahLst/>
              <a:cxnLst/>
              <a:rect l="l" t="t" r="r" b="b"/>
              <a:pathLst>
                <a:path w="2584" h="3498" extrusionOk="0">
                  <a:moveTo>
                    <a:pt x="882" y="1"/>
                  </a:moveTo>
                  <a:cubicBezTo>
                    <a:pt x="441" y="946"/>
                    <a:pt x="189" y="2143"/>
                    <a:pt x="0" y="3498"/>
                  </a:cubicBezTo>
                  <a:lnTo>
                    <a:pt x="2584" y="1418"/>
                  </a:lnTo>
                  <a:lnTo>
                    <a:pt x="8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4"/>
            <p:cNvSpPr/>
            <p:nvPr/>
          </p:nvSpPr>
          <p:spPr>
            <a:xfrm>
              <a:off x="-10850050" y="3313925"/>
              <a:ext cx="148100" cy="65375"/>
            </a:xfrm>
            <a:custGeom>
              <a:avLst/>
              <a:gdLst/>
              <a:ahLst/>
              <a:cxnLst/>
              <a:rect l="l" t="t" r="r" b="b"/>
              <a:pathLst>
                <a:path w="5924" h="2615" extrusionOk="0">
                  <a:moveTo>
                    <a:pt x="2993" y="0"/>
                  </a:moveTo>
                  <a:lnTo>
                    <a:pt x="0" y="2363"/>
                  </a:lnTo>
                  <a:cubicBezTo>
                    <a:pt x="221" y="2520"/>
                    <a:pt x="410" y="2615"/>
                    <a:pt x="693" y="2615"/>
                  </a:cubicBezTo>
                  <a:lnTo>
                    <a:pt x="5261" y="2615"/>
                  </a:lnTo>
                  <a:cubicBezTo>
                    <a:pt x="5482" y="2615"/>
                    <a:pt x="5734" y="2520"/>
                    <a:pt x="5923" y="2363"/>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4"/>
            <p:cNvSpPr/>
            <p:nvPr/>
          </p:nvSpPr>
          <p:spPr>
            <a:xfrm>
              <a:off x="-10857925" y="3391900"/>
              <a:ext cx="165425" cy="133125"/>
            </a:xfrm>
            <a:custGeom>
              <a:avLst/>
              <a:gdLst/>
              <a:ahLst/>
              <a:cxnLst/>
              <a:rect l="l" t="t" r="r" b="b"/>
              <a:pathLst>
                <a:path w="6617" h="5325" extrusionOk="0">
                  <a:moveTo>
                    <a:pt x="6616" y="0"/>
                  </a:moveTo>
                  <a:cubicBezTo>
                    <a:pt x="6301" y="189"/>
                    <a:pt x="5986" y="315"/>
                    <a:pt x="5608" y="315"/>
                  </a:cubicBezTo>
                  <a:lnTo>
                    <a:pt x="1040" y="315"/>
                  </a:lnTo>
                  <a:cubicBezTo>
                    <a:pt x="662" y="315"/>
                    <a:pt x="284" y="189"/>
                    <a:pt x="32" y="0"/>
                  </a:cubicBezTo>
                  <a:lnTo>
                    <a:pt x="32" y="0"/>
                  </a:lnTo>
                  <a:cubicBezTo>
                    <a:pt x="0" y="1449"/>
                    <a:pt x="221" y="2867"/>
                    <a:pt x="630" y="4001"/>
                  </a:cubicBezTo>
                  <a:cubicBezTo>
                    <a:pt x="914" y="4757"/>
                    <a:pt x="1638" y="5324"/>
                    <a:pt x="2426" y="5324"/>
                  </a:cubicBezTo>
                  <a:lnTo>
                    <a:pt x="4001" y="5324"/>
                  </a:lnTo>
                  <a:cubicBezTo>
                    <a:pt x="4946" y="5324"/>
                    <a:pt x="5671" y="4789"/>
                    <a:pt x="5955" y="4001"/>
                  </a:cubicBezTo>
                  <a:cubicBezTo>
                    <a:pt x="6396" y="2867"/>
                    <a:pt x="6585" y="1449"/>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4"/>
            <p:cNvSpPr/>
            <p:nvPr/>
          </p:nvSpPr>
          <p:spPr>
            <a:xfrm>
              <a:off x="-10824850" y="3213875"/>
              <a:ext cx="98475" cy="74850"/>
            </a:xfrm>
            <a:custGeom>
              <a:avLst/>
              <a:gdLst/>
              <a:ahLst/>
              <a:cxnLst/>
              <a:rect l="l" t="t" r="r" b="b"/>
              <a:pathLst>
                <a:path w="3939" h="2994" extrusionOk="0">
                  <a:moveTo>
                    <a:pt x="1954" y="1"/>
                  </a:moveTo>
                  <a:cubicBezTo>
                    <a:pt x="1198" y="1"/>
                    <a:pt x="536" y="505"/>
                    <a:pt x="0" y="1324"/>
                  </a:cubicBezTo>
                  <a:lnTo>
                    <a:pt x="1954" y="2994"/>
                  </a:lnTo>
                  <a:lnTo>
                    <a:pt x="3938" y="1324"/>
                  </a:lnTo>
                  <a:cubicBezTo>
                    <a:pt x="3371" y="505"/>
                    <a:pt x="2710" y="1"/>
                    <a:pt x="1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74"/>
            <p:cNvSpPr/>
            <p:nvPr/>
          </p:nvSpPr>
          <p:spPr>
            <a:xfrm>
              <a:off x="-10571250" y="3306825"/>
              <a:ext cx="64625" cy="87450"/>
            </a:xfrm>
            <a:custGeom>
              <a:avLst/>
              <a:gdLst/>
              <a:ahLst/>
              <a:cxnLst/>
              <a:rect l="l" t="t" r="r" b="b"/>
              <a:pathLst>
                <a:path w="2585" h="3498" extrusionOk="0">
                  <a:moveTo>
                    <a:pt x="1702" y="0"/>
                  </a:moveTo>
                  <a:lnTo>
                    <a:pt x="1" y="1418"/>
                  </a:lnTo>
                  <a:lnTo>
                    <a:pt x="2584" y="3498"/>
                  </a:lnTo>
                  <a:cubicBezTo>
                    <a:pt x="2458" y="2143"/>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8" name="Google Shape;8398;p74"/>
            <p:cNvSpPr/>
            <p:nvPr/>
          </p:nvSpPr>
          <p:spPr>
            <a:xfrm>
              <a:off x="-10669700" y="3306025"/>
              <a:ext cx="63825" cy="87475"/>
            </a:xfrm>
            <a:custGeom>
              <a:avLst/>
              <a:gdLst/>
              <a:ahLst/>
              <a:cxnLst/>
              <a:rect l="l" t="t" r="r" b="b"/>
              <a:pathLst>
                <a:path w="2553" h="3499" extrusionOk="0">
                  <a:moveTo>
                    <a:pt x="883" y="1"/>
                  </a:moveTo>
                  <a:cubicBezTo>
                    <a:pt x="442" y="946"/>
                    <a:pt x="127" y="2175"/>
                    <a:pt x="1" y="3498"/>
                  </a:cubicBezTo>
                  <a:lnTo>
                    <a:pt x="2553" y="1419"/>
                  </a:lnTo>
                  <a:lnTo>
                    <a:pt x="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4"/>
            <p:cNvSpPr/>
            <p:nvPr/>
          </p:nvSpPr>
          <p:spPr>
            <a:xfrm>
              <a:off x="-10661825" y="3355650"/>
              <a:ext cx="148100" cy="64625"/>
            </a:xfrm>
            <a:custGeom>
              <a:avLst/>
              <a:gdLst/>
              <a:ahLst/>
              <a:cxnLst/>
              <a:rect l="l" t="t" r="r" b="b"/>
              <a:pathLst>
                <a:path w="5924" h="2585" extrusionOk="0">
                  <a:moveTo>
                    <a:pt x="2994" y="1"/>
                  </a:moveTo>
                  <a:lnTo>
                    <a:pt x="1" y="2364"/>
                  </a:lnTo>
                  <a:cubicBezTo>
                    <a:pt x="221" y="2521"/>
                    <a:pt x="410" y="2584"/>
                    <a:pt x="694" y="2584"/>
                  </a:cubicBezTo>
                  <a:lnTo>
                    <a:pt x="5231" y="2584"/>
                  </a:lnTo>
                  <a:cubicBezTo>
                    <a:pt x="5483" y="2584"/>
                    <a:pt x="5735" y="2521"/>
                    <a:pt x="5924" y="2364"/>
                  </a:cubicBez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4"/>
            <p:cNvSpPr/>
            <p:nvPr/>
          </p:nvSpPr>
          <p:spPr>
            <a:xfrm>
              <a:off x="-10670475" y="3432850"/>
              <a:ext cx="165425" cy="133125"/>
            </a:xfrm>
            <a:custGeom>
              <a:avLst/>
              <a:gdLst/>
              <a:ahLst/>
              <a:cxnLst/>
              <a:rect l="l" t="t" r="r" b="b"/>
              <a:pathLst>
                <a:path w="6617" h="5325" extrusionOk="0">
                  <a:moveTo>
                    <a:pt x="6616" y="0"/>
                  </a:moveTo>
                  <a:cubicBezTo>
                    <a:pt x="6301" y="221"/>
                    <a:pt x="5986" y="315"/>
                    <a:pt x="5577" y="315"/>
                  </a:cubicBezTo>
                  <a:lnTo>
                    <a:pt x="1040" y="315"/>
                  </a:lnTo>
                  <a:cubicBezTo>
                    <a:pt x="630" y="315"/>
                    <a:pt x="284" y="221"/>
                    <a:pt x="0" y="0"/>
                  </a:cubicBezTo>
                  <a:lnTo>
                    <a:pt x="0" y="0"/>
                  </a:lnTo>
                  <a:cubicBezTo>
                    <a:pt x="0" y="1481"/>
                    <a:pt x="221" y="2930"/>
                    <a:pt x="630" y="4064"/>
                  </a:cubicBezTo>
                  <a:cubicBezTo>
                    <a:pt x="914" y="4821"/>
                    <a:pt x="1607" y="5325"/>
                    <a:pt x="2395" y="5325"/>
                  </a:cubicBezTo>
                  <a:lnTo>
                    <a:pt x="3970" y="5325"/>
                  </a:lnTo>
                  <a:cubicBezTo>
                    <a:pt x="4915" y="5325"/>
                    <a:pt x="5671" y="4852"/>
                    <a:pt x="5955" y="4064"/>
                  </a:cubicBezTo>
                  <a:cubicBezTo>
                    <a:pt x="6364" y="2930"/>
                    <a:pt x="6585" y="1481"/>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1" name="Google Shape;8401;p74"/>
            <p:cNvSpPr/>
            <p:nvPr/>
          </p:nvSpPr>
          <p:spPr>
            <a:xfrm>
              <a:off x="-10638175" y="3254850"/>
              <a:ext cx="98475" cy="74850"/>
            </a:xfrm>
            <a:custGeom>
              <a:avLst/>
              <a:gdLst/>
              <a:ahLst/>
              <a:cxnLst/>
              <a:rect l="l" t="t" r="r" b="b"/>
              <a:pathLst>
                <a:path w="3939" h="2994" extrusionOk="0">
                  <a:moveTo>
                    <a:pt x="1985" y="0"/>
                  </a:moveTo>
                  <a:cubicBezTo>
                    <a:pt x="1229" y="0"/>
                    <a:pt x="567" y="504"/>
                    <a:pt x="0" y="1355"/>
                  </a:cubicBezTo>
                  <a:lnTo>
                    <a:pt x="1985" y="2993"/>
                  </a:lnTo>
                  <a:lnTo>
                    <a:pt x="3938" y="1355"/>
                  </a:lnTo>
                  <a:cubicBezTo>
                    <a:pt x="3403" y="504"/>
                    <a:pt x="2709"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2" name="Google Shape;8402;p74"/>
          <p:cNvGrpSpPr/>
          <p:nvPr/>
        </p:nvGrpSpPr>
        <p:grpSpPr>
          <a:xfrm>
            <a:off x="6191762" y="2739455"/>
            <a:ext cx="356096" cy="354469"/>
            <a:chOff x="-9089725" y="3180200"/>
            <a:chExt cx="353550" cy="351900"/>
          </a:xfrm>
        </p:grpSpPr>
        <p:sp>
          <p:nvSpPr>
            <p:cNvPr id="8403" name="Google Shape;8403;p74"/>
            <p:cNvSpPr/>
            <p:nvPr/>
          </p:nvSpPr>
          <p:spPr>
            <a:xfrm>
              <a:off x="-9089725" y="3180200"/>
              <a:ext cx="165425" cy="250300"/>
            </a:xfrm>
            <a:custGeom>
              <a:avLst/>
              <a:gdLst/>
              <a:ahLst/>
              <a:cxnLst/>
              <a:rect l="l" t="t" r="r" b="b"/>
              <a:pathLst>
                <a:path w="6617" h="10012" extrusionOk="0">
                  <a:moveTo>
                    <a:pt x="2945" y="1"/>
                  </a:moveTo>
                  <a:cubicBezTo>
                    <a:pt x="2900" y="1"/>
                    <a:pt x="2854" y="8"/>
                    <a:pt x="2805" y="25"/>
                  </a:cubicBezTo>
                  <a:cubicBezTo>
                    <a:pt x="2647" y="56"/>
                    <a:pt x="2521" y="214"/>
                    <a:pt x="2521" y="434"/>
                  </a:cubicBezTo>
                  <a:lnTo>
                    <a:pt x="2521" y="6924"/>
                  </a:lnTo>
                  <a:cubicBezTo>
                    <a:pt x="2301" y="6767"/>
                    <a:pt x="2017" y="6704"/>
                    <a:pt x="1702" y="6704"/>
                  </a:cubicBezTo>
                  <a:cubicBezTo>
                    <a:pt x="788" y="6704"/>
                    <a:pt x="64" y="7428"/>
                    <a:pt x="64" y="8342"/>
                  </a:cubicBezTo>
                  <a:cubicBezTo>
                    <a:pt x="1" y="9256"/>
                    <a:pt x="757" y="10012"/>
                    <a:pt x="1671" y="10012"/>
                  </a:cubicBezTo>
                  <a:cubicBezTo>
                    <a:pt x="2584" y="10012"/>
                    <a:pt x="3309" y="9256"/>
                    <a:pt x="3309" y="8342"/>
                  </a:cubicBezTo>
                  <a:lnTo>
                    <a:pt x="3309" y="1820"/>
                  </a:lnTo>
                  <a:cubicBezTo>
                    <a:pt x="3907" y="2545"/>
                    <a:pt x="4632" y="3144"/>
                    <a:pt x="5294" y="3616"/>
                  </a:cubicBezTo>
                  <a:cubicBezTo>
                    <a:pt x="5609" y="3868"/>
                    <a:pt x="5798" y="4215"/>
                    <a:pt x="5798" y="4593"/>
                  </a:cubicBezTo>
                  <a:cubicBezTo>
                    <a:pt x="5798" y="5286"/>
                    <a:pt x="5262" y="5822"/>
                    <a:pt x="4537" y="5822"/>
                  </a:cubicBezTo>
                  <a:cubicBezTo>
                    <a:pt x="4317" y="5822"/>
                    <a:pt x="4159" y="6011"/>
                    <a:pt x="4159" y="6263"/>
                  </a:cubicBezTo>
                  <a:cubicBezTo>
                    <a:pt x="4159" y="6483"/>
                    <a:pt x="4348" y="6704"/>
                    <a:pt x="4537" y="6704"/>
                  </a:cubicBezTo>
                  <a:cubicBezTo>
                    <a:pt x="5672" y="6704"/>
                    <a:pt x="6617" y="5727"/>
                    <a:pt x="6617" y="4593"/>
                  </a:cubicBezTo>
                  <a:cubicBezTo>
                    <a:pt x="6617" y="3931"/>
                    <a:pt x="6302" y="3333"/>
                    <a:pt x="5798" y="2955"/>
                  </a:cubicBezTo>
                  <a:cubicBezTo>
                    <a:pt x="5042" y="2388"/>
                    <a:pt x="4317" y="1726"/>
                    <a:pt x="3750" y="907"/>
                  </a:cubicBezTo>
                  <a:lnTo>
                    <a:pt x="3277" y="182"/>
                  </a:lnTo>
                  <a:cubicBezTo>
                    <a:pt x="3184" y="65"/>
                    <a:pt x="3073" y="1"/>
                    <a:pt x="2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4" name="Google Shape;8404;p74"/>
            <p:cNvSpPr/>
            <p:nvPr/>
          </p:nvSpPr>
          <p:spPr>
            <a:xfrm>
              <a:off x="-8965275" y="3264575"/>
              <a:ext cx="229100" cy="267525"/>
            </a:xfrm>
            <a:custGeom>
              <a:avLst/>
              <a:gdLst/>
              <a:ahLst/>
              <a:cxnLst/>
              <a:rect l="l" t="t" r="r" b="b"/>
              <a:pathLst>
                <a:path w="9164" h="10701" extrusionOk="0">
                  <a:moveTo>
                    <a:pt x="8747" y="0"/>
                  </a:moveTo>
                  <a:cubicBezTo>
                    <a:pt x="8709" y="0"/>
                    <a:pt x="8671" y="7"/>
                    <a:pt x="8633" y="21"/>
                  </a:cubicBezTo>
                  <a:lnTo>
                    <a:pt x="2804" y="1659"/>
                  </a:lnTo>
                  <a:cubicBezTo>
                    <a:pt x="2584" y="1690"/>
                    <a:pt x="2489" y="1848"/>
                    <a:pt x="2489" y="2069"/>
                  </a:cubicBezTo>
                  <a:lnTo>
                    <a:pt x="2489" y="7645"/>
                  </a:lnTo>
                  <a:cubicBezTo>
                    <a:pt x="2237" y="7487"/>
                    <a:pt x="1985" y="7424"/>
                    <a:pt x="1670" y="7424"/>
                  </a:cubicBezTo>
                  <a:cubicBezTo>
                    <a:pt x="757" y="7424"/>
                    <a:pt x="1" y="8149"/>
                    <a:pt x="1" y="9063"/>
                  </a:cubicBezTo>
                  <a:cubicBezTo>
                    <a:pt x="1" y="9976"/>
                    <a:pt x="757" y="10701"/>
                    <a:pt x="1670" y="10701"/>
                  </a:cubicBezTo>
                  <a:cubicBezTo>
                    <a:pt x="2552" y="10701"/>
                    <a:pt x="3309" y="9976"/>
                    <a:pt x="3309" y="9063"/>
                  </a:cubicBezTo>
                  <a:lnTo>
                    <a:pt x="3309" y="3990"/>
                  </a:lnTo>
                  <a:lnTo>
                    <a:pt x="8318" y="2573"/>
                  </a:lnTo>
                  <a:lnTo>
                    <a:pt x="8318" y="5944"/>
                  </a:lnTo>
                  <a:cubicBezTo>
                    <a:pt x="8066" y="5786"/>
                    <a:pt x="7814" y="5723"/>
                    <a:pt x="7499" y="5723"/>
                  </a:cubicBezTo>
                  <a:cubicBezTo>
                    <a:pt x="6585" y="5723"/>
                    <a:pt x="5829" y="6448"/>
                    <a:pt x="5829" y="7361"/>
                  </a:cubicBezTo>
                  <a:cubicBezTo>
                    <a:pt x="5829" y="8275"/>
                    <a:pt x="6585" y="9031"/>
                    <a:pt x="7499" y="9031"/>
                  </a:cubicBezTo>
                  <a:cubicBezTo>
                    <a:pt x="8381" y="9031"/>
                    <a:pt x="9137" y="8275"/>
                    <a:pt x="9137" y="7361"/>
                  </a:cubicBezTo>
                  <a:lnTo>
                    <a:pt x="9137" y="367"/>
                  </a:lnTo>
                  <a:cubicBezTo>
                    <a:pt x="9164" y="207"/>
                    <a:pt x="8963" y="0"/>
                    <a:pt x="8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5" name="Google Shape;8405;p74"/>
          <p:cNvGrpSpPr/>
          <p:nvPr/>
        </p:nvGrpSpPr>
        <p:grpSpPr>
          <a:xfrm>
            <a:off x="7083760" y="1819260"/>
            <a:ext cx="358588" cy="357642"/>
            <a:chOff x="7083760" y="1971660"/>
            <a:chExt cx="358588" cy="357642"/>
          </a:xfrm>
        </p:grpSpPr>
        <p:sp>
          <p:nvSpPr>
            <p:cNvPr id="8406" name="Google Shape;8406;p74"/>
            <p:cNvSpPr/>
            <p:nvPr/>
          </p:nvSpPr>
          <p:spPr>
            <a:xfrm>
              <a:off x="7354268" y="1973246"/>
              <a:ext cx="87299" cy="80760"/>
            </a:xfrm>
            <a:custGeom>
              <a:avLst/>
              <a:gdLst/>
              <a:ahLst/>
              <a:cxnLst/>
              <a:rect l="l" t="t" r="r" b="b"/>
              <a:pathLst>
                <a:path w="3467" h="3207" extrusionOk="0">
                  <a:moveTo>
                    <a:pt x="3025" y="1"/>
                  </a:moveTo>
                  <a:cubicBezTo>
                    <a:pt x="2923" y="1"/>
                    <a:pt x="2821" y="40"/>
                    <a:pt x="2742" y="119"/>
                  </a:cubicBezTo>
                  <a:lnTo>
                    <a:pt x="1" y="2955"/>
                  </a:lnTo>
                  <a:cubicBezTo>
                    <a:pt x="316" y="3018"/>
                    <a:pt x="631" y="3112"/>
                    <a:pt x="914" y="3207"/>
                  </a:cubicBezTo>
                  <a:lnTo>
                    <a:pt x="3309" y="749"/>
                  </a:lnTo>
                  <a:cubicBezTo>
                    <a:pt x="3466" y="529"/>
                    <a:pt x="3466" y="277"/>
                    <a:pt x="3309" y="119"/>
                  </a:cubicBezTo>
                  <a:cubicBezTo>
                    <a:pt x="3230" y="40"/>
                    <a:pt x="3128"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7" name="Google Shape;8407;p74"/>
            <p:cNvSpPr/>
            <p:nvPr/>
          </p:nvSpPr>
          <p:spPr>
            <a:xfrm>
              <a:off x="7212278" y="2099990"/>
              <a:ext cx="19867" cy="19869"/>
            </a:xfrm>
            <a:custGeom>
              <a:avLst/>
              <a:gdLst/>
              <a:ahLst/>
              <a:cxnLst/>
              <a:rect l="l" t="t" r="r" b="b"/>
              <a:pathLst>
                <a:path w="789" h="789" extrusionOk="0">
                  <a:moveTo>
                    <a:pt x="378" y="1"/>
                  </a:moveTo>
                  <a:cubicBezTo>
                    <a:pt x="158" y="1"/>
                    <a:pt x="0" y="158"/>
                    <a:pt x="0" y="379"/>
                  </a:cubicBezTo>
                  <a:cubicBezTo>
                    <a:pt x="0" y="599"/>
                    <a:pt x="158" y="788"/>
                    <a:pt x="378" y="788"/>
                  </a:cubicBezTo>
                  <a:cubicBezTo>
                    <a:pt x="599" y="788"/>
                    <a:pt x="788" y="599"/>
                    <a:pt x="788" y="379"/>
                  </a:cubicBezTo>
                  <a:cubicBezTo>
                    <a:pt x="788" y="158"/>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8" name="Google Shape;8408;p74"/>
            <p:cNvSpPr/>
            <p:nvPr/>
          </p:nvSpPr>
          <p:spPr>
            <a:xfrm>
              <a:off x="7083760" y="1971660"/>
              <a:ext cx="356221" cy="210878"/>
            </a:xfrm>
            <a:custGeom>
              <a:avLst/>
              <a:gdLst/>
              <a:ahLst/>
              <a:cxnLst/>
              <a:rect l="l" t="t" r="r" b="b"/>
              <a:pathLst>
                <a:path w="14147" h="8374" extrusionOk="0">
                  <a:moveTo>
                    <a:pt x="457" y="1"/>
                  </a:moveTo>
                  <a:cubicBezTo>
                    <a:pt x="347" y="1"/>
                    <a:pt x="237" y="40"/>
                    <a:pt x="158" y="119"/>
                  </a:cubicBezTo>
                  <a:cubicBezTo>
                    <a:pt x="1" y="277"/>
                    <a:pt x="1" y="560"/>
                    <a:pt x="158" y="718"/>
                  </a:cubicBezTo>
                  <a:lnTo>
                    <a:pt x="2553" y="3207"/>
                  </a:lnTo>
                  <a:cubicBezTo>
                    <a:pt x="1103" y="3679"/>
                    <a:pt x="32" y="4435"/>
                    <a:pt x="32" y="5443"/>
                  </a:cubicBezTo>
                  <a:cubicBezTo>
                    <a:pt x="32" y="7334"/>
                    <a:pt x="3718" y="8373"/>
                    <a:pt x="7089" y="8373"/>
                  </a:cubicBezTo>
                  <a:cubicBezTo>
                    <a:pt x="10523" y="8373"/>
                    <a:pt x="14146" y="7334"/>
                    <a:pt x="14146" y="5443"/>
                  </a:cubicBezTo>
                  <a:cubicBezTo>
                    <a:pt x="14146" y="4467"/>
                    <a:pt x="13075" y="3679"/>
                    <a:pt x="11626" y="3207"/>
                  </a:cubicBezTo>
                  <a:lnTo>
                    <a:pt x="9893" y="4971"/>
                  </a:lnTo>
                  <a:cubicBezTo>
                    <a:pt x="10019" y="5160"/>
                    <a:pt x="10051" y="5317"/>
                    <a:pt x="10051" y="5475"/>
                  </a:cubicBezTo>
                  <a:cubicBezTo>
                    <a:pt x="10051" y="6168"/>
                    <a:pt x="9484" y="6704"/>
                    <a:pt x="8791" y="6704"/>
                  </a:cubicBezTo>
                  <a:cubicBezTo>
                    <a:pt x="8129" y="6704"/>
                    <a:pt x="7530" y="6168"/>
                    <a:pt x="7530" y="5475"/>
                  </a:cubicBezTo>
                  <a:cubicBezTo>
                    <a:pt x="7530" y="4813"/>
                    <a:pt x="8066" y="4278"/>
                    <a:pt x="8791" y="4278"/>
                  </a:cubicBezTo>
                  <a:cubicBezTo>
                    <a:pt x="8980" y="4278"/>
                    <a:pt x="9232" y="4341"/>
                    <a:pt x="9389" y="4404"/>
                  </a:cubicBezTo>
                  <a:lnTo>
                    <a:pt x="10744" y="2986"/>
                  </a:lnTo>
                  <a:cubicBezTo>
                    <a:pt x="9641" y="2734"/>
                    <a:pt x="8349" y="2608"/>
                    <a:pt x="7121" y="2608"/>
                  </a:cubicBezTo>
                  <a:cubicBezTo>
                    <a:pt x="5861" y="2608"/>
                    <a:pt x="4600" y="2765"/>
                    <a:pt x="3498" y="2986"/>
                  </a:cubicBezTo>
                  <a:lnTo>
                    <a:pt x="4884" y="4404"/>
                  </a:lnTo>
                  <a:cubicBezTo>
                    <a:pt x="5073" y="4341"/>
                    <a:pt x="5293" y="4278"/>
                    <a:pt x="5482" y="4278"/>
                  </a:cubicBezTo>
                  <a:cubicBezTo>
                    <a:pt x="6144" y="4278"/>
                    <a:pt x="6743" y="4813"/>
                    <a:pt x="6743" y="5475"/>
                  </a:cubicBezTo>
                  <a:cubicBezTo>
                    <a:pt x="6743" y="6168"/>
                    <a:pt x="6176" y="6704"/>
                    <a:pt x="5482" y="6704"/>
                  </a:cubicBezTo>
                  <a:cubicBezTo>
                    <a:pt x="4821" y="6704"/>
                    <a:pt x="4222" y="6168"/>
                    <a:pt x="4222" y="5475"/>
                  </a:cubicBezTo>
                  <a:cubicBezTo>
                    <a:pt x="4222" y="5317"/>
                    <a:pt x="4254" y="5160"/>
                    <a:pt x="4285" y="5002"/>
                  </a:cubicBezTo>
                  <a:lnTo>
                    <a:pt x="2553" y="3238"/>
                  </a:lnTo>
                  <a:cubicBezTo>
                    <a:pt x="2836" y="3112"/>
                    <a:pt x="3151" y="3049"/>
                    <a:pt x="3466" y="2955"/>
                  </a:cubicBezTo>
                  <a:lnTo>
                    <a:pt x="757" y="119"/>
                  </a:lnTo>
                  <a:cubicBezTo>
                    <a:pt x="678" y="40"/>
                    <a:pt x="568"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4"/>
            <p:cNvSpPr/>
            <p:nvPr/>
          </p:nvSpPr>
          <p:spPr>
            <a:xfrm>
              <a:off x="7295574" y="2099990"/>
              <a:ext cx="19867" cy="19869"/>
            </a:xfrm>
            <a:custGeom>
              <a:avLst/>
              <a:gdLst/>
              <a:ahLst/>
              <a:cxnLst/>
              <a:rect l="l" t="t" r="r" b="b"/>
              <a:pathLst>
                <a:path w="789" h="789" extrusionOk="0">
                  <a:moveTo>
                    <a:pt x="379" y="1"/>
                  </a:moveTo>
                  <a:cubicBezTo>
                    <a:pt x="158" y="1"/>
                    <a:pt x="0" y="158"/>
                    <a:pt x="0" y="379"/>
                  </a:cubicBezTo>
                  <a:cubicBezTo>
                    <a:pt x="0"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0" name="Google Shape;8410;p74"/>
            <p:cNvSpPr/>
            <p:nvPr/>
          </p:nvSpPr>
          <p:spPr>
            <a:xfrm>
              <a:off x="7121131" y="2184880"/>
              <a:ext cx="68238" cy="69856"/>
            </a:xfrm>
            <a:custGeom>
              <a:avLst/>
              <a:gdLst/>
              <a:ahLst/>
              <a:cxnLst/>
              <a:rect l="l" t="t" r="r" b="b"/>
              <a:pathLst>
                <a:path w="2710" h="2774" extrusionOk="0">
                  <a:moveTo>
                    <a:pt x="1261" y="1"/>
                  </a:moveTo>
                  <a:lnTo>
                    <a:pt x="0" y="1639"/>
                  </a:lnTo>
                  <a:cubicBezTo>
                    <a:pt x="756" y="2112"/>
                    <a:pt x="1702" y="2490"/>
                    <a:pt x="2710" y="2773"/>
                  </a:cubicBezTo>
                  <a:lnTo>
                    <a:pt x="1859" y="221"/>
                  </a:lnTo>
                  <a:cubicBezTo>
                    <a:pt x="1639" y="158"/>
                    <a:pt x="1450" y="95"/>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1" name="Google Shape;8411;p74"/>
            <p:cNvSpPr/>
            <p:nvPr/>
          </p:nvSpPr>
          <p:spPr>
            <a:xfrm>
              <a:off x="7188883" y="2195985"/>
              <a:ext cx="47641" cy="55578"/>
            </a:xfrm>
            <a:custGeom>
              <a:avLst/>
              <a:gdLst/>
              <a:ahLst/>
              <a:cxnLst/>
              <a:rect l="l" t="t" r="r" b="b"/>
              <a:pathLst>
                <a:path w="1892" h="2207" extrusionOk="0">
                  <a:moveTo>
                    <a:pt x="1" y="1"/>
                  </a:moveTo>
                  <a:lnTo>
                    <a:pt x="694" y="2206"/>
                  </a:lnTo>
                  <a:lnTo>
                    <a:pt x="1891" y="221"/>
                  </a:lnTo>
                  <a:cubicBezTo>
                    <a:pt x="1229" y="190"/>
                    <a:pt x="599"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74"/>
            <p:cNvSpPr/>
            <p:nvPr/>
          </p:nvSpPr>
          <p:spPr>
            <a:xfrm>
              <a:off x="7400297" y="2129352"/>
              <a:ext cx="42051" cy="84135"/>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3" name="Google Shape;8413;p74"/>
            <p:cNvSpPr/>
            <p:nvPr/>
          </p:nvSpPr>
          <p:spPr>
            <a:xfrm>
              <a:off x="7225961" y="2203137"/>
              <a:ext cx="84907" cy="62704"/>
            </a:xfrm>
            <a:custGeom>
              <a:avLst/>
              <a:gdLst/>
              <a:ahLst/>
              <a:cxnLst/>
              <a:rect l="l" t="t" r="r" b="b"/>
              <a:pathLst>
                <a:path w="3372" h="2490" extrusionOk="0">
                  <a:moveTo>
                    <a:pt x="1419" y="0"/>
                  </a:moveTo>
                  <a:lnTo>
                    <a:pt x="1" y="2363"/>
                  </a:lnTo>
                  <a:cubicBezTo>
                    <a:pt x="537" y="2426"/>
                    <a:pt x="1104" y="2489"/>
                    <a:pt x="1671" y="2489"/>
                  </a:cubicBezTo>
                  <a:cubicBezTo>
                    <a:pt x="2269" y="2489"/>
                    <a:pt x="2836" y="2426"/>
                    <a:pt x="3372" y="2363"/>
                  </a:cubicBezTo>
                  <a:lnTo>
                    <a:pt x="19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4" name="Google Shape;8414;p74"/>
            <p:cNvSpPr/>
            <p:nvPr/>
          </p:nvSpPr>
          <p:spPr>
            <a:xfrm>
              <a:off x="7298289" y="2195985"/>
              <a:ext cx="47615" cy="55578"/>
            </a:xfrm>
            <a:custGeom>
              <a:avLst/>
              <a:gdLst/>
              <a:ahLst/>
              <a:cxnLst/>
              <a:rect l="l" t="t" r="r" b="b"/>
              <a:pathLst>
                <a:path w="1891" h="2207" extrusionOk="0">
                  <a:moveTo>
                    <a:pt x="1891" y="1"/>
                  </a:moveTo>
                  <a:cubicBezTo>
                    <a:pt x="1292" y="127"/>
                    <a:pt x="631" y="190"/>
                    <a:pt x="0" y="253"/>
                  </a:cubicBezTo>
                  <a:lnTo>
                    <a:pt x="1198" y="2206"/>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4"/>
            <p:cNvSpPr/>
            <p:nvPr/>
          </p:nvSpPr>
          <p:spPr>
            <a:xfrm>
              <a:off x="7086152" y="2230913"/>
              <a:ext cx="354610" cy="98388"/>
            </a:xfrm>
            <a:custGeom>
              <a:avLst/>
              <a:gdLst/>
              <a:ahLst/>
              <a:cxnLst/>
              <a:rect l="l" t="t" r="r" b="b"/>
              <a:pathLst>
                <a:path w="14083" h="3907" extrusionOk="0">
                  <a:moveTo>
                    <a:pt x="0" y="0"/>
                  </a:moveTo>
                  <a:lnTo>
                    <a:pt x="0" y="977"/>
                  </a:lnTo>
                  <a:cubicBezTo>
                    <a:pt x="0" y="2867"/>
                    <a:pt x="3655" y="3907"/>
                    <a:pt x="7057" y="3907"/>
                  </a:cubicBezTo>
                  <a:cubicBezTo>
                    <a:pt x="10460" y="3907"/>
                    <a:pt x="14083" y="2867"/>
                    <a:pt x="14083" y="977"/>
                  </a:cubicBezTo>
                  <a:lnTo>
                    <a:pt x="14083" y="32"/>
                  </a:lnTo>
                  <a:cubicBezTo>
                    <a:pt x="12508" y="1386"/>
                    <a:pt x="9956" y="2237"/>
                    <a:pt x="7057" y="2237"/>
                  </a:cubicBezTo>
                  <a:cubicBezTo>
                    <a:pt x="4568" y="2205"/>
                    <a:pt x="1796" y="157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6" name="Google Shape;8416;p74"/>
            <p:cNvSpPr/>
            <p:nvPr/>
          </p:nvSpPr>
          <p:spPr>
            <a:xfrm>
              <a:off x="7345419" y="2186466"/>
              <a:ext cx="67457" cy="69050"/>
            </a:xfrm>
            <a:custGeom>
              <a:avLst/>
              <a:gdLst/>
              <a:ahLst/>
              <a:cxnLst/>
              <a:rect l="l" t="t" r="r" b="b"/>
              <a:pathLst>
                <a:path w="2679" h="2742" extrusionOk="0">
                  <a:moveTo>
                    <a:pt x="1449" y="1"/>
                  </a:moveTo>
                  <a:cubicBezTo>
                    <a:pt x="1260" y="32"/>
                    <a:pt x="1071" y="95"/>
                    <a:pt x="851" y="158"/>
                  </a:cubicBezTo>
                  <a:lnTo>
                    <a:pt x="0" y="2742"/>
                  </a:lnTo>
                  <a:cubicBezTo>
                    <a:pt x="1008" y="2458"/>
                    <a:pt x="1922" y="2080"/>
                    <a:pt x="2678" y="1608"/>
                  </a:cubicBezTo>
                  <a:lnTo>
                    <a:pt x="14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7" name="Google Shape;8417;p74"/>
            <p:cNvSpPr/>
            <p:nvPr/>
          </p:nvSpPr>
          <p:spPr>
            <a:xfrm flipH="1">
              <a:off x="7088602" y="2134638"/>
              <a:ext cx="47123" cy="84126"/>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18" name="Google Shape;8418;p74"/>
          <p:cNvSpPr txBox="1"/>
          <p:nvPr/>
        </p:nvSpPr>
        <p:spPr>
          <a:xfrm>
            <a:off x="849675"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Creative Process Icons</a:t>
            </a:r>
            <a:endParaRPr sz="2400">
              <a:solidFill>
                <a:srgbClr val="FFFFFF"/>
              </a:solidFill>
            </a:endParaRPr>
          </a:p>
        </p:txBody>
      </p:sp>
      <p:sp>
        <p:nvSpPr>
          <p:cNvPr id="8419" name="Google Shape;8419;p74"/>
          <p:cNvSpPr txBox="1"/>
          <p:nvPr/>
        </p:nvSpPr>
        <p:spPr>
          <a:xfrm>
            <a:off x="4858400"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Performing Arts Icons</a:t>
            </a:r>
            <a:endParaRPr sz="2400">
              <a:solidFill>
                <a:srgbClr val="FFFFFF"/>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423"/>
        <p:cNvGrpSpPr/>
        <p:nvPr/>
      </p:nvGrpSpPr>
      <p:grpSpPr>
        <a:xfrm>
          <a:off x="0" y="0"/>
          <a:ext cx="0" cy="0"/>
          <a:chOff x="0" y="0"/>
          <a:chExt cx="0" cy="0"/>
        </a:xfrm>
      </p:grpSpPr>
      <p:sp>
        <p:nvSpPr>
          <p:cNvPr id="8424" name="Google Shape;8424;p75"/>
          <p:cNvSpPr/>
          <p:nvPr/>
        </p:nvSpPr>
        <p:spPr>
          <a:xfrm>
            <a:off x="801940" y="1691070"/>
            <a:ext cx="343404" cy="446998"/>
          </a:xfrm>
          <a:custGeom>
            <a:avLst/>
            <a:gdLst/>
            <a:ahLst/>
            <a:cxnLst/>
            <a:rect l="l" t="t" r="r" b="b"/>
            <a:pathLst>
              <a:path w="9295" h="12099" extrusionOk="0">
                <a:moveTo>
                  <a:pt x="4601" y="1"/>
                </a:moveTo>
                <a:cubicBezTo>
                  <a:pt x="3624" y="1"/>
                  <a:pt x="2836" y="788"/>
                  <a:pt x="2836" y="1796"/>
                </a:cubicBezTo>
                <a:cubicBezTo>
                  <a:pt x="2836" y="2647"/>
                  <a:pt x="3467" y="3372"/>
                  <a:pt x="4254" y="3529"/>
                </a:cubicBezTo>
                <a:lnTo>
                  <a:pt x="4254" y="4789"/>
                </a:lnTo>
                <a:cubicBezTo>
                  <a:pt x="3656" y="4033"/>
                  <a:pt x="2742" y="3561"/>
                  <a:pt x="1765" y="3561"/>
                </a:cubicBezTo>
                <a:lnTo>
                  <a:pt x="348" y="3561"/>
                </a:lnTo>
                <a:cubicBezTo>
                  <a:pt x="158" y="3561"/>
                  <a:pt x="1" y="3718"/>
                  <a:pt x="1" y="3907"/>
                </a:cubicBezTo>
                <a:cubicBezTo>
                  <a:pt x="1" y="5671"/>
                  <a:pt x="1450" y="7152"/>
                  <a:pt x="3214" y="7152"/>
                </a:cubicBezTo>
                <a:lnTo>
                  <a:pt x="4286" y="7152"/>
                </a:lnTo>
                <a:lnTo>
                  <a:pt x="4286" y="9988"/>
                </a:lnTo>
                <a:cubicBezTo>
                  <a:pt x="3845" y="9547"/>
                  <a:pt x="3340" y="9231"/>
                  <a:pt x="2805" y="9042"/>
                </a:cubicBezTo>
                <a:cubicBezTo>
                  <a:pt x="2836" y="8885"/>
                  <a:pt x="2868" y="8727"/>
                  <a:pt x="2868" y="8570"/>
                </a:cubicBezTo>
                <a:cubicBezTo>
                  <a:pt x="2868" y="7782"/>
                  <a:pt x="2238" y="7152"/>
                  <a:pt x="1450" y="7152"/>
                </a:cubicBezTo>
                <a:cubicBezTo>
                  <a:pt x="663" y="7152"/>
                  <a:pt x="32" y="7782"/>
                  <a:pt x="32" y="8570"/>
                </a:cubicBezTo>
                <a:cubicBezTo>
                  <a:pt x="32" y="9358"/>
                  <a:pt x="663" y="9988"/>
                  <a:pt x="1450" y="9988"/>
                </a:cubicBezTo>
                <a:cubicBezTo>
                  <a:pt x="1797" y="9988"/>
                  <a:pt x="2112" y="9862"/>
                  <a:pt x="2364" y="9610"/>
                </a:cubicBezTo>
                <a:cubicBezTo>
                  <a:pt x="3183" y="9830"/>
                  <a:pt x="3908" y="10366"/>
                  <a:pt x="4286" y="11122"/>
                </a:cubicBezTo>
                <a:lnTo>
                  <a:pt x="4286" y="11752"/>
                </a:lnTo>
                <a:cubicBezTo>
                  <a:pt x="4286" y="11941"/>
                  <a:pt x="4443" y="12098"/>
                  <a:pt x="4632" y="12098"/>
                </a:cubicBezTo>
                <a:cubicBezTo>
                  <a:pt x="4853" y="12098"/>
                  <a:pt x="5010" y="11941"/>
                  <a:pt x="5010" y="11752"/>
                </a:cubicBezTo>
                <a:lnTo>
                  <a:pt x="5010" y="11342"/>
                </a:lnTo>
                <a:lnTo>
                  <a:pt x="6050" y="11342"/>
                </a:lnTo>
                <a:cubicBezTo>
                  <a:pt x="7846" y="11342"/>
                  <a:pt x="9295" y="9893"/>
                  <a:pt x="9295" y="8129"/>
                </a:cubicBezTo>
                <a:cubicBezTo>
                  <a:pt x="9200" y="7971"/>
                  <a:pt x="9043" y="7814"/>
                  <a:pt x="8854" y="7814"/>
                </a:cubicBezTo>
                <a:lnTo>
                  <a:pt x="7436" y="7814"/>
                </a:lnTo>
                <a:cubicBezTo>
                  <a:pt x="6428" y="7814"/>
                  <a:pt x="5546" y="8286"/>
                  <a:pt x="4947" y="9042"/>
                </a:cubicBezTo>
                <a:lnTo>
                  <a:pt x="4947" y="6837"/>
                </a:lnTo>
                <a:cubicBezTo>
                  <a:pt x="5357" y="6081"/>
                  <a:pt x="6050" y="5545"/>
                  <a:pt x="6901" y="5325"/>
                </a:cubicBezTo>
                <a:cubicBezTo>
                  <a:pt x="7121" y="5545"/>
                  <a:pt x="7436" y="5671"/>
                  <a:pt x="7814" y="5671"/>
                </a:cubicBezTo>
                <a:cubicBezTo>
                  <a:pt x="8602" y="5671"/>
                  <a:pt x="9200" y="5041"/>
                  <a:pt x="9200" y="4254"/>
                </a:cubicBezTo>
                <a:cubicBezTo>
                  <a:pt x="9200" y="3466"/>
                  <a:pt x="8602" y="2836"/>
                  <a:pt x="7814" y="2836"/>
                </a:cubicBezTo>
                <a:cubicBezTo>
                  <a:pt x="7027" y="2836"/>
                  <a:pt x="6396" y="3466"/>
                  <a:pt x="6396" y="4254"/>
                </a:cubicBezTo>
                <a:cubicBezTo>
                  <a:pt x="6396" y="4411"/>
                  <a:pt x="6428" y="4569"/>
                  <a:pt x="6459" y="4726"/>
                </a:cubicBezTo>
                <a:cubicBezTo>
                  <a:pt x="5861" y="4947"/>
                  <a:pt x="5357" y="5262"/>
                  <a:pt x="4947" y="5671"/>
                </a:cubicBezTo>
                <a:lnTo>
                  <a:pt x="4947" y="3529"/>
                </a:lnTo>
                <a:cubicBezTo>
                  <a:pt x="5798" y="3372"/>
                  <a:pt x="6365" y="2615"/>
                  <a:pt x="6365" y="1796"/>
                </a:cubicBezTo>
                <a:cubicBezTo>
                  <a:pt x="6365" y="788"/>
                  <a:pt x="5577" y="1"/>
                  <a:pt x="4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25" name="Google Shape;8425;p75"/>
          <p:cNvGrpSpPr/>
          <p:nvPr/>
        </p:nvGrpSpPr>
        <p:grpSpPr>
          <a:xfrm>
            <a:off x="748855" y="2243507"/>
            <a:ext cx="452798" cy="449473"/>
            <a:chOff x="-21322300" y="3693325"/>
            <a:chExt cx="306400" cy="304150"/>
          </a:xfrm>
        </p:grpSpPr>
        <p:sp>
          <p:nvSpPr>
            <p:cNvPr id="8426" name="Google Shape;8426;p75"/>
            <p:cNvSpPr/>
            <p:nvPr/>
          </p:nvSpPr>
          <p:spPr>
            <a:xfrm>
              <a:off x="-21142725" y="3868400"/>
              <a:ext cx="111850" cy="69325"/>
            </a:xfrm>
            <a:custGeom>
              <a:avLst/>
              <a:gdLst/>
              <a:ahLst/>
              <a:cxnLst/>
              <a:rect l="l" t="t" r="r" b="b"/>
              <a:pathLst>
                <a:path w="4474" h="2773" extrusionOk="0">
                  <a:moveTo>
                    <a:pt x="4474" y="0"/>
                  </a:moveTo>
                  <a:lnTo>
                    <a:pt x="4474" y="0"/>
                  </a:lnTo>
                  <a:cubicBezTo>
                    <a:pt x="4317" y="189"/>
                    <a:pt x="4159" y="378"/>
                    <a:pt x="4001" y="536"/>
                  </a:cubicBezTo>
                  <a:cubicBezTo>
                    <a:pt x="2899" y="1639"/>
                    <a:pt x="1418" y="2174"/>
                    <a:pt x="0" y="2426"/>
                  </a:cubicBezTo>
                  <a:cubicBezTo>
                    <a:pt x="473" y="2678"/>
                    <a:pt x="945" y="2773"/>
                    <a:pt x="1450" y="2773"/>
                  </a:cubicBezTo>
                  <a:cubicBezTo>
                    <a:pt x="2269" y="2773"/>
                    <a:pt x="3088" y="2458"/>
                    <a:pt x="3749" y="1828"/>
                  </a:cubicBezTo>
                  <a:cubicBezTo>
                    <a:pt x="4254" y="1324"/>
                    <a:pt x="4474" y="662"/>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5"/>
            <p:cNvSpPr/>
            <p:nvPr/>
          </p:nvSpPr>
          <p:spPr>
            <a:xfrm>
              <a:off x="-21141950" y="3693325"/>
              <a:ext cx="126050" cy="120750"/>
            </a:xfrm>
            <a:custGeom>
              <a:avLst/>
              <a:gdLst/>
              <a:ahLst/>
              <a:cxnLst/>
              <a:rect l="l" t="t" r="r" b="b"/>
              <a:pathLst>
                <a:path w="5042" h="4830" extrusionOk="0">
                  <a:moveTo>
                    <a:pt x="1828" y="1214"/>
                  </a:moveTo>
                  <a:cubicBezTo>
                    <a:pt x="1915" y="1214"/>
                    <a:pt x="2001" y="1254"/>
                    <a:pt x="2080" y="1333"/>
                  </a:cubicBezTo>
                  <a:cubicBezTo>
                    <a:pt x="2238" y="1490"/>
                    <a:pt x="2238" y="1679"/>
                    <a:pt x="2080" y="1837"/>
                  </a:cubicBezTo>
                  <a:cubicBezTo>
                    <a:pt x="2001" y="1915"/>
                    <a:pt x="1915" y="1955"/>
                    <a:pt x="1828" y="1955"/>
                  </a:cubicBezTo>
                  <a:cubicBezTo>
                    <a:pt x="1742" y="1955"/>
                    <a:pt x="1655" y="1915"/>
                    <a:pt x="1576" y="1837"/>
                  </a:cubicBezTo>
                  <a:cubicBezTo>
                    <a:pt x="1419" y="1679"/>
                    <a:pt x="1419" y="1490"/>
                    <a:pt x="1576" y="1333"/>
                  </a:cubicBezTo>
                  <a:cubicBezTo>
                    <a:pt x="1655" y="1254"/>
                    <a:pt x="1742" y="1214"/>
                    <a:pt x="1828" y="1214"/>
                  </a:cubicBezTo>
                  <a:close/>
                  <a:moveTo>
                    <a:pt x="2301" y="0"/>
                  </a:moveTo>
                  <a:cubicBezTo>
                    <a:pt x="1786" y="0"/>
                    <a:pt x="1193" y="72"/>
                    <a:pt x="599" y="230"/>
                  </a:cubicBezTo>
                  <a:cubicBezTo>
                    <a:pt x="1" y="1427"/>
                    <a:pt x="221" y="2908"/>
                    <a:pt x="1230" y="3884"/>
                  </a:cubicBezTo>
                  <a:cubicBezTo>
                    <a:pt x="1797" y="4483"/>
                    <a:pt x="2647" y="4830"/>
                    <a:pt x="3498" y="4830"/>
                  </a:cubicBezTo>
                  <a:cubicBezTo>
                    <a:pt x="3970" y="4830"/>
                    <a:pt x="4443" y="4704"/>
                    <a:pt x="4884" y="4515"/>
                  </a:cubicBezTo>
                  <a:cubicBezTo>
                    <a:pt x="5042" y="3443"/>
                    <a:pt x="5042" y="2498"/>
                    <a:pt x="4947" y="1931"/>
                  </a:cubicBezTo>
                  <a:cubicBezTo>
                    <a:pt x="4884" y="1522"/>
                    <a:pt x="4601" y="1207"/>
                    <a:pt x="4254" y="1081"/>
                  </a:cubicBezTo>
                  <a:cubicBezTo>
                    <a:pt x="4160" y="1049"/>
                    <a:pt x="4065" y="1049"/>
                    <a:pt x="3970" y="1049"/>
                  </a:cubicBezTo>
                  <a:cubicBezTo>
                    <a:pt x="3970" y="955"/>
                    <a:pt x="3939" y="860"/>
                    <a:pt x="3939" y="765"/>
                  </a:cubicBezTo>
                  <a:cubicBezTo>
                    <a:pt x="3813" y="387"/>
                    <a:pt x="3498" y="104"/>
                    <a:pt x="3120" y="72"/>
                  </a:cubicBezTo>
                  <a:cubicBezTo>
                    <a:pt x="2885" y="25"/>
                    <a:pt x="2607" y="0"/>
                    <a:pt x="23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8" name="Google Shape;8428;p75"/>
            <p:cNvSpPr/>
            <p:nvPr/>
          </p:nvSpPr>
          <p:spPr>
            <a:xfrm>
              <a:off x="-21263225" y="3707725"/>
              <a:ext cx="69325" cy="112650"/>
            </a:xfrm>
            <a:custGeom>
              <a:avLst/>
              <a:gdLst/>
              <a:ahLst/>
              <a:cxnLst/>
              <a:rect l="l" t="t" r="r" b="b"/>
              <a:pathLst>
                <a:path w="2773" h="4506" extrusionOk="0">
                  <a:moveTo>
                    <a:pt x="2773" y="0"/>
                  </a:moveTo>
                  <a:cubicBezTo>
                    <a:pt x="2079" y="0"/>
                    <a:pt x="1418" y="252"/>
                    <a:pt x="945" y="757"/>
                  </a:cubicBezTo>
                  <a:cubicBezTo>
                    <a:pt x="347" y="1355"/>
                    <a:pt x="0" y="2174"/>
                    <a:pt x="0" y="3025"/>
                  </a:cubicBezTo>
                  <a:cubicBezTo>
                    <a:pt x="0" y="3560"/>
                    <a:pt x="126" y="4065"/>
                    <a:pt x="347" y="4506"/>
                  </a:cubicBezTo>
                  <a:cubicBezTo>
                    <a:pt x="630" y="3025"/>
                    <a:pt x="1197" y="1513"/>
                    <a:pt x="2205" y="473"/>
                  </a:cubicBezTo>
                  <a:cubicBezTo>
                    <a:pt x="2363" y="315"/>
                    <a:pt x="2552" y="158"/>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9" name="Google Shape;8429;p75"/>
            <p:cNvSpPr/>
            <p:nvPr/>
          </p:nvSpPr>
          <p:spPr>
            <a:xfrm>
              <a:off x="-21322300" y="3703775"/>
              <a:ext cx="294600" cy="293700"/>
            </a:xfrm>
            <a:custGeom>
              <a:avLst/>
              <a:gdLst/>
              <a:ahLst/>
              <a:cxnLst/>
              <a:rect l="l" t="t" r="r" b="b"/>
              <a:pathLst>
                <a:path w="11784" h="11748" extrusionOk="0">
                  <a:moveTo>
                    <a:pt x="6604" y="3797"/>
                  </a:moveTo>
                  <a:cubicBezTo>
                    <a:pt x="6773" y="3797"/>
                    <a:pt x="6905" y="3909"/>
                    <a:pt x="6931" y="4065"/>
                  </a:cubicBezTo>
                  <a:cubicBezTo>
                    <a:pt x="7026" y="4254"/>
                    <a:pt x="6900" y="4443"/>
                    <a:pt x="6711" y="4506"/>
                  </a:cubicBezTo>
                  <a:lnTo>
                    <a:pt x="6270" y="4664"/>
                  </a:lnTo>
                  <a:cubicBezTo>
                    <a:pt x="6018" y="4727"/>
                    <a:pt x="5955" y="5042"/>
                    <a:pt x="6112" y="5231"/>
                  </a:cubicBezTo>
                  <a:lnTo>
                    <a:pt x="6490" y="5640"/>
                  </a:lnTo>
                  <a:cubicBezTo>
                    <a:pt x="6575" y="5713"/>
                    <a:pt x="6674" y="5748"/>
                    <a:pt x="6767" y="5748"/>
                  </a:cubicBezTo>
                  <a:cubicBezTo>
                    <a:pt x="6916" y="5748"/>
                    <a:pt x="7050" y="5657"/>
                    <a:pt x="7089" y="5483"/>
                  </a:cubicBezTo>
                  <a:lnTo>
                    <a:pt x="7246" y="5042"/>
                  </a:lnTo>
                  <a:cubicBezTo>
                    <a:pt x="7321" y="4892"/>
                    <a:pt x="7455" y="4802"/>
                    <a:pt x="7586" y="4802"/>
                  </a:cubicBezTo>
                  <a:cubicBezTo>
                    <a:pt x="7620" y="4802"/>
                    <a:pt x="7655" y="4808"/>
                    <a:pt x="7687" y="4821"/>
                  </a:cubicBezTo>
                  <a:cubicBezTo>
                    <a:pt x="7908" y="4884"/>
                    <a:pt x="8002" y="5073"/>
                    <a:pt x="7971" y="5262"/>
                  </a:cubicBezTo>
                  <a:lnTo>
                    <a:pt x="7813" y="5703"/>
                  </a:lnTo>
                  <a:cubicBezTo>
                    <a:pt x="7655" y="6177"/>
                    <a:pt x="7212" y="6453"/>
                    <a:pt x="6764" y="6453"/>
                  </a:cubicBezTo>
                  <a:cubicBezTo>
                    <a:pt x="6498" y="6453"/>
                    <a:pt x="6229" y="6356"/>
                    <a:pt x="6018" y="6144"/>
                  </a:cubicBezTo>
                  <a:lnTo>
                    <a:pt x="5640" y="5766"/>
                  </a:lnTo>
                  <a:cubicBezTo>
                    <a:pt x="5073" y="5199"/>
                    <a:pt x="5293" y="4223"/>
                    <a:pt x="6081" y="3971"/>
                  </a:cubicBezTo>
                  <a:lnTo>
                    <a:pt x="6490" y="3813"/>
                  </a:lnTo>
                  <a:cubicBezTo>
                    <a:pt x="6529" y="3802"/>
                    <a:pt x="6567" y="3797"/>
                    <a:pt x="6604" y="3797"/>
                  </a:cubicBezTo>
                  <a:close/>
                  <a:moveTo>
                    <a:pt x="6900" y="1"/>
                  </a:moveTo>
                  <a:lnTo>
                    <a:pt x="6900" y="1"/>
                  </a:lnTo>
                  <a:cubicBezTo>
                    <a:pt x="6238" y="253"/>
                    <a:pt x="5608" y="600"/>
                    <a:pt x="5136" y="1104"/>
                  </a:cubicBezTo>
                  <a:cubicBezTo>
                    <a:pt x="3434" y="2805"/>
                    <a:pt x="3088" y="6176"/>
                    <a:pt x="3088" y="7657"/>
                  </a:cubicBezTo>
                  <a:cubicBezTo>
                    <a:pt x="2726" y="7476"/>
                    <a:pt x="2328" y="7387"/>
                    <a:pt x="1930" y="7387"/>
                  </a:cubicBezTo>
                  <a:cubicBezTo>
                    <a:pt x="1287" y="7387"/>
                    <a:pt x="644" y="7619"/>
                    <a:pt x="158" y="8066"/>
                  </a:cubicBezTo>
                  <a:cubicBezTo>
                    <a:pt x="0" y="8224"/>
                    <a:pt x="32" y="8539"/>
                    <a:pt x="252" y="8665"/>
                  </a:cubicBezTo>
                  <a:cubicBezTo>
                    <a:pt x="1449" y="9295"/>
                    <a:pt x="2489" y="10334"/>
                    <a:pt x="3119" y="11532"/>
                  </a:cubicBezTo>
                  <a:cubicBezTo>
                    <a:pt x="3191" y="11676"/>
                    <a:pt x="3304" y="11748"/>
                    <a:pt x="3429" y="11748"/>
                  </a:cubicBezTo>
                  <a:cubicBezTo>
                    <a:pt x="3523" y="11748"/>
                    <a:pt x="3623" y="11707"/>
                    <a:pt x="3718" y="11626"/>
                  </a:cubicBezTo>
                  <a:cubicBezTo>
                    <a:pt x="4505" y="10839"/>
                    <a:pt x="4663" y="9641"/>
                    <a:pt x="4127" y="8696"/>
                  </a:cubicBezTo>
                  <a:lnTo>
                    <a:pt x="4190" y="8696"/>
                  </a:lnTo>
                  <a:cubicBezTo>
                    <a:pt x="5640" y="8696"/>
                    <a:pt x="8979" y="8350"/>
                    <a:pt x="10680" y="6648"/>
                  </a:cubicBezTo>
                  <a:cubicBezTo>
                    <a:pt x="11184" y="6144"/>
                    <a:pt x="11531" y="5514"/>
                    <a:pt x="11783" y="4853"/>
                  </a:cubicBezTo>
                  <a:lnTo>
                    <a:pt x="11783" y="4853"/>
                  </a:lnTo>
                  <a:cubicBezTo>
                    <a:pt x="11374" y="4979"/>
                    <a:pt x="11027" y="5042"/>
                    <a:pt x="10649" y="5042"/>
                  </a:cubicBezTo>
                  <a:cubicBezTo>
                    <a:pt x="9578" y="5042"/>
                    <a:pt x="8601" y="4664"/>
                    <a:pt x="7876" y="3908"/>
                  </a:cubicBezTo>
                  <a:cubicBezTo>
                    <a:pt x="6805" y="2836"/>
                    <a:pt x="6490" y="1356"/>
                    <a:pt x="69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0" name="Google Shape;8430;p75"/>
          <p:cNvGrpSpPr/>
          <p:nvPr/>
        </p:nvGrpSpPr>
        <p:grpSpPr>
          <a:xfrm>
            <a:off x="748263" y="2810244"/>
            <a:ext cx="453980" cy="422540"/>
            <a:chOff x="-21322300" y="4077125"/>
            <a:chExt cx="307200" cy="285925"/>
          </a:xfrm>
        </p:grpSpPr>
        <p:sp>
          <p:nvSpPr>
            <p:cNvPr id="8431" name="Google Shape;8431;p75"/>
            <p:cNvSpPr/>
            <p:nvPr/>
          </p:nvSpPr>
          <p:spPr>
            <a:xfrm>
              <a:off x="-21177375" y="4077125"/>
              <a:ext cx="17350" cy="52800"/>
            </a:xfrm>
            <a:custGeom>
              <a:avLst/>
              <a:gdLst/>
              <a:ahLst/>
              <a:cxnLst/>
              <a:rect l="l" t="t" r="r" b="b"/>
              <a:pathLst>
                <a:path w="694" h="2112" extrusionOk="0">
                  <a:moveTo>
                    <a:pt x="347" y="0"/>
                  </a:moveTo>
                  <a:cubicBezTo>
                    <a:pt x="158" y="0"/>
                    <a:pt x="0" y="158"/>
                    <a:pt x="0" y="347"/>
                  </a:cubicBezTo>
                  <a:lnTo>
                    <a:pt x="0" y="1764"/>
                  </a:lnTo>
                  <a:cubicBezTo>
                    <a:pt x="0" y="1953"/>
                    <a:pt x="158" y="2111"/>
                    <a:pt x="347" y="2111"/>
                  </a:cubicBezTo>
                  <a:cubicBezTo>
                    <a:pt x="536" y="2111"/>
                    <a:pt x="693" y="1953"/>
                    <a:pt x="693" y="1764"/>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2" name="Google Shape;8432;p75"/>
            <p:cNvSpPr/>
            <p:nvPr/>
          </p:nvSpPr>
          <p:spPr>
            <a:xfrm>
              <a:off x="-21279775" y="4117475"/>
              <a:ext cx="46500" cy="44525"/>
            </a:xfrm>
            <a:custGeom>
              <a:avLst/>
              <a:gdLst/>
              <a:ahLst/>
              <a:cxnLst/>
              <a:rect l="l" t="t" r="r" b="b"/>
              <a:pathLst>
                <a:path w="1860" h="1781" extrusionOk="0">
                  <a:moveTo>
                    <a:pt x="410" y="1"/>
                  </a:moveTo>
                  <a:cubicBezTo>
                    <a:pt x="323" y="1"/>
                    <a:pt x="237" y="40"/>
                    <a:pt x="158" y="119"/>
                  </a:cubicBezTo>
                  <a:cubicBezTo>
                    <a:pt x="0" y="276"/>
                    <a:pt x="0" y="466"/>
                    <a:pt x="158" y="623"/>
                  </a:cubicBezTo>
                  <a:lnTo>
                    <a:pt x="1166" y="1663"/>
                  </a:lnTo>
                  <a:cubicBezTo>
                    <a:pt x="1261" y="1741"/>
                    <a:pt x="1355" y="1781"/>
                    <a:pt x="1446" y="1781"/>
                  </a:cubicBezTo>
                  <a:cubicBezTo>
                    <a:pt x="1536" y="1781"/>
                    <a:pt x="1623" y="1741"/>
                    <a:pt x="1702" y="1663"/>
                  </a:cubicBezTo>
                  <a:cubicBezTo>
                    <a:pt x="1859" y="1505"/>
                    <a:pt x="1859" y="1285"/>
                    <a:pt x="1702" y="1127"/>
                  </a:cubicBezTo>
                  <a:lnTo>
                    <a:pt x="662" y="119"/>
                  </a:lnTo>
                  <a:cubicBezTo>
                    <a:pt x="583" y="40"/>
                    <a:pt x="497"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75"/>
            <p:cNvSpPr/>
            <p:nvPr/>
          </p:nvSpPr>
          <p:spPr>
            <a:xfrm>
              <a:off x="-21103350" y="4117475"/>
              <a:ext cx="45700" cy="44525"/>
            </a:xfrm>
            <a:custGeom>
              <a:avLst/>
              <a:gdLst/>
              <a:ahLst/>
              <a:cxnLst/>
              <a:rect l="l" t="t" r="r" b="b"/>
              <a:pathLst>
                <a:path w="1828" h="1781" extrusionOk="0">
                  <a:moveTo>
                    <a:pt x="1418" y="1"/>
                  </a:moveTo>
                  <a:cubicBezTo>
                    <a:pt x="1332" y="1"/>
                    <a:pt x="1245" y="40"/>
                    <a:pt x="1166" y="119"/>
                  </a:cubicBezTo>
                  <a:lnTo>
                    <a:pt x="158" y="1127"/>
                  </a:lnTo>
                  <a:cubicBezTo>
                    <a:pt x="1" y="1285"/>
                    <a:pt x="1" y="1474"/>
                    <a:pt x="158" y="1663"/>
                  </a:cubicBezTo>
                  <a:cubicBezTo>
                    <a:pt x="237" y="1741"/>
                    <a:pt x="331" y="1781"/>
                    <a:pt x="422" y="1781"/>
                  </a:cubicBezTo>
                  <a:cubicBezTo>
                    <a:pt x="513" y="1781"/>
                    <a:pt x="599" y="1741"/>
                    <a:pt x="662" y="1663"/>
                  </a:cubicBezTo>
                  <a:lnTo>
                    <a:pt x="1670" y="623"/>
                  </a:lnTo>
                  <a:cubicBezTo>
                    <a:pt x="1828" y="466"/>
                    <a:pt x="1828" y="276"/>
                    <a:pt x="1670" y="119"/>
                  </a:cubicBezTo>
                  <a:cubicBezTo>
                    <a:pt x="1592" y="40"/>
                    <a:pt x="15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4" name="Google Shape;8434;p75"/>
            <p:cNvSpPr/>
            <p:nvPr/>
          </p:nvSpPr>
          <p:spPr>
            <a:xfrm>
              <a:off x="-21137225" y="4103750"/>
              <a:ext cx="27600" cy="34975"/>
            </a:xfrm>
            <a:custGeom>
              <a:avLst/>
              <a:gdLst/>
              <a:ahLst/>
              <a:cxnLst/>
              <a:rect l="l" t="t" r="r" b="b"/>
              <a:pathLst>
                <a:path w="1104" h="1399" extrusionOk="0">
                  <a:moveTo>
                    <a:pt x="670" y="1"/>
                  </a:moveTo>
                  <a:cubicBezTo>
                    <a:pt x="536" y="1"/>
                    <a:pt x="417" y="89"/>
                    <a:pt x="347" y="227"/>
                  </a:cubicBezTo>
                  <a:lnTo>
                    <a:pt x="95" y="888"/>
                  </a:lnTo>
                  <a:cubicBezTo>
                    <a:pt x="1" y="1109"/>
                    <a:pt x="127" y="1298"/>
                    <a:pt x="284" y="1361"/>
                  </a:cubicBezTo>
                  <a:cubicBezTo>
                    <a:pt x="335" y="1386"/>
                    <a:pt x="386" y="1398"/>
                    <a:pt x="435" y="1398"/>
                  </a:cubicBezTo>
                  <a:cubicBezTo>
                    <a:pt x="568" y="1398"/>
                    <a:pt x="688" y="1310"/>
                    <a:pt x="757" y="1172"/>
                  </a:cubicBezTo>
                  <a:lnTo>
                    <a:pt x="1041" y="510"/>
                  </a:lnTo>
                  <a:cubicBezTo>
                    <a:pt x="1104" y="321"/>
                    <a:pt x="1041" y="101"/>
                    <a:pt x="820" y="38"/>
                  </a:cubicBezTo>
                  <a:cubicBezTo>
                    <a:pt x="769" y="13"/>
                    <a:pt x="719" y="1"/>
                    <a:pt x="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5" name="Google Shape;8435;p75"/>
            <p:cNvSpPr/>
            <p:nvPr/>
          </p:nvSpPr>
          <p:spPr>
            <a:xfrm>
              <a:off x="-21227800" y="4103750"/>
              <a:ext cx="27600" cy="34975"/>
            </a:xfrm>
            <a:custGeom>
              <a:avLst/>
              <a:gdLst/>
              <a:ahLst/>
              <a:cxnLst/>
              <a:rect l="l" t="t" r="r" b="b"/>
              <a:pathLst>
                <a:path w="1104" h="1399" extrusionOk="0">
                  <a:moveTo>
                    <a:pt x="434" y="1"/>
                  </a:moveTo>
                  <a:cubicBezTo>
                    <a:pt x="386" y="1"/>
                    <a:pt x="335" y="13"/>
                    <a:pt x="284" y="38"/>
                  </a:cubicBezTo>
                  <a:cubicBezTo>
                    <a:pt x="95" y="101"/>
                    <a:pt x="1" y="321"/>
                    <a:pt x="95" y="510"/>
                  </a:cubicBezTo>
                  <a:lnTo>
                    <a:pt x="347" y="1172"/>
                  </a:lnTo>
                  <a:cubicBezTo>
                    <a:pt x="417" y="1310"/>
                    <a:pt x="536" y="1398"/>
                    <a:pt x="670" y="1398"/>
                  </a:cubicBezTo>
                  <a:cubicBezTo>
                    <a:pt x="719" y="1398"/>
                    <a:pt x="769" y="1386"/>
                    <a:pt x="820" y="1361"/>
                  </a:cubicBezTo>
                  <a:cubicBezTo>
                    <a:pt x="1040" y="1298"/>
                    <a:pt x="1103" y="1109"/>
                    <a:pt x="1040" y="888"/>
                  </a:cubicBezTo>
                  <a:lnTo>
                    <a:pt x="757" y="227"/>
                  </a:lnTo>
                  <a:cubicBezTo>
                    <a:pt x="688" y="89"/>
                    <a:pt x="568" y="1"/>
                    <a:pt x="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5"/>
            <p:cNvSpPr/>
            <p:nvPr/>
          </p:nvSpPr>
          <p:spPr>
            <a:xfrm>
              <a:off x="-21319950" y="4219675"/>
              <a:ext cx="53600" cy="18150"/>
            </a:xfrm>
            <a:custGeom>
              <a:avLst/>
              <a:gdLst/>
              <a:ahLst/>
              <a:cxnLst/>
              <a:rect l="l" t="t" r="r" b="b"/>
              <a:pathLst>
                <a:path w="2144" h="726" extrusionOk="0">
                  <a:moveTo>
                    <a:pt x="347" y="1"/>
                  </a:moveTo>
                  <a:cubicBezTo>
                    <a:pt x="158" y="1"/>
                    <a:pt x="1" y="158"/>
                    <a:pt x="1" y="347"/>
                  </a:cubicBezTo>
                  <a:cubicBezTo>
                    <a:pt x="1" y="568"/>
                    <a:pt x="158" y="725"/>
                    <a:pt x="347" y="725"/>
                  </a:cubicBezTo>
                  <a:lnTo>
                    <a:pt x="1797" y="725"/>
                  </a:lnTo>
                  <a:cubicBezTo>
                    <a:pt x="1986" y="725"/>
                    <a:pt x="2143" y="568"/>
                    <a:pt x="2143" y="347"/>
                  </a:cubicBezTo>
                  <a:cubicBezTo>
                    <a:pt x="2143" y="158"/>
                    <a:pt x="1986"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7" name="Google Shape;8437;p75"/>
            <p:cNvSpPr/>
            <p:nvPr/>
          </p:nvSpPr>
          <p:spPr>
            <a:xfrm>
              <a:off x="-21070275" y="4219675"/>
              <a:ext cx="54375" cy="18150"/>
            </a:xfrm>
            <a:custGeom>
              <a:avLst/>
              <a:gdLst/>
              <a:ahLst/>
              <a:cxnLst/>
              <a:rect l="l" t="t" r="r" b="b"/>
              <a:pathLst>
                <a:path w="2175" h="726" extrusionOk="0">
                  <a:moveTo>
                    <a:pt x="347" y="1"/>
                  </a:moveTo>
                  <a:cubicBezTo>
                    <a:pt x="158" y="1"/>
                    <a:pt x="1" y="158"/>
                    <a:pt x="1" y="347"/>
                  </a:cubicBezTo>
                  <a:cubicBezTo>
                    <a:pt x="1" y="568"/>
                    <a:pt x="158" y="725"/>
                    <a:pt x="347" y="725"/>
                  </a:cubicBezTo>
                  <a:lnTo>
                    <a:pt x="1828" y="725"/>
                  </a:lnTo>
                  <a:cubicBezTo>
                    <a:pt x="2017" y="725"/>
                    <a:pt x="2175" y="568"/>
                    <a:pt x="2175" y="347"/>
                  </a:cubicBezTo>
                  <a:cubicBezTo>
                    <a:pt x="2175" y="158"/>
                    <a:pt x="2017" y="1"/>
                    <a:pt x="1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8" name="Google Shape;8438;p75"/>
            <p:cNvSpPr/>
            <p:nvPr/>
          </p:nvSpPr>
          <p:spPr>
            <a:xfrm>
              <a:off x="-21078925" y="4171825"/>
              <a:ext cx="37025" cy="25175"/>
            </a:xfrm>
            <a:custGeom>
              <a:avLst/>
              <a:gdLst/>
              <a:ahLst/>
              <a:cxnLst/>
              <a:rect l="l" t="t" r="r" b="b"/>
              <a:pathLst>
                <a:path w="1481" h="1007" extrusionOk="0">
                  <a:moveTo>
                    <a:pt x="1086" y="1"/>
                  </a:moveTo>
                  <a:cubicBezTo>
                    <a:pt x="1040" y="1"/>
                    <a:pt x="993" y="9"/>
                    <a:pt x="945" y="24"/>
                  </a:cubicBezTo>
                  <a:lnTo>
                    <a:pt x="284" y="308"/>
                  </a:lnTo>
                  <a:cubicBezTo>
                    <a:pt x="63" y="371"/>
                    <a:pt x="0" y="623"/>
                    <a:pt x="63" y="780"/>
                  </a:cubicBezTo>
                  <a:cubicBezTo>
                    <a:pt x="132" y="919"/>
                    <a:pt x="252" y="1006"/>
                    <a:pt x="386" y="1006"/>
                  </a:cubicBezTo>
                  <a:cubicBezTo>
                    <a:pt x="435" y="1006"/>
                    <a:pt x="485" y="995"/>
                    <a:pt x="536" y="969"/>
                  </a:cubicBezTo>
                  <a:lnTo>
                    <a:pt x="1229" y="686"/>
                  </a:lnTo>
                  <a:cubicBezTo>
                    <a:pt x="1418" y="623"/>
                    <a:pt x="1481" y="434"/>
                    <a:pt x="1418" y="213"/>
                  </a:cubicBezTo>
                  <a:cubicBezTo>
                    <a:pt x="1347" y="72"/>
                    <a:pt x="1223"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5"/>
            <p:cNvSpPr/>
            <p:nvPr/>
          </p:nvSpPr>
          <p:spPr>
            <a:xfrm>
              <a:off x="-21294750" y="4172625"/>
              <a:ext cx="37850" cy="25150"/>
            </a:xfrm>
            <a:custGeom>
              <a:avLst/>
              <a:gdLst/>
              <a:ahLst/>
              <a:cxnLst/>
              <a:rect l="l" t="t" r="r" b="b"/>
              <a:pathLst>
                <a:path w="1514" h="1006" extrusionOk="0">
                  <a:moveTo>
                    <a:pt x="414" y="1"/>
                  </a:moveTo>
                  <a:cubicBezTo>
                    <a:pt x="263" y="1"/>
                    <a:pt x="143" y="77"/>
                    <a:pt x="95" y="244"/>
                  </a:cubicBezTo>
                  <a:cubicBezTo>
                    <a:pt x="1" y="402"/>
                    <a:pt x="127" y="622"/>
                    <a:pt x="284" y="717"/>
                  </a:cubicBezTo>
                  <a:lnTo>
                    <a:pt x="946" y="969"/>
                  </a:lnTo>
                  <a:cubicBezTo>
                    <a:pt x="997" y="994"/>
                    <a:pt x="1050" y="1006"/>
                    <a:pt x="1101" y="1006"/>
                  </a:cubicBezTo>
                  <a:cubicBezTo>
                    <a:pt x="1242" y="1006"/>
                    <a:pt x="1372" y="918"/>
                    <a:pt x="1419" y="780"/>
                  </a:cubicBezTo>
                  <a:cubicBezTo>
                    <a:pt x="1513" y="591"/>
                    <a:pt x="1419" y="402"/>
                    <a:pt x="1230" y="307"/>
                  </a:cubicBezTo>
                  <a:lnTo>
                    <a:pt x="568" y="24"/>
                  </a:lnTo>
                  <a:cubicBezTo>
                    <a:pt x="514" y="8"/>
                    <a:pt x="46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0" name="Google Shape;8440;p75"/>
            <p:cNvSpPr/>
            <p:nvPr/>
          </p:nvSpPr>
          <p:spPr>
            <a:xfrm>
              <a:off x="-21321525" y="4328375"/>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630"/>
                    <a:pt x="1" y="819"/>
                    <a:pt x="95" y="1008"/>
                  </a:cubicBezTo>
                  <a:cubicBezTo>
                    <a:pt x="141" y="1147"/>
                    <a:pt x="272" y="1234"/>
                    <a:pt x="413" y="1234"/>
                  </a:cubicBezTo>
                  <a:cubicBezTo>
                    <a:pt x="464" y="1234"/>
                    <a:pt x="517" y="1223"/>
                    <a:pt x="568" y="1197"/>
                  </a:cubicBezTo>
                  <a:cubicBezTo>
                    <a:pt x="725" y="1166"/>
                    <a:pt x="883" y="1103"/>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103"/>
                    <a:pt x="11563" y="1166"/>
                    <a:pt x="11721" y="1260"/>
                  </a:cubicBezTo>
                  <a:cubicBezTo>
                    <a:pt x="11766" y="1276"/>
                    <a:pt x="11812" y="1284"/>
                    <a:pt x="11857" y="1284"/>
                  </a:cubicBezTo>
                  <a:cubicBezTo>
                    <a:pt x="11996" y="1284"/>
                    <a:pt x="12122" y="1207"/>
                    <a:pt x="12193" y="1040"/>
                  </a:cubicBezTo>
                  <a:cubicBezTo>
                    <a:pt x="12256" y="819"/>
                    <a:pt x="12193" y="567"/>
                    <a:pt x="11973" y="536"/>
                  </a:cubicBezTo>
                  <a:cubicBezTo>
                    <a:pt x="11878" y="504"/>
                    <a:pt x="11784" y="473"/>
                    <a:pt x="11658" y="378"/>
                  </a:cubicBezTo>
                  <a:cubicBezTo>
                    <a:pt x="11264" y="126"/>
                    <a:pt x="10823" y="0"/>
                    <a:pt x="10382" y="0"/>
                  </a:cubicBezTo>
                  <a:cubicBezTo>
                    <a:pt x="9941" y="0"/>
                    <a:pt x="9499" y="126"/>
                    <a:pt x="9106" y="378"/>
                  </a:cubicBezTo>
                  <a:cubicBezTo>
                    <a:pt x="8854" y="552"/>
                    <a:pt x="8546" y="638"/>
                    <a:pt x="8239" y="638"/>
                  </a:cubicBezTo>
                  <a:cubicBezTo>
                    <a:pt x="7932" y="638"/>
                    <a:pt x="7625" y="552"/>
                    <a:pt x="7373" y="378"/>
                  </a:cubicBezTo>
                  <a:cubicBezTo>
                    <a:pt x="6979" y="126"/>
                    <a:pt x="6538" y="0"/>
                    <a:pt x="6101" y="0"/>
                  </a:cubicBezTo>
                  <a:cubicBezTo>
                    <a:pt x="5664" y="0"/>
                    <a:pt x="5231" y="126"/>
                    <a:pt x="4852" y="378"/>
                  </a:cubicBezTo>
                  <a:cubicBezTo>
                    <a:pt x="4600" y="552"/>
                    <a:pt x="4293" y="638"/>
                    <a:pt x="3986" y="638"/>
                  </a:cubicBezTo>
                  <a:cubicBezTo>
                    <a:pt x="3679" y="638"/>
                    <a:pt x="3372" y="552"/>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1" name="Google Shape;8441;p75"/>
            <p:cNvSpPr/>
            <p:nvPr/>
          </p:nvSpPr>
          <p:spPr>
            <a:xfrm>
              <a:off x="-21321525" y="4292150"/>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599"/>
                    <a:pt x="1" y="819"/>
                    <a:pt x="95" y="1008"/>
                  </a:cubicBezTo>
                  <a:cubicBezTo>
                    <a:pt x="141" y="1147"/>
                    <a:pt x="272" y="1234"/>
                    <a:pt x="413" y="1234"/>
                  </a:cubicBezTo>
                  <a:cubicBezTo>
                    <a:pt x="464" y="1234"/>
                    <a:pt x="517" y="1223"/>
                    <a:pt x="568" y="1197"/>
                  </a:cubicBezTo>
                  <a:cubicBezTo>
                    <a:pt x="725" y="1166"/>
                    <a:pt x="883" y="1071"/>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071"/>
                    <a:pt x="11563" y="1166"/>
                    <a:pt x="11721" y="1229"/>
                  </a:cubicBezTo>
                  <a:cubicBezTo>
                    <a:pt x="11771" y="1254"/>
                    <a:pt x="11822" y="1266"/>
                    <a:pt x="11871" y="1266"/>
                  </a:cubicBezTo>
                  <a:cubicBezTo>
                    <a:pt x="12004" y="1266"/>
                    <a:pt x="12124" y="1178"/>
                    <a:pt x="12193" y="1040"/>
                  </a:cubicBezTo>
                  <a:cubicBezTo>
                    <a:pt x="12256" y="819"/>
                    <a:pt x="12193" y="599"/>
                    <a:pt x="11973" y="536"/>
                  </a:cubicBezTo>
                  <a:cubicBezTo>
                    <a:pt x="11878" y="504"/>
                    <a:pt x="11784" y="441"/>
                    <a:pt x="11658" y="378"/>
                  </a:cubicBezTo>
                  <a:cubicBezTo>
                    <a:pt x="11264" y="126"/>
                    <a:pt x="10823" y="0"/>
                    <a:pt x="10382" y="0"/>
                  </a:cubicBezTo>
                  <a:cubicBezTo>
                    <a:pt x="9941" y="0"/>
                    <a:pt x="9499" y="126"/>
                    <a:pt x="9106" y="378"/>
                  </a:cubicBezTo>
                  <a:cubicBezTo>
                    <a:pt x="8854" y="551"/>
                    <a:pt x="8546" y="638"/>
                    <a:pt x="8239" y="638"/>
                  </a:cubicBezTo>
                  <a:cubicBezTo>
                    <a:pt x="7932" y="638"/>
                    <a:pt x="7625" y="551"/>
                    <a:pt x="7373" y="378"/>
                  </a:cubicBezTo>
                  <a:cubicBezTo>
                    <a:pt x="6979" y="126"/>
                    <a:pt x="6538" y="0"/>
                    <a:pt x="6101" y="0"/>
                  </a:cubicBezTo>
                  <a:cubicBezTo>
                    <a:pt x="5664" y="0"/>
                    <a:pt x="5231" y="126"/>
                    <a:pt x="4852" y="378"/>
                  </a:cubicBezTo>
                  <a:cubicBezTo>
                    <a:pt x="4600" y="551"/>
                    <a:pt x="4293" y="638"/>
                    <a:pt x="3986" y="638"/>
                  </a:cubicBezTo>
                  <a:cubicBezTo>
                    <a:pt x="3679" y="638"/>
                    <a:pt x="3372" y="551"/>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75"/>
            <p:cNvSpPr/>
            <p:nvPr/>
          </p:nvSpPr>
          <p:spPr>
            <a:xfrm>
              <a:off x="-21322300" y="4148000"/>
              <a:ext cx="307200" cy="143375"/>
            </a:xfrm>
            <a:custGeom>
              <a:avLst/>
              <a:gdLst/>
              <a:ahLst/>
              <a:cxnLst/>
              <a:rect l="l" t="t" r="r" b="b"/>
              <a:pathLst>
                <a:path w="12288" h="5735" extrusionOk="0">
                  <a:moveTo>
                    <a:pt x="6175" y="1"/>
                  </a:moveTo>
                  <a:cubicBezTo>
                    <a:pt x="4411" y="1"/>
                    <a:pt x="2962" y="1450"/>
                    <a:pt x="2962" y="3214"/>
                  </a:cubicBezTo>
                  <a:cubicBezTo>
                    <a:pt x="2962" y="3813"/>
                    <a:pt x="3151" y="4380"/>
                    <a:pt x="3434" y="4884"/>
                  </a:cubicBezTo>
                  <a:cubicBezTo>
                    <a:pt x="3308" y="4852"/>
                    <a:pt x="3245" y="4789"/>
                    <a:pt x="3119" y="4726"/>
                  </a:cubicBezTo>
                  <a:cubicBezTo>
                    <a:pt x="2725" y="4474"/>
                    <a:pt x="2284" y="4348"/>
                    <a:pt x="1843" y="4348"/>
                  </a:cubicBezTo>
                  <a:cubicBezTo>
                    <a:pt x="1402" y="4348"/>
                    <a:pt x="961" y="4474"/>
                    <a:pt x="567" y="4726"/>
                  </a:cubicBezTo>
                  <a:cubicBezTo>
                    <a:pt x="473" y="4758"/>
                    <a:pt x="347" y="4852"/>
                    <a:pt x="284" y="4884"/>
                  </a:cubicBezTo>
                  <a:cubicBezTo>
                    <a:pt x="95" y="4947"/>
                    <a:pt x="0" y="5167"/>
                    <a:pt x="95" y="5356"/>
                  </a:cubicBezTo>
                  <a:cubicBezTo>
                    <a:pt x="141" y="5495"/>
                    <a:pt x="255" y="5583"/>
                    <a:pt x="399" y="5583"/>
                  </a:cubicBezTo>
                  <a:cubicBezTo>
                    <a:pt x="451" y="5583"/>
                    <a:pt x="508" y="5571"/>
                    <a:pt x="567" y="5545"/>
                  </a:cubicBezTo>
                  <a:cubicBezTo>
                    <a:pt x="725" y="5514"/>
                    <a:pt x="882" y="5419"/>
                    <a:pt x="977" y="5356"/>
                  </a:cubicBezTo>
                  <a:cubicBezTo>
                    <a:pt x="1245" y="5183"/>
                    <a:pt x="1552" y="5097"/>
                    <a:pt x="1855" y="5097"/>
                  </a:cubicBezTo>
                  <a:cubicBezTo>
                    <a:pt x="2158" y="5097"/>
                    <a:pt x="2458" y="5183"/>
                    <a:pt x="2710" y="5356"/>
                  </a:cubicBezTo>
                  <a:cubicBezTo>
                    <a:pt x="3103" y="5608"/>
                    <a:pt x="3552" y="5735"/>
                    <a:pt x="3993" y="5735"/>
                  </a:cubicBezTo>
                  <a:cubicBezTo>
                    <a:pt x="4435" y="5735"/>
                    <a:pt x="4868" y="5608"/>
                    <a:pt x="5230" y="5356"/>
                  </a:cubicBezTo>
                  <a:cubicBezTo>
                    <a:pt x="5498" y="5183"/>
                    <a:pt x="5805" y="5097"/>
                    <a:pt x="6108" y="5097"/>
                  </a:cubicBezTo>
                  <a:cubicBezTo>
                    <a:pt x="6411" y="5097"/>
                    <a:pt x="6711" y="5183"/>
                    <a:pt x="6963" y="5356"/>
                  </a:cubicBezTo>
                  <a:cubicBezTo>
                    <a:pt x="7341" y="5608"/>
                    <a:pt x="7790" y="5735"/>
                    <a:pt x="8235" y="5735"/>
                  </a:cubicBezTo>
                  <a:cubicBezTo>
                    <a:pt x="8680" y="5735"/>
                    <a:pt x="9121" y="5608"/>
                    <a:pt x="9483" y="5356"/>
                  </a:cubicBezTo>
                  <a:cubicBezTo>
                    <a:pt x="9751" y="5183"/>
                    <a:pt x="10058" y="5097"/>
                    <a:pt x="10369" y="5097"/>
                  </a:cubicBezTo>
                  <a:cubicBezTo>
                    <a:pt x="10680" y="5097"/>
                    <a:pt x="10995" y="5183"/>
                    <a:pt x="11279" y="5356"/>
                  </a:cubicBezTo>
                  <a:cubicBezTo>
                    <a:pt x="11437" y="5419"/>
                    <a:pt x="11531" y="5514"/>
                    <a:pt x="11689" y="5577"/>
                  </a:cubicBezTo>
                  <a:cubicBezTo>
                    <a:pt x="11748" y="5602"/>
                    <a:pt x="11804" y="5614"/>
                    <a:pt x="11857" y="5614"/>
                  </a:cubicBezTo>
                  <a:cubicBezTo>
                    <a:pt x="12001" y="5614"/>
                    <a:pt x="12115" y="5526"/>
                    <a:pt x="12161" y="5388"/>
                  </a:cubicBezTo>
                  <a:cubicBezTo>
                    <a:pt x="12287" y="5167"/>
                    <a:pt x="12224" y="4947"/>
                    <a:pt x="12004" y="4884"/>
                  </a:cubicBezTo>
                  <a:cubicBezTo>
                    <a:pt x="11909" y="4852"/>
                    <a:pt x="11815" y="4789"/>
                    <a:pt x="11689" y="4726"/>
                  </a:cubicBezTo>
                  <a:cubicBezTo>
                    <a:pt x="11295" y="4474"/>
                    <a:pt x="10854" y="4348"/>
                    <a:pt x="10413" y="4348"/>
                  </a:cubicBezTo>
                  <a:cubicBezTo>
                    <a:pt x="9972" y="4348"/>
                    <a:pt x="9530" y="4474"/>
                    <a:pt x="9137" y="4726"/>
                  </a:cubicBezTo>
                  <a:lnTo>
                    <a:pt x="8916" y="4852"/>
                  </a:lnTo>
                  <a:cubicBezTo>
                    <a:pt x="9168" y="4380"/>
                    <a:pt x="9389" y="3781"/>
                    <a:pt x="9389" y="3214"/>
                  </a:cubicBezTo>
                  <a:cubicBezTo>
                    <a:pt x="9389" y="1450"/>
                    <a:pt x="7971"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75"/>
          <p:cNvGrpSpPr/>
          <p:nvPr/>
        </p:nvGrpSpPr>
        <p:grpSpPr>
          <a:xfrm>
            <a:off x="3525440" y="1689128"/>
            <a:ext cx="451653" cy="450212"/>
            <a:chOff x="-19394200" y="3333800"/>
            <a:chExt cx="305625" cy="304650"/>
          </a:xfrm>
        </p:grpSpPr>
        <p:sp>
          <p:nvSpPr>
            <p:cNvPr id="8444" name="Google Shape;8444;p75"/>
            <p:cNvSpPr/>
            <p:nvPr/>
          </p:nvSpPr>
          <p:spPr>
            <a:xfrm>
              <a:off x="-19206750" y="3495850"/>
              <a:ext cx="82725" cy="18150"/>
            </a:xfrm>
            <a:custGeom>
              <a:avLst/>
              <a:gdLst/>
              <a:ahLst/>
              <a:cxnLst/>
              <a:rect l="l" t="t" r="r" b="b"/>
              <a:pathLst>
                <a:path w="3309" h="726" extrusionOk="0">
                  <a:moveTo>
                    <a:pt x="1" y="1"/>
                  </a:moveTo>
                  <a:cubicBezTo>
                    <a:pt x="158" y="190"/>
                    <a:pt x="284" y="442"/>
                    <a:pt x="316" y="725"/>
                  </a:cubicBezTo>
                  <a:lnTo>
                    <a:pt x="2836" y="725"/>
                  </a:lnTo>
                  <a:cubicBezTo>
                    <a:pt x="3309" y="725"/>
                    <a:pt x="3309"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75"/>
            <p:cNvSpPr/>
            <p:nvPr/>
          </p:nvSpPr>
          <p:spPr>
            <a:xfrm>
              <a:off x="-19205950" y="3532875"/>
              <a:ext cx="64600" cy="17350"/>
            </a:xfrm>
            <a:custGeom>
              <a:avLst/>
              <a:gdLst/>
              <a:ahLst/>
              <a:cxnLst/>
              <a:rect l="l" t="t" r="r" b="b"/>
              <a:pathLst>
                <a:path w="2584" h="694" extrusionOk="0">
                  <a:moveTo>
                    <a:pt x="315" y="0"/>
                  </a:moveTo>
                  <a:cubicBezTo>
                    <a:pt x="252" y="252"/>
                    <a:pt x="126" y="504"/>
                    <a:pt x="0" y="693"/>
                  </a:cubicBezTo>
                  <a:lnTo>
                    <a:pt x="2111" y="693"/>
                  </a:lnTo>
                  <a:cubicBezTo>
                    <a:pt x="2583" y="693"/>
                    <a:pt x="258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6" name="Google Shape;8446;p75"/>
            <p:cNvSpPr/>
            <p:nvPr/>
          </p:nvSpPr>
          <p:spPr>
            <a:xfrm>
              <a:off x="-19323325" y="3568325"/>
              <a:ext cx="163850" cy="17350"/>
            </a:xfrm>
            <a:custGeom>
              <a:avLst/>
              <a:gdLst/>
              <a:ahLst/>
              <a:cxnLst/>
              <a:rect l="l" t="t" r="r" b="b"/>
              <a:pathLst>
                <a:path w="6554" h="694" extrusionOk="0">
                  <a:moveTo>
                    <a:pt x="379" y="0"/>
                  </a:moveTo>
                  <a:cubicBezTo>
                    <a:pt x="221" y="0"/>
                    <a:pt x="95" y="95"/>
                    <a:pt x="32" y="252"/>
                  </a:cubicBezTo>
                  <a:cubicBezTo>
                    <a:pt x="1" y="410"/>
                    <a:pt x="95" y="693"/>
                    <a:pt x="379" y="693"/>
                  </a:cubicBezTo>
                  <a:lnTo>
                    <a:pt x="6081" y="693"/>
                  </a:lnTo>
                  <a:cubicBezTo>
                    <a:pt x="6554" y="693"/>
                    <a:pt x="6554" y="0"/>
                    <a:pt x="6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5"/>
            <p:cNvSpPr/>
            <p:nvPr/>
          </p:nvSpPr>
          <p:spPr>
            <a:xfrm>
              <a:off x="-19343000" y="3460400"/>
              <a:ext cx="201650" cy="18150"/>
            </a:xfrm>
            <a:custGeom>
              <a:avLst/>
              <a:gdLst/>
              <a:ahLst/>
              <a:cxnLst/>
              <a:rect l="l" t="t" r="r" b="b"/>
              <a:pathLst>
                <a:path w="8066" h="726" extrusionOk="0">
                  <a:moveTo>
                    <a:pt x="473" y="1"/>
                  </a:moveTo>
                  <a:cubicBezTo>
                    <a:pt x="0" y="1"/>
                    <a:pt x="0" y="726"/>
                    <a:pt x="473" y="726"/>
                  </a:cubicBezTo>
                  <a:lnTo>
                    <a:pt x="7593" y="726"/>
                  </a:lnTo>
                  <a:cubicBezTo>
                    <a:pt x="8065" y="726"/>
                    <a:pt x="8065" y="1"/>
                    <a:pt x="75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75"/>
            <p:cNvSpPr/>
            <p:nvPr/>
          </p:nvSpPr>
          <p:spPr>
            <a:xfrm>
              <a:off x="-19361125" y="3495850"/>
              <a:ext cx="82725" cy="18150"/>
            </a:xfrm>
            <a:custGeom>
              <a:avLst/>
              <a:gdLst/>
              <a:ahLst/>
              <a:cxnLst/>
              <a:rect l="l" t="t" r="r" b="b"/>
              <a:pathLst>
                <a:path w="3309" h="726" extrusionOk="0">
                  <a:moveTo>
                    <a:pt x="473" y="1"/>
                  </a:moveTo>
                  <a:cubicBezTo>
                    <a:pt x="1" y="1"/>
                    <a:pt x="1" y="725"/>
                    <a:pt x="473" y="725"/>
                  </a:cubicBezTo>
                  <a:lnTo>
                    <a:pt x="2994" y="725"/>
                  </a:lnTo>
                  <a:cubicBezTo>
                    <a:pt x="3025" y="473"/>
                    <a:pt x="3151" y="253"/>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9" name="Google Shape;8449;p75"/>
            <p:cNvSpPr/>
            <p:nvPr/>
          </p:nvSpPr>
          <p:spPr>
            <a:xfrm>
              <a:off x="-19305200" y="3603750"/>
              <a:ext cx="124475" cy="34700"/>
            </a:xfrm>
            <a:custGeom>
              <a:avLst/>
              <a:gdLst/>
              <a:ahLst/>
              <a:cxnLst/>
              <a:rect l="l" t="t" r="r" b="b"/>
              <a:pathLst>
                <a:path w="4979" h="1388" extrusionOk="0">
                  <a:moveTo>
                    <a:pt x="95" y="1"/>
                  </a:moveTo>
                  <a:cubicBezTo>
                    <a:pt x="63" y="95"/>
                    <a:pt x="0" y="221"/>
                    <a:pt x="0" y="347"/>
                  </a:cubicBezTo>
                  <a:cubicBezTo>
                    <a:pt x="0" y="946"/>
                    <a:pt x="473" y="1387"/>
                    <a:pt x="1072" y="1387"/>
                  </a:cubicBezTo>
                  <a:lnTo>
                    <a:pt x="3907" y="1387"/>
                  </a:lnTo>
                  <a:cubicBezTo>
                    <a:pt x="4506" y="1387"/>
                    <a:pt x="4978" y="946"/>
                    <a:pt x="4978" y="347"/>
                  </a:cubicBezTo>
                  <a:cubicBezTo>
                    <a:pt x="4978" y="221"/>
                    <a:pt x="4947" y="95"/>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5"/>
            <p:cNvSpPr/>
            <p:nvPr/>
          </p:nvSpPr>
          <p:spPr>
            <a:xfrm>
              <a:off x="-19269750" y="3495850"/>
              <a:ext cx="54350" cy="53575"/>
            </a:xfrm>
            <a:custGeom>
              <a:avLst/>
              <a:gdLst/>
              <a:ahLst/>
              <a:cxnLst/>
              <a:rect l="l" t="t" r="r" b="b"/>
              <a:pathLst>
                <a:path w="2174" h="2143" extrusionOk="0">
                  <a:moveTo>
                    <a:pt x="1071" y="1"/>
                  </a:moveTo>
                  <a:cubicBezTo>
                    <a:pt x="473" y="1"/>
                    <a:pt x="0" y="473"/>
                    <a:pt x="0" y="1072"/>
                  </a:cubicBezTo>
                  <a:cubicBezTo>
                    <a:pt x="0" y="1670"/>
                    <a:pt x="473" y="2143"/>
                    <a:pt x="1071" y="2143"/>
                  </a:cubicBezTo>
                  <a:cubicBezTo>
                    <a:pt x="1670" y="2143"/>
                    <a:pt x="2142" y="1670"/>
                    <a:pt x="2142" y="1072"/>
                  </a:cubicBezTo>
                  <a:cubicBezTo>
                    <a:pt x="2174" y="536"/>
                    <a:pt x="167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1" name="Google Shape;8451;p75"/>
            <p:cNvSpPr/>
            <p:nvPr/>
          </p:nvSpPr>
          <p:spPr>
            <a:xfrm>
              <a:off x="-19394200" y="3333800"/>
              <a:ext cx="305625" cy="107725"/>
            </a:xfrm>
            <a:custGeom>
              <a:avLst/>
              <a:gdLst/>
              <a:ahLst/>
              <a:cxnLst/>
              <a:rect l="l" t="t" r="r" b="b"/>
              <a:pathLst>
                <a:path w="12225" h="4309" extrusionOk="0">
                  <a:moveTo>
                    <a:pt x="8916" y="1"/>
                  </a:moveTo>
                  <a:cubicBezTo>
                    <a:pt x="8830" y="1"/>
                    <a:pt x="8743" y="40"/>
                    <a:pt x="8664" y="119"/>
                  </a:cubicBezTo>
                  <a:cubicBezTo>
                    <a:pt x="8507" y="276"/>
                    <a:pt x="8507" y="465"/>
                    <a:pt x="8664" y="623"/>
                  </a:cubicBezTo>
                  <a:lnTo>
                    <a:pt x="9483" y="1442"/>
                  </a:lnTo>
                  <a:lnTo>
                    <a:pt x="347" y="1442"/>
                  </a:lnTo>
                  <a:cubicBezTo>
                    <a:pt x="158" y="1442"/>
                    <a:pt x="0" y="1599"/>
                    <a:pt x="0" y="1820"/>
                  </a:cubicBezTo>
                  <a:cubicBezTo>
                    <a:pt x="0" y="2009"/>
                    <a:pt x="158" y="2166"/>
                    <a:pt x="347" y="2166"/>
                  </a:cubicBezTo>
                  <a:lnTo>
                    <a:pt x="1639" y="2166"/>
                  </a:lnTo>
                  <a:lnTo>
                    <a:pt x="819" y="2986"/>
                  </a:lnTo>
                  <a:cubicBezTo>
                    <a:pt x="662" y="3143"/>
                    <a:pt x="662" y="3332"/>
                    <a:pt x="819" y="3490"/>
                  </a:cubicBezTo>
                  <a:cubicBezTo>
                    <a:pt x="898" y="3568"/>
                    <a:pt x="985" y="3608"/>
                    <a:pt x="1072" y="3608"/>
                  </a:cubicBezTo>
                  <a:cubicBezTo>
                    <a:pt x="1158" y="3608"/>
                    <a:pt x="1245" y="3568"/>
                    <a:pt x="1324" y="3490"/>
                  </a:cubicBezTo>
                  <a:lnTo>
                    <a:pt x="2678" y="2166"/>
                  </a:lnTo>
                  <a:lnTo>
                    <a:pt x="5734" y="2166"/>
                  </a:lnTo>
                  <a:lnTo>
                    <a:pt x="5734" y="2923"/>
                  </a:lnTo>
                  <a:lnTo>
                    <a:pt x="3970" y="2923"/>
                  </a:lnTo>
                  <a:cubicBezTo>
                    <a:pt x="3371" y="2923"/>
                    <a:pt x="2899" y="3395"/>
                    <a:pt x="2899" y="3962"/>
                  </a:cubicBezTo>
                  <a:cubicBezTo>
                    <a:pt x="2899" y="4088"/>
                    <a:pt x="2930" y="4214"/>
                    <a:pt x="2993" y="4309"/>
                  </a:cubicBezTo>
                  <a:lnTo>
                    <a:pt x="9294" y="4309"/>
                  </a:lnTo>
                  <a:cubicBezTo>
                    <a:pt x="9326" y="4214"/>
                    <a:pt x="9357" y="4088"/>
                    <a:pt x="9357" y="3962"/>
                  </a:cubicBezTo>
                  <a:cubicBezTo>
                    <a:pt x="9357" y="3395"/>
                    <a:pt x="8885" y="2923"/>
                    <a:pt x="8286" y="2923"/>
                  </a:cubicBezTo>
                  <a:lnTo>
                    <a:pt x="6522" y="2923"/>
                  </a:lnTo>
                  <a:lnTo>
                    <a:pt x="6522" y="2166"/>
                  </a:lnTo>
                  <a:lnTo>
                    <a:pt x="11878" y="2166"/>
                  </a:lnTo>
                  <a:cubicBezTo>
                    <a:pt x="12067" y="2166"/>
                    <a:pt x="12224" y="2009"/>
                    <a:pt x="12224" y="1820"/>
                  </a:cubicBezTo>
                  <a:cubicBezTo>
                    <a:pt x="12224" y="1599"/>
                    <a:pt x="12004" y="1442"/>
                    <a:pt x="11815" y="1442"/>
                  </a:cubicBezTo>
                  <a:lnTo>
                    <a:pt x="10492" y="1442"/>
                  </a:lnTo>
                  <a:lnTo>
                    <a:pt x="9168" y="119"/>
                  </a:lnTo>
                  <a:cubicBezTo>
                    <a:pt x="9090" y="40"/>
                    <a:pt x="9003" y="1"/>
                    <a:pt x="89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2" name="Google Shape;8452;p75"/>
            <p:cNvSpPr/>
            <p:nvPr/>
          </p:nvSpPr>
          <p:spPr>
            <a:xfrm>
              <a:off x="-19341425" y="3532875"/>
              <a:ext cx="63025" cy="17350"/>
            </a:xfrm>
            <a:custGeom>
              <a:avLst/>
              <a:gdLst/>
              <a:ahLst/>
              <a:cxnLst/>
              <a:rect l="l" t="t" r="r" b="b"/>
              <a:pathLst>
                <a:path w="2521" h="694" extrusionOk="0">
                  <a:moveTo>
                    <a:pt x="410" y="0"/>
                  </a:moveTo>
                  <a:cubicBezTo>
                    <a:pt x="221" y="0"/>
                    <a:pt x="32" y="158"/>
                    <a:pt x="32" y="252"/>
                  </a:cubicBezTo>
                  <a:cubicBezTo>
                    <a:pt x="0" y="410"/>
                    <a:pt x="126" y="693"/>
                    <a:pt x="410" y="693"/>
                  </a:cubicBezTo>
                  <a:lnTo>
                    <a:pt x="2521" y="693"/>
                  </a:lnTo>
                  <a:cubicBezTo>
                    <a:pt x="2363" y="473"/>
                    <a:pt x="2237" y="221"/>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3" name="Google Shape;8453;p75"/>
          <p:cNvGrpSpPr/>
          <p:nvPr/>
        </p:nvGrpSpPr>
        <p:grpSpPr>
          <a:xfrm>
            <a:off x="3524276" y="2243580"/>
            <a:ext cx="453980" cy="449325"/>
            <a:chOff x="-19396575" y="3708500"/>
            <a:chExt cx="307200" cy="304050"/>
          </a:xfrm>
        </p:grpSpPr>
        <p:sp>
          <p:nvSpPr>
            <p:cNvPr id="8454" name="Google Shape;8454;p75"/>
            <p:cNvSpPr/>
            <p:nvPr/>
          </p:nvSpPr>
          <p:spPr>
            <a:xfrm>
              <a:off x="-19215425" y="3708500"/>
              <a:ext cx="70925" cy="70925"/>
            </a:xfrm>
            <a:custGeom>
              <a:avLst/>
              <a:gdLst/>
              <a:ahLst/>
              <a:cxnLst/>
              <a:rect l="l" t="t" r="r" b="b"/>
              <a:pathLst>
                <a:path w="2837" h="2837" extrusionOk="0">
                  <a:moveTo>
                    <a:pt x="1419" y="1"/>
                  </a:moveTo>
                  <a:cubicBezTo>
                    <a:pt x="631" y="1"/>
                    <a:pt x="1" y="631"/>
                    <a:pt x="1" y="1419"/>
                  </a:cubicBezTo>
                  <a:cubicBezTo>
                    <a:pt x="1" y="2206"/>
                    <a:pt x="631" y="2836"/>
                    <a:pt x="1419" y="2836"/>
                  </a:cubicBezTo>
                  <a:cubicBezTo>
                    <a:pt x="2206" y="2836"/>
                    <a:pt x="2836" y="2206"/>
                    <a:pt x="2836" y="1419"/>
                  </a:cubicBezTo>
                  <a:cubicBezTo>
                    <a:pt x="2836" y="631"/>
                    <a:pt x="2175"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5" name="Google Shape;8455;p75"/>
            <p:cNvSpPr/>
            <p:nvPr/>
          </p:nvSpPr>
          <p:spPr>
            <a:xfrm>
              <a:off x="-19396575" y="3773100"/>
              <a:ext cx="277275" cy="239450"/>
            </a:xfrm>
            <a:custGeom>
              <a:avLst/>
              <a:gdLst/>
              <a:ahLst/>
              <a:cxnLst/>
              <a:rect l="l" t="t" r="r" b="b"/>
              <a:pathLst>
                <a:path w="11091" h="9578" extrusionOk="0">
                  <a:moveTo>
                    <a:pt x="5073" y="6207"/>
                  </a:moveTo>
                  <a:lnTo>
                    <a:pt x="5073" y="6774"/>
                  </a:lnTo>
                  <a:lnTo>
                    <a:pt x="4380" y="6774"/>
                  </a:lnTo>
                  <a:lnTo>
                    <a:pt x="5073" y="6207"/>
                  </a:lnTo>
                  <a:close/>
                  <a:moveTo>
                    <a:pt x="6806" y="0"/>
                  </a:moveTo>
                  <a:lnTo>
                    <a:pt x="6806" y="0"/>
                  </a:lnTo>
                  <a:cubicBezTo>
                    <a:pt x="6711" y="662"/>
                    <a:pt x="6900" y="1355"/>
                    <a:pt x="7373" y="1891"/>
                  </a:cubicBezTo>
                  <a:lnTo>
                    <a:pt x="8759" y="3371"/>
                  </a:lnTo>
                  <a:cubicBezTo>
                    <a:pt x="8917" y="3623"/>
                    <a:pt x="8759" y="3938"/>
                    <a:pt x="8444" y="3938"/>
                  </a:cubicBezTo>
                  <a:lnTo>
                    <a:pt x="7814" y="3938"/>
                  </a:lnTo>
                  <a:cubicBezTo>
                    <a:pt x="7499" y="2552"/>
                    <a:pt x="6459" y="1450"/>
                    <a:pt x="5136" y="1166"/>
                  </a:cubicBezTo>
                  <a:cubicBezTo>
                    <a:pt x="4862" y="1101"/>
                    <a:pt x="4592" y="1070"/>
                    <a:pt x="4326" y="1070"/>
                  </a:cubicBezTo>
                  <a:cubicBezTo>
                    <a:pt x="3557" y="1070"/>
                    <a:pt x="2831" y="1335"/>
                    <a:pt x="2175" y="1828"/>
                  </a:cubicBezTo>
                  <a:cubicBezTo>
                    <a:pt x="1419" y="2426"/>
                    <a:pt x="946" y="3245"/>
                    <a:pt x="851" y="4159"/>
                  </a:cubicBezTo>
                  <a:cubicBezTo>
                    <a:pt x="1135" y="4001"/>
                    <a:pt x="1513" y="3907"/>
                    <a:pt x="1860" y="3907"/>
                  </a:cubicBezTo>
                  <a:lnTo>
                    <a:pt x="2238" y="3907"/>
                  </a:lnTo>
                  <a:cubicBezTo>
                    <a:pt x="2427" y="3088"/>
                    <a:pt x="3120" y="2489"/>
                    <a:pt x="4002" y="2489"/>
                  </a:cubicBezTo>
                  <a:lnTo>
                    <a:pt x="4695" y="2489"/>
                  </a:lnTo>
                  <a:cubicBezTo>
                    <a:pt x="4884" y="2489"/>
                    <a:pt x="5042" y="2647"/>
                    <a:pt x="5042" y="2867"/>
                  </a:cubicBezTo>
                  <a:cubicBezTo>
                    <a:pt x="5042" y="3056"/>
                    <a:pt x="4884" y="3214"/>
                    <a:pt x="4695" y="3214"/>
                  </a:cubicBezTo>
                  <a:lnTo>
                    <a:pt x="4002" y="3214"/>
                  </a:lnTo>
                  <a:cubicBezTo>
                    <a:pt x="3498" y="3214"/>
                    <a:pt x="3120" y="3529"/>
                    <a:pt x="2962" y="3907"/>
                  </a:cubicBezTo>
                  <a:lnTo>
                    <a:pt x="5420" y="3907"/>
                  </a:lnTo>
                  <a:cubicBezTo>
                    <a:pt x="5609" y="3907"/>
                    <a:pt x="5766" y="4064"/>
                    <a:pt x="5766" y="4285"/>
                  </a:cubicBezTo>
                  <a:cubicBezTo>
                    <a:pt x="5766" y="4474"/>
                    <a:pt x="5609" y="4632"/>
                    <a:pt x="5420" y="4632"/>
                  </a:cubicBezTo>
                  <a:lnTo>
                    <a:pt x="1828" y="4632"/>
                  </a:lnTo>
                  <a:cubicBezTo>
                    <a:pt x="883" y="4632"/>
                    <a:pt x="1" y="5388"/>
                    <a:pt x="64" y="6427"/>
                  </a:cubicBezTo>
                  <a:cubicBezTo>
                    <a:pt x="84" y="6633"/>
                    <a:pt x="239" y="6745"/>
                    <a:pt x="397" y="6745"/>
                  </a:cubicBezTo>
                  <a:cubicBezTo>
                    <a:pt x="481" y="6745"/>
                    <a:pt x="565" y="6713"/>
                    <a:pt x="631" y="6648"/>
                  </a:cubicBezTo>
                  <a:cubicBezTo>
                    <a:pt x="1041" y="6238"/>
                    <a:pt x="1576" y="6049"/>
                    <a:pt x="2143" y="6049"/>
                  </a:cubicBezTo>
                  <a:lnTo>
                    <a:pt x="4096" y="6049"/>
                  </a:lnTo>
                  <a:lnTo>
                    <a:pt x="3025" y="6837"/>
                  </a:lnTo>
                  <a:cubicBezTo>
                    <a:pt x="2773" y="7026"/>
                    <a:pt x="2931" y="7467"/>
                    <a:pt x="3246" y="7467"/>
                  </a:cubicBezTo>
                  <a:lnTo>
                    <a:pt x="5010" y="7467"/>
                  </a:lnTo>
                  <a:lnTo>
                    <a:pt x="5010" y="9231"/>
                  </a:lnTo>
                  <a:cubicBezTo>
                    <a:pt x="5010" y="9420"/>
                    <a:pt x="5168" y="9578"/>
                    <a:pt x="5357" y="9578"/>
                  </a:cubicBezTo>
                  <a:cubicBezTo>
                    <a:pt x="5577" y="9578"/>
                    <a:pt x="5735" y="9420"/>
                    <a:pt x="5735" y="9231"/>
                  </a:cubicBezTo>
                  <a:lnTo>
                    <a:pt x="5735" y="7467"/>
                  </a:lnTo>
                  <a:lnTo>
                    <a:pt x="6428" y="7467"/>
                  </a:lnTo>
                  <a:lnTo>
                    <a:pt x="6428" y="7814"/>
                  </a:lnTo>
                  <a:cubicBezTo>
                    <a:pt x="6428" y="8003"/>
                    <a:pt x="6585" y="8160"/>
                    <a:pt x="6774" y="8160"/>
                  </a:cubicBezTo>
                  <a:cubicBezTo>
                    <a:pt x="6995" y="8160"/>
                    <a:pt x="7152" y="8003"/>
                    <a:pt x="7152" y="7814"/>
                  </a:cubicBezTo>
                  <a:lnTo>
                    <a:pt x="7152" y="7120"/>
                  </a:lnTo>
                  <a:cubicBezTo>
                    <a:pt x="7152" y="6900"/>
                    <a:pt x="6995" y="6774"/>
                    <a:pt x="6774" y="6774"/>
                  </a:cubicBezTo>
                  <a:lnTo>
                    <a:pt x="5735" y="6774"/>
                  </a:lnTo>
                  <a:lnTo>
                    <a:pt x="5735" y="6049"/>
                  </a:lnTo>
                  <a:lnTo>
                    <a:pt x="8413" y="6049"/>
                  </a:lnTo>
                  <a:cubicBezTo>
                    <a:pt x="9295" y="6049"/>
                    <a:pt x="10177" y="5545"/>
                    <a:pt x="10587" y="4726"/>
                  </a:cubicBezTo>
                  <a:cubicBezTo>
                    <a:pt x="11091" y="3781"/>
                    <a:pt x="10902" y="2584"/>
                    <a:pt x="10208" y="1828"/>
                  </a:cubicBezTo>
                  <a:lnTo>
                    <a:pt x="9389" y="882"/>
                  </a:lnTo>
                  <a:cubicBezTo>
                    <a:pt x="9137" y="977"/>
                    <a:pt x="8917" y="1008"/>
                    <a:pt x="8633" y="1008"/>
                  </a:cubicBezTo>
                  <a:cubicBezTo>
                    <a:pt x="7846" y="1008"/>
                    <a:pt x="7184" y="567"/>
                    <a:pt x="68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5"/>
            <p:cNvSpPr/>
            <p:nvPr/>
          </p:nvSpPr>
          <p:spPr>
            <a:xfrm>
              <a:off x="-19140600" y="3727425"/>
              <a:ext cx="51225" cy="70550"/>
            </a:xfrm>
            <a:custGeom>
              <a:avLst/>
              <a:gdLst/>
              <a:ahLst/>
              <a:cxnLst/>
              <a:rect l="l" t="t" r="r" b="b"/>
              <a:pathLst>
                <a:path w="2049" h="2822" extrusionOk="0">
                  <a:moveTo>
                    <a:pt x="442" y="0"/>
                  </a:moveTo>
                  <a:lnTo>
                    <a:pt x="442" y="0"/>
                  </a:lnTo>
                  <a:cubicBezTo>
                    <a:pt x="505" y="252"/>
                    <a:pt x="568" y="441"/>
                    <a:pt x="568" y="725"/>
                  </a:cubicBezTo>
                  <a:cubicBezTo>
                    <a:pt x="568" y="1260"/>
                    <a:pt x="316" y="1764"/>
                    <a:pt x="1" y="2142"/>
                  </a:cubicBezTo>
                  <a:cubicBezTo>
                    <a:pt x="505" y="2174"/>
                    <a:pt x="1041" y="2363"/>
                    <a:pt x="1419" y="2709"/>
                  </a:cubicBezTo>
                  <a:cubicBezTo>
                    <a:pt x="1503" y="2793"/>
                    <a:pt x="1601" y="2821"/>
                    <a:pt x="1694" y="2821"/>
                  </a:cubicBezTo>
                  <a:cubicBezTo>
                    <a:pt x="1741" y="2821"/>
                    <a:pt x="1786" y="2814"/>
                    <a:pt x="1828" y="2804"/>
                  </a:cubicBezTo>
                  <a:cubicBezTo>
                    <a:pt x="1923" y="2741"/>
                    <a:pt x="2049" y="2615"/>
                    <a:pt x="2049" y="2489"/>
                  </a:cubicBezTo>
                  <a:lnTo>
                    <a:pt x="2049" y="1764"/>
                  </a:lnTo>
                  <a:cubicBezTo>
                    <a:pt x="2017" y="882"/>
                    <a:pt x="1293" y="126"/>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7" name="Google Shape;8457;p75"/>
          <p:cNvGrpSpPr/>
          <p:nvPr/>
        </p:nvGrpSpPr>
        <p:grpSpPr>
          <a:xfrm>
            <a:off x="3518457" y="2796461"/>
            <a:ext cx="465618" cy="450101"/>
            <a:chOff x="-19394200" y="4084200"/>
            <a:chExt cx="315075" cy="304575"/>
          </a:xfrm>
        </p:grpSpPr>
        <p:sp>
          <p:nvSpPr>
            <p:cNvPr id="8458" name="Google Shape;8458;p75"/>
            <p:cNvSpPr/>
            <p:nvPr/>
          </p:nvSpPr>
          <p:spPr>
            <a:xfrm>
              <a:off x="-19185475" y="4234650"/>
              <a:ext cx="40175" cy="28375"/>
            </a:xfrm>
            <a:custGeom>
              <a:avLst/>
              <a:gdLst/>
              <a:ahLst/>
              <a:cxnLst/>
              <a:rect l="l" t="t" r="r" b="b"/>
              <a:pathLst>
                <a:path w="1607" h="1135" extrusionOk="0">
                  <a:moveTo>
                    <a:pt x="1134" y="0"/>
                  </a:moveTo>
                  <a:lnTo>
                    <a:pt x="0" y="1134"/>
                  </a:lnTo>
                  <a:lnTo>
                    <a:pt x="1607" y="1134"/>
                  </a:lnTo>
                  <a:cubicBezTo>
                    <a:pt x="1575" y="756"/>
                    <a:pt x="1418" y="347"/>
                    <a:pt x="11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5"/>
            <p:cNvSpPr/>
            <p:nvPr/>
          </p:nvSpPr>
          <p:spPr>
            <a:xfrm>
              <a:off x="-19244550" y="4293725"/>
              <a:ext cx="28375" cy="39400"/>
            </a:xfrm>
            <a:custGeom>
              <a:avLst/>
              <a:gdLst/>
              <a:ahLst/>
              <a:cxnLst/>
              <a:rect l="l" t="t" r="r" b="b"/>
              <a:pathLst>
                <a:path w="1135" h="1576" extrusionOk="0">
                  <a:moveTo>
                    <a:pt x="1134" y="0"/>
                  </a:moveTo>
                  <a:lnTo>
                    <a:pt x="0" y="1134"/>
                  </a:lnTo>
                  <a:cubicBezTo>
                    <a:pt x="315" y="1386"/>
                    <a:pt x="693" y="1512"/>
                    <a:pt x="1134" y="1575"/>
                  </a:cubicBezTo>
                  <a:lnTo>
                    <a:pt x="11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5"/>
            <p:cNvSpPr/>
            <p:nvPr/>
          </p:nvSpPr>
          <p:spPr>
            <a:xfrm>
              <a:off x="-19280000" y="4201050"/>
              <a:ext cx="200875" cy="187725"/>
            </a:xfrm>
            <a:custGeom>
              <a:avLst/>
              <a:gdLst/>
              <a:ahLst/>
              <a:cxnLst/>
              <a:rect l="l" t="t" r="r" b="b"/>
              <a:pathLst>
                <a:path w="8035" h="7509" extrusionOk="0">
                  <a:moveTo>
                    <a:pt x="6410" y="1"/>
                  </a:moveTo>
                  <a:cubicBezTo>
                    <a:pt x="6316" y="1"/>
                    <a:pt x="6219" y="40"/>
                    <a:pt x="6144" y="115"/>
                  </a:cubicBezTo>
                  <a:lnTo>
                    <a:pt x="5388" y="872"/>
                  </a:lnTo>
                  <a:cubicBezTo>
                    <a:pt x="6459" y="2195"/>
                    <a:pt x="6302" y="4022"/>
                    <a:pt x="5136" y="5125"/>
                  </a:cubicBezTo>
                  <a:cubicBezTo>
                    <a:pt x="4533" y="5728"/>
                    <a:pt x="3723" y="6057"/>
                    <a:pt x="2891" y="6057"/>
                  </a:cubicBezTo>
                  <a:cubicBezTo>
                    <a:pt x="2201" y="6057"/>
                    <a:pt x="1497" y="5831"/>
                    <a:pt x="883" y="5345"/>
                  </a:cubicBezTo>
                  <a:lnTo>
                    <a:pt x="158" y="6101"/>
                  </a:lnTo>
                  <a:cubicBezTo>
                    <a:pt x="1" y="6259"/>
                    <a:pt x="1" y="6479"/>
                    <a:pt x="190" y="6637"/>
                  </a:cubicBezTo>
                  <a:cubicBezTo>
                    <a:pt x="991" y="7209"/>
                    <a:pt x="1954" y="7509"/>
                    <a:pt x="2924" y="7509"/>
                  </a:cubicBezTo>
                  <a:cubicBezTo>
                    <a:pt x="4090" y="7509"/>
                    <a:pt x="5264" y="7076"/>
                    <a:pt x="6176" y="6164"/>
                  </a:cubicBezTo>
                  <a:cubicBezTo>
                    <a:pt x="7877" y="4463"/>
                    <a:pt x="8034" y="2006"/>
                    <a:pt x="6680" y="147"/>
                  </a:cubicBezTo>
                  <a:cubicBezTo>
                    <a:pt x="6614" y="48"/>
                    <a:pt x="6513" y="1"/>
                    <a:pt x="6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5"/>
            <p:cNvSpPr/>
            <p:nvPr/>
          </p:nvSpPr>
          <p:spPr>
            <a:xfrm>
              <a:off x="-19197300" y="4293725"/>
              <a:ext cx="28375" cy="39400"/>
            </a:xfrm>
            <a:custGeom>
              <a:avLst/>
              <a:gdLst/>
              <a:ahLst/>
              <a:cxnLst/>
              <a:rect l="l" t="t" r="r" b="b"/>
              <a:pathLst>
                <a:path w="1135" h="1576" extrusionOk="0">
                  <a:moveTo>
                    <a:pt x="1" y="0"/>
                  </a:moveTo>
                  <a:lnTo>
                    <a:pt x="1" y="1575"/>
                  </a:lnTo>
                  <a:cubicBezTo>
                    <a:pt x="379" y="1512"/>
                    <a:pt x="788" y="1386"/>
                    <a:pt x="1135" y="1134"/>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5"/>
            <p:cNvSpPr/>
            <p:nvPr/>
          </p:nvSpPr>
          <p:spPr>
            <a:xfrm>
              <a:off x="-19394200" y="4084200"/>
              <a:ext cx="252850" cy="303275"/>
            </a:xfrm>
            <a:custGeom>
              <a:avLst/>
              <a:gdLst/>
              <a:ahLst/>
              <a:cxnLst/>
              <a:rect l="l" t="t" r="r" b="b"/>
              <a:pathLst>
                <a:path w="10114" h="12131" extrusionOk="0">
                  <a:moveTo>
                    <a:pt x="3938" y="1"/>
                  </a:moveTo>
                  <a:cubicBezTo>
                    <a:pt x="3718" y="1"/>
                    <a:pt x="3560" y="158"/>
                    <a:pt x="3560" y="347"/>
                  </a:cubicBezTo>
                  <a:cubicBezTo>
                    <a:pt x="3560" y="536"/>
                    <a:pt x="3718" y="694"/>
                    <a:pt x="3938" y="694"/>
                  </a:cubicBezTo>
                  <a:cubicBezTo>
                    <a:pt x="4411" y="694"/>
                    <a:pt x="4789" y="1040"/>
                    <a:pt x="4947" y="1481"/>
                  </a:cubicBezTo>
                  <a:cubicBezTo>
                    <a:pt x="2206" y="1670"/>
                    <a:pt x="0" y="4002"/>
                    <a:pt x="0" y="6806"/>
                  </a:cubicBezTo>
                  <a:cubicBezTo>
                    <a:pt x="0" y="9389"/>
                    <a:pt x="1922" y="11815"/>
                    <a:pt x="4758" y="12130"/>
                  </a:cubicBezTo>
                  <a:cubicBezTo>
                    <a:pt x="4411" y="11910"/>
                    <a:pt x="4033" y="11658"/>
                    <a:pt x="3718" y="11342"/>
                  </a:cubicBezTo>
                  <a:cubicBezTo>
                    <a:pt x="3560" y="11185"/>
                    <a:pt x="3560" y="10964"/>
                    <a:pt x="3718" y="10807"/>
                  </a:cubicBezTo>
                  <a:lnTo>
                    <a:pt x="10113" y="4411"/>
                  </a:lnTo>
                  <a:cubicBezTo>
                    <a:pt x="9231" y="2710"/>
                    <a:pt x="7593" y="1607"/>
                    <a:pt x="5671" y="1481"/>
                  </a:cubicBezTo>
                  <a:cubicBezTo>
                    <a:pt x="5514" y="662"/>
                    <a:pt x="4789"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5"/>
            <p:cNvSpPr/>
            <p:nvPr/>
          </p:nvSpPr>
          <p:spPr>
            <a:xfrm>
              <a:off x="-19185475" y="4281100"/>
              <a:ext cx="40175" cy="28400"/>
            </a:xfrm>
            <a:custGeom>
              <a:avLst/>
              <a:gdLst/>
              <a:ahLst/>
              <a:cxnLst/>
              <a:rect l="l" t="t" r="r" b="b"/>
              <a:pathLst>
                <a:path w="1607" h="1136" extrusionOk="0">
                  <a:moveTo>
                    <a:pt x="0" y="1"/>
                  </a:moveTo>
                  <a:lnTo>
                    <a:pt x="1134" y="1135"/>
                  </a:lnTo>
                  <a:cubicBezTo>
                    <a:pt x="1418" y="820"/>
                    <a:pt x="1575" y="41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4" name="Google Shape;8464;p75"/>
          <p:cNvGrpSpPr/>
          <p:nvPr/>
        </p:nvGrpSpPr>
        <p:grpSpPr>
          <a:xfrm>
            <a:off x="6324167" y="1689001"/>
            <a:ext cx="400447" cy="450470"/>
            <a:chOff x="-17526750" y="3309200"/>
            <a:chExt cx="270975" cy="304825"/>
          </a:xfrm>
        </p:grpSpPr>
        <p:sp>
          <p:nvSpPr>
            <p:cNvPr id="8465" name="Google Shape;8465;p75"/>
            <p:cNvSpPr/>
            <p:nvPr/>
          </p:nvSpPr>
          <p:spPr>
            <a:xfrm>
              <a:off x="-17507050" y="3452525"/>
              <a:ext cx="232375" cy="161500"/>
            </a:xfrm>
            <a:custGeom>
              <a:avLst/>
              <a:gdLst/>
              <a:ahLst/>
              <a:cxnLst/>
              <a:rect l="l" t="t" r="r" b="b"/>
              <a:pathLst>
                <a:path w="9295" h="6460" extrusionOk="0">
                  <a:moveTo>
                    <a:pt x="1765" y="725"/>
                  </a:moveTo>
                  <a:cubicBezTo>
                    <a:pt x="1954" y="725"/>
                    <a:pt x="2111" y="883"/>
                    <a:pt x="2111" y="1072"/>
                  </a:cubicBezTo>
                  <a:cubicBezTo>
                    <a:pt x="2111" y="1261"/>
                    <a:pt x="1954" y="1419"/>
                    <a:pt x="1765" y="1419"/>
                  </a:cubicBezTo>
                  <a:cubicBezTo>
                    <a:pt x="1575" y="1419"/>
                    <a:pt x="1418" y="1261"/>
                    <a:pt x="1418" y="1072"/>
                  </a:cubicBezTo>
                  <a:cubicBezTo>
                    <a:pt x="1418" y="883"/>
                    <a:pt x="1575" y="725"/>
                    <a:pt x="1765" y="725"/>
                  </a:cubicBezTo>
                  <a:close/>
                  <a:moveTo>
                    <a:pt x="3214" y="725"/>
                  </a:moveTo>
                  <a:cubicBezTo>
                    <a:pt x="3434" y="725"/>
                    <a:pt x="3592" y="883"/>
                    <a:pt x="3592" y="1072"/>
                  </a:cubicBezTo>
                  <a:cubicBezTo>
                    <a:pt x="3592" y="1261"/>
                    <a:pt x="3434" y="1419"/>
                    <a:pt x="3214" y="1419"/>
                  </a:cubicBezTo>
                  <a:cubicBezTo>
                    <a:pt x="3025" y="1419"/>
                    <a:pt x="2867" y="1261"/>
                    <a:pt x="2867" y="1072"/>
                  </a:cubicBezTo>
                  <a:cubicBezTo>
                    <a:pt x="2867" y="883"/>
                    <a:pt x="3025" y="725"/>
                    <a:pt x="3214" y="725"/>
                  </a:cubicBezTo>
                  <a:close/>
                  <a:moveTo>
                    <a:pt x="2521" y="1419"/>
                  </a:moveTo>
                  <a:cubicBezTo>
                    <a:pt x="2710" y="1419"/>
                    <a:pt x="2867" y="1576"/>
                    <a:pt x="2867" y="1797"/>
                  </a:cubicBezTo>
                  <a:cubicBezTo>
                    <a:pt x="2867" y="1986"/>
                    <a:pt x="2710" y="2143"/>
                    <a:pt x="2521" y="2143"/>
                  </a:cubicBezTo>
                  <a:cubicBezTo>
                    <a:pt x="2332" y="2143"/>
                    <a:pt x="2174" y="1986"/>
                    <a:pt x="2174" y="1797"/>
                  </a:cubicBezTo>
                  <a:cubicBezTo>
                    <a:pt x="2111" y="1576"/>
                    <a:pt x="2332" y="1419"/>
                    <a:pt x="2521" y="1419"/>
                  </a:cubicBezTo>
                  <a:close/>
                  <a:moveTo>
                    <a:pt x="32" y="1"/>
                  </a:moveTo>
                  <a:lnTo>
                    <a:pt x="32" y="127"/>
                  </a:lnTo>
                  <a:lnTo>
                    <a:pt x="0" y="127"/>
                  </a:lnTo>
                  <a:cubicBezTo>
                    <a:pt x="0" y="2962"/>
                    <a:pt x="1796" y="5514"/>
                    <a:pt x="4537" y="6428"/>
                  </a:cubicBezTo>
                  <a:cubicBezTo>
                    <a:pt x="4568" y="6428"/>
                    <a:pt x="4600" y="6459"/>
                    <a:pt x="4631" y="6459"/>
                  </a:cubicBezTo>
                  <a:cubicBezTo>
                    <a:pt x="4694" y="6459"/>
                    <a:pt x="4726" y="6459"/>
                    <a:pt x="4757" y="6428"/>
                  </a:cubicBezTo>
                  <a:cubicBezTo>
                    <a:pt x="7467" y="5514"/>
                    <a:pt x="9294" y="2962"/>
                    <a:pt x="9294" y="127"/>
                  </a:cubicBezTo>
                  <a:lnTo>
                    <a:pt x="9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5"/>
            <p:cNvSpPr/>
            <p:nvPr/>
          </p:nvSpPr>
          <p:spPr>
            <a:xfrm>
              <a:off x="-17417275" y="3309200"/>
              <a:ext cx="52800" cy="54350"/>
            </a:xfrm>
            <a:custGeom>
              <a:avLst/>
              <a:gdLst/>
              <a:ahLst/>
              <a:cxnLst/>
              <a:rect l="l" t="t" r="r" b="b"/>
              <a:pathLst>
                <a:path w="2112" h="2174" extrusionOk="0">
                  <a:moveTo>
                    <a:pt x="347" y="0"/>
                  </a:moveTo>
                  <a:cubicBezTo>
                    <a:pt x="158" y="0"/>
                    <a:pt x="1" y="158"/>
                    <a:pt x="1" y="347"/>
                  </a:cubicBezTo>
                  <a:lnTo>
                    <a:pt x="1" y="1103"/>
                  </a:lnTo>
                  <a:cubicBezTo>
                    <a:pt x="1" y="1701"/>
                    <a:pt x="473" y="2174"/>
                    <a:pt x="1040" y="2174"/>
                  </a:cubicBezTo>
                  <a:cubicBezTo>
                    <a:pt x="1639" y="2174"/>
                    <a:pt x="2112" y="1701"/>
                    <a:pt x="2112" y="1103"/>
                  </a:cubicBezTo>
                  <a:lnTo>
                    <a:pt x="2112" y="347"/>
                  </a:lnTo>
                  <a:cubicBezTo>
                    <a:pt x="2112"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5"/>
            <p:cNvSpPr/>
            <p:nvPr/>
          </p:nvSpPr>
          <p:spPr>
            <a:xfrm>
              <a:off x="-17456650" y="3369825"/>
              <a:ext cx="130775" cy="64625"/>
            </a:xfrm>
            <a:custGeom>
              <a:avLst/>
              <a:gdLst/>
              <a:ahLst/>
              <a:cxnLst/>
              <a:rect l="l" t="t" r="r" b="b"/>
              <a:pathLst>
                <a:path w="5231" h="2585" extrusionOk="0">
                  <a:moveTo>
                    <a:pt x="1450" y="1"/>
                  </a:moveTo>
                  <a:cubicBezTo>
                    <a:pt x="631" y="442"/>
                    <a:pt x="1" y="1419"/>
                    <a:pt x="158" y="2584"/>
                  </a:cubicBezTo>
                  <a:lnTo>
                    <a:pt x="5073" y="2584"/>
                  </a:lnTo>
                  <a:cubicBezTo>
                    <a:pt x="5230" y="1513"/>
                    <a:pt x="4663" y="473"/>
                    <a:pt x="3718" y="1"/>
                  </a:cubicBezTo>
                  <a:cubicBezTo>
                    <a:pt x="3403" y="284"/>
                    <a:pt x="3025" y="442"/>
                    <a:pt x="2584" y="442"/>
                  </a:cubicBezTo>
                  <a:cubicBezTo>
                    <a:pt x="2143" y="442"/>
                    <a:pt x="1765" y="284"/>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5"/>
            <p:cNvSpPr/>
            <p:nvPr/>
          </p:nvSpPr>
          <p:spPr>
            <a:xfrm>
              <a:off x="-17526750" y="3344625"/>
              <a:ext cx="95325" cy="89825"/>
            </a:xfrm>
            <a:custGeom>
              <a:avLst/>
              <a:gdLst/>
              <a:ahLst/>
              <a:cxnLst/>
              <a:rect l="l" t="t" r="r" b="b"/>
              <a:pathLst>
                <a:path w="3813" h="3593" extrusionOk="0">
                  <a:moveTo>
                    <a:pt x="3277" y="1"/>
                  </a:moveTo>
                  <a:cubicBezTo>
                    <a:pt x="1891" y="1"/>
                    <a:pt x="662" y="851"/>
                    <a:pt x="221" y="2175"/>
                  </a:cubicBezTo>
                  <a:cubicBezTo>
                    <a:pt x="1" y="2836"/>
                    <a:pt x="536" y="3529"/>
                    <a:pt x="1261" y="3529"/>
                  </a:cubicBezTo>
                  <a:lnTo>
                    <a:pt x="2231" y="3529"/>
                  </a:lnTo>
                  <a:cubicBezTo>
                    <a:pt x="2102" y="2170"/>
                    <a:pt x="2820" y="1000"/>
                    <a:pt x="3813" y="442"/>
                  </a:cubicBezTo>
                  <a:cubicBezTo>
                    <a:pt x="3750" y="316"/>
                    <a:pt x="3687" y="158"/>
                    <a:pt x="3655" y="1"/>
                  </a:cubicBezTo>
                  <a:close/>
                  <a:moveTo>
                    <a:pt x="2231" y="3529"/>
                  </a:moveTo>
                  <a:lnTo>
                    <a:pt x="2231" y="3529"/>
                  </a:lnTo>
                  <a:cubicBezTo>
                    <a:pt x="2233" y="3550"/>
                    <a:pt x="2235" y="3571"/>
                    <a:pt x="2237" y="3592"/>
                  </a:cubicBezTo>
                  <a:lnTo>
                    <a:pt x="2237" y="352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5"/>
            <p:cNvSpPr/>
            <p:nvPr/>
          </p:nvSpPr>
          <p:spPr>
            <a:xfrm>
              <a:off x="-17351900" y="3345425"/>
              <a:ext cx="96125" cy="89800"/>
            </a:xfrm>
            <a:custGeom>
              <a:avLst/>
              <a:gdLst/>
              <a:ahLst/>
              <a:cxnLst/>
              <a:rect l="l" t="t" r="r" b="b"/>
              <a:pathLst>
                <a:path w="3845" h="3592" extrusionOk="0">
                  <a:moveTo>
                    <a:pt x="158" y="0"/>
                  </a:moveTo>
                  <a:cubicBezTo>
                    <a:pt x="127" y="158"/>
                    <a:pt x="95" y="315"/>
                    <a:pt x="1" y="441"/>
                  </a:cubicBezTo>
                  <a:cubicBezTo>
                    <a:pt x="1103" y="1071"/>
                    <a:pt x="1734" y="2300"/>
                    <a:pt x="1576" y="3592"/>
                  </a:cubicBezTo>
                  <a:lnTo>
                    <a:pt x="2584" y="3592"/>
                  </a:lnTo>
                  <a:cubicBezTo>
                    <a:pt x="3309" y="3560"/>
                    <a:pt x="3844" y="2867"/>
                    <a:pt x="3592" y="2174"/>
                  </a:cubicBezTo>
                  <a:cubicBezTo>
                    <a:pt x="3151" y="882"/>
                    <a:pt x="1954"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0" name="Google Shape;8470;p75"/>
          <p:cNvGrpSpPr/>
          <p:nvPr/>
        </p:nvGrpSpPr>
        <p:grpSpPr>
          <a:xfrm>
            <a:off x="6300319" y="2244173"/>
            <a:ext cx="448143" cy="448143"/>
            <a:chOff x="-17542500" y="3684100"/>
            <a:chExt cx="303250" cy="303250"/>
          </a:xfrm>
        </p:grpSpPr>
        <p:sp>
          <p:nvSpPr>
            <p:cNvPr id="8471" name="Google Shape;8471;p75"/>
            <p:cNvSpPr/>
            <p:nvPr/>
          </p:nvSpPr>
          <p:spPr>
            <a:xfrm>
              <a:off x="-17542500" y="3863675"/>
              <a:ext cx="70900" cy="52800"/>
            </a:xfrm>
            <a:custGeom>
              <a:avLst/>
              <a:gdLst/>
              <a:ahLst/>
              <a:cxnLst/>
              <a:rect l="l" t="t" r="r" b="b"/>
              <a:pathLst>
                <a:path w="2836" h="2112" extrusionOk="0">
                  <a:moveTo>
                    <a:pt x="347" y="0"/>
                  </a:moveTo>
                  <a:cubicBezTo>
                    <a:pt x="158" y="0"/>
                    <a:pt x="1" y="158"/>
                    <a:pt x="1" y="347"/>
                  </a:cubicBezTo>
                  <a:lnTo>
                    <a:pt x="1" y="693"/>
                  </a:lnTo>
                  <a:cubicBezTo>
                    <a:pt x="1" y="1481"/>
                    <a:pt x="631" y="2111"/>
                    <a:pt x="1418" y="2111"/>
                  </a:cubicBezTo>
                  <a:cubicBezTo>
                    <a:pt x="2174" y="2111"/>
                    <a:pt x="2836" y="1481"/>
                    <a:pt x="2836" y="693"/>
                  </a:cubicBezTo>
                  <a:lnTo>
                    <a:pt x="2489" y="693"/>
                  </a:lnTo>
                  <a:cubicBezTo>
                    <a:pt x="2363" y="693"/>
                    <a:pt x="2237" y="693"/>
                    <a:pt x="2111" y="662"/>
                  </a:cubicBezTo>
                  <a:lnTo>
                    <a:pt x="2111" y="693"/>
                  </a:lnTo>
                  <a:cubicBezTo>
                    <a:pt x="2111" y="1103"/>
                    <a:pt x="1796" y="1418"/>
                    <a:pt x="1418" y="1418"/>
                  </a:cubicBezTo>
                  <a:cubicBezTo>
                    <a:pt x="1009" y="1418"/>
                    <a:pt x="694" y="1103"/>
                    <a:pt x="694" y="693"/>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2" name="Google Shape;8472;p75"/>
            <p:cNvSpPr/>
            <p:nvPr/>
          </p:nvSpPr>
          <p:spPr>
            <a:xfrm>
              <a:off x="-17488150" y="3881000"/>
              <a:ext cx="70900" cy="106350"/>
            </a:xfrm>
            <a:custGeom>
              <a:avLst/>
              <a:gdLst/>
              <a:ahLst/>
              <a:cxnLst/>
              <a:rect l="l" t="t" r="r" b="b"/>
              <a:pathLst>
                <a:path w="2836" h="4254" extrusionOk="0">
                  <a:moveTo>
                    <a:pt x="2111" y="0"/>
                  </a:moveTo>
                  <a:lnTo>
                    <a:pt x="2111" y="2836"/>
                  </a:lnTo>
                  <a:cubicBezTo>
                    <a:pt x="2111" y="3245"/>
                    <a:pt x="1796" y="3561"/>
                    <a:pt x="1418" y="3561"/>
                  </a:cubicBezTo>
                  <a:cubicBezTo>
                    <a:pt x="1009" y="3561"/>
                    <a:pt x="693" y="3245"/>
                    <a:pt x="693" y="2836"/>
                  </a:cubicBezTo>
                  <a:lnTo>
                    <a:pt x="693" y="2489"/>
                  </a:lnTo>
                  <a:cubicBezTo>
                    <a:pt x="693" y="2300"/>
                    <a:pt x="536" y="2143"/>
                    <a:pt x="347" y="2143"/>
                  </a:cubicBezTo>
                  <a:cubicBezTo>
                    <a:pt x="158" y="2143"/>
                    <a:pt x="0" y="2300"/>
                    <a:pt x="0" y="2489"/>
                  </a:cubicBezTo>
                  <a:lnTo>
                    <a:pt x="0" y="2836"/>
                  </a:lnTo>
                  <a:cubicBezTo>
                    <a:pt x="0" y="3624"/>
                    <a:pt x="630" y="4254"/>
                    <a:pt x="1418" y="4254"/>
                  </a:cubicBezTo>
                  <a:cubicBezTo>
                    <a:pt x="2206" y="4254"/>
                    <a:pt x="2836" y="3624"/>
                    <a:pt x="2836" y="2836"/>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3" name="Google Shape;8473;p75"/>
            <p:cNvSpPr/>
            <p:nvPr/>
          </p:nvSpPr>
          <p:spPr>
            <a:xfrm>
              <a:off x="-17310150" y="3863675"/>
              <a:ext cx="70900" cy="52800"/>
            </a:xfrm>
            <a:custGeom>
              <a:avLst/>
              <a:gdLst/>
              <a:ahLst/>
              <a:cxnLst/>
              <a:rect l="l" t="t" r="r" b="b"/>
              <a:pathLst>
                <a:path w="2836" h="2112" extrusionOk="0">
                  <a:moveTo>
                    <a:pt x="2489" y="0"/>
                  </a:moveTo>
                  <a:cubicBezTo>
                    <a:pt x="2269" y="0"/>
                    <a:pt x="2111" y="126"/>
                    <a:pt x="2111" y="347"/>
                  </a:cubicBezTo>
                  <a:lnTo>
                    <a:pt x="2111" y="693"/>
                  </a:lnTo>
                  <a:cubicBezTo>
                    <a:pt x="2111" y="1072"/>
                    <a:pt x="1796" y="1387"/>
                    <a:pt x="1418" y="1387"/>
                  </a:cubicBezTo>
                  <a:cubicBezTo>
                    <a:pt x="1009" y="1387"/>
                    <a:pt x="694" y="1072"/>
                    <a:pt x="694" y="693"/>
                  </a:cubicBezTo>
                  <a:lnTo>
                    <a:pt x="694" y="662"/>
                  </a:lnTo>
                  <a:cubicBezTo>
                    <a:pt x="599" y="693"/>
                    <a:pt x="473" y="693"/>
                    <a:pt x="347" y="693"/>
                  </a:cubicBezTo>
                  <a:lnTo>
                    <a:pt x="0" y="693"/>
                  </a:lnTo>
                  <a:cubicBezTo>
                    <a:pt x="0" y="1481"/>
                    <a:pt x="631" y="2111"/>
                    <a:pt x="1418" y="2111"/>
                  </a:cubicBezTo>
                  <a:cubicBezTo>
                    <a:pt x="2206" y="2111"/>
                    <a:pt x="2836" y="1481"/>
                    <a:pt x="2836" y="693"/>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5"/>
            <p:cNvSpPr/>
            <p:nvPr/>
          </p:nvSpPr>
          <p:spPr>
            <a:xfrm>
              <a:off x="-17364500" y="3881000"/>
              <a:ext cx="70925" cy="106350"/>
            </a:xfrm>
            <a:custGeom>
              <a:avLst/>
              <a:gdLst/>
              <a:ahLst/>
              <a:cxnLst/>
              <a:rect l="l" t="t" r="r" b="b"/>
              <a:pathLst>
                <a:path w="2837" h="4254" extrusionOk="0">
                  <a:moveTo>
                    <a:pt x="1" y="0"/>
                  </a:moveTo>
                  <a:lnTo>
                    <a:pt x="1" y="2836"/>
                  </a:lnTo>
                  <a:cubicBezTo>
                    <a:pt x="1" y="3624"/>
                    <a:pt x="631" y="4254"/>
                    <a:pt x="1418" y="4254"/>
                  </a:cubicBezTo>
                  <a:cubicBezTo>
                    <a:pt x="2206" y="4254"/>
                    <a:pt x="2836" y="3624"/>
                    <a:pt x="2836" y="2836"/>
                  </a:cubicBezTo>
                  <a:lnTo>
                    <a:pt x="2836" y="2489"/>
                  </a:lnTo>
                  <a:cubicBezTo>
                    <a:pt x="2836" y="2300"/>
                    <a:pt x="2710" y="2111"/>
                    <a:pt x="2490" y="2111"/>
                  </a:cubicBezTo>
                  <a:cubicBezTo>
                    <a:pt x="2301" y="2111"/>
                    <a:pt x="2143" y="2269"/>
                    <a:pt x="2143" y="2489"/>
                  </a:cubicBezTo>
                  <a:lnTo>
                    <a:pt x="2143" y="2836"/>
                  </a:lnTo>
                  <a:cubicBezTo>
                    <a:pt x="2143" y="3214"/>
                    <a:pt x="1828" y="3529"/>
                    <a:pt x="1418" y="3529"/>
                  </a:cubicBezTo>
                  <a:cubicBezTo>
                    <a:pt x="1040" y="3529"/>
                    <a:pt x="725" y="3214"/>
                    <a:pt x="725" y="2836"/>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5"/>
            <p:cNvSpPr/>
            <p:nvPr/>
          </p:nvSpPr>
          <p:spPr>
            <a:xfrm>
              <a:off x="-17505475" y="3845550"/>
              <a:ext cx="228425" cy="18150"/>
            </a:xfrm>
            <a:custGeom>
              <a:avLst/>
              <a:gdLst/>
              <a:ahLst/>
              <a:cxnLst/>
              <a:rect l="l" t="t" r="r" b="b"/>
              <a:pathLst>
                <a:path w="9137" h="726" extrusionOk="0">
                  <a:moveTo>
                    <a:pt x="0" y="1"/>
                  </a:moveTo>
                  <a:cubicBezTo>
                    <a:pt x="158" y="379"/>
                    <a:pt x="536" y="725"/>
                    <a:pt x="1008" y="725"/>
                  </a:cubicBezTo>
                  <a:lnTo>
                    <a:pt x="8129" y="725"/>
                  </a:lnTo>
                  <a:cubicBezTo>
                    <a:pt x="8601" y="725"/>
                    <a:pt x="8979" y="379"/>
                    <a:pt x="91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5"/>
            <p:cNvSpPr/>
            <p:nvPr/>
          </p:nvSpPr>
          <p:spPr>
            <a:xfrm>
              <a:off x="-17523600" y="3706925"/>
              <a:ext cx="265450" cy="121325"/>
            </a:xfrm>
            <a:custGeom>
              <a:avLst/>
              <a:gdLst/>
              <a:ahLst/>
              <a:cxnLst/>
              <a:rect l="l" t="t" r="r" b="b"/>
              <a:pathLst>
                <a:path w="10618" h="4853" extrusionOk="0">
                  <a:moveTo>
                    <a:pt x="2364" y="1"/>
                  </a:moveTo>
                  <a:cubicBezTo>
                    <a:pt x="1135" y="789"/>
                    <a:pt x="253" y="2080"/>
                    <a:pt x="32" y="3624"/>
                  </a:cubicBezTo>
                  <a:cubicBezTo>
                    <a:pt x="1" y="3939"/>
                    <a:pt x="64" y="4223"/>
                    <a:pt x="253" y="4443"/>
                  </a:cubicBezTo>
                  <a:cubicBezTo>
                    <a:pt x="473" y="4695"/>
                    <a:pt x="788" y="4853"/>
                    <a:pt x="1103" y="4853"/>
                  </a:cubicBezTo>
                  <a:lnTo>
                    <a:pt x="9515" y="4853"/>
                  </a:lnTo>
                  <a:cubicBezTo>
                    <a:pt x="9830" y="4853"/>
                    <a:pt x="10145" y="4695"/>
                    <a:pt x="10334" y="4443"/>
                  </a:cubicBezTo>
                  <a:cubicBezTo>
                    <a:pt x="10555" y="4223"/>
                    <a:pt x="10618" y="3908"/>
                    <a:pt x="10586" y="3624"/>
                  </a:cubicBezTo>
                  <a:cubicBezTo>
                    <a:pt x="10334" y="2080"/>
                    <a:pt x="9484" y="789"/>
                    <a:pt x="8255" y="1"/>
                  </a:cubicBezTo>
                  <a:cubicBezTo>
                    <a:pt x="7782" y="1135"/>
                    <a:pt x="6648" y="1954"/>
                    <a:pt x="5293" y="1954"/>
                  </a:cubicBezTo>
                  <a:cubicBezTo>
                    <a:pt x="4002" y="1954"/>
                    <a:pt x="2868" y="1167"/>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5"/>
            <p:cNvSpPr/>
            <p:nvPr/>
          </p:nvSpPr>
          <p:spPr>
            <a:xfrm>
              <a:off x="-17448775" y="3684100"/>
              <a:ext cx="115800" cy="52800"/>
            </a:xfrm>
            <a:custGeom>
              <a:avLst/>
              <a:gdLst/>
              <a:ahLst/>
              <a:cxnLst/>
              <a:rect l="l" t="t" r="r" b="b"/>
              <a:pathLst>
                <a:path w="4632" h="2112" extrusionOk="0">
                  <a:moveTo>
                    <a:pt x="2300" y="0"/>
                  </a:moveTo>
                  <a:cubicBezTo>
                    <a:pt x="1481" y="0"/>
                    <a:pt x="694" y="189"/>
                    <a:pt x="1" y="504"/>
                  </a:cubicBezTo>
                  <a:cubicBezTo>
                    <a:pt x="347" y="1513"/>
                    <a:pt x="1261" y="2111"/>
                    <a:pt x="2300" y="2111"/>
                  </a:cubicBezTo>
                  <a:cubicBezTo>
                    <a:pt x="3372" y="2111"/>
                    <a:pt x="4285" y="1450"/>
                    <a:pt x="4632" y="504"/>
                  </a:cubicBezTo>
                  <a:cubicBezTo>
                    <a:pt x="3939" y="158"/>
                    <a:pt x="3151"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8" name="Google Shape;8478;p75"/>
          <p:cNvGrpSpPr/>
          <p:nvPr/>
        </p:nvGrpSpPr>
        <p:grpSpPr>
          <a:xfrm>
            <a:off x="6299728" y="2810817"/>
            <a:ext cx="449325" cy="421395"/>
            <a:chOff x="-17542500" y="4068450"/>
            <a:chExt cx="304050" cy="285150"/>
          </a:xfrm>
        </p:grpSpPr>
        <p:sp>
          <p:nvSpPr>
            <p:cNvPr id="8479" name="Google Shape;8479;p75"/>
            <p:cNvSpPr/>
            <p:nvPr/>
          </p:nvSpPr>
          <p:spPr>
            <a:xfrm>
              <a:off x="-17519650" y="4281900"/>
              <a:ext cx="256000" cy="71700"/>
            </a:xfrm>
            <a:custGeom>
              <a:avLst/>
              <a:gdLst/>
              <a:ahLst/>
              <a:cxnLst/>
              <a:rect l="l" t="t" r="r" b="b"/>
              <a:pathLst>
                <a:path w="10240" h="2868" extrusionOk="0">
                  <a:moveTo>
                    <a:pt x="10239" y="0"/>
                  </a:moveTo>
                  <a:cubicBezTo>
                    <a:pt x="9546" y="32"/>
                    <a:pt x="9042" y="0"/>
                    <a:pt x="8223" y="536"/>
                  </a:cubicBezTo>
                  <a:cubicBezTo>
                    <a:pt x="7341" y="1135"/>
                    <a:pt x="6333" y="1450"/>
                    <a:pt x="5261" y="1450"/>
                  </a:cubicBezTo>
                  <a:lnTo>
                    <a:pt x="4978" y="1450"/>
                  </a:lnTo>
                  <a:cubicBezTo>
                    <a:pt x="3938" y="1450"/>
                    <a:pt x="2899" y="1135"/>
                    <a:pt x="2048" y="536"/>
                  </a:cubicBezTo>
                  <a:cubicBezTo>
                    <a:pt x="1197" y="0"/>
                    <a:pt x="693" y="63"/>
                    <a:pt x="0" y="0"/>
                  </a:cubicBezTo>
                  <a:lnTo>
                    <a:pt x="0" y="0"/>
                  </a:lnTo>
                  <a:cubicBezTo>
                    <a:pt x="1103" y="1733"/>
                    <a:pt x="3025" y="2867"/>
                    <a:pt x="5104" y="2867"/>
                  </a:cubicBezTo>
                  <a:cubicBezTo>
                    <a:pt x="7183" y="2867"/>
                    <a:pt x="9168" y="1765"/>
                    <a:pt x="10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5"/>
            <p:cNvSpPr/>
            <p:nvPr/>
          </p:nvSpPr>
          <p:spPr>
            <a:xfrm>
              <a:off x="-17542500" y="4166900"/>
              <a:ext cx="304050" cy="133925"/>
            </a:xfrm>
            <a:custGeom>
              <a:avLst/>
              <a:gdLst/>
              <a:ahLst/>
              <a:cxnLst/>
              <a:rect l="l" t="t" r="r" b="b"/>
              <a:pathLst>
                <a:path w="12162" h="5357" extrusionOk="0">
                  <a:moveTo>
                    <a:pt x="4632" y="2458"/>
                  </a:moveTo>
                  <a:cubicBezTo>
                    <a:pt x="4852" y="2458"/>
                    <a:pt x="5010" y="2616"/>
                    <a:pt x="5010" y="2836"/>
                  </a:cubicBezTo>
                  <a:cubicBezTo>
                    <a:pt x="5010" y="3025"/>
                    <a:pt x="4852" y="3183"/>
                    <a:pt x="4632" y="3183"/>
                  </a:cubicBezTo>
                  <a:cubicBezTo>
                    <a:pt x="4443" y="3183"/>
                    <a:pt x="4285" y="3025"/>
                    <a:pt x="4285" y="2836"/>
                  </a:cubicBezTo>
                  <a:cubicBezTo>
                    <a:pt x="4285" y="2616"/>
                    <a:pt x="4443" y="2458"/>
                    <a:pt x="4632" y="2458"/>
                  </a:cubicBezTo>
                  <a:close/>
                  <a:moveTo>
                    <a:pt x="7467" y="2458"/>
                  </a:moveTo>
                  <a:cubicBezTo>
                    <a:pt x="7688" y="2458"/>
                    <a:pt x="7845" y="2616"/>
                    <a:pt x="7845" y="2836"/>
                  </a:cubicBezTo>
                  <a:cubicBezTo>
                    <a:pt x="7845" y="3025"/>
                    <a:pt x="7688" y="3183"/>
                    <a:pt x="7467" y="3183"/>
                  </a:cubicBezTo>
                  <a:cubicBezTo>
                    <a:pt x="7278" y="3183"/>
                    <a:pt x="7121" y="3025"/>
                    <a:pt x="7121" y="2836"/>
                  </a:cubicBezTo>
                  <a:cubicBezTo>
                    <a:pt x="7121" y="2616"/>
                    <a:pt x="7278" y="2458"/>
                    <a:pt x="7467" y="2458"/>
                  </a:cubicBezTo>
                  <a:close/>
                  <a:moveTo>
                    <a:pt x="6049" y="1"/>
                  </a:moveTo>
                  <a:cubicBezTo>
                    <a:pt x="5545" y="1040"/>
                    <a:pt x="4443" y="1765"/>
                    <a:pt x="3214" y="1765"/>
                  </a:cubicBezTo>
                  <a:cubicBezTo>
                    <a:pt x="2174" y="1765"/>
                    <a:pt x="1261" y="1261"/>
                    <a:pt x="662" y="473"/>
                  </a:cubicBezTo>
                  <a:cubicBezTo>
                    <a:pt x="221" y="1166"/>
                    <a:pt x="1" y="1986"/>
                    <a:pt x="1" y="2836"/>
                  </a:cubicBezTo>
                  <a:cubicBezTo>
                    <a:pt x="1" y="3403"/>
                    <a:pt x="473" y="3876"/>
                    <a:pt x="1072" y="3876"/>
                  </a:cubicBezTo>
                  <a:cubicBezTo>
                    <a:pt x="1891" y="3876"/>
                    <a:pt x="2647" y="4033"/>
                    <a:pt x="3372" y="4569"/>
                  </a:cubicBezTo>
                  <a:cubicBezTo>
                    <a:pt x="4128" y="5073"/>
                    <a:pt x="5041" y="5357"/>
                    <a:pt x="5955" y="5357"/>
                  </a:cubicBezTo>
                  <a:lnTo>
                    <a:pt x="6207" y="5357"/>
                  </a:lnTo>
                  <a:cubicBezTo>
                    <a:pt x="7121" y="5357"/>
                    <a:pt x="8034" y="5073"/>
                    <a:pt x="8790" y="4569"/>
                  </a:cubicBezTo>
                  <a:cubicBezTo>
                    <a:pt x="9515" y="4033"/>
                    <a:pt x="10271" y="3876"/>
                    <a:pt x="11090" y="3876"/>
                  </a:cubicBezTo>
                  <a:cubicBezTo>
                    <a:pt x="11689" y="3876"/>
                    <a:pt x="12161" y="3403"/>
                    <a:pt x="12161" y="2836"/>
                  </a:cubicBezTo>
                  <a:cubicBezTo>
                    <a:pt x="12130" y="1954"/>
                    <a:pt x="11878" y="1166"/>
                    <a:pt x="11468" y="473"/>
                  </a:cubicBezTo>
                  <a:cubicBezTo>
                    <a:pt x="10870" y="1261"/>
                    <a:pt x="9956" y="1765"/>
                    <a:pt x="8885" y="1765"/>
                  </a:cubicBezTo>
                  <a:cubicBezTo>
                    <a:pt x="7625" y="1765"/>
                    <a:pt x="6585" y="1040"/>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5"/>
            <p:cNvSpPr/>
            <p:nvPr/>
          </p:nvSpPr>
          <p:spPr>
            <a:xfrm>
              <a:off x="-17329050" y="4121225"/>
              <a:ext cx="18125" cy="18150"/>
            </a:xfrm>
            <a:custGeom>
              <a:avLst/>
              <a:gdLst/>
              <a:ahLst/>
              <a:cxnLst/>
              <a:rect l="l" t="t" r="r" b="b"/>
              <a:pathLst>
                <a:path w="725" h="726" extrusionOk="0">
                  <a:moveTo>
                    <a:pt x="347" y="0"/>
                  </a:moveTo>
                  <a:cubicBezTo>
                    <a:pt x="158" y="0"/>
                    <a:pt x="0" y="158"/>
                    <a:pt x="0" y="347"/>
                  </a:cubicBezTo>
                  <a:cubicBezTo>
                    <a:pt x="0" y="568"/>
                    <a:pt x="158" y="725"/>
                    <a:pt x="347" y="725"/>
                  </a:cubicBezTo>
                  <a:cubicBezTo>
                    <a:pt x="567" y="725"/>
                    <a:pt x="725" y="568"/>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5"/>
            <p:cNvSpPr/>
            <p:nvPr/>
          </p:nvSpPr>
          <p:spPr>
            <a:xfrm>
              <a:off x="-17381825" y="4068450"/>
              <a:ext cx="123675" cy="123675"/>
            </a:xfrm>
            <a:custGeom>
              <a:avLst/>
              <a:gdLst/>
              <a:ahLst/>
              <a:cxnLst/>
              <a:rect l="l" t="t" r="r" b="b"/>
              <a:pathLst>
                <a:path w="4947" h="4947" extrusionOk="0">
                  <a:moveTo>
                    <a:pt x="2458" y="1418"/>
                  </a:moveTo>
                  <a:cubicBezTo>
                    <a:pt x="3057" y="1418"/>
                    <a:pt x="3529" y="1891"/>
                    <a:pt x="3529" y="2458"/>
                  </a:cubicBezTo>
                  <a:cubicBezTo>
                    <a:pt x="3529" y="3057"/>
                    <a:pt x="3057" y="3529"/>
                    <a:pt x="2458" y="3529"/>
                  </a:cubicBezTo>
                  <a:cubicBezTo>
                    <a:pt x="1891" y="3529"/>
                    <a:pt x="1418" y="3057"/>
                    <a:pt x="1418" y="2458"/>
                  </a:cubicBezTo>
                  <a:cubicBezTo>
                    <a:pt x="1418" y="1891"/>
                    <a:pt x="1891" y="1418"/>
                    <a:pt x="2458" y="1418"/>
                  </a:cubicBezTo>
                  <a:close/>
                  <a:moveTo>
                    <a:pt x="2458" y="1"/>
                  </a:moveTo>
                  <a:cubicBezTo>
                    <a:pt x="1103" y="1"/>
                    <a:pt x="1" y="1103"/>
                    <a:pt x="1" y="2458"/>
                  </a:cubicBezTo>
                  <a:cubicBezTo>
                    <a:pt x="1" y="3844"/>
                    <a:pt x="1103" y="4947"/>
                    <a:pt x="2458" y="4947"/>
                  </a:cubicBezTo>
                  <a:cubicBezTo>
                    <a:pt x="3844" y="4947"/>
                    <a:pt x="4947" y="3844"/>
                    <a:pt x="4947" y="2458"/>
                  </a:cubicBezTo>
                  <a:cubicBezTo>
                    <a:pt x="4947" y="1103"/>
                    <a:pt x="384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5"/>
            <p:cNvSpPr/>
            <p:nvPr/>
          </p:nvSpPr>
          <p:spPr>
            <a:xfrm>
              <a:off x="-17471625" y="4121225"/>
              <a:ext cx="17375" cy="18150"/>
            </a:xfrm>
            <a:custGeom>
              <a:avLst/>
              <a:gdLst/>
              <a:ahLst/>
              <a:cxnLst/>
              <a:rect l="l" t="t" r="r" b="b"/>
              <a:pathLst>
                <a:path w="695" h="726" extrusionOk="0">
                  <a:moveTo>
                    <a:pt x="348" y="0"/>
                  </a:moveTo>
                  <a:cubicBezTo>
                    <a:pt x="158" y="0"/>
                    <a:pt x="1" y="158"/>
                    <a:pt x="1" y="347"/>
                  </a:cubicBezTo>
                  <a:cubicBezTo>
                    <a:pt x="1" y="568"/>
                    <a:pt x="158" y="725"/>
                    <a:pt x="348" y="725"/>
                  </a:cubicBezTo>
                  <a:cubicBezTo>
                    <a:pt x="537" y="725"/>
                    <a:pt x="694" y="568"/>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5"/>
            <p:cNvSpPr/>
            <p:nvPr/>
          </p:nvSpPr>
          <p:spPr>
            <a:xfrm>
              <a:off x="-17525175" y="4068450"/>
              <a:ext cx="124475" cy="123675"/>
            </a:xfrm>
            <a:custGeom>
              <a:avLst/>
              <a:gdLst/>
              <a:ahLst/>
              <a:cxnLst/>
              <a:rect l="l" t="t" r="r" b="b"/>
              <a:pathLst>
                <a:path w="4979" h="4947" extrusionOk="0">
                  <a:moveTo>
                    <a:pt x="2490" y="1418"/>
                  </a:moveTo>
                  <a:cubicBezTo>
                    <a:pt x="3088" y="1418"/>
                    <a:pt x="3561" y="1891"/>
                    <a:pt x="3561" y="2458"/>
                  </a:cubicBezTo>
                  <a:cubicBezTo>
                    <a:pt x="3561" y="3057"/>
                    <a:pt x="3088" y="3529"/>
                    <a:pt x="2490" y="3529"/>
                  </a:cubicBezTo>
                  <a:cubicBezTo>
                    <a:pt x="1891" y="3529"/>
                    <a:pt x="1418" y="3057"/>
                    <a:pt x="1418" y="2458"/>
                  </a:cubicBezTo>
                  <a:cubicBezTo>
                    <a:pt x="1418" y="1891"/>
                    <a:pt x="1891" y="1418"/>
                    <a:pt x="2490" y="1418"/>
                  </a:cubicBezTo>
                  <a:close/>
                  <a:moveTo>
                    <a:pt x="2490" y="1"/>
                  </a:moveTo>
                  <a:cubicBezTo>
                    <a:pt x="1103" y="1"/>
                    <a:pt x="1" y="1103"/>
                    <a:pt x="1" y="2458"/>
                  </a:cubicBezTo>
                  <a:cubicBezTo>
                    <a:pt x="1" y="3844"/>
                    <a:pt x="1103" y="4947"/>
                    <a:pt x="2490" y="4947"/>
                  </a:cubicBezTo>
                  <a:cubicBezTo>
                    <a:pt x="3876" y="4947"/>
                    <a:pt x="4978" y="3844"/>
                    <a:pt x="4978" y="2458"/>
                  </a:cubicBezTo>
                  <a:cubicBezTo>
                    <a:pt x="4978" y="1103"/>
                    <a:pt x="387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5" name="Google Shape;8485;p75"/>
          <p:cNvGrpSpPr/>
          <p:nvPr/>
        </p:nvGrpSpPr>
        <p:grpSpPr>
          <a:xfrm>
            <a:off x="3530150" y="3342211"/>
            <a:ext cx="343404" cy="449325"/>
            <a:chOff x="-15652200" y="3335975"/>
            <a:chExt cx="232375" cy="304050"/>
          </a:xfrm>
        </p:grpSpPr>
        <p:sp>
          <p:nvSpPr>
            <p:cNvPr id="8486" name="Google Shape;8486;p75"/>
            <p:cNvSpPr/>
            <p:nvPr/>
          </p:nvSpPr>
          <p:spPr>
            <a:xfrm>
              <a:off x="-15652200" y="3403700"/>
              <a:ext cx="36250" cy="168575"/>
            </a:xfrm>
            <a:custGeom>
              <a:avLst/>
              <a:gdLst/>
              <a:ahLst/>
              <a:cxnLst/>
              <a:rect l="l" t="t" r="r" b="b"/>
              <a:pathLst>
                <a:path w="1450" h="6743" extrusionOk="0">
                  <a:moveTo>
                    <a:pt x="0" y="1"/>
                  </a:moveTo>
                  <a:lnTo>
                    <a:pt x="0" y="6743"/>
                  </a:lnTo>
                  <a:lnTo>
                    <a:pt x="1450" y="6018"/>
                  </a:lnTo>
                  <a:lnTo>
                    <a:pt x="1450" y="694"/>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5"/>
            <p:cNvSpPr/>
            <p:nvPr/>
          </p:nvSpPr>
          <p:spPr>
            <a:xfrm>
              <a:off x="-15455300" y="3403700"/>
              <a:ext cx="35475" cy="168575"/>
            </a:xfrm>
            <a:custGeom>
              <a:avLst/>
              <a:gdLst/>
              <a:ahLst/>
              <a:cxnLst/>
              <a:rect l="l" t="t" r="r" b="b"/>
              <a:pathLst>
                <a:path w="1419" h="6743" extrusionOk="0">
                  <a:moveTo>
                    <a:pt x="1418" y="1"/>
                  </a:moveTo>
                  <a:lnTo>
                    <a:pt x="1" y="694"/>
                  </a:lnTo>
                  <a:lnTo>
                    <a:pt x="1" y="6018"/>
                  </a:lnTo>
                  <a:lnTo>
                    <a:pt x="1418" y="6743"/>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5"/>
            <p:cNvSpPr/>
            <p:nvPr/>
          </p:nvSpPr>
          <p:spPr>
            <a:xfrm>
              <a:off x="-15644325" y="3570675"/>
              <a:ext cx="62250" cy="62250"/>
            </a:xfrm>
            <a:custGeom>
              <a:avLst/>
              <a:gdLst/>
              <a:ahLst/>
              <a:cxnLst/>
              <a:rect l="l" t="t" r="r" b="b"/>
              <a:pathLst>
                <a:path w="2490" h="2490" extrusionOk="0">
                  <a:moveTo>
                    <a:pt x="1418" y="1"/>
                  </a:moveTo>
                  <a:lnTo>
                    <a:pt x="0" y="725"/>
                  </a:lnTo>
                  <a:lnTo>
                    <a:pt x="1765" y="2489"/>
                  </a:lnTo>
                  <a:lnTo>
                    <a:pt x="2489" y="1072"/>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5"/>
            <p:cNvSpPr/>
            <p:nvPr/>
          </p:nvSpPr>
          <p:spPr>
            <a:xfrm>
              <a:off x="-15489950" y="3570675"/>
              <a:ext cx="63025" cy="62250"/>
            </a:xfrm>
            <a:custGeom>
              <a:avLst/>
              <a:gdLst/>
              <a:ahLst/>
              <a:cxnLst/>
              <a:rect l="l" t="t" r="r" b="b"/>
              <a:pathLst>
                <a:path w="2521" h="2490" extrusionOk="0">
                  <a:moveTo>
                    <a:pt x="1072" y="1"/>
                  </a:moveTo>
                  <a:lnTo>
                    <a:pt x="0" y="1072"/>
                  </a:lnTo>
                  <a:lnTo>
                    <a:pt x="725" y="2489"/>
                  </a:lnTo>
                  <a:lnTo>
                    <a:pt x="2521" y="725"/>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5"/>
            <p:cNvSpPr/>
            <p:nvPr/>
          </p:nvSpPr>
          <p:spPr>
            <a:xfrm>
              <a:off x="-15644325" y="3342275"/>
              <a:ext cx="62250" cy="63025"/>
            </a:xfrm>
            <a:custGeom>
              <a:avLst/>
              <a:gdLst/>
              <a:ahLst/>
              <a:cxnLst/>
              <a:rect l="l" t="t" r="r" b="b"/>
              <a:pathLst>
                <a:path w="2490" h="2521" extrusionOk="0">
                  <a:moveTo>
                    <a:pt x="1765" y="0"/>
                  </a:moveTo>
                  <a:lnTo>
                    <a:pt x="0" y="1827"/>
                  </a:lnTo>
                  <a:lnTo>
                    <a:pt x="1418" y="2521"/>
                  </a:lnTo>
                  <a:lnTo>
                    <a:pt x="2489" y="1481"/>
                  </a:ln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5"/>
            <p:cNvSpPr/>
            <p:nvPr/>
          </p:nvSpPr>
          <p:spPr>
            <a:xfrm>
              <a:off x="-15489950" y="3342275"/>
              <a:ext cx="63025" cy="63025"/>
            </a:xfrm>
            <a:custGeom>
              <a:avLst/>
              <a:gdLst/>
              <a:ahLst/>
              <a:cxnLst/>
              <a:rect l="l" t="t" r="r" b="b"/>
              <a:pathLst>
                <a:path w="2521" h="2521" extrusionOk="0">
                  <a:moveTo>
                    <a:pt x="725" y="0"/>
                  </a:moveTo>
                  <a:lnTo>
                    <a:pt x="0" y="1481"/>
                  </a:lnTo>
                  <a:lnTo>
                    <a:pt x="1072" y="2521"/>
                  </a:lnTo>
                  <a:lnTo>
                    <a:pt x="2521" y="182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5"/>
            <p:cNvSpPr/>
            <p:nvPr/>
          </p:nvSpPr>
          <p:spPr>
            <a:xfrm>
              <a:off x="-15584475" y="3604550"/>
              <a:ext cx="96900" cy="35475"/>
            </a:xfrm>
            <a:custGeom>
              <a:avLst/>
              <a:gdLst/>
              <a:ahLst/>
              <a:cxnLst/>
              <a:rect l="l" t="t" r="r" b="b"/>
              <a:pathLst>
                <a:path w="3876" h="1419" extrusionOk="0">
                  <a:moveTo>
                    <a:pt x="725" y="0"/>
                  </a:moveTo>
                  <a:lnTo>
                    <a:pt x="1" y="1418"/>
                  </a:lnTo>
                  <a:lnTo>
                    <a:pt x="3876" y="1418"/>
                  </a:ln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5"/>
            <p:cNvSpPr/>
            <p:nvPr/>
          </p:nvSpPr>
          <p:spPr>
            <a:xfrm>
              <a:off x="-15584475" y="3335975"/>
              <a:ext cx="96900" cy="35450"/>
            </a:xfrm>
            <a:custGeom>
              <a:avLst/>
              <a:gdLst/>
              <a:ahLst/>
              <a:cxnLst/>
              <a:rect l="l" t="t" r="r" b="b"/>
              <a:pathLst>
                <a:path w="3876" h="1418" extrusionOk="0">
                  <a:moveTo>
                    <a:pt x="1" y="0"/>
                  </a:moveTo>
                  <a:lnTo>
                    <a:pt x="725" y="1418"/>
                  </a:lnTo>
                  <a:lnTo>
                    <a:pt x="3151" y="1418"/>
                  </a:lnTo>
                  <a:lnTo>
                    <a:pt x="38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5"/>
            <p:cNvSpPr/>
            <p:nvPr/>
          </p:nvSpPr>
          <p:spPr>
            <a:xfrm>
              <a:off x="-15597850" y="3388725"/>
              <a:ext cx="124450" cy="197725"/>
            </a:xfrm>
            <a:custGeom>
              <a:avLst/>
              <a:gdLst/>
              <a:ahLst/>
              <a:cxnLst/>
              <a:rect l="l" t="t" r="r" b="b"/>
              <a:pathLst>
                <a:path w="4978" h="7909" extrusionOk="0">
                  <a:moveTo>
                    <a:pt x="1197" y="1"/>
                  </a:moveTo>
                  <a:lnTo>
                    <a:pt x="1197" y="33"/>
                  </a:lnTo>
                  <a:lnTo>
                    <a:pt x="0" y="1261"/>
                  </a:lnTo>
                  <a:lnTo>
                    <a:pt x="0" y="6712"/>
                  </a:lnTo>
                  <a:lnTo>
                    <a:pt x="1197" y="7909"/>
                  </a:lnTo>
                  <a:lnTo>
                    <a:pt x="3781" y="7909"/>
                  </a:lnTo>
                  <a:lnTo>
                    <a:pt x="4978" y="6712"/>
                  </a:lnTo>
                  <a:lnTo>
                    <a:pt x="4978" y="1230"/>
                  </a:lnTo>
                  <a:lnTo>
                    <a:pt x="37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5" name="Google Shape;8495;p75"/>
          <p:cNvGrpSpPr/>
          <p:nvPr/>
        </p:nvGrpSpPr>
        <p:grpSpPr>
          <a:xfrm>
            <a:off x="1304064" y="2243729"/>
            <a:ext cx="449325" cy="449030"/>
            <a:chOff x="-20945825" y="3692175"/>
            <a:chExt cx="304050" cy="303850"/>
          </a:xfrm>
        </p:grpSpPr>
        <p:sp>
          <p:nvSpPr>
            <p:cNvPr id="8496" name="Google Shape;8496;p75"/>
            <p:cNvSpPr/>
            <p:nvPr/>
          </p:nvSpPr>
          <p:spPr>
            <a:xfrm>
              <a:off x="-20841850" y="3692175"/>
              <a:ext cx="92950" cy="89600"/>
            </a:xfrm>
            <a:custGeom>
              <a:avLst/>
              <a:gdLst/>
              <a:ahLst/>
              <a:cxnLst/>
              <a:rect l="l" t="t" r="r" b="b"/>
              <a:pathLst>
                <a:path w="3718" h="3584" extrusionOk="0">
                  <a:moveTo>
                    <a:pt x="410" y="0"/>
                  </a:moveTo>
                  <a:cubicBezTo>
                    <a:pt x="323" y="0"/>
                    <a:pt x="237" y="40"/>
                    <a:pt x="158" y="118"/>
                  </a:cubicBezTo>
                  <a:cubicBezTo>
                    <a:pt x="0" y="276"/>
                    <a:pt x="0" y="465"/>
                    <a:pt x="158" y="622"/>
                  </a:cubicBezTo>
                  <a:lnTo>
                    <a:pt x="819" y="1221"/>
                  </a:lnTo>
                  <a:cubicBezTo>
                    <a:pt x="630" y="1442"/>
                    <a:pt x="473" y="1788"/>
                    <a:pt x="473" y="2166"/>
                  </a:cubicBezTo>
                  <a:cubicBezTo>
                    <a:pt x="473" y="2954"/>
                    <a:pt x="1103" y="3584"/>
                    <a:pt x="1891" y="3584"/>
                  </a:cubicBezTo>
                  <a:cubicBezTo>
                    <a:pt x="2678" y="3584"/>
                    <a:pt x="3308" y="2954"/>
                    <a:pt x="3308" y="2166"/>
                  </a:cubicBezTo>
                  <a:cubicBezTo>
                    <a:pt x="3308" y="1788"/>
                    <a:pt x="3182" y="1473"/>
                    <a:pt x="2962" y="1221"/>
                  </a:cubicBezTo>
                  <a:lnTo>
                    <a:pt x="3560" y="622"/>
                  </a:lnTo>
                  <a:cubicBezTo>
                    <a:pt x="3718" y="465"/>
                    <a:pt x="3718" y="276"/>
                    <a:pt x="3560" y="118"/>
                  </a:cubicBezTo>
                  <a:cubicBezTo>
                    <a:pt x="3482" y="40"/>
                    <a:pt x="3387" y="0"/>
                    <a:pt x="3293" y="0"/>
                  </a:cubicBezTo>
                  <a:cubicBezTo>
                    <a:pt x="3198" y="0"/>
                    <a:pt x="3103" y="40"/>
                    <a:pt x="3025" y="118"/>
                  </a:cubicBezTo>
                  <a:lnTo>
                    <a:pt x="2332" y="811"/>
                  </a:lnTo>
                  <a:cubicBezTo>
                    <a:pt x="2174" y="780"/>
                    <a:pt x="2017" y="748"/>
                    <a:pt x="1859" y="748"/>
                  </a:cubicBezTo>
                  <a:cubicBezTo>
                    <a:pt x="1702" y="748"/>
                    <a:pt x="1544" y="780"/>
                    <a:pt x="1386" y="811"/>
                  </a:cubicBezTo>
                  <a:lnTo>
                    <a:pt x="662" y="118"/>
                  </a:lnTo>
                  <a:cubicBezTo>
                    <a:pt x="583" y="40"/>
                    <a:pt x="496"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7" name="Google Shape;8497;p75"/>
            <p:cNvSpPr/>
            <p:nvPr/>
          </p:nvSpPr>
          <p:spPr>
            <a:xfrm>
              <a:off x="-20945825" y="3746325"/>
              <a:ext cx="304050" cy="70900"/>
            </a:xfrm>
            <a:custGeom>
              <a:avLst/>
              <a:gdLst/>
              <a:ahLst/>
              <a:cxnLst/>
              <a:rect l="l" t="t" r="r" b="b"/>
              <a:pathLst>
                <a:path w="12162" h="2836" extrusionOk="0">
                  <a:moveTo>
                    <a:pt x="1072" y="0"/>
                  </a:moveTo>
                  <a:cubicBezTo>
                    <a:pt x="473" y="0"/>
                    <a:pt x="1" y="473"/>
                    <a:pt x="1" y="1071"/>
                  </a:cubicBezTo>
                  <a:lnTo>
                    <a:pt x="1" y="1953"/>
                  </a:lnTo>
                  <a:cubicBezTo>
                    <a:pt x="1" y="2426"/>
                    <a:pt x="379" y="2836"/>
                    <a:pt x="851" y="2836"/>
                  </a:cubicBezTo>
                  <a:lnTo>
                    <a:pt x="11311" y="2836"/>
                  </a:lnTo>
                  <a:cubicBezTo>
                    <a:pt x="11783" y="2836"/>
                    <a:pt x="12162" y="2426"/>
                    <a:pt x="12162" y="1953"/>
                  </a:cubicBezTo>
                  <a:lnTo>
                    <a:pt x="12162" y="1071"/>
                  </a:lnTo>
                  <a:cubicBezTo>
                    <a:pt x="12162" y="473"/>
                    <a:pt x="11657" y="0"/>
                    <a:pt x="11059" y="0"/>
                  </a:cubicBezTo>
                  <a:cubicBezTo>
                    <a:pt x="9988" y="0"/>
                    <a:pt x="8916" y="284"/>
                    <a:pt x="8034" y="819"/>
                  </a:cubicBezTo>
                  <a:cubicBezTo>
                    <a:pt x="7719" y="1607"/>
                    <a:pt x="6932" y="2174"/>
                    <a:pt x="6050" y="2174"/>
                  </a:cubicBezTo>
                  <a:cubicBezTo>
                    <a:pt x="5136" y="2174"/>
                    <a:pt x="4411" y="1607"/>
                    <a:pt x="4096" y="819"/>
                  </a:cubicBezTo>
                  <a:cubicBezTo>
                    <a:pt x="3183" y="315"/>
                    <a:pt x="211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8" name="Google Shape;8498;p75"/>
            <p:cNvSpPr/>
            <p:nvPr/>
          </p:nvSpPr>
          <p:spPr>
            <a:xfrm>
              <a:off x="-20814300" y="3864450"/>
              <a:ext cx="39425" cy="131575"/>
            </a:xfrm>
            <a:custGeom>
              <a:avLst/>
              <a:gdLst/>
              <a:ahLst/>
              <a:cxnLst/>
              <a:rect l="l" t="t" r="r" b="b"/>
              <a:pathLst>
                <a:path w="1577" h="5263" extrusionOk="0">
                  <a:moveTo>
                    <a:pt x="789" y="1"/>
                  </a:moveTo>
                  <a:cubicBezTo>
                    <a:pt x="568" y="221"/>
                    <a:pt x="284" y="410"/>
                    <a:pt x="1" y="631"/>
                  </a:cubicBezTo>
                  <a:cubicBezTo>
                    <a:pt x="127" y="757"/>
                    <a:pt x="284" y="852"/>
                    <a:pt x="442" y="883"/>
                  </a:cubicBezTo>
                  <a:lnTo>
                    <a:pt x="442" y="4916"/>
                  </a:lnTo>
                  <a:cubicBezTo>
                    <a:pt x="442" y="5105"/>
                    <a:pt x="600" y="5262"/>
                    <a:pt x="789" y="5262"/>
                  </a:cubicBezTo>
                  <a:cubicBezTo>
                    <a:pt x="978" y="5262"/>
                    <a:pt x="1135" y="5105"/>
                    <a:pt x="1135" y="4916"/>
                  </a:cubicBezTo>
                  <a:lnTo>
                    <a:pt x="1135" y="883"/>
                  </a:lnTo>
                  <a:cubicBezTo>
                    <a:pt x="1293" y="852"/>
                    <a:pt x="1450" y="757"/>
                    <a:pt x="1576" y="631"/>
                  </a:cubicBezTo>
                  <a:cubicBezTo>
                    <a:pt x="1293" y="410"/>
                    <a:pt x="1041" y="22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75"/>
            <p:cNvSpPr/>
            <p:nvPr/>
          </p:nvSpPr>
          <p:spPr>
            <a:xfrm>
              <a:off x="-20929275" y="3834525"/>
              <a:ext cx="268600" cy="53600"/>
            </a:xfrm>
            <a:custGeom>
              <a:avLst/>
              <a:gdLst/>
              <a:ahLst/>
              <a:cxnLst/>
              <a:rect l="l" t="t" r="r" b="b"/>
              <a:pathLst>
                <a:path w="10744" h="2144" extrusionOk="0">
                  <a:moveTo>
                    <a:pt x="788" y="1"/>
                  </a:moveTo>
                  <a:cubicBezTo>
                    <a:pt x="441" y="1"/>
                    <a:pt x="126" y="284"/>
                    <a:pt x="32" y="631"/>
                  </a:cubicBezTo>
                  <a:cubicBezTo>
                    <a:pt x="0" y="788"/>
                    <a:pt x="0" y="914"/>
                    <a:pt x="0" y="1072"/>
                  </a:cubicBezTo>
                  <a:cubicBezTo>
                    <a:pt x="0" y="1670"/>
                    <a:pt x="473" y="2143"/>
                    <a:pt x="1071" y="2143"/>
                  </a:cubicBezTo>
                  <a:cubicBezTo>
                    <a:pt x="2111" y="2143"/>
                    <a:pt x="3308" y="1828"/>
                    <a:pt x="4253" y="1103"/>
                  </a:cubicBezTo>
                  <a:lnTo>
                    <a:pt x="4285" y="1072"/>
                  </a:lnTo>
                  <a:cubicBezTo>
                    <a:pt x="4537" y="914"/>
                    <a:pt x="4757" y="725"/>
                    <a:pt x="5009" y="473"/>
                  </a:cubicBezTo>
                  <a:lnTo>
                    <a:pt x="5104" y="379"/>
                  </a:lnTo>
                  <a:cubicBezTo>
                    <a:pt x="5167" y="316"/>
                    <a:pt x="5262" y="284"/>
                    <a:pt x="5360" y="284"/>
                  </a:cubicBezTo>
                  <a:cubicBezTo>
                    <a:pt x="5458" y="284"/>
                    <a:pt x="5561" y="316"/>
                    <a:pt x="5640" y="379"/>
                  </a:cubicBezTo>
                  <a:lnTo>
                    <a:pt x="5766" y="473"/>
                  </a:lnTo>
                  <a:cubicBezTo>
                    <a:pt x="5955" y="694"/>
                    <a:pt x="6175" y="914"/>
                    <a:pt x="6459" y="1072"/>
                  </a:cubicBezTo>
                  <a:lnTo>
                    <a:pt x="6490" y="1103"/>
                  </a:lnTo>
                  <a:cubicBezTo>
                    <a:pt x="7341" y="1702"/>
                    <a:pt x="8475" y="2143"/>
                    <a:pt x="9704" y="2143"/>
                  </a:cubicBezTo>
                  <a:cubicBezTo>
                    <a:pt x="10271" y="2143"/>
                    <a:pt x="10743" y="1670"/>
                    <a:pt x="10743" y="1072"/>
                  </a:cubicBezTo>
                  <a:cubicBezTo>
                    <a:pt x="10743" y="914"/>
                    <a:pt x="10743" y="788"/>
                    <a:pt x="10712" y="631"/>
                  </a:cubicBezTo>
                  <a:cubicBezTo>
                    <a:pt x="10712" y="284"/>
                    <a:pt x="10397" y="1"/>
                    <a:pt x="9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75"/>
          <p:cNvGrpSpPr/>
          <p:nvPr/>
        </p:nvGrpSpPr>
        <p:grpSpPr>
          <a:xfrm>
            <a:off x="4110888" y="1689848"/>
            <a:ext cx="372516" cy="448771"/>
            <a:chOff x="-18994100" y="3334775"/>
            <a:chExt cx="252075" cy="303675"/>
          </a:xfrm>
        </p:grpSpPr>
        <p:sp>
          <p:nvSpPr>
            <p:cNvPr id="8501" name="Google Shape;8501;p75"/>
            <p:cNvSpPr/>
            <p:nvPr/>
          </p:nvSpPr>
          <p:spPr>
            <a:xfrm>
              <a:off x="-18967300" y="3424975"/>
              <a:ext cx="198500" cy="207150"/>
            </a:xfrm>
            <a:custGeom>
              <a:avLst/>
              <a:gdLst/>
              <a:ahLst/>
              <a:cxnLst/>
              <a:rect l="l" t="t" r="r" b="b"/>
              <a:pathLst>
                <a:path w="7940" h="8286" extrusionOk="0">
                  <a:moveTo>
                    <a:pt x="2552" y="3592"/>
                  </a:moveTo>
                  <a:cubicBezTo>
                    <a:pt x="2772" y="3592"/>
                    <a:pt x="2930" y="3749"/>
                    <a:pt x="2930" y="3938"/>
                  </a:cubicBezTo>
                  <a:cubicBezTo>
                    <a:pt x="2930" y="4096"/>
                    <a:pt x="2772" y="4316"/>
                    <a:pt x="2552" y="4316"/>
                  </a:cubicBezTo>
                  <a:cubicBezTo>
                    <a:pt x="2363" y="4316"/>
                    <a:pt x="2205" y="4159"/>
                    <a:pt x="2205" y="3938"/>
                  </a:cubicBezTo>
                  <a:cubicBezTo>
                    <a:pt x="2205" y="3749"/>
                    <a:pt x="2363" y="3592"/>
                    <a:pt x="2552" y="3592"/>
                  </a:cubicBezTo>
                  <a:close/>
                  <a:moveTo>
                    <a:pt x="5387" y="3592"/>
                  </a:moveTo>
                  <a:cubicBezTo>
                    <a:pt x="5608" y="3592"/>
                    <a:pt x="5765" y="3749"/>
                    <a:pt x="5765" y="3938"/>
                  </a:cubicBezTo>
                  <a:cubicBezTo>
                    <a:pt x="5765" y="4096"/>
                    <a:pt x="5608" y="4316"/>
                    <a:pt x="5387" y="4316"/>
                  </a:cubicBezTo>
                  <a:cubicBezTo>
                    <a:pt x="5198" y="4316"/>
                    <a:pt x="5041" y="4159"/>
                    <a:pt x="5041" y="3938"/>
                  </a:cubicBezTo>
                  <a:cubicBezTo>
                    <a:pt x="5041" y="3749"/>
                    <a:pt x="5198" y="3592"/>
                    <a:pt x="5387" y="3592"/>
                  </a:cubicBezTo>
                  <a:close/>
                  <a:moveTo>
                    <a:pt x="3623" y="0"/>
                  </a:moveTo>
                  <a:cubicBezTo>
                    <a:pt x="3277" y="63"/>
                    <a:pt x="2930" y="126"/>
                    <a:pt x="2583" y="315"/>
                  </a:cubicBezTo>
                  <a:cubicBezTo>
                    <a:pt x="1733" y="725"/>
                    <a:pt x="1166" y="1418"/>
                    <a:pt x="882" y="2332"/>
                  </a:cubicBezTo>
                  <a:cubicBezTo>
                    <a:pt x="882" y="2363"/>
                    <a:pt x="851" y="2363"/>
                    <a:pt x="851" y="2426"/>
                  </a:cubicBezTo>
                  <a:cubicBezTo>
                    <a:pt x="756" y="2741"/>
                    <a:pt x="725" y="3056"/>
                    <a:pt x="725" y="3371"/>
                  </a:cubicBezTo>
                  <a:lnTo>
                    <a:pt x="725" y="3466"/>
                  </a:lnTo>
                  <a:cubicBezTo>
                    <a:pt x="725" y="3749"/>
                    <a:pt x="599" y="4001"/>
                    <a:pt x="410" y="4253"/>
                  </a:cubicBezTo>
                  <a:cubicBezTo>
                    <a:pt x="126" y="4600"/>
                    <a:pt x="0" y="4978"/>
                    <a:pt x="0" y="5356"/>
                  </a:cubicBezTo>
                  <a:cubicBezTo>
                    <a:pt x="0" y="6144"/>
                    <a:pt x="599" y="6900"/>
                    <a:pt x="1575" y="7372"/>
                  </a:cubicBezTo>
                  <a:cubicBezTo>
                    <a:pt x="1733" y="7782"/>
                    <a:pt x="2111" y="8034"/>
                    <a:pt x="2520" y="8286"/>
                  </a:cubicBezTo>
                  <a:lnTo>
                    <a:pt x="3592" y="6711"/>
                  </a:lnTo>
                  <a:lnTo>
                    <a:pt x="3592" y="6238"/>
                  </a:lnTo>
                  <a:lnTo>
                    <a:pt x="2993" y="5640"/>
                  </a:lnTo>
                  <a:cubicBezTo>
                    <a:pt x="2835" y="5482"/>
                    <a:pt x="2835" y="5293"/>
                    <a:pt x="2993" y="5136"/>
                  </a:cubicBezTo>
                  <a:cubicBezTo>
                    <a:pt x="3072" y="5057"/>
                    <a:pt x="3166" y="5017"/>
                    <a:pt x="3261" y="5017"/>
                  </a:cubicBezTo>
                  <a:cubicBezTo>
                    <a:pt x="3355" y="5017"/>
                    <a:pt x="3450" y="5057"/>
                    <a:pt x="3529" y="5136"/>
                  </a:cubicBezTo>
                  <a:lnTo>
                    <a:pt x="4001" y="5608"/>
                  </a:lnTo>
                  <a:lnTo>
                    <a:pt x="4474" y="5136"/>
                  </a:lnTo>
                  <a:cubicBezTo>
                    <a:pt x="4553" y="5057"/>
                    <a:pt x="4639" y="5017"/>
                    <a:pt x="4726" y="5017"/>
                  </a:cubicBezTo>
                  <a:cubicBezTo>
                    <a:pt x="4812" y="5017"/>
                    <a:pt x="4899" y="5057"/>
                    <a:pt x="4978" y="5136"/>
                  </a:cubicBezTo>
                  <a:cubicBezTo>
                    <a:pt x="5135" y="5293"/>
                    <a:pt x="5135" y="5482"/>
                    <a:pt x="4978" y="5640"/>
                  </a:cubicBezTo>
                  <a:lnTo>
                    <a:pt x="4379" y="6238"/>
                  </a:lnTo>
                  <a:lnTo>
                    <a:pt x="4379" y="6711"/>
                  </a:lnTo>
                  <a:lnTo>
                    <a:pt x="5450" y="8286"/>
                  </a:lnTo>
                  <a:cubicBezTo>
                    <a:pt x="5891" y="8097"/>
                    <a:pt x="6238" y="7782"/>
                    <a:pt x="6396" y="7372"/>
                  </a:cubicBezTo>
                  <a:cubicBezTo>
                    <a:pt x="7372" y="6900"/>
                    <a:pt x="7939" y="6144"/>
                    <a:pt x="7939" y="5356"/>
                  </a:cubicBezTo>
                  <a:cubicBezTo>
                    <a:pt x="7939" y="4978"/>
                    <a:pt x="7813" y="4631"/>
                    <a:pt x="7530" y="4253"/>
                  </a:cubicBezTo>
                  <a:cubicBezTo>
                    <a:pt x="7278" y="4001"/>
                    <a:pt x="7183" y="3718"/>
                    <a:pt x="7183" y="3466"/>
                  </a:cubicBezTo>
                  <a:lnTo>
                    <a:pt x="7183" y="3371"/>
                  </a:lnTo>
                  <a:cubicBezTo>
                    <a:pt x="7183" y="3025"/>
                    <a:pt x="7120" y="2710"/>
                    <a:pt x="7057" y="2426"/>
                  </a:cubicBezTo>
                  <a:cubicBezTo>
                    <a:pt x="7057" y="2363"/>
                    <a:pt x="7057" y="2363"/>
                    <a:pt x="7026" y="2332"/>
                  </a:cubicBezTo>
                  <a:cubicBezTo>
                    <a:pt x="6742" y="1418"/>
                    <a:pt x="6144" y="725"/>
                    <a:pt x="5324" y="315"/>
                  </a:cubicBezTo>
                  <a:cubicBezTo>
                    <a:pt x="5009" y="158"/>
                    <a:pt x="4631" y="63"/>
                    <a:pt x="42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5"/>
            <p:cNvSpPr/>
            <p:nvPr/>
          </p:nvSpPr>
          <p:spPr>
            <a:xfrm>
              <a:off x="-18885400" y="3610050"/>
              <a:ext cx="35475" cy="28400"/>
            </a:xfrm>
            <a:custGeom>
              <a:avLst/>
              <a:gdLst/>
              <a:ahLst/>
              <a:cxnLst/>
              <a:rect l="l" t="t" r="r" b="b"/>
              <a:pathLst>
                <a:path w="1419" h="1136" extrusionOk="0">
                  <a:moveTo>
                    <a:pt x="694" y="1"/>
                  </a:moveTo>
                  <a:lnTo>
                    <a:pt x="1" y="1072"/>
                  </a:lnTo>
                  <a:cubicBezTo>
                    <a:pt x="221" y="1104"/>
                    <a:pt x="473" y="1135"/>
                    <a:pt x="694" y="1135"/>
                  </a:cubicBezTo>
                  <a:cubicBezTo>
                    <a:pt x="946" y="1135"/>
                    <a:pt x="1166" y="1104"/>
                    <a:pt x="1418" y="1072"/>
                  </a:cubicBez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5"/>
            <p:cNvSpPr/>
            <p:nvPr/>
          </p:nvSpPr>
          <p:spPr>
            <a:xfrm>
              <a:off x="-18994100" y="3334775"/>
              <a:ext cx="96900" cy="140625"/>
            </a:xfrm>
            <a:custGeom>
              <a:avLst/>
              <a:gdLst/>
              <a:ahLst/>
              <a:cxnLst/>
              <a:rect l="l" t="t" r="r" b="b"/>
              <a:pathLst>
                <a:path w="3876" h="5625" extrusionOk="0">
                  <a:moveTo>
                    <a:pt x="855" y="1"/>
                  </a:moveTo>
                  <a:cubicBezTo>
                    <a:pt x="804" y="1"/>
                    <a:pt x="757" y="17"/>
                    <a:pt x="725" y="48"/>
                  </a:cubicBezTo>
                  <a:cubicBezTo>
                    <a:pt x="631" y="80"/>
                    <a:pt x="568" y="143"/>
                    <a:pt x="536" y="237"/>
                  </a:cubicBezTo>
                  <a:cubicBezTo>
                    <a:pt x="1" y="1529"/>
                    <a:pt x="1" y="2978"/>
                    <a:pt x="536" y="4301"/>
                  </a:cubicBezTo>
                  <a:cubicBezTo>
                    <a:pt x="725" y="4774"/>
                    <a:pt x="1009" y="5183"/>
                    <a:pt x="1324" y="5625"/>
                  </a:cubicBezTo>
                  <a:cubicBezTo>
                    <a:pt x="1702" y="4553"/>
                    <a:pt x="2427" y="3734"/>
                    <a:pt x="3372" y="3262"/>
                  </a:cubicBezTo>
                  <a:cubicBezTo>
                    <a:pt x="3529" y="3199"/>
                    <a:pt x="3718" y="3104"/>
                    <a:pt x="3876" y="3073"/>
                  </a:cubicBezTo>
                  <a:cubicBezTo>
                    <a:pt x="3876" y="3041"/>
                    <a:pt x="3844" y="2947"/>
                    <a:pt x="3844" y="2915"/>
                  </a:cubicBezTo>
                  <a:cubicBezTo>
                    <a:pt x="3277" y="1623"/>
                    <a:pt x="2301" y="584"/>
                    <a:pt x="1009" y="48"/>
                  </a:cubicBezTo>
                  <a:cubicBezTo>
                    <a:pt x="962" y="17"/>
                    <a:pt x="907" y="1"/>
                    <a:pt x="8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5"/>
            <p:cNvSpPr/>
            <p:nvPr/>
          </p:nvSpPr>
          <p:spPr>
            <a:xfrm>
              <a:off x="-18838150" y="3334775"/>
              <a:ext cx="96125" cy="139850"/>
            </a:xfrm>
            <a:custGeom>
              <a:avLst/>
              <a:gdLst/>
              <a:ahLst/>
              <a:cxnLst/>
              <a:rect l="l" t="t" r="r" b="b"/>
              <a:pathLst>
                <a:path w="3845" h="5594" extrusionOk="0">
                  <a:moveTo>
                    <a:pt x="3010" y="1"/>
                  </a:moveTo>
                  <a:cubicBezTo>
                    <a:pt x="2962" y="1"/>
                    <a:pt x="2915" y="17"/>
                    <a:pt x="2868" y="48"/>
                  </a:cubicBezTo>
                  <a:cubicBezTo>
                    <a:pt x="1576" y="584"/>
                    <a:pt x="536" y="1623"/>
                    <a:pt x="32" y="2915"/>
                  </a:cubicBezTo>
                  <a:cubicBezTo>
                    <a:pt x="1" y="2947"/>
                    <a:pt x="1" y="3041"/>
                    <a:pt x="1" y="3073"/>
                  </a:cubicBezTo>
                  <a:cubicBezTo>
                    <a:pt x="190" y="3104"/>
                    <a:pt x="347" y="3167"/>
                    <a:pt x="568" y="3262"/>
                  </a:cubicBezTo>
                  <a:cubicBezTo>
                    <a:pt x="1513" y="3703"/>
                    <a:pt x="2206" y="4553"/>
                    <a:pt x="2553" y="5593"/>
                  </a:cubicBezTo>
                  <a:cubicBezTo>
                    <a:pt x="2868" y="5183"/>
                    <a:pt x="3151" y="4742"/>
                    <a:pt x="3340" y="4238"/>
                  </a:cubicBezTo>
                  <a:cubicBezTo>
                    <a:pt x="3813" y="3041"/>
                    <a:pt x="3844" y="1497"/>
                    <a:pt x="3340" y="237"/>
                  </a:cubicBezTo>
                  <a:cubicBezTo>
                    <a:pt x="3309" y="143"/>
                    <a:pt x="3214" y="80"/>
                    <a:pt x="3151" y="48"/>
                  </a:cubicBezTo>
                  <a:cubicBezTo>
                    <a:pt x="3104" y="17"/>
                    <a:pt x="3057" y="1"/>
                    <a:pt x="3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5" name="Google Shape;8505;p75"/>
          <p:cNvGrpSpPr/>
          <p:nvPr/>
        </p:nvGrpSpPr>
        <p:grpSpPr>
          <a:xfrm>
            <a:off x="4125445" y="2244743"/>
            <a:ext cx="343404" cy="446998"/>
            <a:chOff x="-18983850" y="3710075"/>
            <a:chExt cx="232375" cy="302475"/>
          </a:xfrm>
        </p:grpSpPr>
        <p:sp>
          <p:nvSpPr>
            <p:cNvPr id="8506" name="Google Shape;8506;p75"/>
            <p:cNvSpPr/>
            <p:nvPr/>
          </p:nvSpPr>
          <p:spPr>
            <a:xfrm>
              <a:off x="-18840500" y="3874700"/>
              <a:ext cx="89025" cy="119750"/>
            </a:xfrm>
            <a:custGeom>
              <a:avLst/>
              <a:gdLst/>
              <a:ahLst/>
              <a:cxnLst/>
              <a:rect l="l" t="t" r="r" b="b"/>
              <a:pathLst>
                <a:path w="3561" h="4790" extrusionOk="0">
                  <a:moveTo>
                    <a:pt x="2300" y="0"/>
                  </a:moveTo>
                  <a:cubicBezTo>
                    <a:pt x="1796" y="883"/>
                    <a:pt x="945" y="1513"/>
                    <a:pt x="0" y="1796"/>
                  </a:cubicBezTo>
                  <a:lnTo>
                    <a:pt x="0" y="1954"/>
                  </a:lnTo>
                  <a:cubicBezTo>
                    <a:pt x="0" y="3529"/>
                    <a:pt x="1324" y="4789"/>
                    <a:pt x="2836" y="4789"/>
                  </a:cubicBezTo>
                  <a:lnTo>
                    <a:pt x="3560" y="4789"/>
                  </a:lnTo>
                  <a:lnTo>
                    <a:pt x="3560" y="4033"/>
                  </a:lnTo>
                  <a:cubicBezTo>
                    <a:pt x="3434" y="4065"/>
                    <a:pt x="3308" y="4065"/>
                    <a:pt x="3214" y="4065"/>
                  </a:cubicBezTo>
                  <a:cubicBezTo>
                    <a:pt x="2993" y="4065"/>
                    <a:pt x="2836" y="4033"/>
                    <a:pt x="2773" y="4033"/>
                  </a:cubicBezTo>
                  <a:cubicBezTo>
                    <a:pt x="1985" y="3844"/>
                    <a:pt x="1418" y="3119"/>
                    <a:pt x="1418" y="2300"/>
                  </a:cubicBezTo>
                  <a:cubicBezTo>
                    <a:pt x="1387" y="2143"/>
                    <a:pt x="1544" y="1985"/>
                    <a:pt x="1733" y="1985"/>
                  </a:cubicBezTo>
                  <a:cubicBezTo>
                    <a:pt x="1954" y="1985"/>
                    <a:pt x="2111" y="2143"/>
                    <a:pt x="2111" y="2332"/>
                  </a:cubicBezTo>
                  <a:cubicBezTo>
                    <a:pt x="2111" y="2804"/>
                    <a:pt x="2426" y="3245"/>
                    <a:pt x="2930" y="3371"/>
                  </a:cubicBezTo>
                  <a:cubicBezTo>
                    <a:pt x="3000" y="3383"/>
                    <a:pt x="3069" y="3390"/>
                    <a:pt x="3141" y="3390"/>
                  </a:cubicBezTo>
                  <a:cubicBezTo>
                    <a:pt x="3266" y="3390"/>
                    <a:pt x="3401" y="3368"/>
                    <a:pt x="3560" y="3308"/>
                  </a:cubicBezTo>
                  <a:lnTo>
                    <a:pt x="3560" y="1954"/>
                  </a:lnTo>
                  <a:cubicBezTo>
                    <a:pt x="3560" y="1072"/>
                    <a:pt x="3056" y="316"/>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75"/>
            <p:cNvSpPr/>
            <p:nvPr/>
          </p:nvSpPr>
          <p:spPr>
            <a:xfrm>
              <a:off x="-18983850" y="3901475"/>
              <a:ext cx="208750" cy="111075"/>
            </a:xfrm>
            <a:custGeom>
              <a:avLst/>
              <a:gdLst/>
              <a:ahLst/>
              <a:cxnLst/>
              <a:rect l="l" t="t" r="r" b="b"/>
              <a:pathLst>
                <a:path w="8350" h="4443" extrusionOk="0">
                  <a:moveTo>
                    <a:pt x="2111" y="1"/>
                  </a:moveTo>
                  <a:lnTo>
                    <a:pt x="2111" y="1261"/>
                  </a:lnTo>
                  <a:cubicBezTo>
                    <a:pt x="2111" y="2300"/>
                    <a:pt x="2584" y="3151"/>
                    <a:pt x="3340" y="3750"/>
                  </a:cubicBezTo>
                  <a:lnTo>
                    <a:pt x="2017" y="3750"/>
                  </a:lnTo>
                  <a:lnTo>
                    <a:pt x="1387" y="2521"/>
                  </a:lnTo>
                  <a:cubicBezTo>
                    <a:pt x="1317" y="2404"/>
                    <a:pt x="1177" y="2339"/>
                    <a:pt x="1046" y="2339"/>
                  </a:cubicBezTo>
                  <a:cubicBezTo>
                    <a:pt x="1000" y="2339"/>
                    <a:pt x="955" y="2347"/>
                    <a:pt x="914" y="2363"/>
                  </a:cubicBezTo>
                  <a:cubicBezTo>
                    <a:pt x="757" y="2458"/>
                    <a:pt x="662" y="2679"/>
                    <a:pt x="757" y="2836"/>
                  </a:cubicBezTo>
                  <a:lnTo>
                    <a:pt x="1229" y="3750"/>
                  </a:lnTo>
                  <a:lnTo>
                    <a:pt x="347" y="3750"/>
                  </a:lnTo>
                  <a:cubicBezTo>
                    <a:pt x="158" y="3750"/>
                    <a:pt x="0" y="3907"/>
                    <a:pt x="0" y="4096"/>
                  </a:cubicBezTo>
                  <a:cubicBezTo>
                    <a:pt x="0" y="4285"/>
                    <a:pt x="158" y="4443"/>
                    <a:pt x="347" y="4443"/>
                  </a:cubicBezTo>
                  <a:lnTo>
                    <a:pt x="8223" y="4443"/>
                  </a:lnTo>
                  <a:cubicBezTo>
                    <a:pt x="8255" y="4443"/>
                    <a:pt x="8318" y="4443"/>
                    <a:pt x="8349" y="4411"/>
                  </a:cubicBezTo>
                  <a:cubicBezTo>
                    <a:pt x="6459" y="4348"/>
                    <a:pt x="5010" y="2805"/>
                    <a:pt x="5010" y="914"/>
                  </a:cubicBezTo>
                  <a:lnTo>
                    <a:pt x="4632" y="914"/>
                  </a:lnTo>
                  <a:cubicBezTo>
                    <a:pt x="3970" y="914"/>
                    <a:pt x="3340" y="757"/>
                    <a:pt x="2741" y="442"/>
                  </a:cubicBezTo>
                  <a:cubicBezTo>
                    <a:pt x="2521" y="316"/>
                    <a:pt x="2332" y="158"/>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8" name="Google Shape;8508;p75"/>
            <p:cNvSpPr/>
            <p:nvPr/>
          </p:nvSpPr>
          <p:spPr>
            <a:xfrm>
              <a:off x="-18947625" y="3710075"/>
              <a:ext cx="159925" cy="67775"/>
            </a:xfrm>
            <a:custGeom>
              <a:avLst/>
              <a:gdLst/>
              <a:ahLst/>
              <a:cxnLst/>
              <a:rect l="l" t="t" r="r" b="b"/>
              <a:pathLst>
                <a:path w="6397" h="2711" extrusionOk="0">
                  <a:moveTo>
                    <a:pt x="1765" y="1"/>
                  </a:moveTo>
                  <a:cubicBezTo>
                    <a:pt x="788" y="1"/>
                    <a:pt x="1" y="789"/>
                    <a:pt x="1" y="1765"/>
                  </a:cubicBezTo>
                  <a:lnTo>
                    <a:pt x="1" y="2301"/>
                  </a:lnTo>
                  <a:cubicBezTo>
                    <a:pt x="410" y="1954"/>
                    <a:pt x="883" y="1765"/>
                    <a:pt x="1450" y="1765"/>
                  </a:cubicBezTo>
                  <a:cubicBezTo>
                    <a:pt x="2175" y="1765"/>
                    <a:pt x="2805" y="2143"/>
                    <a:pt x="3183" y="2710"/>
                  </a:cubicBezTo>
                  <a:cubicBezTo>
                    <a:pt x="3592" y="2112"/>
                    <a:pt x="4222" y="1765"/>
                    <a:pt x="4978" y="1765"/>
                  </a:cubicBezTo>
                  <a:cubicBezTo>
                    <a:pt x="5514" y="1765"/>
                    <a:pt x="5987" y="1954"/>
                    <a:pt x="6396" y="2301"/>
                  </a:cubicBezTo>
                  <a:lnTo>
                    <a:pt x="6396" y="1765"/>
                  </a:lnTo>
                  <a:cubicBezTo>
                    <a:pt x="6396" y="789"/>
                    <a:pt x="5609" y="1"/>
                    <a:pt x="4600" y="1"/>
                  </a:cubicBezTo>
                  <a:cubicBezTo>
                    <a:pt x="4411" y="1"/>
                    <a:pt x="4254" y="158"/>
                    <a:pt x="4254" y="348"/>
                  </a:cubicBezTo>
                  <a:cubicBezTo>
                    <a:pt x="4254" y="537"/>
                    <a:pt x="4096" y="694"/>
                    <a:pt x="3907" y="694"/>
                  </a:cubicBezTo>
                  <a:lnTo>
                    <a:pt x="2490" y="694"/>
                  </a:lnTo>
                  <a:cubicBezTo>
                    <a:pt x="2301" y="694"/>
                    <a:pt x="2143" y="537"/>
                    <a:pt x="2143" y="348"/>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9" name="Google Shape;8509;p75"/>
            <p:cNvSpPr/>
            <p:nvPr/>
          </p:nvSpPr>
          <p:spPr>
            <a:xfrm>
              <a:off x="-18949200" y="3773100"/>
              <a:ext cx="159125" cy="133925"/>
            </a:xfrm>
            <a:custGeom>
              <a:avLst/>
              <a:gdLst/>
              <a:ahLst/>
              <a:cxnLst/>
              <a:rect l="l" t="t" r="r" b="b"/>
              <a:pathLst>
                <a:path w="6365" h="5357" extrusionOk="0">
                  <a:moveTo>
                    <a:pt x="1828" y="1040"/>
                  </a:moveTo>
                  <a:cubicBezTo>
                    <a:pt x="2048" y="1040"/>
                    <a:pt x="2206" y="1198"/>
                    <a:pt x="2206" y="1387"/>
                  </a:cubicBezTo>
                  <a:cubicBezTo>
                    <a:pt x="2206" y="1607"/>
                    <a:pt x="2048" y="1765"/>
                    <a:pt x="1828" y="1765"/>
                  </a:cubicBezTo>
                  <a:cubicBezTo>
                    <a:pt x="1639" y="1765"/>
                    <a:pt x="1481" y="1607"/>
                    <a:pt x="1481" y="1387"/>
                  </a:cubicBezTo>
                  <a:cubicBezTo>
                    <a:pt x="1481" y="1198"/>
                    <a:pt x="1639" y="1040"/>
                    <a:pt x="1828" y="1040"/>
                  </a:cubicBezTo>
                  <a:close/>
                  <a:moveTo>
                    <a:pt x="4663" y="1040"/>
                  </a:moveTo>
                  <a:cubicBezTo>
                    <a:pt x="4884" y="1040"/>
                    <a:pt x="5041" y="1198"/>
                    <a:pt x="5041" y="1387"/>
                  </a:cubicBezTo>
                  <a:cubicBezTo>
                    <a:pt x="5041" y="1607"/>
                    <a:pt x="4884" y="1765"/>
                    <a:pt x="4663" y="1765"/>
                  </a:cubicBezTo>
                  <a:cubicBezTo>
                    <a:pt x="4474" y="1765"/>
                    <a:pt x="4317" y="1607"/>
                    <a:pt x="4317" y="1387"/>
                  </a:cubicBezTo>
                  <a:cubicBezTo>
                    <a:pt x="4317" y="1198"/>
                    <a:pt x="4474" y="1040"/>
                    <a:pt x="4663" y="1040"/>
                  </a:cubicBezTo>
                  <a:close/>
                  <a:moveTo>
                    <a:pt x="2887" y="2126"/>
                  </a:moveTo>
                  <a:cubicBezTo>
                    <a:pt x="3056" y="2126"/>
                    <a:pt x="3188" y="2239"/>
                    <a:pt x="3214" y="2395"/>
                  </a:cubicBezTo>
                  <a:cubicBezTo>
                    <a:pt x="3297" y="2230"/>
                    <a:pt x="3451" y="2137"/>
                    <a:pt x="3594" y="2137"/>
                  </a:cubicBezTo>
                  <a:cubicBezTo>
                    <a:pt x="3615" y="2137"/>
                    <a:pt x="3635" y="2139"/>
                    <a:pt x="3655" y="2143"/>
                  </a:cubicBezTo>
                  <a:cubicBezTo>
                    <a:pt x="3844" y="2237"/>
                    <a:pt x="3939" y="2426"/>
                    <a:pt x="3876" y="2584"/>
                  </a:cubicBezTo>
                  <a:lnTo>
                    <a:pt x="3529" y="3655"/>
                  </a:lnTo>
                  <a:cubicBezTo>
                    <a:pt x="3498" y="3812"/>
                    <a:pt x="3340" y="3875"/>
                    <a:pt x="3183" y="3875"/>
                  </a:cubicBezTo>
                  <a:cubicBezTo>
                    <a:pt x="3025" y="3875"/>
                    <a:pt x="2899" y="3812"/>
                    <a:pt x="2836" y="3655"/>
                  </a:cubicBezTo>
                  <a:lnTo>
                    <a:pt x="2458" y="2584"/>
                  </a:lnTo>
                  <a:cubicBezTo>
                    <a:pt x="2521" y="2426"/>
                    <a:pt x="2584" y="2237"/>
                    <a:pt x="2773" y="2143"/>
                  </a:cubicBezTo>
                  <a:cubicBezTo>
                    <a:pt x="2812" y="2132"/>
                    <a:pt x="2850" y="2126"/>
                    <a:pt x="2887" y="2126"/>
                  </a:cubicBezTo>
                  <a:close/>
                  <a:moveTo>
                    <a:pt x="1418" y="0"/>
                  </a:moveTo>
                  <a:cubicBezTo>
                    <a:pt x="631" y="0"/>
                    <a:pt x="1" y="630"/>
                    <a:pt x="1" y="1418"/>
                  </a:cubicBezTo>
                  <a:lnTo>
                    <a:pt x="1" y="1481"/>
                  </a:lnTo>
                  <a:lnTo>
                    <a:pt x="1" y="2111"/>
                  </a:lnTo>
                  <a:cubicBezTo>
                    <a:pt x="1" y="2269"/>
                    <a:pt x="1" y="2458"/>
                    <a:pt x="32" y="2615"/>
                  </a:cubicBezTo>
                  <a:cubicBezTo>
                    <a:pt x="95" y="2678"/>
                    <a:pt x="95" y="2741"/>
                    <a:pt x="95" y="2773"/>
                  </a:cubicBezTo>
                  <a:cubicBezTo>
                    <a:pt x="158" y="2899"/>
                    <a:pt x="158" y="3025"/>
                    <a:pt x="190" y="3151"/>
                  </a:cubicBezTo>
                  <a:cubicBezTo>
                    <a:pt x="190" y="3182"/>
                    <a:pt x="221" y="3214"/>
                    <a:pt x="221" y="3245"/>
                  </a:cubicBezTo>
                  <a:cubicBezTo>
                    <a:pt x="253" y="3371"/>
                    <a:pt x="347" y="3529"/>
                    <a:pt x="379" y="3655"/>
                  </a:cubicBezTo>
                  <a:cubicBezTo>
                    <a:pt x="379" y="3686"/>
                    <a:pt x="410" y="3686"/>
                    <a:pt x="410" y="3718"/>
                  </a:cubicBezTo>
                  <a:cubicBezTo>
                    <a:pt x="505" y="3875"/>
                    <a:pt x="631" y="4033"/>
                    <a:pt x="694" y="4159"/>
                  </a:cubicBezTo>
                  <a:cubicBezTo>
                    <a:pt x="977" y="4474"/>
                    <a:pt x="1292" y="4758"/>
                    <a:pt x="1639" y="4947"/>
                  </a:cubicBezTo>
                  <a:cubicBezTo>
                    <a:pt x="2111" y="5230"/>
                    <a:pt x="2647" y="5356"/>
                    <a:pt x="3183" y="5356"/>
                  </a:cubicBezTo>
                  <a:cubicBezTo>
                    <a:pt x="4285" y="5356"/>
                    <a:pt x="5262" y="4789"/>
                    <a:pt x="5829" y="3938"/>
                  </a:cubicBezTo>
                  <a:cubicBezTo>
                    <a:pt x="5829" y="3938"/>
                    <a:pt x="5829" y="3875"/>
                    <a:pt x="5861" y="3875"/>
                  </a:cubicBezTo>
                  <a:cubicBezTo>
                    <a:pt x="5955" y="3718"/>
                    <a:pt x="6018" y="3623"/>
                    <a:pt x="6081" y="3434"/>
                  </a:cubicBezTo>
                  <a:cubicBezTo>
                    <a:pt x="6144" y="3403"/>
                    <a:pt x="6144" y="3340"/>
                    <a:pt x="6176" y="3277"/>
                  </a:cubicBezTo>
                  <a:cubicBezTo>
                    <a:pt x="6207" y="3182"/>
                    <a:pt x="6270" y="3025"/>
                    <a:pt x="6302" y="2899"/>
                  </a:cubicBezTo>
                  <a:cubicBezTo>
                    <a:pt x="6302" y="2867"/>
                    <a:pt x="6333" y="2773"/>
                    <a:pt x="6333" y="2741"/>
                  </a:cubicBezTo>
                  <a:cubicBezTo>
                    <a:pt x="6365" y="2552"/>
                    <a:pt x="6365" y="2363"/>
                    <a:pt x="6365" y="2143"/>
                  </a:cubicBezTo>
                  <a:lnTo>
                    <a:pt x="6365" y="1292"/>
                  </a:lnTo>
                  <a:cubicBezTo>
                    <a:pt x="6302" y="567"/>
                    <a:pt x="5703" y="0"/>
                    <a:pt x="4947" y="0"/>
                  </a:cubicBezTo>
                  <a:cubicBezTo>
                    <a:pt x="4159" y="0"/>
                    <a:pt x="3529" y="630"/>
                    <a:pt x="3529" y="1418"/>
                  </a:cubicBezTo>
                  <a:cubicBezTo>
                    <a:pt x="3529" y="1607"/>
                    <a:pt x="3372" y="1765"/>
                    <a:pt x="3183" y="1765"/>
                  </a:cubicBezTo>
                  <a:cubicBezTo>
                    <a:pt x="2994" y="1765"/>
                    <a:pt x="2836" y="1607"/>
                    <a:pt x="2836" y="1418"/>
                  </a:cubicBezTo>
                  <a:cubicBezTo>
                    <a:pt x="2836" y="630"/>
                    <a:pt x="220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0" name="Google Shape;8510;p75"/>
          <p:cNvGrpSpPr/>
          <p:nvPr/>
        </p:nvGrpSpPr>
        <p:grpSpPr>
          <a:xfrm>
            <a:off x="1303491" y="1689573"/>
            <a:ext cx="450470" cy="449325"/>
            <a:chOff x="-20946600" y="3317850"/>
            <a:chExt cx="304825" cy="304050"/>
          </a:xfrm>
        </p:grpSpPr>
        <p:sp>
          <p:nvSpPr>
            <p:cNvPr id="8511" name="Google Shape;8511;p75"/>
            <p:cNvSpPr/>
            <p:nvPr/>
          </p:nvSpPr>
          <p:spPr>
            <a:xfrm>
              <a:off x="-20946600" y="3317850"/>
              <a:ext cx="232350" cy="248925"/>
            </a:xfrm>
            <a:custGeom>
              <a:avLst/>
              <a:gdLst/>
              <a:ahLst/>
              <a:cxnLst/>
              <a:rect l="l" t="t" r="r" b="b"/>
              <a:pathLst>
                <a:path w="9294" h="9957" extrusionOk="0">
                  <a:moveTo>
                    <a:pt x="4631" y="1"/>
                  </a:moveTo>
                  <a:cubicBezTo>
                    <a:pt x="3340" y="1"/>
                    <a:pt x="2268" y="977"/>
                    <a:pt x="2142" y="2237"/>
                  </a:cubicBezTo>
                  <a:cubicBezTo>
                    <a:pt x="1292" y="2521"/>
                    <a:pt x="693" y="3340"/>
                    <a:pt x="693" y="4254"/>
                  </a:cubicBezTo>
                  <a:cubicBezTo>
                    <a:pt x="693" y="4695"/>
                    <a:pt x="819" y="5073"/>
                    <a:pt x="1040" y="5451"/>
                  </a:cubicBezTo>
                  <a:cubicBezTo>
                    <a:pt x="378" y="5923"/>
                    <a:pt x="0" y="6648"/>
                    <a:pt x="0" y="7499"/>
                  </a:cubicBezTo>
                  <a:cubicBezTo>
                    <a:pt x="0" y="8853"/>
                    <a:pt x="1134" y="9956"/>
                    <a:pt x="2520" y="9956"/>
                  </a:cubicBezTo>
                  <a:lnTo>
                    <a:pt x="4316" y="9956"/>
                  </a:lnTo>
                  <a:lnTo>
                    <a:pt x="4316" y="8349"/>
                  </a:lnTo>
                  <a:lnTo>
                    <a:pt x="2962" y="7026"/>
                  </a:lnTo>
                  <a:cubicBezTo>
                    <a:pt x="2804" y="6869"/>
                    <a:pt x="2804" y="6648"/>
                    <a:pt x="2962" y="6491"/>
                  </a:cubicBezTo>
                  <a:cubicBezTo>
                    <a:pt x="3040" y="6412"/>
                    <a:pt x="3135" y="6372"/>
                    <a:pt x="3229" y="6372"/>
                  </a:cubicBezTo>
                  <a:cubicBezTo>
                    <a:pt x="3324" y="6372"/>
                    <a:pt x="3418" y="6412"/>
                    <a:pt x="3497" y="6491"/>
                  </a:cubicBezTo>
                  <a:lnTo>
                    <a:pt x="4316" y="7341"/>
                  </a:lnTo>
                  <a:lnTo>
                    <a:pt x="4316" y="5482"/>
                  </a:lnTo>
                  <a:lnTo>
                    <a:pt x="2962" y="4128"/>
                  </a:lnTo>
                  <a:cubicBezTo>
                    <a:pt x="2804" y="3970"/>
                    <a:pt x="2804" y="3781"/>
                    <a:pt x="2962" y="3624"/>
                  </a:cubicBezTo>
                  <a:cubicBezTo>
                    <a:pt x="3040" y="3545"/>
                    <a:pt x="3135" y="3505"/>
                    <a:pt x="3229" y="3505"/>
                  </a:cubicBezTo>
                  <a:cubicBezTo>
                    <a:pt x="3324" y="3505"/>
                    <a:pt x="3418" y="3545"/>
                    <a:pt x="3497" y="3624"/>
                  </a:cubicBezTo>
                  <a:lnTo>
                    <a:pt x="4316" y="4443"/>
                  </a:lnTo>
                  <a:lnTo>
                    <a:pt x="4316" y="2458"/>
                  </a:lnTo>
                  <a:cubicBezTo>
                    <a:pt x="4316" y="2237"/>
                    <a:pt x="4474" y="2080"/>
                    <a:pt x="4663" y="2080"/>
                  </a:cubicBezTo>
                  <a:cubicBezTo>
                    <a:pt x="4852" y="2080"/>
                    <a:pt x="5009" y="2237"/>
                    <a:pt x="5009" y="2458"/>
                  </a:cubicBezTo>
                  <a:lnTo>
                    <a:pt x="5009" y="5860"/>
                  </a:lnTo>
                  <a:lnTo>
                    <a:pt x="5860" y="5041"/>
                  </a:lnTo>
                  <a:cubicBezTo>
                    <a:pt x="5939" y="4963"/>
                    <a:pt x="6025" y="4923"/>
                    <a:pt x="6112" y="4923"/>
                  </a:cubicBezTo>
                  <a:cubicBezTo>
                    <a:pt x="6199" y="4923"/>
                    <a:pt x="6285" y="4963"/>
                    <a:pt x="6364" y="5041"/>
                  </a:cubicBezTo>
                  <a:cubicBezTo>
                    <a:pt x="6522" y="5199"/>
                    <a:pt x="6522" y="5388"/>
                    <a:pt x="6364" y="5545"/>
                  </a:cubicBezTo>
                  <a:lnTo>
                    <a:pt x="5009" y="6900"/>
                  </a:lnTo>
                  <a:lnTo>
                    <a:pt x="5009" y="9956"/>
                  </a:lnTo>
                  <a:lnTo>
                    <a:pt x="6805" y="9956"/>
                  </a:lnTo>
                  <a:cubicBezTo>
                    <a:pt x="8160" y="9956"/>
                    <a:pt x="9294" y="8853"/>
                    <a:pt x="9294" y="7499"/>
                  </a:cubicBezTo>
                  <a:cubicBezTo>
                    <a:pt x="9294" y="6648"/>
                    <a:pt x="8884" y="5923"/>
                    <a:pt x="8223" y="5451"/>
                  </a:cubicBezTo>
                  <a:cubicBezTo>
                    <a:pt x="8443" y="5073"/>
                    <a:pt x="8569" y="4695"/>
                    <a:pt x="8569" y="4254"/>
                  </a:cubicBezTo>
                  <a:cubicBezTo>
                    <a:pt x="8569" y="3340"/>
                    <a:pt x="7971" y="2521"/>
                    <a:pt x="7120" y="2237"/>
                  </a:cubicBezTo>
                  <a:cubicBezTo>
                    <a:pt x="6994" y="977"/>
                    <a:pt x="5923" y="1"/>
                    <a:pt x="4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2" name="Google Shape;8512;p75"/>
            <p:cNvSpPr/>
            <p:nvPr/>
          </p:nvSpPr>
          <p:spPr>
            <a:xfrm>
              <a:off x="-20775700" y="3318650"/>
              <a:ext cx="133925" cy="249700"/>
            </a:xfrm>
            <a:custGeom>
              <a:avLst/>
              <a:gdLst/>
              <a:ahLst/>
              <a:cxnLst/>
              <a:rect l="l" t="t" r="r" b="b"/>
              <a:pathLst>
                <a:path w="5357" h="9988" extrusionOk="0">
                  <a:moveTo>
                    <a:pt x="694" y="0"/>
                  </a:moveTo>
                  <a:cubicBezTo>
                    <a:pt x="473" y="0"/>
                    <a:pt x="253" y="32"/>
                    <a:pt x="1" y="126"/>
                  </a:cubicBezTo>
                  <a:cubicBezTo>
                    <a:pt x="473" y="567"/>
                    <a:pt x="820" y="1103"/>
                    <a:pt x="977" y="1764"/>
                  </a:cubicBezTo>
                  <a:cubicBezTo>
                    <a:pt x="1891" y="2300"/>
                    <a:pt x="2490" y="3245"/>
                    <a:pt x="2490" y="4285"/>
                  </a:cubicBezTo>
                  <a:cubicBezTo>
                    <a:pt x="2490" y="4663"/>
                    <a:pt x="2395" y="4978"/>
                    <a:pt x="2269" y="5293"/>
                  </a:cubicBezTo>
                  <a:cubicBezTo>
                    <a:pt x="2836" y="5860"/>
                    <a:pt x="3183" y="6648"/>
                    <a:pt x="3183" y="7498"/>
                  </a:cubicBezTo>
                  <a:cubicBezTo>
                    <a:pt x="3183" y="8506"/>
                    <a:pt x="2710" y="9389"/>
                    <a:pt x="1985" y="9987"/>
                  </a:cubicBezTo>
                  <a:lnTo>
                    <a:pt x="2836" y="9987"/>
                  </a:lnTo>
                  <a:cubicBezTo>
                    <a:pt x="4222" y="9987"/>
                    <a:pt x="5325" y="8853"/>
                    <a:pt x="5325" y="7498"/>
                  </a:cubicBezTo>
                  <a:cubicBezTo>
                    <a:pt x="5357" y="6679"/>
                    <a:pt x="4915" y="5891"/>
                    <a:pt x="4285" y="5450"/>
                  </a:cubicBezTo>
                  <a:cubicBezTo>
                    <a:pt x="4537" y="5104"/>
                    <a:pt x="4632" y="4694"/>
                    <a:pt x="4632" y="4253"/>
                  </a:cubicBezTo>
                  <a:cubicBezTo>
                    <a:pt x="4632" y="3340"/>
                    <a:pt x="4065" y="2520"/>
                    <a:pt x="3183" y="2237"/>
                  </a:cubicBezTo>
                  <a:cubicBezTo>
                    <a:pt x="3057" y="977"/>
                    <a:pt x="2017"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3" name="Google Shape;8513;p75"/>
            <p:cNvSpPr/>
            <p:nvPr/>
          </p:nvSpPr>
          <p:spPr>
            <a:xfrm>
              <a:off x="-20890700" y="3586425"/>
              <a:ext cx="195375" cy="35475"/>
            </a:xfrm>
            <a:custGeom>
              <a:avLst/>
              <a:gdLst/>
              <a:ahLst/>
              <a:cxnLst/>
              <a:rect l="l" t="t" r="r" b="b"/>
              <a:pathLst>
                <a:path w="7815" h="1419" extrusionOk="0">
                  <a:moveTo>
                    <a:pt x="2112" y="1"/>
                  </a:moveTo>
                  <a:lnTo>
                    <a:pt x="2112" y="725"/>
                  </a:lnTo>
                  <a:lnTo>
                    <a:pt x="347" y="725"/>
                  </a:lnTo>
                  <a:cubicBezTo>
                    <a:pt x="158" y="725"/>
                    <a:pt x="1" y="883"/>
                    <a:pt x="1" y="1072"/>
                  </a:cubicBezTo>
                  <a:cubicBezTo>
                    <a:pt x="1" y="1261"/>
                    <a:pt x="158" y="1418"/>
                    <a:pt x="347" y="1418"/>
                  </a:cubicBezTo>
                  <a:lnTo>
                    <a:pt x="7468" y="1418"/>
                  </a:lnTo>
                  <a:cubicBezTo>
                    <a:pt x="7657" y="1418"/>
                    <a:pt x="7814" y="1261"/>
                    <a:pt x="7814" y="1072"/>
                  </a:cubicBezTo>
                  <a:cubicBezTo>
                    <a:pt x="7814" y="883"/>
                    <a:pt x="7625" y="725"/>
                    <a:pt x="7436" y="725"/>
                  </a:cubicBezTo>
                  <a:lnTo>
                    <a:pt x="5672" y="725"/>
                  </a:lnTo>
                  <a:lnTo>
                    <a:pt x="5672" y="1"/>
                  </a:lnTo>
                  <a:lnTo>
                    <a:pt x="4947" y="1"/>
                  </a:lnTo>
                  <a:lnTo>
                    <a:pt x="4947" y="725"/>
                  </a:lnTo>
                  <a:lnTo>
                    <a:pt x="2836" y="725"/>
                  </a:ln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4" name="Google Shape;8514;p75"/>
          <p:cNvGrpSpPr/>
          <p:nvPr/>
        </p:nvGrpSpPr>
        <p:grpSpPr>
          <a:xfrm>
            <a:off x="1329667" y="2797442"/>
            <a:ext cx="398119" cy="448143"/>
            <a:chOff x="-20930075" y="4066100"/>
            <a:chExt cx="269400" cy="303250"/>
          </a:xfrm>
        </p:grpSpPr>
        <p:sp>
          <p:nvSpPr>
            <p:cNvPr id="8515" name="Google Shape;8515;p75"/>
            <p:cNvSpPr/>
            <p:nvPr/>
          </p:nvSpPr>
          <p:spPr>
            <a:xfrm>
              <a:off x="-20865475" y="4066100"/>
              <a:ext cx="141775" cy="144150"/>
            </a:xfrm>
            <a:custGeom>
              <a:avLst/>
              <a:gdLst/>
              <a:ahLst/>
              <a:cxnLst/>
              <a:rect l="l" t="t" r="r" b="b"/>
              <a:pathLst>
                <a:path w="5671" h="5766" extrusionOk="0">
                  <a:moveTo>
                    <a:pt x="2836" y="2174"/>
                  </a:moveTo>
                  <a:cubicBezTo>
                    <a:pt x="3245" y="2174"/>
                    <a:pt x="3560" y="2489"/>
                    <a:pt x="3560" y="2867"/>
                  </a:cubicBezTo>
                  <a:cubicBezTo>
                    <a:pt x="3560" y="3277"/>
                    <a:pt x="3245" y="3592"/>
                    <a:pt x="2836" y="3592"/>
                  </a:cubicBezTo>
                  <a:cubicBezTo>
                    <a:pt x="2457" y="3592"/>
                    <a:pt x="2142" y="3277"/>
                    <a:pt x="2142" y="2867"/>
                  </a:cubicBezTo>
                  <a:cubicBezTo>
                    <a:pt x="2142" y="2489"/>
                    <a:pt x="2457" y="2174"/>
                    <a:pt x="2836" y="2174"/>
                  </a:cubicBezTo>
                  <a:close/>
                  <a:moveTo>
                    <a:pt x="2836" y="0"/>
                  </a:moveTo>
                  <a:cubicBezTo>
                    <a:pt x="2457" y="0"/>
                    <a:pt x="2111" y="252"/>
                    <a:pt x="1890" y="599"/>
                  </a:cubicBezTo>
                  <a:cubicBezTo>
                    <a:pt x="1791" y="563"/>
                    <a:pt x="1685" y="545"/>
                    <a:pt x="1577" y="545"/>
                  </a:cubicBezTo>
                  <a:cubicBezTo>
                    <a:pt x="1307" y="545"/>
                    <a:pt x="1031" y="657"/>
                    <a:pt x="851" y="882"/>
                  </a:cubicBezTo>
                  <a:cubicBezTo>
                    <a:pt x="630" y="1071"/>
                    <a:pt x="536" y="1355"/>
                    <a:pt x="536" y="1607"/>
                  </a:cubicBezTo>
                  <a:cubicBezTo>
                    <a:pt x="536" y="1733"/>
                    <a:pt x="536" y="1827"/>
                    <a:pt x="567" y="1922"/>
                  </a:cubicBezTo>
                  <a:cubicBezTo>
                    <a:pt x="189" y="2142"/>
                    <a:pt x="0" y="2489"/>
                    <a:pt x="0" y="2867"/>
                  </a:cubicBezTo>
                  <a:cubicBezTo>
                    <a:pt x="0" y="3308"/>
                    <a:pt x="189" y="3655"/>
                    <a:pt x="567" y="3812"/>
                  </a:cubicBezTo>
                  <a:cubicBezTo>
                    <a:pt x="536" y="3938"/>
                    <a:pt x="536" y="4033"/>
                    <a:pt x="536" y="4127"/>
                  </a:cubicBezTo>
                  <a:cubicBezTo>
                    <a:pt x="536" y="4411"/>
                    <a:pt x="630" y="4694"/>
                    <a:pt x="851" y="4883"/>
                  </a:cubicBezTo>
                  <a:cubicBezTo>
                    <a:pt x="1036" y="5092"/>
                    <a:pt x="1325" y="5216"/>
                    <a:pt x="1603" y="5216"/>
                  </a:cubicBezTo>
                  <a:cubicBezTo>
                    <a:pt x="1702" y="5216"/>
                    <a:pt x="1799" y="5200"/>
                    <a:pt x="1890" y="5167"/>
                  </a:cubicBezTo>
                  <a:cubicBezTo>
                    <a:pt x="2111" y="5513"/>
                    <a:pt x="2457" y="5766"/>
                    <a:pt x="2836" y="5766"/>
                  </a:cubicBezTo>
                  <a:cubicBezTo>
                    <a:pt x="3245" y="5766"/>
                    <a:pt x="3592" y="5513"/>
                    <a:pt x="3781" y="5167"/>
                  </a:cubicBezTo>
                  <a:cubicBezTo>
                    <a:pt x="3889" y="5203"/>
                    <a:pt x="3999" y="5221"/>
                    <a:pt x="4109" y="5221"/>
                  </a:cubicBezTo>
                  <a:cubicBezTo>
                    <a:pt x="4382" y="5221"/>
                    <a:pt x="4649" y="5108"/>
                    <a:pt x="4852" y="4883"/>
                  </a:cubicBezTo>
                  <a:cubicBezTo>
                    <a:pt x="5041" y="4694"/>
                    <a:pt x="5167" y="4411"/>
                    <a:pt x="5167" y="4127"/>
                  </a:cubicBezTo>
                  <a:cubicBezTo>
                    <a:pt x="5167" y="4033"/>
                    <a:pt x="5167" y="3938"/>
                    <a:pt x="5135" y="3812"/>
                  </a:cubicBezTo>
                  <a:cubicBezTo>
                    <a:pt x="5482" y="3623"/>
                    <a:pt x="5671" y="3277"/>
                    <a:pt x="5671" y="2867"/>
                  </a:cubicBezTo>
                  <a:cubicBezTo>
                    <a:pt x="5671" y="2489"/>
                    <a:pt x="5450" y="2142"/>
                    <a:pt x="5135" y="1922"/>
                  </a:cubicBezTo>
                  <a:cubicBezTo>
                    <a:pt x="5167" y="1827"/>
                    <a:pt x="5167" y="1733"/>
                    <a:pt x="5167" y="1607"/>
                  </a:cubicBezTo>
                  <a:cubicBezTo>
                    <a:pt x="5167" y="1355"/>
                    <a:pt x="5041" y="1071"/>
                    <a:pt x="4852" y="882"/>
                  </a:cubicBezTo>
                  <a:cubicBezTo>
                    <a:pt x="4643" y="673"/>
                    <a:pt x="4348" y="550"/>
                    <a:pt x="4069" y="550"/>
                  </a:cubicBezTo>
                  <a:cubicBezTo>
                    <a:pt x="3969" y="550"/>
                    <a:pt x="3872" y="566"/>
                    <a:pt x="3781" y="599"/>
                  </a:cubicBezTo>
                  <a:cubicBezTo>
                    <a:pt x="3592" y="252"/>
                    <a:pt x="3245"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6" name="Google Shape;8516;p75"/>
            <p:cNvSpPr/>
            <p:nvPr/>
          </p:nvSpPr>
          <p:spPr>
            <a:xfrm>
              <a:off x="-20930075" y="4191325"/>
              <a:ext cx="269400" cy="178025"/>
            </a:xfrm>
            <a:custGeom>
              <a:avLst/>
              <a:gdLst/>
              <a:ahLst/>
              <a:cxnLst/>
              <a:rect l="l" t="t" r="r" b="b"/>
              <a:pathLst>
                <a:path w="10776" h="7121" extrusionOk="0">
                  <a:moveTo>
                    <a:pt x="379" y="0"/>
                  </a:moveTo>
                  <a:cubicBezTo>
                    <a:pt x="253" y="0"/>
                    <a:pt x="190" y="32"/>
                    <a:pt x="95" y="95"/>
                  </a:cubicBezTo>
                  <a:cubicBezTo>
                    <a:pt x="32" y="189"/>
                    <a:pt x="1" y="252"/>
                    <a:pt x="1" y="378"/>
                  </a:cubicBezTo>
                  <a:cubicBezTo>
                    <a:pt x="1" y="473"/>
                    <a:pt x="190" y="2710"/>
                    <a:pt x="1103" y="3655"/>
                  </a:cubicBezTo>
                  <a:cubicBezTo>
                    <a:pt x="1513" y="4096"/>
                    <a:pt x="1922" y="4285"/>
                    <a:pt x="2364" y="4285"/>
                  </a:cubicBezTo>
                  <a:cubicBezTo>
                    <a:pt x="2679" y="4285"/>
                    <a:pt x="3025" y="4159"/>
                    <a:pt x="3340" y="3907"/>
                  </a:cubicBezTo>
                  <a:lnTo>
                    <a:pt x="4947" y="5514"/>
                  </a:lnTo>
                  <a:lnTo>
                    <a:pt x="4947" y="6427"/>
                  </a:lnTo>
                  <a:lnTo>
                    <a:pt x="2458" y="6427"/>
                  </a:lnTo>
                  <a:cubicBezTo>
                    <a:pt x="2269" y="6427"/>
                    <a:pt x="2112" y="6585"/>
                    <a:pt x="2112" y="6774"/>
                  </a:cubicBezTo>
                  <a:cubicBezTo>
                    <a:pt x="2112" y="6963"/>
                    <a:pt x="2269" y="7120"/>
                    <a:pt x="2458" y="7120"/>
                  </a:cubicBezTo>
                  <a:lnTo>
                    <a:pt x="8192" y="7120"/>
                  </a:lnTo>
                  <a:cubicBezTo>
                    <a:pt x="8381" y="7120"/>
                    <a:pt x="8539" y="6963"/>
                    <a:pt x="8539" y="6774"/>
                  </a:cubicBezTo>
                  <a:cubicBezTo>
                    <a:pt x="8539" y="6585"/>
                    <a:pt x="8381" y="6427"/>
                    <a:pt x="8192" y="6427"/>
                  </a:cubicBezTo>
                  <a:lnTo>
                    <a:pt x="5672" y="6427"/>
                  </a:lnTo>
                  <a:lnTo>
                    <a:pt x="5672" y="6207"/>
                  </a:lnTo>
                  <a:lnTo>
                    <a:pt x="7278" y="4600"/>
                  </a:lnTo>
                  <a:cubicBezTo>
                    <a:pt x="7751" y="4884"/>
                    <a:pt x="8066" y="5010"/>
                    <a:pt x="8413" y="5010"/>
                  </a:cubicBezTo>
                  <a:cubicBezTo>
                    <a:pt x="8854" y="5010"/>
                    <a:pt x="9232" y="4789"/>
                    <a:pt x="9673" y="4380"/>
                  </a:cubicBezTo>
                  <a:cubicBezTo>
                    <a:pt x="10586" y="3466"/>
                    <a:pt x="10775" y="1229"/>
                    <a:pt x="10775" y="1103"/>
                  </a:cubicBezTo>
                  <a:cubicBezTo>
                    <a:pt x="10775" y="977"/>
                    <a:pt x="10744" y="883"/>
                    <a:pt x="10649" y="820"/>
                  </a:cubicBezTo>
                  <a:cubicBezTo>
                    <a:pt x="10586" y="757"/>
                    <a:pt x="10492" y="693"/>
                    <a:pt x="10397" y="693"/>
                  </a:cubicBezTo>
                  <a:cubicBezTo>
                    <a:pt x="10303" y="693"/>
                    <a:pt x="8066" y="883"/>
                    <a:pt x="7121" y="1796"/>
                  </a:cubicBezTo>
                  <a:cubicBezTo>
                    <a:pt x="6365" y="2552"/>
                    <a:pt x="6302" y="3308"/>
                    <a:pt x="6869" y="4033"/>
                  </a:cubicBezTo>
                  <a:lnTo>
                    <a:pt x="5735" y="5167"/>
                  </a:lnTo>
                  <a:lnTo>
                    <a:pt x="5735" y="1324"/>
                  </a:lnTo>
                  <a:cubicBezTo>
                    <a:pt x="5609" y="1387"/>
                    <a:pt x="5514" y="1387"/>
                    <a:pt x="5388" y="1387"/>
                  </a:cubicBezTo>
                  <a:cubicBezTo>
                    <a:pt x="5262" y="1387"/>
                    <a:pt x="5136" y="1387"/>
                    <a:pt x="5041" y="1324"/>
                  </a:cubicBezTo>
                  <a:lnTo>
                    <a:pt x="5041" y="4443"/>
                  </a:lnTo>
                  <a:lnTo>
                    <a:pt x="3876" y="3340"/>
                  </a:lnTo>
                  <a:cubicBezTo>
                    <a:pt x="4474" y="2584"/>
                    <a:pt x="4411" y="1828"/>
                    <a:pt x="3655" y="1103"/>
                  </a:cubicBezTo>
                  <a:cubicBezTo>
                    <a:pt x="2742" y="189"/>
                    <a:pt x="505"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7" name="Google Shape;8517;p75"/>
          <p:cNvGrpSpPr/>
          <p:nvPr/>
        </p:nvGrpSpPr>
        <p:grpSpPr>
          <a:xfrm>
            <a:off x="4071911" y="2797422"/>
            <a:ext cx="450470" cy="448180"/>
            <a:chOff x="-19020075" y="4084200"/>
            <a:chExt cx="304825" cy="303275"/>
          </a:xfrm>
        </p:grpSpPr>
        <p:sp>
          <p:nvSpPr>
            <p:cNvPr id="8518" name="Google Shape;8518;p75"/>
            <p:cNvSpPr/>
            <p:nvPr/>
          </p:nvSpPr>
          <p:spPr>
            <a:xfrm>
              <a:off x="-18962575" y="4274800"/>
              <a:ext cx="103975" cy="94550"/>
            </a:xfrm>
            <a:custGeom>
              <a:avLst/>
              <a:gdLst/>
              <a:ahLst/>
              <a:cxnLst/>
              <a:rect l="l" t="t" r="r" b="b"/>
              <a:pathLst>
                <a:path w="4159" h="3782" extrusionOk="0">
                  <a:moveTo>
                    <a:pt x="3403" y="1"/>
                  </a:moveTo>
                  <a:cubicBezTo>
                    <a:pt x="3151" y="1356"/>
                    <a:pt x="1985" y="2364"/>
                    <a:pt x="599" y="2364"/>
                  </a:cubicBezTo>
                  <a:cubicBezTo>
                    <a:pt x="410" y="2364"/>
                    <a:pt x="221" y="2332"/>
                    <a:pt x="0" y="2301"/>
                  </a:cubicBezTo>
                  <a:lnTo>
                    <a:pt x="0" y="2301"/>
                  </a:lnTo>
                  <a:cubicBezTo>
                    <a:pt x="284" y="3151"/>
                    <a:pt x="1071" y="3781"/>
                    <a:pt x="2048" y="3781"/>
                  </a:cubicBezTo>
                  <a:cubicBezTo>
                    <a:pt x="3214" y="3781"/>
                    <a:pt x="4159" y="2836"/>
                    <a:pt x="4159" y="1671"/>
                  </a:cubicBezTo>
                  <a:cubicBezTo>
                    <a:pt x="4159" y="978"/>
                    <a:pt x="3875" y="410"/>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9" name="Google Shape;8519;p75"/>
            <p:cNvSpPr/>
            <p:nvPr/>
          </p:nvSpPr>
          <p:spPr>
            <a:xfrm>
              <a:off x="-18883025" y="4281900"/>
              <a:ext cx="78000" cy="105575"/>
            </a:xfrm>
            <a:custGeom>
              <a:avLst/>
              <a:gdLst/>
              <a:ahLst/>
              <a:cxnLst/>
              <a:rect l="l" t="t" r="r" b="b"/>
              <a:pathLst>
                <a:path w="3120" h="4223" extrusionOk="0">
                  <a:moveTo>
                    <a:pt x="1323" y="0"/>
                  </a:moveTo>
                  <a:lnTo>
                    <a:pt x="1323" y="0"/>
                  </a:lnTo>
                  <a:cubicBezTo>
                    <a:pt x="1544" y="442"/>
                    <a:pt x="1670" y="914"/>
                    <a:pt x="1670" y="1387"/>
                  </a:cubicBezTo>
                  <a:cubicBezTo>
                    <a:pt x="1670" y="2552"/>
                    <a:pt x="977" y="3529"/>
                    <a:pt x="0" y="3970"/>
                  </a:cubicBezTo>
                  <a:cubicBezTo>
                    <a:pt x="284" y="4128"/>
                    <a:pt x="599" y="4222"/>
                    <a:pt x="977" y="4222"/>
                  </a:cubicBezTo>
                  <a:cubicBezTo>
                    <a:pt x="2142" y="4222"/>
                    <a:pt x="3088" y="3277"/>
                    <a:pt x="3088" y="2080"/>
                  </a:cubicBezTo>
                  <a:cubicBezTo>
                    <a:pt x="3119" y="1072"/>
                    <a:pt x="2331" y="189"/>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0" name="Google Shape;8520;p75"/>
            <p:cNvSpPr/>
            <p:nvPr/>
          </p:nvSpPr>
          <p:spPr>
            <a:xfrm>
              <a:off x="-18809000" y="4281100"/>
              <a:ext cx="57525" cy="88250"/>
            </a:xfrm>
            <a:custGeom>
              <a:avLst/>
              <a:gdLst/>
              <a:ahLst/>
              <a:cxnLst/>
              <a:rect l="l" t="t" r="r" b="b"/>
              <a:pathLst>
                <a:path w="2301" h="3530" extrusionOk="0">
                  <a:moveTo>
                    <a:pt x="536" y="1"/>
                  </a:moveTo>
                  <a:cubicBezTo>
                    <a:pt x="316" y="1"/>
                    <a:pt x="158" y="32"/>
                    <a:pt x="1" y="64"/>
                  </a:cubicBezTo>
                  <a:cubicBezTo>
                    <a:pt x="568" y="568"/>
                    <a:pt x="883" y="1324"/>
                    <a:pt x="883" y="2112"/>
                  </a:cubicBezTo>
                  <a:cubicBezTo>
                    <a:pt x="883" y="2616"/>
                    <a:pt x="725" y="3088"/>
                    <a:pt x="473" y="3529"/>
                  </a:cubicBezTo>
                  <a:lnTo>
                    <a:pt x="536" y="3529"/>
                  </a:lnTo>
                  <a:cubicBezTo>
                    <a:pt x="1513" y="3529"/>
                    <a:pt x="2300" y="2742"/>
                    <a:pt x="2300" y="1765"/>
                  </a:cubicBezTo>
                  <a:cubicBezTo>
                    <a:pt x="2300" y="820"/>
                    <a:pt x="1513"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1" name="Google Shape;8521;p75"/>
            <p:cNvSpPr/>
            <p:nvPr/>
          </p:nvSpPr>
          <p:spPr>
            <a:xfrm>
              <a:off x="-18770400" y="4263000"/>
              <a:ext cx="55150" cy="66975"/>
            </a:xfrm>
            <a:custGeom>
              <a:avLst/>
              <a:gdLst/>
              <a:ahLst/>
              <a:cxnLst/>
              <a:rect l="l" t="t" r="r" b="b"/>
              <a:pathLst>
                <a:path w="2206" h="2679" extrusionOk="0">
                  <a:moveTo>
                    <a:pt x="756" y="0"/>
                  </a:moveTo>
                  <a:cubicBezTo>
                    <a:pt x="473" y="0"/>
                    <a:pt x="189" y="95"/>
                    <a:pt x="0" y="252"/>
                  </a:cubicBezTo>
                  <a:cubicBezTo>
                    <a:pt x="882" y="630"/>
                    <a:pt x="1450" y="1513"/>
                    <a:pt x="1450" y="2521"/>
                  </a:cubicBezTo>
                  <a:lnTo>
                    <a:pt x="1450" y="2678"/>
                  </a:lnTo>
                  <a:cubicBezTo>
                    <a:pt x="1891" y="2458"/>
                    <a:pt x="2206" y="1985"/>
                    <a:pt x="2206" y="1450"/>
                  </a:cubicBezTo>
                  <a:cubicBezTo>
                    <a:pt x="2174" y="662"/>
                    <a:pt x="1544"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2" name="Google Shape;8522;p75"/>
            <p:cNvSpPr/>
            <p:nvPr/>
          </p:nvSpPr>
          <p:spPr>
            <a:xfrm>
              <a:off x="-18768050" y="4227550"/>
              <a:ext cx="52025" cy="31525"/>
            </a:xfrm>
            <a:custGeom>
              <a:avLst/>
              <a:gdLst/>
              <a:ahLst/>
              <a:cxnLst/>
              <a:rect l="l" t="t" r="r" b="b"/>
              <a:pathLst>
                <a:path w="2081" h="1261" extrusionOk="0">
                  <a:moveTo>
                    <a:pt x="1009" y="1"/>
                  </a:moveTo>
                  <a:cubicBezTo>
                    <a:pt x="505" y="1"/>
                    <a:pt x="64" y="347"/>
                    <a:pt x="1" y="820"/>
                  </a:cubicBezTo>
                  <a:cubicBezTo>
                    <a:pt x="221" y="757"/>
                    <a:pt x="410" y="725"/>
                    <a:pt x="662" y="725"/>
                  </a:cubicBezTo>
                  <a:cubicBezTo>
                    <a:pt x="1198" y="725"/>
                    <a:pt x="1671" y="946"/>
                    <a:pt x="2080" y="1261"/>
                  </a:cubicBezTo>
                  <a:lnTo>
                    <a:pt x="2080" y="1072"/>
                  </a:lnTo>
                  <a:cubicBezTo>
                    <a:pt x="2080" y="473"/>
                    <a:pt x="1608"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5"/>
            <p:cNvSpPr/>
            <p:nvPr/>
          </p:nvSpPr>
          <p:spPr>
            <a:xfrm>
              <a:off x="-19000400" y="4262200"/>
              <a:ext cx="106350" cy="52800"/>
            </a:xfrm>
            <a:custGeom>
              <a:avLst/>
              <a:gdLst/>
              <a:ahLst/>
              <a:cxnLst/>
              <a:rect l="l" t="t" r="r" b="b"/>
              <a:pathLst>
                <a:path w="4254" h="2112" extrusionOk="0">
                  <a:moveTo>
                    <a:pt x="1" y="1"/>
                  </a:moveTo>
                  <a:cubicBezTo>
                    <a:pt x="1" y="1167"/>
                    <a:pt x="946" y="2112"/>
                    <a:pt x="2112" y="2112"/>
                  </a:cubicBezTo>
                  <a:cubicBezTo>
                    <a:pt x="3309" y="2112"/>
                    <a:pt x="4254" y="1230"/>
                    <a:pt x="4254" y="32"/>
                  </a:cubicBezTo>
                  <a:lnTo>
                    <a:pt x="4254" y="32"/>
                  </a:lnTo>
                  <a:cubicBezTo>
                    <a:pt x="3655" y="473"/>
                    <a:pt x="2899" y="757"/>
                    <a:pt x="2112" y="757"/>
                  </a:cubicBezTo>
                  <a:cubicBezTo>
                    <a:pt x="1324" y="757"/>
                    <a:pt x="568" y="47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75"/>
            <p:cNvSpPr/>
            <p:nvPr/>
          </p:nvSpPr>
          <p:spPr>
            <a:xfrm>
              <a:off x="-18912175" y="4173200"/>
              <a:ext cx="18125" cy="35475"/>
            </a:xfrm>
            <a:custGeom>
              <a:avLst/>
              <a:gdLst/>
              <a:ahLst/>
              <a:cxnLst/>
              <a:rect l="l" t="t" r="r" b="b"/>
              <a:pathLst>
                <a:path w="725" h="1419" extrusionOk="0">
                  <a:moveTo>
                    <a:pt x="378" y="1"/>
                  </a:moveTo>
                  <a:cubicBezTo>
                    <a:pt x="189" y="1"/>
                    <a:pt x="0" y="284"/>
                    <a:pt x="0" y="725"/>
                  </a:cubicBezTo>
                  <a:cubicBezTo>
                    <a:pt x="0" y="1166"/>
                    <a:pt x="189" y="1418"/>
                    <a:pt x="378" y="1418"/>
                  </a:cubicBezTo>
                  <a:cubicBezTo>
                    <a:pt x="536" y="1418"/>
                    <a:pt x="725" y="1166"/>
                    <a:pt x="725" y="725"/>
                  </a:cubicBezTo>
                  <a:cubicBezTo>
                    <a:pt x="725" y="284"/>
                    <a:pt x="536"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75"/>
            <p:cNvSpPr/>
            <p:nvPr/>
          </p:nvSpPr>
          <p:spPr>
            <a:xfrm>
              <a:off x="-19001975" y="4173200"/>
              <a:ext cx="18150" cy="35475"/>
            </a:xfrm>
            <a:custGeom>
              <a:avLst/>
              <a:gdLst/>
              <a:ahLst/>
              <a:cxnLst/>
              <a:rect l="l" t="t" r="r" b="b"/>
              <a:pathLst>
                <a:path w="726" h="1419" extrusionOk="0">
                  <a:moveTo>
                    <a:pt x="379" y="1"/>
                  </a:moveTo>
                  <a:cubicBezTo>
                    <a:pt x="221" y="1"/>
                    <a:pt x="1" y="284"/>
                    <a:pt x="1" y="725"/>
                  </a:cubicBezTo>
                  <a:cubicBezTo>
                    <a:pt x="1" y="1166"/>
                    <a:pt x="221" y="1418"/>
                    <a:pt x="379" y="1418"/>
                  </a:cubicBezTo>
                  <a:cubicBezTo>
                    <a:pt x="536" y="1418"/>
                    <a:pt x="725" y="1166"/>
                    <a:pt x="725" y="725"/>
                  </a:cubicBezTo>
                  <a:cubicBezTo>
                    <a:pt x="725" y="284"/>
                    <a:pt x="536"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5"/>
            <p:cNvSpPr/>
            <p:nvPr/>
          </p:nvSpPr>
          <p:spPr>
            <a:xfrm>
              <a:off x="-19020075" y="4084200"/>
              <a:ext cx="143375" cy="178025"/>
            </a:xfrm>
            <a:custGeom>
              <a:avLst/>
              <a:gdLst/>
              <a:ahLst/>
              <a:cxnLst/>
              <a:rect l="l" t="t" r="r" b="b"/>
              <a:pathLst>
                <a:path w="5735" h="7121" extrusionOk="0">
                  <a:moveTo>
                    <a:pt x="1418" y="1"/>
                  </a:moveTo>
                  <a:cubicBezTo>
                    <a:pt x="630" y="1"/>
                    <a:pt x="0" y="662"/>
                    <a:pt x="0" y="1450"/>
                  </a:cubicBezTo>
                  <a:cubicBezTo>
                    <a:pt x="0" y="1923"/>
                    <a:pt x="221" y="2301"/>
                    <a:pt x="567" y="2584"/>
                  </a:cubicBezTo>
                  <a:cubicBezTo>
                    <a:pt x="315" y="2962"/>
                    <a:pt x="95" y="3435"/>
                    <a:pt x="32" y="3907"/>
                  </a:cubicBezTo>
                  <a:cubicBezTo>
                    <a:pt x="158" y="3277"/>
                    <a:pt x="536" y="2868"/>
                    <a:pt x="1040" y="2868"/>
                  </a:cubicBezTo>
                  <a:cubicBezTo>
                    <a:pt x="1638" y="2868"/>
                    <a:pt x="2111" y="3498"/>
                    <a:pt x="2111" y="4285"/>
                  </a:cubicBezTo>
                  <a:cubicBezTo>
                    <a:pt x="2111" y="5073"/>
                    <a:pt x="1638" y="5703"/>
                    <a:pt x="1040" y="5703"/>
                  </a:cubicBezTo>
                  <a:cubicBezTo>
                    <a:pt x="567" y="5703"/>
                    <a:pt x="158" y="5262"/>
                    <a:pt x="32" y="4632"/>
                  </a:cubicBezTo>
                  <a:lnTo>
                    <a:pt x="32" y="4632"/>
                  </a:lnTo>
                  <a:cubicBezTo>
                    <a:pt x="189" y="6050"/>
                    <a:pt x="1418" y="7121"/>
                    <a:pt x="2867" y="7121"/>
                  </a:cubicBezTo>
                  <a:cubicBezTo>
                    <a:pt x="4316" y="7121"/>
                    <a:pt x="5514" y="6018"/>
                    <a:pt x="5703" y="4632"/>
                  </a:cubicBezTo>
                  <a:lnTo>
                    <a:pt x="5703" y="4632"/>
                  </a:lnTo>
                  <a:cubicBezTo>
                    <a:pt x="5577" y="5262"/>
                    <a:pt x="5199" y="5703"/>
                    <a:pt x="4694" y="5703"/>
                  </a:cubicBezTo>
                  <a:cubicBezTo>
                    <a:pt x="4096" y="5703"/>
                    <a:pt x="3623" y="5073"/>
                    <a:pt x="3623" y="4285"/>
                  </a:cubicBezTo>
                  <a:cubicBezTo>
                    <a:pt x="3623" y="3498"/>
                    <a:pt x="4096" y="2868"/>
                    <a:pt x="4694" y="2868"/>
                  </a:cubicBezTo>
                  <a:cubicBezTo>
                    <a:pt x="5199" y="2868"/>
                    <a:pt x="5577" y="3277"/>
                    <a:pt x="5703" y="3907"/>
                  </a:cubicBezTo>
                  <a:cubicBezTo>
                    <a:pt x="5608" y="3403"/>
                    <a:pt x="5419" y="2962"/>
                    <a:pt x="5136" y="2584"/>
                  </a:cubicBezTo>
                  <a:cubicBezTo>
                    <a:pt x="5514" y="2301"/>
                    <a:pt x="5734" y="1923"/>
                    <a:pt x="5734" y="1450"/>
                  </a:cubicBezTo>
                  <a:cubicBezTo>
                    <a:pt x="5734" y="662"/>
                    <a:pt x="5104" y="1"/>
                    <a:pt x="4316" y="1"/>
                  </a:cubicBezTo>
                  <a:cubicBezTo>
                    <a:pt x="4127" y="1"/>
                    <a:pt x="3970" y="127"/>
                    <a:pt x="3970" y="347"/>
                  </a:cubicBezTo>
                  <a:cubicBezTo>
                    <a:pt x="3970" y="536"/>
                    <a:pt x="4127" y="694"/>
                    <a:pt x="4316" y="694"/>
                  </a:cubicBezTo>
                  <a:cubicBezTo>
                    <a:pt x="4726" y="694"/>
                    <a:pt x="5041" y="1040"/>
                    <a:pt x="5041" y="1450"/>
                  </a:cubicBezTo>
                  <a:cubicBezTo>
                    <a:pt x="5041" y="1702"/>
                    <a:pt x="4883" y="1954"/>
                    <a:pt x="4631" y="2080"/>
                  </a:cubicBezTo>
                  <a:cubicBezTo>
                    <a:pt x="4159" y="1670"/>
                    <a:pt x="3529" y="1450"/>
                    <a:pt x="2867" y="1450"/>
                  </a:cubicBezTo>
                  <a:cubicBezTo>
                    <a:pt x="2206" y="1450"/>
                    <a:pt x="1607" y="1670"/>
                    <a:pt x="1103" y="2080"/>
                  </a:cubicBezTo>
                  <a:cubicBezTo>
                    <a:pt x="851" y="1954"/>
                    <a:pt x="693" y="1702"/>
                    <a:pt x="693" y="1450"/>
                  </a:cubicBezTo>
                  <a:cubicBezTo>
                    <a:pt x="693" y="1040"/>
                    <a:pt x="1008" y="694"/>
                    <a:pt x="1418" y="694"/>
                  </a:cubicBezTo>
                  <a:cubicBezTo>
                    <a:pt x="1607" y="694"/>
                    <a:pt x="1764" y="536"/>
                    <a:pt x="1764" y="347"/>
                  </a:cubicBezTo>
                  <a:cubicBezTo>
                    <a:pt x="1764" y="127"/>
                    <a:pt x="1607"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75"/>
          <p:cNvGrpSpPr/>
          <p:nvPr/>
        </p:nvGrpSpPr>
        <p:grpSpPr>
          <a:xfrm>
            <a:off x="6889176" y="1689001"/>
            <a:ext cx="396937" cy="450470"/>
            <a:chOff x="-17149475" y="3309200"/>
            <a:chExt cx="268600" cy="304825"/>
          </a:xfrm>
        </p:grpSpPr>
        <p:sp>
          <p:nvSpPr>
            <p:cNvPr id="8528" name="Google Shape;8528;p75"/>
            <p:cNvSpPr/>
            <p:nvPr/>
          </p:nvSpPr>
          <p:spPr>
            <a:xfrm>
              <a:off x="-17021100" y="3309200"/>
              <a:ext cx="102425" cy="72475"/>
            </a:xfrm>
            <a:custGeom>
              <a:avLst/>
              <a:gdLst/>
              <a:ahLst/>
              <a:cxnLst/>
              <a:rect l="l" t="t" r="r" b="b"/>
              <a:pathLst>
                <a:path w="4097" h="2899" extrusionOk="0">
                  <a:moveTo>
                    <a:pt x="1639" y="0"/>
                  </a:moveTo>
                  <a:cubicBezTo>
                    <a:pt x="914" y="0"/>
                    <a:pt x="284" y="441"/>
                    <a:pt x="1" y="1071"/>
                  </a:cubicBezTo>
                  <a:cubicBezTo>
                    <a:pt x="631" y="1418"/>
                    <a:pt x="1103" y="2111"/>
                    <a:pt x="1230" y="2898"/>
                  </a:cubicBezTo>
                  <a:cubicBezTo>
                    <a:pt x="1356" y="2867"/>
                    <a:pt x="1482" y="2835"/>
                    <a:pt x="1639" y="2835"/>
                  </a:cubicBezTo>
                  <a:cubicBezTo>
                    <a:pt x="2994" y="2835"/>
                    <a:pt x="4096" y="1733"/>
                    <a:pt x="4096" y="347"/>
                  </a:cubicBezTo>
                  <a:cubicBezTo>
                    <a:pt x="4096" y="158"/>
                    <a:pt x="3939"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75"/>
            <p:cNvSpPr/>
            <p:nvPr/>
          </p:nvSpPr>
          <p:spPr>
            <a:xfrm>
              <a:off x="-17149475" y="3346200"/>
              <a:ext cx="268600" cy="267825"/>
            </a:xfrm>
            <a:custGeom>
              <a:avLst/>
              <a:gdLst/>
              <a:ahLst/>
              <a:cxnLst/>
              <a:rect l="l" t="t" r="r" b="b"/>
              <a:pathLst>
                <a:path w="10744" h="10713" extrusionOk="0">
                  <a:moveTo>
                    <a:pt x="3939" y="1"/>
                  </a:moveTo>
                  <a:cubicBezTo>
                    <a:pt x="3718" y="1"/>
                    <a:pt x="3561" y="158"/>
                    <a:pt x="3561" y="379"/>
                  </a:cubicBezTo>
                  <a:cubicBezTo>
                    <a:pt x="3561" y="568"/>
                    <a:pt x="3718" y="725"/>
                    <a:pt x="3939" y="725"/>
                  </a:cubicBezTo>
                  <a:cubicBezTo>
                    <a:pt x="4506" y="725"/>
                    <a:pt x="4978" y="1198"/>
                    <a:pt x="4978" y="1797"/>
                  </a:cubicBezTo>
                  <a:lnTo>
                    <a:pt x="4978" y="2364"/>
                  </a:lnTo>
                  <a:cubicBezTo>
                    <a:pt x="4569" y="2206"/>
                    <a:pt x="4096" y="2143"/>
                    <a:pt x="3592" y="2143"/>
                  </a:cubicBezTo>
                  <a:cubicBezTo>
                    <a:pt x="1418" y="2143"/>
                    <a:pt x="1" y="3561"/>
                    <a:pt x="1" y="5735"/>
                  </a:cubicBezTo>
                  <a:cubicBezTo>
                    <a:pt x="1" y="8034"/>
                    <a:pt x="1576" y="10712"/>
                    <a:pt x="3592" y="10712"/>
                  </a:cubicBezTo>
                  <a:cubicBezTo>
                    <a:pt x="3813" y="10712"/>
                    <a:pt x="4002" y="10681"/>
                    <a:pt x="4254" y="10649"/>
                  </a:cubicBezTo>
                  <a:cubicBezTo>
                    <a:pt x="4632" y="10523"/>
                    <a:pt x="5002" y="10460"/>
                    <a:pt x="5372" y="10460"/>
                  </a:cubicBezTo>
                  <a:cubicBezTo>
                    <a:pt x="5742" y="10460"/>
                    <a:pt x="6112" y="10523"/>
                    <a:pt x="6491" y="10649"/>
                  </a:cubicBezTo>
                  <a:cubicBezTo>
                    <a:pt x="6680" y="10712"/>
                    <a:pt x="6932" y="10712"/>
                    <a:pt x="7152" y="10712"/>
                  </a:cubicBezTo>
                  <a:cubicBezTo>
                    <a:pt x="9168" y="10712"/>
                    <a:pt x="10744" y="8034"/>
                    <a:pt x="10744" y="5735"/>
                  </a:cubicBezTo>
                  <a:cubicBezTo>
                    <a:pt x="10649" y="3529"/>
                    <a:pt x="9294" y="2143"/>
                    <a:pt x="7121" y="2143"/>
                  </a:cubicBezTo>
                  <a:cubicBezTo>
                    <a:pt x="6617" y="2143"/>
                    <a:pt x="6144" y="2206"/>
                    <a:pt x="5703" y="2364"/>
                  </a:cubicBezTo>
                  <a:lnTo>
                    <a:pt x="5703" y="1797"/>
                  </a:lnTo>
                  <a:cubicBezTo>
                    <a:pt x="5703" y="788"/>
                    <a:pt x="4915" y="1"/>
                    <a:pt x="39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0" name="Google Shape;8530;p75"/>
          <p:cNvGrpSpPr/>
          <p:nvPr/>
        </p:nvGrpSpPr>
        <p:grpSpPr>
          <a:xfrm>
            <a:off x="6862982" y="2258120"/>
            <a:ext cx="449325" cy="420249"/>
            <a:chOff x="-17168375" y="3692750"/>
            <a:chExt cx="304050" cy="284375"/>
          </a:xfrm>
        </p:grpSpPr>
        <p:sp>
          <p:nvSpPr>
            <p:cNvPr id="8531" name="Google Shape;8531;p75"/>
            <p:cNvSpPr/>
            <p:nvPr/>
          </p:nvSpPr>
          <p:spPr>
            <a:xfrm>
              <a:off x="-16963600" y="3694325"/>
              <a:ext cx="99275" cy="92175"/>
            </a:xfrm>
            <a:custGeom>
              <a:avLst/>
              <a:gdLst/>
              <a:ahLst/>
              <a:cxnLst/>
              <a:rect l="l" t="t" r="r" b="b"/>
              <a:pathLst>
                <a:path w="3971" h="3687" extrusionOk="0">
                  <a:moveTo>
                    <a:pt x="1859" y="1"/>
                  </a:moveTo>
                  <a:cubicBezTo>
                    <a:pt x="1072" y="1"/>
                    <a:pt x="379" y="410"/>
                    <a:pt x="1" y="1041"/>
                  </a:cubicBezTo>
                  <a:cubicBezTo>
                    <a:pt x="1387" y="1482"/>
                    <a:pt x="2553" y="2458"/>
                    <a:pt x="3277" y="3687"/>
                  </a:cubicBezTo>
                  <a:cubicBezTo>
                    <a:pt x="3687" y="3277"/>
                    <a:pt x="3970" y="2710"/>
                    <a:pt x="3970" y="2112"/>
                  </a:cubicBezTo>
                  <a:cubicBezTo>
                    <a:pt x="3970" y="915"/>
                    <a:pt x="3025"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75"/>
            <p:cNvSpPr/>
            <p:nvPr/>
          </p:nvSpPr>
          <p:spPr>
            <a:xfrm>
              <a:off x="-17102225" y="3817525"/>
              <a:ext cx="61475" cy="69650"/>
            </a:xfrm>
            <a:custGeom>
              <a:avLst/>
              <a:gdLst/>
              <a:ahLst/>
              <a:cxnLst/>
              <a:rect l="l" t="t" r="r" b="b"/>
              <a:pathLst>
                <a:path w="2459" h="2786" extrusionOk="0">
                  <a:moveTo>
                    <a:pt x="1293" y="1437"/>
                  </a:moveTo>
                  <a:cubicBezTo>
                    <a:pt x="1482" y="1437"/>
                    <a:pt x="1639" y="1594"/>
                    <a:pt x="1639" y="1783"/>
                  </a:cubicBezTo>
                  <a:cubicBezTo>
                    <a:pt x="1639" y="2004"/>
                    <a:pt x="1482" y="2161"/>
                    <a:pt x="1293" y="2161"/>
                  </a:cubicBezTo>
                  <a:cubicBezTo>
                    <a:pt x="1103" y="2161"/>
                    <a:pt x="946" y="2004"/>
                    <a:pt x="946" y="1783"/>
                  </a:cubicBezTo>
                  <a:cubicBezTo>
                    <a:pt x="946" y="1594"/>
                    <a:pt x="1103" y="1437"/>
                    <a:pt x="1293" y="1437"/>
                  </a:cubicBezTo>
                  <a:close/>
                  <a:moveTo>
                    <a:pt x="1452" y="0"/>
                  </a:moveTo>
                  <a:cubicBezTo>
                    <a:pt x="939" y="0"/>
                    <a:pt x="434" y="473"/>
                    <a:pt x="221" y="1059"/>
                  </a:cubicBezTo>
                  <a:cubicBezTo>
                    <a:pt x="1" y="1720"/>
                    <a:pt x="158" y="2539"/>
                    <a:pt x="725" y="2729"/>
                  </a:cubicBezTo>
                  <a:cubicBezTo>
                    <a:pt x="818" y="2768"/>
                    <a:pt x="916" y="2786"/>
                    <a:pt x="1017" y="2786"/>
                  </a:cubicBezTo>
                  <a:cubicBezTo>
                    <a:pt x="1157" y="2786"/>
                    <a:pt x="1304" y="2752"/>
                    <a:pt x="1450" y="2697"/>
                  </a:cubicBezTo>
                  <a:cubicBezTo>
                    <a:pt x="1576" y="2508"/>
                    <a:pt x="1734" y="2287"/>
                    <a:pt x="1923" y="2098"/>
                  </a:cubicBezTo>
                  <a:cubicBezTo>
                    <a:pt x="1986" y="2004"/>
                    <a:pt x="2112" y="1909"/>
                    <a:pt x="2206" y="1846"/>
                  </a:cubicBezTo>
                  <a:cubicBezTo>
                    <a:pt x="2458" y="1153"/>
                    <a:pt x="2364" y="271"/>
                    <a:pt x="1734" y="51"/>
                  </a:cubicBezTo>
                  <a:cubicBezTo>
                    <a:pt x="1641" y="16"/>
                    <a:pt x="1546" y="0"/>
                    <a:pt x="1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75"/>
            <p:cNvSpPr/>
            <p:nvPr/>
          </p:nvSpPr>
          <p:spPr>
            <a:xfrm>
              <a:off x="-17064400" y="3870925"/>
              <a:ext cx="93750" cy="106200"/>
            </a:xfrm>
            <a:custGeom>
              <a:avLst/>
              <a:gdLst/>
              <a:ahLst/>
              <a:cxnLst/>
              <a:rect l="l" t="t" r="r" b="b"/>
              <a:pathLst>
                <a:path w="3750" h="4248" extrusionOk="0">
                  <a:moveTo>
                    <a:pt x="1992" y="0"/>
                  </a:moveTo>
                  <a:cubicBezTo>
                    <a:pt x="1596" y="0"/>
                    <a:pt x="1195" y="152"/>
                    <a:pt x="945" y="435"/>
                  </a:cubicBezTo>
                  <a:cubicBezTo>
                    <a:pt x="221" y="1286"/>
                    <a:pt x="0" y="1727"/>
                    <a:pt x="284" y="4090"/>
                  </a:cubicBezTo>
                  <a:cubicBezTo>
                    <a:pt x="567" y="4216"/>
                    <a:pt x="914" y="4247"/>
                    <a:pt x="1229" y="4247"/>
                  </a:cubicBezTo>
                  <a:lnTo>
                    <a:pt x="1575" y="4247"/>
                  </a:lnTo>
                  <a:lnTo>
                    <a:pt x="1575" y="2609"/>
                  </a:lnTo>
                  <a:lnTo>
                    <a:pt x="1008" y="2010"/>
                  </a:lnTo>
                  <a:cubicBezTo>
                    <a:pt x="914" y="1947"/>
                    <a:pt x="882" y="1853"/>
                    <a:pt x="882" y="1790"/>
                  </a:cubicBezTo>
                  <a:cubicBezTo>
                    <a:pt x="882" y="1191"/>
                    <a:pt x="1355" y="719"/>
                    <a:pt x="1953" y="719"/>
                  </a:cubicBezTo>
                  <a:cubicBezTo>
                    <a:pt x="2552" y="719"/>
                    <a:pt x="3025" y="1191"/>
                    <a:pt x="3025" y="1790"/>
                  </a:cubicBezTo>
                  <a:cubicBezTo>
                    <a:pt x="3025" y="1853"/>
                    <a:pt x="2962" y="1979"/>
                    <a:pt x="2898" y="2010"/>
                  </a:cubicBezTo>
                  <a:lnTo>
                    <a:pt x="2300" y="2609"/>
                  </a:lnTo>
                  <a:lnTo>
                    <a:pt x="2300" y="4247"/>
                  </a:lnTo>
                  <a:lnTo>
                    <a:pt x="2489" y="4247"/>
                  </a:lnTo>
                  <a:cubicBezTo>
                    <a:pt x="2930" y="4247"/>
                    <a:pt x="3277" y="4216"/>
                    <a:pt x="3655" y="4090"/>
                  </a:cubicBezTo>
                  <a:cubicBezTo>
                    <a:pt x="3749" y="2483"/>
                    <a:pt x="3749" y="1664"/>
                    <a:pt x="3434" y="1065"/>
                  </a:cubicBezTo>
                  <a:cubicBezTo>
                    <a:pt x="3308" y="845"/>
                    <a:pt x="3119" y="593"/>
                    <a:pt x="2930" y="372"/>
                  </a:cubicBezTo>
                  <a:cubicBezTo>
                    <a:pt x="2693" y="120"/>
                    <a:pt x="2344" y="0"/>
                    <a:pt x="1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5"/>
            <p:cNvSpPr/>
            <p:nvPr/>
          </p:nvSpPr>
          <p:spPr>
            <a:xfrm>
              <a:off x="-17025025" y="3907200"/>
              <a:ext cx="15775" cy="13200"/>
            </a:xfrm>
            <a:custGeom>
              <a:avLst/>
              <a:gdLst/>
              <a:ahLst/>
              <a:cxnLst/>
              <a:rect l="l" t="t" r="r" b="b"/>
              <a:pathLst>
                <a:path w="631" h="528" extrusionOk="0">
                  <a:moveTo>
                    <a:pt x="327" y="0"/>
                  </a:moveTo>
                  <a:cubicBezTo>
                    <a:pt x="189" y="0"/>
                    <a:pt x="48" y="71"/>
                    <a:pt x="0" y="213"/>
                  </a:cubicBezTo>
                  <a:lnTo>
                    <a:pt x="315" y="528"/>
                  </a:lnTo>
                  <a:lnTo>
                    <a:pt x="630" y="213"/>
                  </a:lnTo>
                  <a:cubicBezTo>
                    <a:pt x="599" y="71"/>
                    <a:pt x="465" y="0"/>
                    <a:pt x="3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5" name="Google Shape;8535;p75"/>
            <p:cNvSpPr/>
            <p:nvPr/>
          </p:nvSpPr>
          <p:spPr>
            <a:xfrm>
              <a:off x="-16995100" y="3817825"/>
              <a:ext cx="63025" cy="69900"/>
            </a:xfrm>
            <a:custGeom>
              <a:avLst/>
              <a:gdLst/>
              <a:ahLst/>
              <a:cxnLst/>
              <a:rect l="l" t="t" r="r" b="b"/>
              <a:pathLst>
                <a:path w="2521" h="2796" extrusionOk="0">
                  <a:moveTo>
                    <a:pt x="1292" y="1425"/>
                  </a:moveTo>
                  <a:cubicBezTo>
                    <a:pt x="1481" y="1425"/>
                    <a:pt x="1670" y="1582"/>
                    <a:pt x="1670" y="1771"/>
                  </a:cubicBezTo>
                  <a:cubicBezTo>
                    <a:pt x="1639" y="1992"/>
                    <a:pt x="1481" y="2149"/>
                    <a:pt x="1292" y="2149"/>
                  </a:cubicBezTo>
                  <a:cubicBezTo>
                    <a:pt x="1103" y="2149"/>
                    <a:pt x="946" y="1992"/>
                    <a:pt x="946" y="1771"/>
                  </a:cubicBezTo>
                  <a:cubicBezTo>
                    <a:pt x="946" y="1582"/>
                    <a:pt x="1103" y="1425"/>
                    <a:pt x="1292" y="1425"/>
                  </a:cubicBezTo>
                  <a:close/>
                  <a:moveTo>
                    <a:pt x="1017" y="0"/>
                  </a:moveTo>
                  <a:cubicBezTo>
                    <a:pt x="931" y="0"/>
                    <a:pt x="844" y="12"/>
                    <a:pt x="757" y="39"/>
                  </a:cubicBezTo>
                  <a:cubicBezTo>
                    <a:pt x="158" y="259"/>
                    <a:pt x="0" y="1047"/>
                    <a:pt x="190" y="1708"/>
                  </a:cubicBezTo>
                  <a:cubicBezTo>
                    <a:pt x="347" y="1771"/>
                    <a:pt x="505" y="1897"/>
                    <a:pt x="631" y="2023"/>
                  </a:cubicBezTo>
                  <a:cubicBezTo>
                    <a:pt x="851" y="2244"/>
                    <a:pt x="1072" y="2496"/>
                    <a:pt x="1229" y="2748"/>
                  </a:cubicBezTo>
                  <a:cubicBezTo>
                    <a:pt x="1308" y="2780"/>
                    <a:pt x="1395" y="2795"/>
                    <a:pt x="1481" y="2795"/>
                  </a:cubicBezTo>
                  <a:cubicBezTo>
                    <a:pt x="1568" y="2795"/>
                    <a:pt x="1654" y="2780"/>
                    <a:pt x="1733" y="2748"/>
                  </a:cubicBezTo>
                  <a:cubicBezTo>
                    <a:pt x="2269" y="2527"/>
                    <a:pt x="2521" y="1771"/>
                    <a:pt x="2237" y="1047"/>
                  </a:cubicBezTo>
                  <a:cubicBezTo>
                    <a:pt x="2047" y="477"/>
                    <a:pt x="1553" y="0"/>
                    <a:pt x="10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6" name="Google Shape;8536;p75"/>
            <p:cNvSpPr/>
            <p:nvPr/>
          </p:nvSpPr>
          <p:spPr>
            <a:xfrm>
              <a:off x="-17150275" y="3728200"/>
              <a:ext cx="267825" cy="236300"/>
            </a:xfrm>
            <a:custGeom>
              <a:avLst/>
              <a:gdLst/>
              <a:ahLst/>
              <a:cxnLst/>
              <a:rect l="l" t="t" r="r" b="b"/>
              <a:pathLst>
                <a:path w="10713" h="9452" extrusionOk="0">
                  <a:moveTo>
                    <a:pt x="5325" y="1"/>
                  </a:moveTo>
                  <a:cubicBezTo>
                    <a:pt x="2395" y="1"/>
                    <a:pt x="1" y="2269"/>
                    <a:pt x="1" y="5010"/>
                  </a:cubicBezTo>
                  <a:cubicBezTo>
                    <a:pt x="1" y="6900"/>
                    <a:pt x="1135" y="8601"/>
                    <a:pt x="2899" y="9452"/>
                  </a:cubicBezTo>
                  <a:cubicBezTo>
                    <a:pt x="2773" y="8412"/>
                    <a:pt x="2773" y="7688"/>
                    <a:pt x="2994" y="7089"/>
                  </a:cubicBezTo>
                  <a:lnTo>
                    <a:pt x="2931" y="7089"/>
                  </a:lnTo>
                  <a:cubicBezTo>
                    <a:pt x="2742" y="7089"/>
                    <a:pt x="2584" y="7058"/>
                    <a:pt x="2427" y="7026"/>
                  </a:cubicBezTo>
                  <a:cubicBezTo>
                    <a:pt x="1482" y="6680"/>
                    <a:pt x="1104" y="5482"/>
                    <a:pt x="1482" y="4380"/>
                  </a:cubicBezTo>
                  <a:cubicBezTo>
                    <a:pt x="1822" y="3490"/>
                    <a:pt x="2596" y="2883"/>
                    <a:pt x="3390" y="2883"/>
                  </a:cubicBezTo>
                  <a:cubicBezTo>
                    <a:pt x="3553" y="2883"/>
                    <a:pt x="3716" y="2909"/>
                    <a:pt x="3876" y="2962"/>
                  </a:cubicBezTo>
                  <a:cubicBezTo>
                    <a:pt x="4601" y="3214"/>
                    <a:pt x="5105" y="4002"/>
                    <a:pt x="4947" y="5041"/>
                  </a:cubicBezTo>
                  <a:cubicBezTo>
                    <a:pt x="5073" y="5010"/>
                    <a:pt x="5231" y="5010"/>
                    <a:pt x="5388" y="5010"/>
                  </a:cubicBezTo>
                  <a:cubicBezTo>
                    <a:pt x="5451" y="5010"/>
                    <a:pt x="5546" y="5010"/>
                    <a:pt x="5672" y="5041"/>
                  </a:cubicBezTo>
                  <a:cubicBezTo>
                    <a:pt x="5546" y="4002"/>
                    <a:pt x="6018" y="3246"/>
                    <a:pt x="6712" y="2962"/>
                  </a:cubicBezTo>
                  <a:cubicBezTo>
                    <a:pt x="6883" y="2899"/>
                    <a:pt x="7058" y="2870"/>
                    <a:pt x="7233" y="2870"/>
                  </a:cubicBezTo>
                  <a:cubicBezTo>
                    <a:pt x="8023" y="2870"/>
                    <a:pt x="8802" y="3477"/>
                    <a:pt x="9137" y="4380"/>
                  </a:cubicBezTo>
                  <a:cubicBezTo>
                    <a:pt x="9515" y="5482"/>
                    <a:pt x="9074" y="6680"/>
                    <a:pt x="8161" y="7026"/>
                  </a:cubicBezTo>
                  <a:cubicBezTo>
                    <a:pt x="8003" y="7058"/>
                    <a:pt x="7877" y="7089"/>
                    <a:pt x="7751" y="7089"/>
                  </a:cubicBezTo>
                  <a:cubicBezTo>
                    <a:pt x="7909" y="7688"/>
                    <a:pt x="7909" y="8444"/>
                    <a:pt x="7783" y="9452"/>
                  </a:cubicBezTo>
                  <a:cubicBezTo>
                    <a:pt x="9547" y="8633"/>
                    <a:pt x="10713" y="6900"/>
                    <a:pt x="10713" y="5010"/>
                  </a:cubicBezTo>
                  <a:cubicBezTo>
                    <a:pt x="10681" y="2269"/>
                    <a:pt x="8287"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5"/>
            <p:cNvSpPr/>
            <p:nvPr/>
          </p:nvSpPr>
          <p:spPr>
            <a:xfrm>
              <a:off x="-17168375" y="3692750"/>
              <a:ext cx="99250" cy="92975"/>
            </a:xfrm>
            <a:custGeom>
              <a:avLst/>
              <a:gdLst/>
              <a:ahLst/>
              <a:cxnLst/>
              <a:rect l="l" t="t" r="r" b="b"/>
              <a:pathLst>
                <a:path w="3970" h="3719" extrusionOk="0">
                  <a:moveTo>
                    <a:pt x="2111" y="1"/>
                  </a:moveTo>
                  <a:cubicBezTo>
                    <a:pt x="946" y="1"/>
                    <a:pt x="0" y="946"/>
                    <a:pt x="0" y="2143"/>
                  </a:cubicBezTo>
                  <a:cubicBezTo>
                    <a:pt x="0" y="2773"/>
                    <a:pt x="284" y="3309"/>
                    <a:pt x="693" y="3718"/>
                  </a:cubicBezTo>
                  <a:cubicBezTo>
                    <a:pt x="1418" y="2521"/>
                    <a:pt x="2552" y="1545"/>
                    <a:pt x="3970" y="1072"/>
                  </a:cubicBezTo>
                  <a:cubicBezTo>
                    <a:pt x="3623" y="442"/>
                    <a:pt x="289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8" name="Google Shape;8538;p75"/>
          <p:cNvGrpSpPr/>
          <p:nvPr/>
        </p:nvGrpSpPr>
        <p:grpSpPr>
          <a:xfrm>
            <a:off x="6859491" y="2796852"/>
            <a:ext cx="456308" cy="449325"/>
            <a:chOff x="-17170750" y="4058800"/>
            <a:chExt cx="308775" cy="304050"/>
          </a:xfrm>
        </p:grpSpPr>
        <p:sp>
          <p:nvSpPr>
            <p:cNvPr id="8539" name="Google Shape;8539;p75"/>
            <p:cNvSpPr/>
            <p:nvPr/>
          </p:nvSpPr>
          <p:spPr>
            <a:xfrm>
              <a:off x="-17041575" y="4058800"/>
              <a:ext cx="49650" cy="49850"/>
            </a:xfrm>
            <a:custGeom>
              <a:avLst/>
              <a:gdLst/>
              <a:ahLst/>
              <a:cxnLst/>
              <a:rect l="l" t="t" r="r" b="b"/>
              <a:pathLst>
                <a:path w="1986" h="1994" extrusionOk="0">
                  <a:moveTo>
                    <a:pt x="989" y="1"/>
                  </a:moveTo>
                  <a:cubicBezTo>
                    <a:pt x="859" y="1"/>
                    <a:pt x="725" y="56"/>
                    <a:pt x="662" y="166"/>
                  </a:cubicBezTo>
                  <a:lnTo>
                    <a:pt x="1" y="1521"/>
                  </a:lnTo>
                  <a:lnTo>
                    <a:pt x="32" y="1521"/>
                  </a:lnTo>
                  <a:lnTo>
                    <a:pt x="977" y="1993"/>
                  </a:lnTo>
                  <a:lnTo>
                    <a:pt x="1954" y="1521"/>
                  </a:lnTo>
                  <a:lnTo>
                    <a:pt x="1985" y="1521"/>
                  </a:lnTo>
                  <a:lnTo>
                    <a:pt x="1292" y="166"/>
                  </a:lnTo>
                  <a:cubicBezTo>
                    <a:pt x="1245" y="56"/>
                    <a:pt x="1119" y="1"/>
                    <a:pt x="9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0" name="Google Shape;8540;p75"/>
            <p:cNvSpPr/>
            <p:nvPr/>
          </p:nvSpPr>
          <p:spPr>
            <a:xfrm>
              <a:off x="-17041575" y="4312625"/>
              <a:ext cx="49650" cy="50225"/>
            </a:xfrm>
            <a:custGeom>
              <a:avLst/>
              <a:gdLst/>
              <a:ahLst/>
              <a:cxnLst/>
              <a:rect l="l" t="t" r="r" b="b"/>
              <a:pathLst>
                <a:path w="1986" h="2009" extrusionOk="0">
                  <a:moveTo>
                    <a:pt x="977" y="0"/>
                  </a:moveTo>
                  <a:lnTo>
                    <a:pt x="32" y="473"/>
                  </a:lnTo>
                  <a:lnTo>
                    <a:pt x="1" y="473"/>
                  </a:lnTo>
                  <a:lnTo>
                    <a:pt x="662" y="1796"/>
                  </a:lnTo>
                  <a:cubicBezTo>
                    <a:pt x="757" y="1938"/>
                    <a:pt x="891" y="2009"/>
                    <a:pt x="1013" y="2009"/>
                  </a:cubicBezTo>
                  <a:cubicBezTo>
                    <a:pt x="1135" y="2009"/>
                    <a:pt x="1245" y="1938"/>
                    <a:pt x="1292" y="1796"/>
                  </a:cubicBezTo>
                  <a:lnTo>
                    <a:pt x="1985" y="473"/>
                  </a:lnTo>
                  <a:lnTo>
                    <a:pt x="1954" y="473"/>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75"/>
            <p:cNvSpPr/>
            <p:nvPr/>
          </p:nvSpPr>
          <p:spPr>
            <a:xfrm>
              <a:off x="-17170750" y="4186600"/>
              <a:ext cx="52800" cy="48075"/>
            </a:xfrm>
            <a:custGeom>
              <a:avLst/>
              <a:gdLst/>
              <a:ahLst/>
              <a:cxnLst/>
              <a:rect l="l" t="t" r="r" b="b"/>
              <a:pathLst>
                <a:path w="2112" h="1923" extrusionOk="0">
                  <a:moveTo>
                    <a:pt x="1639" y="0"/>
                  </a:moveTo>
                  <a:lnTo>
                    <a:pt x="284" y="630"/>
                  </a:lnTo>
                  <a:cubicBezTo>
                    <a:pt x="1" y="788"/>
                    <a:pt x="1" y="1135"/>
                    <a:pt x="284" y="1261"/>
                  </a:cubicBezTo>
                  <a:lnTo>
                    <a:pt x="1639" y="1922"/>
                  </a:lnTo>
                  <a:lnTo>
                    <a:pt x="1639" y="1891"/>
                  </a:lnTo>
                  <a:lnTo>
                    <a:pt x="2112" y="946"/>
                  </a:lnTo>
                  <a:lnTo>
                    <a:pt x="16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75"/>
            <p:cNvSpPr/>
            <p:nvPr/>
          </p:nvSpPr>
          <p:spPr>
            <a:xfrm>
              <a:off x="-16914775" y="4185025"/>
              <a:ext cx="52800" cy="49650"/>
            </a:xfrm>
            <a:custGeom>
              <a:avLst/>
              <a:gdLst/>
              <a:ahLst/>
              <a:cxnLst/>
              <a:rect l="l" t="t" r="r" b="b"/>
              <a:pathLst>
                <a:path w="2112" h="1986" extrusionOk="0">
                  <a:moveTo>
                    <a:pt x="474" y="0"/>
                  </a:moveTo>
                  <a:lnTo>
                    <a:pt x="474" y="63"/>
                  </a:lnTo>
                  <a:lnTo>
                    <a:pt x="1" y="1009"/>
                  </a:lnTo>
                  <a:lnTo>
                    <a:pt x="474" y="1954"/>
                  </a:lnTo>
                  <a:lnTo>
                    <a:pt x="474" y="1985"/>
                  </a:lnTo>
                  <a:lnTo>
                    <a:pt x="1828" y="1324"/>
                  </a:lnTo>
                  <a:cubicBezTo>
                    <a:pt x="2112" y="1198"/>
                    <a:pt x="2112" y="851"/>
                    <a:pt x="1828" y="693"/>
                  </a:cubicBezTo>
                  <a:lnTo>
                    <a:pt x="47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3" name="Google Shape;8543;p75"/>
            <p:cNvSpPr/>
            <p:nvPr/>
          </p:nvSpPr>
          <p:spPr>
            <a:xfrm>
              <a:off x="-17127800" y="4273225"/>
              <a:ext cx="47650" cy="46500"/>
            </a:xfrm>
            <a:custGeom>
              <a:avLst/>
              <a:gdLst/>
              <a:ahLst/>
              <a:cxnLst/>
              <a:rect l="l" t="t" r="r" b="b"/>
              <a:pathLst>
                <a:path w="1906" h="1860" extrusionOk="0">
                  <a:moveTo>
                    <a:pt x="551" y="1"/>
                  </a:moveTo>
                  <a:lnTo>
                    <a:pt x="79" y="1419"/>
                  </a:lnTo>
                  <a:cubicBezTo>
                    <a:pt x="0" y="1628"/>
                    <a:pt x="183" y="1859"/>
                    <a:pt x="373" y="1859"/>
                  </a:cubicBezTo>
                  <a:cubicBezTo>
                    <a:pt x="412" y="1859"/>
                    <a:pt x="451" y="1850"/>
                    <a:pt x="488" y="1828"/>
                  </a:cubicBezTo>
                  <a:lnTo>
                    <a:pt x="1906" y="1356"/>
                  </a:lnTo>
                  <a:lnTo>
                    <a:pt x="1906" y="1324"/>
                  </a:lnTo>
                  <a:lnTo>
                    <a:pt x="1591" y="347"/>
                  </a:lnTo>
                  <a:lnTo>
                    <a:pt x="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4" name="Google Shape;8544;p75"/>
            <p:cNvSpPr/>
            <p:nvPr/>
          </p:nvSpPr>
          <p:spPr>
            <a:xfrm>
              <a:off x="-16952575" y="4100775"/>
              <a:ext cx="47675" cy="47250"/>
            </a:xfrm>
            <a:custGeom>
              <a:avLst/>
              <a:gdLst/>
              <a:ahLst/>
              <a:cxnLst/>
              <a:rect l="l" t="t" r="r" b="b"/>
              <a:pathLst>
                <a:path w="1907" h="1890" extrusionOk="0">
                  <a:moveTo>
                    <a:pt x="1544" y="0"/>
                  </a:moveTo>
                  <a:cubicBezTo>
                    <a:pt x="1503" y="0"/>
                    <a:pt x="1461" y="10"/>
                    <a:pt x="1418" y="31"/>
                  </a:cubicBezTo>
                  <a:lnTo>
                    <a:pt x="1" y="503"/>
                  </a:lnTo>
                  <a:lnTo>
                    <a:pt x="1" y="535"/>
                  </a:lnTo>
                  <a:lnTo>
                    <a:pt x="316" y="1543"/>
                  </a:lnTo>
                  <a:lnTo>
                    <a:pt x="1324" y="1890"/>
                  </a:lnTo>
                  <a:lnTo>
                    <a:pt x="1355" y="1890"/>
                  </a:lnTo>
                  <a:lnTo>
                    <a:pt x="1828" y="472"/>
                  </a:lnTo>
                  <a:cubicBezTo>
                    <a:pt x="1907" y="236"/>
                    <a:pt x="1745" y="0"/>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75"/>
            <p:cNvSpPr/>
            <p:nvPr/>
          </p:nvSpPr>
          <p:spPr>
            <a:xfrm>
              <a:off x="-16954150" y="4273225"/>
              <a:ext cx="49200" cy="47800"/>
            </a:xfrm>
            <a:custGeom>
              <a:avLst/>
              <a:gdLst/>
              <a:ahLst/>
              <a:cxnLst/>
              <a:rect l="l" t="t" r="r" b="b"/>
              <a:pathLst>
                <a:path w="1968" h="1912" extrusionOk="0">
                  <a:moveTo>
                    <a:pt x="1387" y="1"/>
                  </a:moveTo>
                  <a:lnTo>
                    <a:pt x="379" y="347"/>
                  </a:lnTo>
                  <a:lnTo>
                    <a:pt x="1" y="1356"/>
                  </a:lnTo>
                  <a:lnTo>
                    <a:pt x="1" y="1419"/>
                  </a:lnTo>
                  <a:lnTo>
                    <a:pt x="1418" y="1891"/>
                  </a:lnTo>
                  <a:cubicBezTo>
                    <a:pt x="1460" y="1905"/>
                    <a:pt x="1501" y="1911"/>
                    <a:pt x="1541" y="1911"/>
                  </a:cubicBezTo>
                  <a:cubicBezTo>
                    <a:pt x="1776" y="1911"/>
                    <a:pt x="1967" y="1692"/>
                    <a:pt x="1860" y="1450"/>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75"/>
            <p:cNvSpPr/>
            <p:nvPr/>
          </p:nvSpPr>
          <p:spPr>
            <a:xfrm>
              <a:off x="-17128625" y="4101275"/>
              <a:ext cx="48475" cy="46750"/>
            </a:xfrm>
            <a:custGeom>
              <a:avLst/>
              <a:gdLst/>
              <a:ahLst/>
              <a:cxnLst/>
              <a:rect l="l" t="t" r="r" b="b"/>
              <a:pathLst>
                <a:path w="1939" h="1870" extrusionOk="0">
                  <a:moveTo>
                    <a:pt x="433" y="0"/>
                  </a:moveTo>
                  <a:cubicBezTo>
                    <a:pt x="209" y="0"/>
                    <a:pt x="0" y="201"/>
                    <a:pt x="112" y="452"/>
                  </a:cubicBezTo>
                  <a:lnTo>
                    <a:pt x="584" y="1870"/>
                  </a:lnTo>
                  <a:lnTo>
                    <a:pt x="1592" y="1523"/>
                  </a:lnTo>
                  <a:lnTo>
                    <a:pt x="1939" y="483"/>
                  </a:lnTo>
                  <a:lnTo>
                    <a:pt x="521" y="11"/>
                  </a:lnTo>
                  <a:cubicBezTo>
                    <a:pt x="492" y="4"/>
                    <a:pt x="462" y="0"/>
                    <a:pt x="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7" name="Google Shape;8547;p75"/>
            <p:cNvSpPr/>
            <p:nvPr/>
          </p:nvSpPr>
          <p:spPr>
            <a:xfrm>
              <a:off x="-17043150" y="4183450"/>
              <a:ext cx="52800" cy="52800"/>
            </a:xfrm>
            <a:custGeom>
              <a:avLst/>
              <a:gdLst/>
              <a:ahLst/>
              <a:cxnLst/>
              <a:rect l="l" t="t" r="r" b="b"/>
              <a:pathLst>
                <a:path w="2112" h="2112" extrusionOk="0">
                  <a:moveTo>
                    <a:pt x="1040" y="0"/>
                  </a:moveTo>
                  <a:cubicBezTo>
                    <a:pt x="473" y="0"/>
                    <a:pt x="1" y="473"/>
                    <a:pt x="1" y="1072"/>
                  </a:cubicBezTo>
                  <a:cubicBezTo>
                    <a:pt x="1" y="1639"/>
                    <a:pt x="473" y="2111"/>
                    <a:pt x="1040" y="2111"/>
                  </a:cubicBezTo>
                  <a:cubicBezTo>
                    <a:pt x="1639" y="2111"/>
                    <a:pt x="2112" y="1639"/>
                    <a:pt x="2112" y="1072"/>
                  </a:cubicBezTo>
                  <a:cubicBezTo>
                    <a:pt x="2112" y="504"/>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8" name="Google Shape;8548;p75"/>
            <p:cNvSpPr/>
            <p:nvPr/>
          </p:nvSpPr>
          <p:spPr>
            <a:xfrm>
              <a:off x="-17070725" y="4111975"/>
              <a:ext cx="44925" cy="60475"/>
            </a:xfrm>
            <a:custGeom>
              <a:avLst/>
              <a:gdLst/>
              <a:ahLst/>
              <a:cxnLst/>
              <a:rect l="l" t="t" r="r" b="b"/>
              <a:pathLst>
                <a:path w="1797" h="2419" extrusionOk="0">
                  <a:moveTo>
                    <a:pt x="722" y="0"/>
                  </a:moveTo>
                  <a:cubicBezTo>
                    <a:pt x="663" y="0"/>
                    <a:pt x="600" y="8"/>
                    <a:pt x="537" y="24"/>
                  </a:cubicBezTo>
                  <a:cubicBezTo>
                    <a:pt x="411" y="55"/>
                    <a:pt x="348" y="150"/>
                    <a:pt x="316" y="244"/>
                  </a:cubicBezTo>
                  <a:lnTo>
                    <a:pt x="1" y="1253"/>
                  </a:lnTo>
                  <a:lnTo>
                    <a:pt x="1167" y="2418"/>
                  </a:lnTo>
                  <a:cubicBezTo>
                    <a:pt x="1356" y="2355"/>
                    <a:pt x="1576" y="2229"/>
                    <a:pt x="1797" y="2198"/>
                  </a:cubicBezTo>
                  <a:lnTo>
                    <a:pt x="1797" y="496"/>
                  </a:lnTo>
                  <a:lnTo>
                    <a:pt x="883" y="24"/>
                  </a:lnTo>
                  <a:cubicBezTo>
                    <a:pt x="836" y="8"/>
                    <a:pt x="781" y="0"/>
                    <a:pt x="7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5"/>
            <p:cNvSpPr/>
            <p:nvPr/>
          </p:nvSpPr>
          <p:spPr>
            <a:xfrm>
              <a:off x="-16979350" y="4156675"/>
              <a:ext cx="60675" cy="45700"/>
            </a:xfrm>
            <a:custGeom>
              <a:avLst/>
              <a:gdLst/>
              <a:ahLst/>
              <a:cxnLst/>
              <a:rect l="l" t="t" r="r" b="b"/>
              <a:pathLst>
                <a:path w="2427" h="1828" extrusionOk="0">
                  <a:moveTo>
                    <a:pt x="1166" y="0"/>
                  </a:moveTo>
                  <a:lnTo>
                    <a:pt x="1" y="1166"/>
                  </a:lnTo>
                  <a:cubicBezTo>
                    <a:pt x="127" y="1386"/>
                    <a:pt x="190" y="1575"/>
                    <a:pt x="284" y="1827"/>
                  </a:cubicBezTo>
                  <a:lnTo>
                    <a:pt x="1954" y="1827"/>
                  </a:lnTo>
                  <a:lnTo>
                    <a:pt x="2426" y="914"/>
                  </a:lnTo>
                  <a:cubicBezTo>
                    <a:pt x="2426" y="756"/>
                    <a:pt x="2426" y="630"/>
                    <a:pt x="2395" y="567"/>
                  </a:cubicBezTo>
                  <a:cubicBezTo>
                    <a:pt x="2363" y="441"/>
                    <a:pt x="2269" y="347"/>
                    <a:pt x="2174" y="315"/>
                  </a:cubicBezTo>
                  <a:lnTo>
                    <a:pt x="11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0" name="Google Shape;8550;p75"/>
            <p:cNvSpPr/>
            <p:nvPr/>
          </p:nvSpPr>
          <p:spPr>
            <a:xfrm>
              <a:off x="-17116400" y="4155875"/>
              <a:ext cx="63050" cy="44125"/>
            </a:xfrm>
            <a:custGeom>
              <a:avLst/>
              <a:gdLst/>
              <a:ahLst/>
              <a:cxnLst/>
              <a:rect l="l" t="t" r="r" b="b"/>
              <a:pathLst>
                <a:path w="2522" h="1765" extrusionOk="0">
                  <a:moveTo>
                    <a:pt x="1292" y="1"/>
                  </a:moveTo>
                  <a:lnTo>
                    <a:pt x="316" y="316"/>
                  </a:lnTo>
                  <a:cubicBezTo>
                    <a:pt x="190" y="347"/>
                    <a:pt x="127" y="442"/>
                    <a:pt x="95" y="536"/>
                  </a:cubicBezTo>
                  <a:cubicBezTo>
                    <a:pt x="32" y="662"/>
                    <a:pt x="1" y="788"/>
                    <a:pt x="95" y="851"/>
                  </a:cubicBezTo>
                  <a:lnTo>
                    <a:pt x="568" y="1765"/>
                  </a:lnTo>
                  <a:lnTo>
                    <a:pt x="2238" y="1765"/>
                  </a:lnTo>
                  <a:cubicBezTo>
                    <a:pt x="2301" y="1544"/>
                    <a:pt x="2364" y="1324"/>
                    <a:pt x="2521" y="1135"/>
                  </a:cubicBezTo>
                  <a:lnTo>
                    <a:pt x="12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1" name="Google Shape;8551;p75"/>
            <p:cNvSpPr/>
            <p:nvPr/>
          </p:nvSpPr>
          <p:spPr>
            <a:xfrm>
              <a:off x="-17007700" y="4112450"/>
              <a:ext cx="44925" cy="60775"/>
            </a:xfrm>
            <a:custGeom>
              <a:avLst/>
              <a:gdLst/>
              <a:ahLst/>
              <a:cxnLst/>
              <a:rect l="l" t="t" r="r" b="b"/>
              <a:pathLst>
                <a:path w="1797" h="2431" extrusionOk="0">
                  <a:moveTo>
                    <a:pt x="1042" y="0"/>
                  </a:moveTo>
                  <a:cubicBezTo>
                    <a:pt x="989" y="0"/>
                    <a:pt x="936" y="10"/>
                    <a:pt x="883" y="36"/>
                  </a:cubicBezTo>
                  <a:lnTo>
                    <a:pt x="0" y="509"/>
                  </a:lnTo>
                  <a:lnTo>
                    <a:pt x="0" y="2179"/>
                  </a:lnTo>
                  <a:cubicBezTo>
                    <a:pt x="221" y="2210"/>
                    <a:pt x="410" y="2273"/>
                    <a:pt x="630" y="2431"/>
                  </a:cubicBezTo>
                  <a:lnTo>
                    <a:pt x="1796" y="1265"/>
                  </a:lnTo>
                  <a:lnTo>
                    <a:pt x="1481" y="288"/>
                  </a:lnTo>
                  <a:cubicBezTo>
                    <a:pt x="1450" y="162"/>
                    <a:pt x="1355" y="68"/>
                    <a:pt x="1261" y="36"/>
                  </a:cubicBezTo>
                  <a:cubicBezTo>
                    <a:pt x="1188" y="18"/>
                    <a:pt x="1115" y="0"/>
                    <a:pt x="1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75"/>
            <p:cNvSpPr/>
            <p:nvPr/>
          </p:nvSpPr>
          <p:spPr>
            <a:xfrm>
              <a:off x="-17007700" y="4248025"/>
              <a:ext cx="44925" cy="61475"/>
            </a:xfrm>
            <a:custGeom>
              <a:avLst/>
              <a:gdLst/>
              <a:ahLst/>
              <a:cxnLst/>
              <a:rect l="l" t="t" r="r" b="b"/>
              <a:pathLst>
                <a:path w="1797" h="2459" extrusionOk="0">
                  <a:moveTo>
                    <a:pt x="630" y="1"/>
                  </a:moveTo>
                  <a:cubicBezTo>
                    <a:pt x="473" y="95"/>
                    <a:pt x="221" y="221"/>
                    <a:pt x="0" y="253"/>
                  </a:cubicBezTo>
                  <a:lnTo>
                    <a:pt x="0" y="1954"/>
                  </a:lnTo>
                  <a:lnTo>
                    <a:pt x="883" y="2427"/>
                  </a:lnTo>
                  <a:cubicBezTo>
                    <a:pt x="946" y="2458"/>
                    <a:pt x="1009" y="2458"/>
                    <a:pt x="1040" y="2458"/>
                  </a:cubicBezTo>
                  <a:cubicBezTo>
                    <a:pt x="1135" y="2458"/>
                    <a:pt x="1198" y="2427"/>
                    <a:pt x="1261" y="2364"/>
                  </a:cubicBezTo>
                  <a:cubicBezTo>
                    <a:pt x="1324" y="2332"/>
                    <a:pt x="1450" y="2269"/>
                    <a:pt x="1481" y="2175"/>
                  </a:cubicBezTo>
                  <a:lnTo>
                    <a:pt x="1796" y="1198"/>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75"/>
            <p:cNvSpPr/>
            <p:nvPr/>
          </p:nvSpPr>
          <p:spPr>
            <a:xfrm>
              <a:off x="-16980125" y="4219675"/>
              <a:ext cx="61450" cy="45700"/>
            </a:xfrm>
            <a:custGeom>
              <a:avLst/>
              <a:gdLst/>
              <a:ahLst/>
              <a:cxnLst/>
              <a:rect l="l" t="t" r="r" b="b"/>
              <a:pathLst>
                <a:path w="2458" h="1828" extrusionOk="0">
                  <a:moveTo>
                    <a:pt x="252" y="1"/>
                  </a:moveTo>
                  <a:cubicBezTo>
                    <a:pt x="221" y="253"/>
                    <a:pt x="158" y="442"/>
                    <a:pt x="0" y="631"/>
                  </a:cubicBezTo>
                  <a:lnTo>
                    <a:pt x="1166" y="1828"/>
                  </a:lnTo>
                  <a:lnTo>
                    <a:pt x="2142" y="1513"/>
                  </a:lnTo>
                  <a:cubicBezTo>
                    <a:pt x="2268" y="1450"/>
                    <a:pt x="2363" y="1387"/>
                    <a:pt x="2394" y="1261"/>
                  </a:cubicBezTo>
                  <a:cubicBezTo>
                    <a:pt x="2426" y="1135"/>
                    <a:pt x="2457" y="1009"/>
                    <a:pt x="2394" y="946"/>
                  </a:cubicBezTo>
                  <a:lnTo>
                    <a:pt x="19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4" name="Google Shape;8554;p75"/>
            <p:cNvSpPr/>
            <p:nvPr/>
          </p:nvSpPr>
          <p:spPr>
            <a:xfrm>
              <a:off x="-17070725" y="4247250"/>
              <a:ext cx="44925" cy="61300"/>
            </a:xfrm>
            <a:custGeom>
              <a:avLst/>
              <a:gdLst/>
              <a:ahLst/>
              <a:cxnLst/>
              <a:rect l="l" t="t" r="r" b="b"/>
              <a:pathLst>
                <a:path w="1797" h="2452" extrusionOk="0">
                  <a:moveTo>
                    <a:pt x="1167" y="0"/>
                  </a:moveTo>
                  <a:lnTo>
                    <a:pt x="1" y="1197"/>
                  </a:lnTo>
                  <a:lnTo>
                    <a:pt x="316" y="2174"/>
                  </a:lnTo>
                  <a:cubicBezTo>
                    <a:pt x="348" y="2300"/>
                    <a:pt x="411" y="2332"/>
                    <a:pt x="505" y="2363"/>
                  </a:cubicBezTo>
                  <a:cubicBezTo>
                    <a:pt x="578" y="2418"/>
                    <a:pt x="641" y="2452"/>
                    <a:pt x="711" y="2452"/>
                  </a:cubicBezTo>
                  <a:cubicBezTo>
                    <a:pt x="762" y="2452"/>
                    <a:pt x="817" y="2434"/>
                    <a:pt x="883" y="2395"/>
                  </a:cubicBezTo>
                  <a:lnTo>
                    <a:pt x="1797" y="1922"/>
                  </a:lnTo>
                  <a:lnTo>
                    <a:pt x="1797" y="284"/>
                  </a:lnTo>
                  <a:cubicBezTo>
                    <a:pt x="1576" y="221"/>
                    <a:pt x="1356" y="158"/>
                    <a:pt x="11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5" name="Google Shape;8555;p75"/>
            <p:cNvSpPr/>
            <p:nvPr/>
          </p:nvSpPr>
          <p:spPr>
            <a:xfrm>
              <a:off x="-17115600" y="4218900"/>
              <a:ext cx="61450" cy="44900"/>
            </a:xfrm>
            <a:custGeom>
              <a:avLst/>
              <a:gdLst/>
              <a:ahLst/>
              <a:cxnLst/>
              <a:rect l="l" t="t" r="r" b="b"/>
              <a:pathLst>
                <a:path w="2458" h="1796" extrusionOk="0">
                  <a:moveTo>
                    <a:pt x="536" y="0"/>
                  </a:moveTo>
                  <a:lnTo>
                    <a:pt x="536" y="32"/>
                  </a:lnTo>
                  <a:lnTo>
                    <a:pt x="63" y="945"/>
                  </a:lnTo>
                  <a:cubicBezTo>
                    <a:pt x="0" y="1071"/>
                    <a:pt x="0" y="1166"/>
                    <a:pt x="63" y="1260"/>
                  </a:cubicBezTo>
                  <a:cubicBezTo>
                    <a:pt x="95" y="1386"/>
                    <a:pt x="158" y="1449"/>
                    <a:pt x="284" y="1481"/>
                  </a:cubicBezTo>
                  <a:lnTo>
                    <a:pt x="1260" y="1796"/>
                  </a:lnTo>
                  <a:lnTo>
                    <a:pt x="2458" y="630"/>
                  </a:lnTo>
                  <a:cubicBezTo>
                    <a:pt x="2332" y="441"/>
                    <a:pt x="2269" y="221"/>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6" name="Google Shape;8556;p75"/>
          <p:cNvGrpSpPr/>
          <p:nvPr/>
        </p:nvGrpSpPr>
        <p:grpSpPr>
          <a:xfrm>
            <a:off x="5721388" y="3343358"/>
            <a:ext cx="450470" cy="446998"/>
            <a:chOff x="-15688425" y="3707725"/>
            <a:chExt cx="304825" cy="302475"/>
          </a:xfrm>
        </p:grpSpPr>
        <p:sp>
          <p:nvSpPr>
            <p:cNvPr id="8557" name="Google Shape;8557;p75"/>
            <p:cNvSpPr/>
            <p:nvPr/>
          </p:nvSpPr>
          <p:spPr>
            <a:xfrm>
              <a:off x="-15687650" y="3884950"/>
              <a:ext cx="304050" cy="125250"/>
            </a:xfrm>
            <a:custGeom>
              <a:avLst/>
              <a:gdLst/>
              <a:ahLst/>
              <a:cxnLst/>
              <a:rect l="l" t="t" r="r" b="b"/>
              <a:pathLst>
                <a:path w="12162" h="5010" extrusionOk="0">
                  <a:moveTo>
                    <a:pt x="347" y="0"/>
                  </a:moveTo>
                  <a:cubicBezTo>
                    <a:pt x="158" y="0"/>
                    <a:pt x="1" y="158"/>
                    <a:pt x="1" y="347"/>
                  </a:cubicBezTo>
                  <a:cubicBezTo>
                    <a:pt x="1" y="567"/>
                    <a:pt x="158" y="725"/>
                    <a:pt x="347" y="725"/>
                  </a:cubicBezTo>
                  <a:lnTo>
                    <a:pt x="851" y="725"/>
                  </a:lnTo>
                  <a:lnTo>
                    <a:pt x="1481" y="1922"/>
                  </a:lnTo>
                  <a:cubicBezTo>
                    <a:pt x="1576" y="2048"/>
                    <a:pt x="1702" y="2142"/>
                    <a:pt x="1796" y="2142"/>
                  </a:cubicBezTo>
                  <a:lnTo>
                    <a:pt x="3057" y="2142"/>
                  </a:lnTo>
                  <a:lnTo>
                    <a:pt x="3624" y="2835"/>
                  </a:lnTo>
                  <a:lnTo>
                    <a:pt x="6113" y="2835"/>
                  </a:lnTo>
                  <a:cubicBezTo>
                    <a:pt x="6302" y="2835"/>
                    <a:pt x="6459" y="2993"/>
                    <a:pt x="6459" y="3182"/>
                  </a:cubicBezTo>
                  <a:cubicBezTo>
                    <a:pt x="6459" y="3403"/>
                    <a:pt x="6302" y="3560"/>
                    <a:pt x="6113" y="3560"/>
                  </a:cubicBezTo>
                  <a:lnTo>
                    <a:pt x="4128" y="3560"/>
                  </a:lnTo>
                  <a:lnTo>
                    <a:pt x="5073" y="4852"/>
                  </a:lnTo>
                  <a:cubicBezTo>
                    <a:pt x="5168" y="4915"/>
                    <a:pt x="5231" y="5009"/>
                    <a:pt x="5357" y="5009"/>
                  </a:cubicBezTo>
                  <a:lnTo>
                    <a:pt x="6774" y="5009"/>
                  </a:lnTo>
                  <a:cubicBezTo>
                    <a:pt x="6900" y="5009"/>
                    <a:pt x="7058" y="4915"/>
                    <a:pt x="7089" y="4820"/>
                  </a:cubicBezTo>
                  <a:lnTo>
                    <a:pt x="7719" y="3560"/>
                  </a:lnTo>
                  <a:lnTo>
                    <a:pt x="8948" y="3560"/>
                  </a:lnTo>
                  <a:cubicBezTo>
                    <a:pt x="9043" y="3560"/>
                    <a:pt x="9169" y="3497"/>
                    <a:pt x="9200" y="3403"/>
                  </a:cubicBezTo>
                  <a:lnTo>
                    <a:pt x="10145" y="2079"/>
                  </a:lnTo>
                  <a:lnTo>
                    <a:pt x="8948" y="2079"/>
                  </a:lnTo>
                  <a:lnTo>
                    <a:pt x="8948" y="2142"/>
                  </a:lnTo>
                  <a:cubicBezTo>
                    <a:pt x="8728" y="2142"/>
                    <a:pt x="8570" y="1985"/>
                    <a:pt x="8570" y="1764"/>
                  </a:cubicBezTo>
                  <a:cubicBezTo>
                    <a:pt x="8570" y="1575"/>
                    <a:pt x="8728" y="1418"/>
                    <a:pt x="8948" y="1418"/>
                  </a:cubicBezTo>
                  <a:lnTo>
                    <a:pt x="10712" y="1418"/>
                  </a:lnTo>
                  <a:lnTo>
                    <a:pt x="11248" y="725"/>
                  </a:lnTo>
                  <a:lnTo>
                    <a:pt x="11815" y="725"/>
                  </a:lnTo>
                  <a:cubicBezTo>
                    <a:pt x="12004" y="725"/>
                    <a:pt x="12162" y="567"/>
                    <a:pt x="12162" y="347"/>
                  </a:cubicBezTo>
                  <a:cubicBezTo>
                    <a:pt x="12162" y="158"/>
                    <a:pt x="12004" y="0"/>
                    <a:pt x="118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75"/>
            <p:cNvSpPr/>
            <p:nvPr/>
          </p:nvSpPr>
          <p:spPr>
            <a:xfrm>
              <a:off x="-15634875" y="3956600"/>
              <a:ext cx="49650" cy="18150"/>
            </a:xfrm>
            <a:custGeom>
              <a:avLst/>
              <a:gdLst/>
              <a:ahLst/>
              <a:cxnLst/>
              <a:rect l="l" t="t" r="r" b="b"/>
              <a:pathLst>
                <a:path w="1986" h="726" extrusionOk="0">
                  <a:moveTo>
                    <a:pt x="379" y="1"/>
                  </a:moveTo>
                  <a:cubicBezTo>
                    <a:pt x="158" y="1"/>
                    <a:pt x="1" y="158"/>
                    <a:pt x="1" y="348"/>
                  </a:cubicBezTo>
                  <a:cubicBezTo>
                    <a:pt x="1" y="568"/>
                    <a:pt x="158" y="726"/>
                    <a:pt x="379" y="726"/>
                  </a:cubicBezTo>
                  <a:lnTo>
                    <a:pt x="1985" y="726"/>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75"/>
            <p:cNvSpPr/>
            <p:nvPr/>
          </p:nvSpPr>
          <p:spPr>
            <a:xfrm>
              <a:off x="-15434025" y="3920375"/>
              <a:ext cx="31525" cy="18150"/>
            </a:xfrm>
            <a:custGeom>
              <a:avLst/>
              <a:gdLst/>
              <a:ahLst/>
              <a:cxnLst/>
              <a:rect l="l" t="t" r="r" b="b"/>
              <a:pathLst>
                <a:path w="1261" h="726" extrusionOk="0">
                  <a:moveTo>
                    <a:pt x="567" y="1"/>
                  </a:moveTo>
                  <a:lnTo>
                    <a:pt x="0" y="725"/>
                  </a:lnTo>
                  <a:lnTo>
                    <a:pt x="914" y="725"/>
                  </a:lnTo>
                  <a:cubicBezTo>
                    <a:pt x="1103" y="725"/>
                    <a:pt x="1261" y="568"/>
                    <a:pt x="1261" y="347"/>
                  </a:cubicBezTo>
                  <a:cubicBezTo>
                    <a:pt x="1261" y="158"/>
                    <a:pt x="1103" y="1"/>
                    <a:pt x="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75"/>
            <p:cNvSpPr/>
            <p:nvPr/>
          </p:nvSpPr>
          <p:spPr>
            <a:xfrm>
              <a:off x="-15436400" y="3974725"/>
              <a:ext cx="52800" cy="17350"/>
            </a:xfrm>
            <a:custGeom>
              <a:avLst/>
              <a:gdLst/>
              <a:ahLst/>
              <a:cxnLst/>
              <a:rect l="l" t="t" r="r" b="b"/>
              <a:pathLst>
                <a:path w="2112" h="694" extrusionOk="0">
                  <a:moveTo>
                    <a:pt x="347" y="1"/>
                  </a:moveTo>
                  <a:cubicBezTo>
                    <a:pt x="158" y="1"/>
                    <a:pt x="1" y="158"/>
                    <a:pt x="1" y="347"/>
                  </a:cubicBezTo>
                  <a:cubicBezTo>
                    <a:pt x="1" y="536"/>
                    <a:pt x="158" y="694"/>
                    <a:pt x="347" y="694"/>
                  </a:cubicBezTo>
                  <a:lnTo>
                    <a:pt x="1765" y="694"/>
                  </a:lnTo>
                  <a:cubicBezTo>
                    <a:pt x="1954" y="694"/>
                    <a:pt x="2112" y="536"/>
                    <a:pt x="2112" y="347"/>
                  </a:cubicBezTo>
                  <a:cubicBezTo>
                    <a:pt x="2112"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5"/>
            <p:cNvSpPr/>
            <p:nvPr/>
          </p:nvSpPr>
          <p:spPr>
            <a:xfrm>
              <a:off x="-15688425" y="3992050"/>
              <a:ext cx="54350" cy="18150"/>
            </a:xfrm>
            <a:custGeom>
              <a:avLst/>
              <a:gdLst/>
              <a:ahLst/>
              <a:cxnLst/>
              <a:rect l="l" t="t" r="r" b="b"/>
              <a:pathLst>
                <a:path w="2174" h="726" extrusionOk="0">
                  <a:moveTo>
                    <a:pt x="347" y="1"/>
                  </a:moveTo>
                  <a:cubicBezTo>
                    <a:pt x="158" y="1"/>
                    <a:pt x="0" y="158"/>
                    <a:pt x="0" y="379"/>
                  </a:cubicBezTo>
                  <a:cubicBezTo>
                    <a:pt x="0" y="568"/>
                    <a:pt x="158" y="725"/>
                    <a:pt x="347" y="725"/>
                  </a:cubicBezTo>
                  <a:lnTo>
                    <a:pt x="1796" y="725"/>
                  </a:lnTo>
                  <a:cubicBezTo>
                    <a:pt x="1985" y="725"/>
                    <a:pt x="2174" y="568"/>
                    <a:pt x="2174" y="379"/>
                  </a:cubicBezTo>
                  <a:cubicBezTo>
                    <a:pt x="2174"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2" name="Google Shape;8562;p75"/>
            <p:cNvSpPr/>
            <p:nvPr/>
          </p:nvSpPr>
          <p:spPr>
            <a:xfrm>
              <a:off x="-15664800" y="3707725"/>
              <a:ext cx="252850" cy="161475"/>
            </a:xfrm>
            <a:custGeom>
              <a:avLst/>
              <a:gdLst/>
              <a:ahLst/>
              <a:cxnLst/>
              <a:rect l="l" t="t" r="r" b="b"/>
              <a:pathLst>
                <a:path w="10114" h="6459" extrusionOk="0">
                  <a:moveTo>
                    <a:pt x="4443" y="0"/>
                  </a:moveTo>
                  <a:cubicBezTo>
                    <a:pt x="4285" y="0"/>
                    <a:pt x="4159" y="95"/>
                    <a:pt x="4096" y="252"/>
                  </a:cubicBezTo>
                  <a:lnTo>
                    <a:pt x="3686" y="1450"/>
                  </a:lnTo>
                  <a:lnTo>
                    <a:pt x="5136" y="1450"/>
                  </a:lnTo>
                  <a:cubicBezTo>
                    <a:pt x="5356" y="1450"/>
                    <a:pt x="5514" y="1607"/>
                    <a:pt x="5514" y="1828"/>
                  </a:cubicBezTo>
                  <a:cubicBezTo>
                    <a:pt x="5514" y="2017"/>
                    <a:pt x="5356" y="2174"/>
                    <a:pt x="5136" y="2174"/>
                  </a:cubicBezTo>
                  <a:lnTo>
                    <a:pt x="2993" y="2174"/>
                  </a:lnTo>
                  <a:cubicBezTo>
                    <a:pt x="2867" y="2174"/>
                    <a:pt x="2710" y="2237"/>
                    <a:pt x="2678" y="2363"/>
                  </a:cubicBezTo>
                  <a:lnTo>
                    <a:pt x="1985" y="3718"/>
                  </a:lnTo>
                  <a:lnTo>
                    <a:pt x="662" y="4380"/>
                  </a:lnTo>
                  <a:cubicBezTo>
                    <a:pt x="567" y="4411"/>
                    <a:pt x="504" y="4506"/>
                    <a:pt x="473" y="4600"/>
                  </a:cubicBezTo>
                  <a:lnTo>
                    <a:pt x="0" y="6459"/>
                  </a:lnTo>
                  <a:lnTo>
                    <a:pt x="3497" y="6459"/>
                  </a:lnTo>
                  <a:lnTo>
                    <a:pt x="4096" y="3813"/>
                  </a:lnTo>
                  <a:cubicBezTo>
                    <a:pt x="4122" y="3657"/>
                    <a:pt x="4255" y="3544"/>
                    <a:pt x="4406" y="3544"/>
                  </a:cubicBezTo>
                  <a:cubicBezTo>
                    <a:pt x="4439" y="3544"/>
                    <a:pt x="4472" y="3549"/>
                    <a:pt x="4506" y="3560"/>
                  </a:cubicBezTo>
                  <a:cubicBezTo>
                    <a:pt x="4726" y="3592"/>
                    <a:pt x="4821" y="3781"/>
                    <a:pt x="4789" y="3970"/>
                  </a:cubicBezTo>
                  <a:lnTo>
                    <a:pt x="4317" y="6427"/>
                  </a:lnTo>
                  <a:lnTo>
                    <a:pt x="5860" y="6427"/>
                  </a:lnTo>
                  <a:lnTo>
                    <a:pt x="5545" y="5482"/>
                  </a:lnTo>
                  <a:cubicBezTo>
                    <a:pt x="5451" y="5293"/>
                    <a:pt x="5577" y="5073"/>
                    <a:pt x="5766" y="5041"/>
                  </a:cubicBezTo>
                  <a:cubicBezTo>
                    <a:pt x="5811" y="5028"/>
                    <a:pt x="5855" y="5022"/>
                    <a:pt x="5896" y="5022"/>
                  </a:cubicBezTo>
                  <a:cubicBezTo>
                    <a:pt x="6057" y="5022"/>
                    <a:pt x="6182" y="5118"/>
                    <a:pt x="6207" y="5293"/>
                  </a:cubicBezTo>
                  <a:lnTo>
                    <a:pt x="6616" y="6459"/>
                  </a:lnTo>
                  <a:lnTo>
                    <a:pt x="10113" y="6459"/>
                  </a:lnTo>
                  <a:lnTo>
                    <a:pt x="9042" y="3813"/>
                  </a:lnTo>
                  <a:cubicBezTo>
                    <a:pt x="9011" y="3750"/>
                    <a:pt x="8979" y="3655"/>
                    <a:pt x="8885" y="3623"/>
                  </a:cubicBezTo>
                  <a:lnTo>
                    <a:pt x="7562" y="2962"/>
                  </a:lnTo>
                  <a:lnTo>
                    <a:pt x="6175" y="189"/>
                  </a:lnTo>
                  <a:cubicBezTo>
                    <a:pt x="6081" y="95"/>
                    <a:pt x="5986" y="0"/>
                    <a:pt x="58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3" name="Google Shape;8563;p75"/>
          <p:cNvGrpSpPr/>
          <p:nvPr/>
        </p:nvGrpSpPr>
        <p:grpSpPr>
          <a:xfrm>
            <a:off x="1865544" y="1690441"/>
            <a:ext cx="451653" cy="447589"/>
            <a:chOff x="-20572500" y="3319025"/>
            <a:chExt cx="305625" cy="302875"/>
          </a:xfrm>
        </p:grpSpPr>
        <p:sp>
          <p:nvSpPr>
            <p:cNvPr id="8564" name="Google Shape;8564;p75"/>
            <p:cNvSpPr/>
            <p:nvPr/>
          </p:nvSpPr>
          <p:spPr>
            <a:xfrm>
              <a:off x="-20429150" y="3569900"/>
              <a:ext cx="18150" cy="52000"/>
            </a:xfrm>
            <a:custGeom>
              <a:avLst/>
              <a:gdLst/>
              <a:ahLst/>
              <a:cxnLst/>
              <a:rect l="l" t="t" r="r" b="b"/>
              <a:pathLst>
                <a:path w="726" h="2080" extrusionOk="0">
                  <a:moveTo>
                    <a:pt x="347" y="0"/>
                  </a:moveTo>
                  <a:lnTo>
                    <a:pt x="1" y="126"/>
                  </a:lnTo>
                  <a:lnTo>
                    <a:pt x="1" y="1733"/>
                  </a:lnTo>
                  <a:cubicBezTo>
                    <a:pt x="1" y="1922"/>
                    <a:pt x="158" y="2079"/>
                    <a:pt x="347" y="2079"/>
                  </a:cubicBezTo>
                  <a:cubicBezTo>
                    <a:pt x="568" y="2079"/>
                    <a:pt x="725" y="1922"/>
                    <a:pt x="725" y="1733"/>
                  </a:cubicBezTo>
                  <a:lnTo>
                    <a:pt x="725" y="126"/>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75"/>
            <p:cNvSpPr/>
            <p:nvPr/>
          </p:nvSpPr>
          <p:spPr>
            <a:xfrm>
              <a:off x="-20572500" y="3319025"/>
              <a:ext cx="305625" cy="267350"/>
            </a:xfrm>
            <a:custGeom>
              <a:avLst/>
              <a:gdLst/>
              <a:ahLst/>
              <a:cxnLst/>
              <a:rect l="l" t="t" r="r" b="b"/>
              <a:pathLst>
                <a:path w="12225" h="10694" extrusionOk="0">
                  <a:moveTo>
                    <a:pt x="6097" y="1"/>
                  </a:moveTo>
                  <a:cubicBezTo>
                    <a:pt x="5979" y="1"/>
                    <a:pt x="5861" y="48"/>
                    <a:pt x="5798" y="143"/>
                  </a:cubicBezTo>
                  <a:lnTo>
                    <a:pt x="5168" y="1119"/>
                  </a:lnTo>
                  <a:cubicBezTo>
                    <a:pt x="4758" y="1749"/>
                    <a:pt x="4034" y="2159"/>
                    <a:pt x="3246" y="2159"/>
                  </a:cubicBezTo>
                  <a:cubicBezTo>
                    <a:pt x="2931" y="2159"/>
                    <a:pt x="2773" y="2537"/>
                    <a:pt x="3025" y="2757"/>
                  </a:cubicBezTo>
                  <a:cubicBezTo>
                    <a:pt x="3593" y="3388"/>
                    <a:pt x="3813" y="4900"/>
                    <a:pt x="3403" y="5813"/>
                  </a:cubicBezTo>
                  <a:cubicBezTo>
                    <a:pt x="2931" y="5656"/>
                    <a:pt x="2490" y="5372"/>
                    <a:pt x="2143" y="5057"/>
                  </a:cubicBezTo>
                  <a:cubicBezTo>
                    <a:pt x="2080" y="4994"/>
                    <a:pt x="2006" y="4966"/>
                    <a:pt x="1932" y="4966"/>
                  </a:cubicBezTo>
                  <a:cubicBezTo>
                    <a:pt x="1823" y="4966"/>
                    <a:pt x="1714" y="5026"/>
                    <a:pt x="1639" y="5120"/>
                  </a:cubicBezTo>
                  <a:cubicBezTo>
                    <a:pt x="1293" y="5624"/>
                    <a:pt x="789" y="6034"/>
                    <a:pt x="221" y="6286"/>
                  </a:cubicBezTo>
                  <a:cubicBezTo>
                    <a:pt x="64" y="6381"/>
                    <a:pt x="1" y="6570"/>
                    <a:pt x="64" y="6759"/>
                  </a:cubicBezTo>
                  <a:cubicBezTo>
                    <a:pt x="284" y="7326"/>
                    <a:pt x="411" y="7956"/>
                    <a:pt x="379" y="8523"/>
                  </a:cubicBezTo>
                  <a:cubicBezTo>
                    <a:pt x="379" y="8743"/>
                    <a:pt x="537" y="8932"/>
                    <a:pt x="726" y="8932"/>
                  </a:cubicBezTo>
                  <a:lnTo>
                    <a:pt x="883" y="8932"/>
                  </a:lnTo>
                  <a:cubicBezTo>
                    <a:pt x="1293" y="8932"/>
                    <a:pt x="1671" y="8964"/>
                    <a:pt x="2049" y="9121"/>
                  </a:cubicBezTo>
                  <a:lnTo>
                    <a:pt x="1482" y="10193"/>
                  </a:lnTo>
                  <a:cubicBezTo>
                    <a:pt x="1349" y="10432"/>
                    <a:pt x="1530" y="10694"/>
                    <a:pt x="1779" y="10694"/>
                  </a:cubicBezTo>
                  <a:cubicBezTo>
                    <a:pt x="1825" y="10694"/>
                    <a:pt x="1874" y="10685"/>
                    <a:pt x="1923" y="10665"/>
                  </a:cubicBezTo>
                  <a:lnTo>
                    <a:pt x="5735" y="9405"/>
                  </a:lnTo>
                  <a:lnTo>
                    <a:pt x="5735" y="9153"/>
                  </a:lnTo>
                  <a:lnTo>
                    <a:pt x="2395" y="7830"/>
                  </a:lnTo>
                  <a:cubicBezTo>
                    <a:pt x="2206" y="7735"/>
                    <a:pt x="2112" y="7546"/>
                    <a:pt x="2206" y="7357"/>
                  </a:cubicBezTo>
                  <a:cubicBezTo>
                    <a:pt x="2252" y="7219"/>
                    <a:pt x="2366" y="7131"/>
                    <a:pt x="2498" y="7131"/>
                  </a:cubicBezTo>
                  <a:cubicBezTo>
                    <a:pt x="2546" y="7131"/>
                    <a:pt x="2597" y="7143"/>
                    <a:pt x="2647" y="7168"/>
                  </a:cubicBezTo>
                  <a:lnTo>
                    <a:pt x="5735" y="8397"/>
                  </a:lnTo>
                  <a:lnTo>
                    <a:pt x="5735" y="3923"/>
                  </a:lnTo>
                  <a:cubicBezTo>
                    <a:pt x="5735" y="3734"/>
                    <a:pt x="5892" y="3577"/>
                    <a:pt x="6081" y="3577"/>
                  </a:cubicBezTo>
                  <a:cubicBezTo>
                    <a:pt x="6302" y="3577"/>
                    <a:pt x="6459" y="3734"/>
                    <a:pt x="6459" y="3923"/>
                  </a:cubicBezTo>
                  <a:lnTo>
                    <a:pt x="6459" y="8397"/>
                  </a:lnTo>
                  <a:lnTo>
                    <a:pt x="9515" y="7168"/>
                  </a:lnTo>
                  <a:cubicBezTo>
                    <a:pt x="9566" y="7143"/>
                    <a:pt x="9619" y="7131"/>
                    <a:pt x="9671" y="7131"/>
                  </a:cubicBezTo>
                  <a:cubicBezTo>
                    <a:pt x="9811" y="7131"/>
                    <a:pt x="9942" y="7219"/>
                    <a:pt x="9988" y="7357"/>
                  </a:cubicBezTo>
                  <a:cubicBezTo>
                    <a:pt x="10083" y="7546"/>
                    <a:pt x="9988" y="7735"/>
                    <a:pt x="9799" y="7830"/>
                  </a:cubicBezTo>
                  <a:lnTo>
                    <a:pt x="6459" y="9153"/>
                  </a:lnTo>
                  <a:lnTo>
                    <a:pt x="6459" y="9405"/>
                  </a:lnTo>
                  <a:lnTo>
                    <a:pt x="10272" y="10665"/>
                  </a:lnTo>
                  <a:cubicBezTo>
                    <a:pt x="10311" y="10685"/>
                    <a:pt x="10352" y="10694"/>
                    <a:pt x="10394" y="10694"/>
                  </a:cubicBezTo>
                  <a:cubicBezTo>
                    <a:pt x="10619" y="10694"/>
                    <a:pt x="10841" y="10432"/>
                    <a:pt x="10681" y="10193"/>
                  </a:cubicBezTo>
                  <a:lnTo>
                    <a:pt x="10146" y="9121"/>
                  </a:lnTo>
                  <a:cubicBezTo>
                    <a:pt x="10492" y="8995"/>
                    <a:pt x="10902" y="8932"/>
                    <a:pt x="11280" y="8932"/>
                  </a:cubicBezTo>
                  <a:lnTo>
                    <a:pt x="11437" y="8932"/>
                  </a:lnTo>
                  <a:cubicBezTo>
                    <a:pt x="11658" y="8932"/>
                    <a:pt x="11847" y="8806"/>
                    <a:pt x="11847" y="8523"/>
                  </a:cubicBezTo>
                  <a:cubicBezTo>
                    <a:pt x="11815" y="7956"/>
                    <a:pt x="11910" y="7326"/>
                    <a:pt x="12162" y="6759"/>
                  </a:cubicBezTo>
                  <a:cubicBezTo>
                    <a:pt x="12225" y="6570"/>
                    <a:pt x="12162" y="6381"/>
                    <a:pt x="12004" y="6286"/>
                  </a:cubicBezTo>
                  <a:cubicBezTo>
                    <a:pt x="11437" y="6034"/>
                    <a:pt x="10933" y="5624"/>
                    <a:pt x="10587" y="5120"/>
                  </a:cubicBezTo>
                  <a:cubicBezTo>
                    <a:pt x="10518" y="5001"/>
                    <a:pt x="10404" y="4946"/>
                    <a:pt x="10293" y="4946"/>
                  </a:cubicBezTo>
                  <a:cubicBezTo>
                    <a:pt x="10200" y="4946"/>
                    <a:pt x="10109" y="4985"/>
                    <a:pt x="10051" y="5057"/>
                  </a:cubicBezTo>
                  <a:cubicBezTo>
                    <a:pt x="9704" y="5372"/>
                    <a:pt x="9263" y="5656"/>
                    <a:pt x="8791" y="5813"/>
                  </a:cubicBezTo>
                  <a:cubicBezTo>
                    <a:pt x="8413" y="4900"/>
                    <a:pt x="8602" y="3325"/>
                    <a:pt x="9200" y="2757"/>
                  </a:cubicBezTo>
                  <a:cubicBezTo>
                    <a:pt x="9421" y="2537"/>
                    <a:pt x="9263" y="2159"/>
                    <a:pt x="8948" y="2159"/>
                  </a:cubicBezTo>
                  <a:cubicBezTo>
                    <a:pt x="8161" y="2159"/>
                    <a:pt x="7468" y="1749"/>
                    <a:pt x="7027" y="1119"/>
                  </a:cubicBezTo>
                  <a:lnTo>
                    <a:pt x="6396" y="143"/>
                  </a:lnTo>
                  <a:cubicBezTo>
                    <a:pt x="6333" y="48"/>
                    <a:pt x="6215" y="1"/>
                    <a:pt x="60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6" name="Google Shape;8566;p75"/>
          <p:cNvGrpSpPr/>
          <p:nvPr/>
        </p:nvGrpSpPr>
        <p:grpSpPr>
          <a:xfrm>
            <a:off x="1866708" y="2305410"/>
            <a:ext cx="449325" cy="325670"/>
            <a:chOff x="-20571700" y="3722875"/>
            <a:chExt cx="304050" cy="220375"/>
          </a:xfrm>
        </p:grpSpPr>
        <p:sp>
          <p:nvSpPr>
            <p:cNvPr id="8567" name="Google Shape;8567;p75"/>
            <p:cNvSpPr/>
            <p:nvPr/>
          </p:nvSpPr>
          <p:spPr>
            <a:xfrm>
              <a:off x="-20333850" y="3728200"/>
              <a:ext cx="66200" cy="35475"/>
            </a:xfrm>
            <a:custGeom>
              <a:avLst/>
              <a:gdLst/>
              <a:ahLst/>
              <a:cxnLst/>
              <a:rect l="l" t="t" r="r" b="b"/>
              <a:pathLst>
                <a:path w="2648" h="1419" extrusionOk="0">
                  <a:moveTo>
                    <a:pt x="2301" y="1"/>
                  </a:moveTo>
                  <a:cubicBezTo>
                    <a:pt x="1324" y="1"/>
                    <a:pt x="411" y="599"/>
                    <a:pt x="1" y="1418"/>
                  </a:cubicBezTo>
                  <a:lnTo>
                    <a:pt x="820" y="1418"/>
                  </a:lnTo>
                  <a:cubicBezTo>
                    <a:pt x="1135" y="1040"/>
                    <a:pt x="1702" y="725"/>
                    <a:pt x="2301" y="725"/>
                  </a:cubicBezTo>
                  <a:cubicBezTo>
                    <a:pt x="2490" y="725"/>
                    <a:pt x="2647" y="568"/>
                    <a:pt x="2647" y="379"/>
                  </a:cubicBezTo>
                  <a:cubicBezTo>
                    <a:pt x="2647" y="158"/>
                    <a:pt x="2490" y="1"/>
                    <a:pt x="23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8" name="Google Shape;8568;p75"/>
            <p:cNvSpPr/>
            <p:nvPr/>
          </p:nvSpPr>
          <p:spPr>
            <a:xfrm>
              <a:off x="-20571700" y="3782550"/>
              <a:ext cx="49650" cy="51225"/>
            </a:xfrm>
            <a:custGeom>
              <a:avLst/>
              <a:gdLst/>
              <a:ahLst/>
              <a:cxnLst/>
              <a:rect l="l" t="t" r="r" b="b"/>
              <a:pathLst>
                <a:path w="1986" h="2049" extrusionOk="0">
                  <a:moveTo>
                    <a:pt x="379" y="0"/>
                  </a:moveTo>
                  <a:cubicBezTo>
                    <a:pt x="189" y="0"/>
                    <a:pt x="32" y="158"/>
                    <a:pt x="32" y="347"/>
                  </a:cubicBezTo>
                  <a:cubicBezTo>
                    <a:pt x="0" y="473"/>
                    <a:pt x="0" y="599"/>
                    <a:pt x="32" y="725"/>
                  </a:cubicBezTo>
                  <a:cubicBezTo>
                    <a:pt x="158" y="1355"/>
                    <a:pt x="662" y="1891"/>
                    <a:pt x="1292" y="2048"/>
                  </a:cubicBez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9" name="Google Shape;8569;p75"/>
            <p:cNvSpPr/>
            <p:nvPr/>
          </p:nvSpPr>
          <p:spPr>
            <a:xfrm>
              <a:off x="-20320450" y="3782550"/>
              <a:ext cx="52800" cy="52800"/>
            </a:xfrm>
            <a:custGeom>
              <a:avLst/>
              <a:gdLst/>
              <a:ahLst/>
              <a:cxnLst/>
              <a:rect l="l" t="t" r="r" b="b"/>
              <a:pathLst>
                <a:path w="2112" h="2112" extrusionOk="0">
                  <a:moveTo>
                    <a:pt x="1040" y="0"/>
                  </a:moveTo>
                  <a:cubicBezTo>
                    <a:pt x="442" y="0"/>
                    <a:pt x="1" y="473"/>
                    <a:pt x="1" y="1072"/>
                  </a:cubicBezTo>
                  <a:cubicBezTo>
                    <a:pt x="1" y="1670"/>
                    <a:pt x="442" y="2111"/>
                    <a:pt x="1040" y="2111"/>
                  </a:cubicBezTo>
                  <a:cubicBezTo>
                    <a:pt x="1639" y="2111"/>
                    <a:pt x="2111" y="1670"/>
                    <a:pt x="2111" y="1072"/>
                  </a:cubicBezTo>
                  <a:cubicBezTo>
                    <a:pt x="2111" y="473"/>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5"/>
            <p:cNvSpPr/>
            <p:nvPr/>
          </p:nvSpPr>
          <p:spPr>
            <a:xfrm>
              <a:off x="-20571700" y="3722875"/>
              <a:ext cx="178025" cy="220375"/>
            </a:xfrm>
            <a:custGeom>
              <a:avLst/>
              <a:gdLst/>
              <a:ahLst/>
              <a:cxnLst/>
              <a:rect l="l" t="t" r="r" b="b"/>
              <a:pathLst>
                <a:path w="7121" h="8815" extrusionOk="0">
                  <a:moveTo>
                    <a:pt x="4017" y="1"/>
                  </a:moveTo>
                  <a:cubicBezTo>
                    <a:pt x="3729" y="1"/>
                    <a:pt x="3444" y="168"/>
                    <a:pt x="3340" y="497"/>
                  </a:cubicBezTo>
                  <a:lnTo>
                    <a:pt x="820" y="8090"/>
                  </a:lnTo>
                  <a:lnTo>
                    <a:pt x="347" y="8090"/>
                  </a:lnTo>
                  <a:cubicBezTo>
                    <a:pt x="158" y="8090"/>
                    <a:pt x="0" y="8247"/>
                    <a:pt x="0" y="8436"/>
                  </a:cubicBezTo>
                  <a:cubicBezTo>
                    <a:pt x="0" y="8657"/>
                    <a:pt x="158" y="8814"/>
                    <a:pt x="347" y="8814"/>
                  </a:cubicBezTo>
                  <a:lnTo>
                    <a:pt x="1040" y="8814"/>
                  </a:lnTo>
                  <a:cubicBezTo>
                    <a:pt x="1198" y="8814"/>
                    <a:pt x="1324" y="8720"/>
                    <a:pt x="1418" y="8562"/>
                  </a:cubicBezTo>
                  <a:lnTo>
                    <a:pt x="3781" y="1442"/>
                  </a:lnTo>
                  <a:lnTo>
                    <a:pt x="4285" y="5002"/>
                  </a:lnTo>
                  <a:cubicBezTo>
                    <a:pt x="4348" y="5664"/>
                    <a:pt x="4884" y="6199"/>
                    <a:pt x="5545" y="6294"/>
                  </a:cubicBezTo>
                  <a:cubicBezTo>
                    <a:pt x="5583" y="6297"/>
                    <a:pt x="5620" y="6298"/>
                    <a:pt x="5657" y="6298"/>
                  </a:cubicBezTo>
                  <a:cubicBezTo>
                    <a:pt x="6459" y="6298"/>
                    <a:pt x="7121" y="5659"/>
                    <a:pt x="7121" y="4876"/>
                  </a:cubicBezTo>
                  <a:cubicBezTo>
                    <a:pt x="7121" y="4593"/>
                    <a:pt x="7026" y="4372"/>
                    <a:pt x="6932" y="4120"/>
                  </a:cubicBezTo>
                  <a:lnTo>
                    <a:pt x="4632" y="340"/>
                  </a:lnTo>
                  <a:cubicBezTo>
                    <a:pt x="4490" y="113"/>
                    <a:pt x="4252" y="1"/>
                    <a:pt x="4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1" name="Google Shape;8571;p75"/>
            <p:cNvSpPr/>
            <p:nvPr/>
          </p:nvSpPr>
          <p:spPr>
            <a:xfrm>
              <a:off x="-20404725" y="3782550"/>
              <a:ext cx="28375" cy="41775"/>
            </a:xfrm>
            <a:custGeom>
              <a:avLst/>
              <a:gdLst/>
              <a:ahLst/>
              <a:cxnLst/>
              <a:rect l="l" t="t" r="r" b="b"/>
              <a:pathLst>
                <a:path w="1135" h="1671" extrusionOk="0">
                  <a:moveTo>
                    <a:pt x="0" y="0"/>
                  </a:moveTo>
                  <a:lnTo>
                    <a:pt x="820" y="1387"/>
                  </a:lnTo>
                  <a:cubicBezTo>
                    <a:pt x="914" y="1450"/>
                    <a:pt x="914" y="1576"/>
                    <a:pt x="946" y="1670"/>
                  </a:cubicBezTo>
                  <a:cubicBezTo>
                    <a:pt x="1072" y="1513"/>
                    <a:pt x="1135" y="1292"/>
                    <a:pt x="1135" y="1072"/>
                  </a:cubicBezTo>
                  <a:lnTo>
                    <a:pt x="11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2" name="Google Shape;8572;p75"/>
            <p:cNvSpPr/>
            <p:nvPr/>
          </p:nvSpPr>
          <p:spPr>
            <a:xfrm>
              <a:off x="-20502400" y="3887300"/>
              <a:ext cx="1600" cy="25"/>
            </a:xfrm>
            <a:custGeom>
              <a:avLst/>
              <a:gdLst/>
              <a:ahLst/>
              <a:cxnLst/>
              <a:rect l="l" t="t" r="r" b="b"/>
              <a:pathLst>
                <a:path w="64" h="1" extrusionOk="0">
                  <a:moveTo>
                    <a:pt x="64" y="1"/>
                  </a:moveTo>
                  <a:cubicBezTo>
                    <a:pt x="1" y="1"/>
                    <a:pt x="1" y="1"/>
                    <a:pt x="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5"/>
            <p:cNvSpPr/>
            <p:nvPr/>
          </p:nvSpPr>
          <p:spPr>
            <a:xfrm>
              <a:off x="-20500825" y="3782550"/>
              <a:ext cx="220575" cy="159125"/>
            </a:xfrm>
            <a:custGeom>
              <a:avLst/>
              <a:gdLst/>
              <a:ahLst/>
              <a:cxnLst/>
              <a:rect l="l" t="t" r="r" b="b"/>
              <a:pathLst>
                <a:path w="8823" h="6365" extrusionOk="0">
                  <a:moveTo>
                    <a:pt x="5703" y="0"/>
                  </a:moveTo>
                  <a:lnTo>
                    <a:pt x="5703" y="1072"/>
                  </a:lnTo>
                  <a:cubicBezTo>
                    <a:pt x="5703" y="1670"/>
                    <a:pt x="5420" y="2174"/>
                    <a:pt x="4979" y="2489"/>
                  </a:cubicBezTo>
                  <a:cubicBezTo>
                    <a:pt x="4979" y="3655"/>
                    <a:pt x="4034" y="4600"/>
                    <a:pt x="2868" y="4600"/>
                  </a:cubicBezTo>
                  <a:cubicBezTo>
                    <a:pt x="1828" y="4600"/>
                    <a:pt x="946" y="3875"/>
                    <a:pt x="789" y="2836"/>
                  </a:cubicBezTo>
                  <a:cubicBezTo>
                    <a:pt x="694" y="2489"/>
                    <a:pt x="694" y="2395"/>
                    <a:pt x="662" y="2111"/>
                  </a:cubicBezTo>
                  <a:cubicBezTo>
                    <a:pt x="631" y="2206"/>
                    <a:pt x="32" y="4065"/>
                    <a:pt x="1" y="4159"/>
                  </a:cubicBezTo>
                  <a:cubicBezTo>
                    <a:pt x="473" y="4632"/>
                    <a:pt x="1104" y="4947"/>
                    <a:pt x="1797" y="4947"/>
                  </a:cubicBezTo>
                  <a:lnTo>
                    <a:pt x="3971" y="4947"/>
                  </a:lnTo>
                  <a:lnTo>
                    <a:pt x="3687" y="5671"/>
                  </a:lnTo>
                  <a:lnTo>
                    <a:pt x="3214" y="5671"/>
                  </a:lnTo>
                  <a:cubicBezTo>
                    <a:pt x="3025" y="5671"/>
                    <a:pt x="2868" y="5829"/>
                    <a:pt x="2868" y="6018"/>
                  </a:cubicBezTo>
                  <a:cubicBezTo>
                    <a:pt x="2868" y="6207"/>
                    <a:pt x="3025" y="6364"/>
                    <a:pt x="3214" y="6364"/>
                  </a:cubicBezTo>
                  <a:lnTo>
                    <a:pt x="3939" y="6364"/>
                  </a:lnTo>
                  <a:cubicBezTo>
                    <a:pt x="4097" y="6364"/>
                    <a:pt x="4191" y="6301"/>
                    <a:pt x="4254" y="6144"/>
                  </a:cubicBezTo>
                  <a:lnTo>
                    <a:pt x="4727" y="4915"/>
                  </a:lnTo>
                  <a:lnTo>
                    <a:pt x="5924" y="4915"/>
                  </a:lnTo>
                  <a:lnTo>
                    <a:pt x="6396" y="6144"/>
                  </a:lnTo>
                  <a:cubicBezTo>
                    <a:pt x="6459" y="6270"/>
                    <a:pt x="6617" y="6364"/>
                    <a:pt x="6711" y="6364"/>
                  </a:cubicBezTo>
                  <a:lnTo>
                    <a:pt x="7436" y="6364"/>
                  </a:lnTo>
                  <a:cubicBezTo>
                    <a:pt x="7625" y="6364"/>
                    <a:pt x="7783" y="6207"/>
                    <a:pt x="7783" y="6018"/>
                  </a:cubicBezTo>
                  <a:cubicBezTo>
                    <a:pt x="7783" y="5829"/>
                    <a:pt x="7625" y="5671"/>
                    <a:pt x="7436" y="5671"/>
                  </a:cubicBezTo>
                  <a:lnTo>
                    <a:pt x="6963" y="5671"/>
                  </a:lnTo>
                  <a:lnTo>
                    <a:pt x="6680" y="4947"/>
                  </a:lnTo>
                  <a:lnTo>
                    <a:pt x="6743" y="4947"/>
                  </a:lnTo>
                  <a:cubicBezTo>
                    <a:pt x="7310" y="4947"/>
                    <a:pt x="7846" y="4632"/>
                    <a:pt x="8066" y="4128"/>
                  </a:cubicBezTo>
                  <a:lnTo>
                    <a:pt x="8822" y="2710"/>
                  </a:lnTo>
                  <a:lnTo>
                    <a:pt x="8822" y="2710"/>
                  </a:lnTo>
                  <a:cubicBezTo>
                    <a:pt x="8633" y="2804"/>
                    <a:pt x="8381" y="2836"/>
                    <a:pt x="8192" y="2836"/>
                  </a:cubicBezTo>
                  <a:cubicBezTo>
                    <a:pt x="7279" y="2836"/>
                    <a:pt x="6491" y="2048"/>
                    <a:pt x="6491" y="1072"/>
                  </a:cubicBezTo>
                  <a:cubicBezTo>
                    <a:pt x="6491" y="662"/>
                    <a:pt x="6648" y="284"/>
                    <a:pt x="68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4" name="Google Shape;8574;p75"/>
          <p:cNvGrpSpPr/>
          <p:nvPr/>
        </p:nvGrpSpPr>
        <p:grpSpPr>
          <a:xfrm>
            <a:off x="1866135" y="2796278"/>
            <a:ext cx="450470" cy="450470"/>
            <a:chOff x="-20571700" y="4066875"/>
            <a:chExt cx="304825" cy="304825"/>
          </a:xfrm>
        </p:grpSpPr>
        <p:sp>
          <p:nvSpPr>
            <p:cNvPr id="8575" name="Google Shape;8575;p75"/>
            <p:cNvSpPr/>
            <p:nvPr/>
          </p:nvSpPr>
          <p:spPr>
            <a:xfrm>
              <a:off x="-20385825" y="4211025"/>
              <a:ext cx="118950" cy="160675"/>
            </a:xfrm>
            <a:custGeom>
              <a:avLst/>
              <a:gdLst/>
              <a:ahLst/>
              <a:cxnLst/>
              <a:rect l="l" t="t" r="r" b="b"/>
              <a:pathLst>
                <a:path w="4758" h="6427" extrusionOk="0">
                  <a:moveTo>
                    <a:pt x="757" y="0"/>
                  </a:moveTo>
                  <a:cubicBezTo>
                    <a:pt x="473" y="0"/>
                    <a:pt x="221" y="63"/>
                    <a:pt x="1" y="189"/>
                  </a:cubicBezTo>
                  <a:lnTo>
                    <a:pt x="2836" y="6427"/>
                  </a:lnTo>
                  <a:lnTo>
                    <a:pt x="4380" y="6427"/>
                  </a:lnTo>
                  <a:cubicBezTo>
                    <a:pt x="4474" y="6427"/>
                    <a:pt x="4600" y="6332"/>
                    <a:pt x="4695" y="6269"/>
                  </a:cubicBezTo>
                  <a:cubicBezTo>
                    <a:pt x="4758" y="6143"/>
                    <a:pt x="4758" y="6017"/>
                    <a:pt x="4695" y="5891"/>
                  </a:cubicBezTo>
                  <a:lnTo>
                    <a:pt x="2111" y="819"/>
                  </a:lnTo>
                  <a:cubicBezTo>
                    <a:pt x="1891" y="315"/>
                    <a:pt x="138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5"/>
            <p:cNvSpPr/>
            <p:nvPr/>
          </p:nvSpPr>
          <p:spPr>
            <a:xfrm>
              <a:off x="-20412600" y="4084875"/>
              <a:ext cx="109500" cy="89925"/>
            </a:xfrm>
            <a:custGeom>
              <a:avLst/>
              <a:gdLst/>
              <a:ahLst/>
              <a:cxnLst/>
              <a:rect l="l" t="t" r="r" b="b"/>
              <a:pathLst>
                <a:path w="4380" h="3597" extrusionOk="0">
                  <a:moveTo>
                    <a:pt x="2203" y="0"/>
                  </a:moveTo>
                  <a:cubicBezTo>
                    <a:pt x="2118" y="0"/>
                    <a:pt x="2029" y="10"/>
                    <a:pt x="1922" y="37"/>
                  </a:cubicBezTo>
                  <a:cubicBezTo>
                    <a:pt x="1261" y="194"/>
                    <a:pt x="788" y="824"/>
                    <a:pt x="788" y="1486"/>
                  </a:cubicBezTo>
                  <a:cubicBezTo>
                    <a:pt x="284" y="1707"/>
                    <a:pt x="0" y="2211"/>
                    <a:pt x="126" y="2715"/>
                  </a:cubicBezTo>
                  <a:cubicBezTo>
                    <a:pt x="252" y="3219"/>
                    <a:pt x="694" y="3597"/>
                    <a:pt x="1198" y="3597"/>
                  </a:cubicBezTo>
                  <a:lnTo>
                    <a:pt x="3308" y="3597"/>
                  </a:lnTo>
                  <a:cubicBezTo>
                    <a:pt x="3876" y="3597"/>
                    <a:pt x="4380" y="3124"/>
                    <a:pt x="4380" y="2526"/>
                  </a:cubicBezTo>
                  <a:cubicBezTo>
                    <a:pt x="4380" y="2179"/>
                    <a:pt x="4222" y="1801"/>
                    <a:pt x="3813" y="1580"/>
                  </a:cubicBezTo>
                  <a:cubicBezTo>
                    <a:pt x="3718" y="1549"/>
                    <a:pt x="3655" y="1423"/>
                    <a:pt x="3624" y="1297"/>
                  </a:cubicBezTo>
                  <a:cubicBezTo>
                    <a:pt x="3561" y="635"/>
                    <a:pt x="3119" y="194"/>
                    <a:pt x="2552" y="37"/>
                  </a:cubicBezTo>
                  <a:cubicBezTo>
                    <a:pt x="2425" y="19"/>
                    <a:pt x="2319" y="0"/>
                    <a:pt x="22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7" name="Google Shape;8577;p75"/>
            <p:cNvSpPr/>
            <p:nvPr/>
          </p:nvSpPr>
          <p:spPr>
            <a:xfrm>
              <a:off x="-20332275" y="4066875"/>
              <a:ext cx="64625" cy="80375"/>
            </a:xfrm>
            <a:custGeom>
              <a:avLst/>
              <a:gdLst/>
              <a:ahLst/>
              <a:cxnLst/>
              <a:rect l="l" t="t" r="r" b="b"/>
              <a:pathLst>
                <a:path w="2585" h="3215" extrusionOk="0">
                  <a:moveTo>
                    <a:pt x="820" y="1"/>
                  </a:moveTo>
                  <a:cubicBezTo>
                    <a:pt x="505" y="1"/>
                    <a:pt x="221" y="95"/>
                    <a:pt x="1" y="253"/>
                  </a:cubicBezTo>
                  <a:cubicBezTo>
                    <a:pt x="253" y="379"/>
                    <a:pt x="505" y="568"/>
                    <a:pt x="726" y="851"/>
                  </a:cubicBezTo>
                  <a:cubicBezTo>
                    <a:pt x="915" y="1103"/>
                    <a:pt x="1072" y="1418"/>
                    <a:pt x="1135" y="1733"/>
                  </a:cubicBezTo>
                  <a:cubicBezTo>
                    <a:pt x="1356" y="1891"/>
                    <a:pt x="1608" y="2174"/>
                    <a:pt x="1702" y="2490"/>
                  </a:cubicBezTo>
                  <a:cubicBezTo>
                    <a:pt x="1797" y="2679"/>
                    <a:pt x="1860" y="2962"/>
                    <a:pt x="1860" y="3214"/>
                  </a:cubicBezTo>
                  <a:cubicBezTo>
                    <a:pt x="2301" y="2899"/>
                    <a:pt x="2584" y="2363"/>
                    <a:pt x="2584" y="1796"/>
                  </a:cubicBezTo>
                  <a:cubicBezTo>
                    <a:pt x="2584" y="788"/>
                    <a:pt x="1797"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8" name="Google Shape;8578;p75"/>
            <p:cNvSpPr/>
            <p:nvPr/>
          </p:nvSpPr>
          <p:spPr>
            <a:xfrm>
              <a:off x="-20553575" y="4103900"/>
              <a:ext cx="107925" cy="89025"/>
            </a:xfrm>
            <a:custGeom>
              <a:avLst/>
              <a:gdLst/>
              <a:ahLst/>
              <a:cxnLst/>
              <a:rect l="l" t="t" r="r" b="b"/>
              <a:pathLst>
                <a:path w="4317" h="3561" extrusionOk="0">
                  <a:moveTo>
                    <a:pt x="2174" y="0"/>
                  </a:moveTo>
                  <a:cubicBezTo>
                    <a:pt x="1386" y="0"/>
                    <a:pt x="756" y="630"/>
                    <a:pt x="756" y="1418"/>
                  </a:cubicBezTo>
                  <a:lnTo>
                    <a:pt x="756" y="1481"/>
                  </a:lnTo>
                  <a:cubicBezTo>
                    <a:pt x="284" y="1639"/>
                    <a:pt x="63" y="2048"/>
                    <a:pt x="63" y="2458"/>
                  </a:cubicBezTo>
                  <a:cubicBezTo>
                    <a:pt x="0" y="3088"/>
                    <a:pt x="473" y="3560"/>
                    <a:pt x="1071" y="3560"/>
                  </a:cubicBezTo>
                  <a:lnTo>
                    <a:pt x="3214" y="3560"/>
                  </a:lnTo>
                  <a:cubicBezTo>
                    <a:pt x="3686" y="3560"/>
                    <a:pt x="4159" y="3214"/>
                    <a:pt x="4253" y="2710"/>
                  </a:cubicBezTo>
                  <a:cubicBezTo>
                    <a:pt x="4253" y="2615"/>
                    <a:pt x="4316" y="2552"/>
                    <a:pt x="4316" y="2521"/>
                  </a:cubicBezTo>
                  <a:cubicBezTo>
                    <a:pt x="4316" y="2080"/>
                    <a:pt x="4033" y="1670"/>
                    <a:pt x="3592" y="1481"/>
                  </a:cubicBezTo>
                  <a:cubicBezTo>
                    <a:pt x="3592" y="1135"/>
                    <a:pt x="3529" y="819"/>
                    <a:pt x="3308" y="536"/>
                  </a:cubicBezTo>
                  <a:cubicBezTo>
                    <a:pt x="3056" y="189"/>
                    <a:pt x="2646" y="0"/>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9" name="Google Shape;8579;p75"/>
            <p:cNvSpPr/>
            <p:nvPr/>
          </p:nvSpPr>
          <p:spPr>
            <a:xfrm>
              <a:off x="-20515000" y="4168475"/>
              <a:ext cx="119750" cy="91400"/>
            </a:xfrm>
            <a:custGeom>
              <a:avLst/>
              <a:gdLst/>
              <a:ahLst/>
              <a:cxnLst/>
              <a:rect l="l" t="t" r="r" b="b"/>
              <a:pathLst>
                <a:path w="4790" h="3656" extrusionOk="0">
                  <a:moveTo>
                    <a:pt x="3435" y="1"/>
                  </a:moveTo>
                  <a:cubicBezTo>
                    <a:pt x="3435" y="316"/>
                    <a:pt x="3372" y="599"/>
                    <a:pt x="3151" y="914"/>
                  </a:cubicBezTo>
                  <a:cubicBezTo>
                    <a:pt x="2773" y="1450"/>
                    <a:pt x="2206" y="1702"/>
                    <a:pt x="1671" y="1702"/>
                  </a:cubicBezTo>
                  <a:lnTo>
                    <a:pt x="473" y="1702"/>
                  </a:lnTo>
                  <a:lnTo>
                    <a:pt x="1" y="2710"/>
                  </a:lnTo>
                  <a:lnTo>
                    <a:pt x="946" y="3655"/>
                  </a:lnTo>
                  <a:lnTo>
                    <a:pt x="2143" y="2490"/>
                  </a:lnTo>
                  <a:cubicBezTo>
                    <a:pt x="2222" y="2411"/>
                    <a:pt x="2309" y="2371"/>
                    <a:pt x="2395" y="2371"/>
                  </a:cubicBezTo>
                  <a:cubicBezTo>
                    <a:pt x="2482" y="2371"/>
                    <a:pt x="2568" y="2411"/>
                    <a:pt x="2647" y="2490"/>
                  </a:cubicBezTo>
                  <a:lnTo>
                    <a:pt x="3844" y="3655"/>
                  </a:lnTo>
                  <a:lnTo>
                    <a:pt x="4790" y="2710"/>
                  </a:lnTo>
                  <a:lnTo>
                    <a:pt x="3718" y="410"/>
                  </a:lnTo>
                  <a:cubicBezTo>
                    <a:pt x="3624" y="253"/>
                    <a:pt x="3561" y="127"/>
                    <a:pt x="34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0" name="Google Shape;8580;p75"/>
            <p:cNvSpPr/>
            <p:nvPr/>
          </p:nvSpPr>
          <p:spPr>
            <a:xfrm>
              <a:off x="-20571700" y="4250400"/>
              <a:ext cx="233950" cy="120525"/>
            </a:xfrm>
            <a:custGeom>
              <a:avLst/>
              <a:gdLst/>
              <a:ahLst/>
              <a:cxnLst/>
              <a:rect l="l" t="t" r="r" b="b"/>
              <a:pathLst>
                <a:path w="9358" h="4821" extrusionOk="0">
                  <a:moveTo>
                    <a:pt x="4695" y="0"/>
                  </a:moveTo>
                  <a:lnTo>
                    <a:pt x="3497" y="1166"/>
                  </a:lnTo>
                  <a:cubicBezTo>
                    <a:pt x="3419" y="1245"/>
                    <a:pt x="3332" y="1284"/>
                    <a:pt x="3245" y="1284"/>
                  </a:cubicBezTo>
                  <a:cubicBezTo>
                    <a:pt x="3159" y="1284"/>
                    <a:pt x="3072" y="1245"/>
                    <a:pt x="2993" y="1166"/>
                  </a:cubicBezTo>
                  <a:lnTo>
                    <a:pt x="1954" y="158"/>
                  </a:lnTo>
                  <a:lnTo>
                    <a:pt x="32" y="4316"/>
                  </a:lnTo>
                  <a:cubicBezTo>
                    <a:pt x="0" y="4442"/>
                    <a:pt x="0" y="4568"/>
                    <a:pt x="63" y="4694"/>
                  </a:cubicBezTo>
                  <a:cubicBezTo>
                    <a:pt x="158" y="4789"/>
                    <a:pt x="252" y="4820"/>
                    <a:pt x="379" y="4820"/>
                  </a:cubicBezTo>
                  <a:lnTo>
                    <a:pt x="8979" y="4820"/>
                  </a:lnTo>
                  <a:cubicBezTo>
                    <a:pt x="9105" y="4820"/>
                    <a:pt x="9200" y="4757"/>
                    <a:pt x="9294" y="4694"/>
                  </a:cubicBezTo>
                  <a:cubicBezTo>
                    <a:pt x="9357" y="4568"/>
                    <a:pt x="9357" y="4442"/>
                    <a:pt x="9326" y="4316"/>
                  </a:cubicBezTo>
                  <a:lnTo>
                    <a:pt x="7341" y="158"/>
                  </a:lnTo>
                  <a:lnTo>
                    <a:pt x="6333" y="1166"/>
                  </a:lnTo>
                  <a:cubicBezTo>
                    <a:pt x="6270" y="1260"/>
                    <a:pt x="6175" y="1292"/>
                    <a:pt x="6112" y="1292"/>
                  </a:cubicBezTo>
                  <a:cubicBezTo>
                    <a:pt x="6018" y="1292"/>
                    <a:pt x="5892" y="1260"/>
                    <a:pt x="5860" y="1166"/>
                  </a:cubicBezTo>
                  <a:lnTo>
                    <a:pt x="4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1" name="Google Shape;8581;p75"/>
          <p:cNvGrpSpPr/>
          <p:nvPr/>
        </p:nvGrpSpPr>
        <p:grpSpPr>
          <a:xfrm>
            <a:off x="4632837" y="1688259"/>
            <a:ext cx="453980" cy="451948"/>
            <a:chOff x="-18645175" y="3334200"/>
            <a:chExt cx="307200" cy="305825"/>
          </a:xfrm>
        </p:grpSpPr>
        <p:sp>
          <p:nvSpPr>
            <p:cNvPr id="8582" name="Google Shape;8582;p75"/>
            <p:cNvSpPr/>
            <p:nvPr/>
          </p:nvSpPr>
          <p:spPr>
            <a:xfrm>
              <a:off x="-18627850" y="3424975"/>
              <a:ext cx="289875" cy="215050"/>
            </a:xfrm>
            <a:custGeom>
              <a:avLst/>
              <a:gdLst/>
              <a:ahLst/>
              <a:cxnLst/>
              <a:rect l="l" t="t" r="r" b="b"/>
              <a:pathLst>
                <a:path w="11595" h="8602" extrusionOk="0">
                  <a:moveTo>
                    <a:pt x="7530" y="2111"/>
                  </a:moveTo>
                  <a:cubicBezTo>
                    <a:pt x="7719" y="2111"/>
                    <a:pt x="7877" y="2269"/>
                    <a:pt x="7877" y="2458"/>
                  </a:cubicBezTo>
                  <a:lnTo>
                    <a:pt x="7877" y="4568"/>
                  </a:lnTo>
                  <a:cubicBezTo>
                    <a:pt x="7877" y="4789"/>
                    <a:pt x="7719" y="4946"/>
                    <a:pt x="7530" y="4946"/>
                  </a:cubicBezTo>
                  <a:cubicBezTo>
                    <a:pt x="7341" y="4946"/>
                    <a:pt x="7184" y="4789"/>
                    <a:pt x="7184" y="4568"/>
                  </a:cubicBezTo>
                  <a:lnTo>
                    <a:pt x="7184" y="2458"/>
                  </a:lnTo>
                  <a:cubicBezTo>
                    <a:pt x="7184" y="2269"/>
                    <a:pt x="7341" y="2111"/>
                    <a:pt x="7530" y="2111"/>
                  </a:cubicBezTo>
                  <a:close/>
                  <a:moveTo>
                    <a:pt x="2584" y="0"/>
                  </a:moveTo>
                  <a:cubicBezTo>
                    <a:pt x="2364" y="0"/>
                    <a:pt x="2206" y="158"/>
                    <a:pt x="2206" y="347"/>
                  </a:cubicBezTo>
                  <a:lnTo>
                    <a:pt x="2206" y="1764"/>
                  </a:lnTo>
                  <a:lnTo>
                    <a:pt x="2206" y="2489"/>
                  </a:lnTo>
                  <a:cubicBezTo>
                    <a:pt x="2206" y="2678"/>
                    <a:pt x="2364" y="2836"/>
                    <a:pt x="2584" y="2836"/>
                  </a:cubicBezTo>
                  <a:lnTo>
                    <a:pt x="3624" y="2836"/>
                  </a:lnTo>
                  <a:cubicBezTo>
                    <a:pt x="4821" y="2836"/>
                    <a:pt x="5766" y="3781"/>
                    <a:pt x="5766" y="4978"/>
                  </a:cubicBezTo>
                  <a:cubicBezTo>
                    <a:pt x="5766" y="6144"/>
                    <a:pt x="4821" y="7089"/>
                    <a:pt x="3624" y="7089"/>
                  </a:cubicBezTo>
                  <a:lnTo>
                    <a:pt x="3277" y="7089"/>
                  </a:lnTo>
                  <a:cubicBezTo>
                    <a:pt x="2616" y="7089"/>
                    <a:pt x="1986" y="6931"/>
                    <a:pt x="1387" y="6711"/>
                  </a:cubicBezTo>
                  <a:cubicBezTo>
                    <a:pt x="1072" y="7183"/>
                    <a:pt x="694" y="7593"/>
                    <a:pt x="221" y="7908"/>
                  </a:cubicBezTo>
                  <a:cubicBezTo>
                    <a:pt x="95" y="8002"/>
                    <a:pt x="1" y="8160"/>
                    <a:pt x="64" y="8317"/>
                  </a:cubicBezTo>
                  <a:cubicBezTo>
                    <a:pt x="95" y="8475"/>
                    <a:pt x="253" y="8538"/>
                    <a:pt x="410" y="8538"/>
                  </a:cubicBezTo>
                  <a:lnTo>
                    <a:pt x="3624" y="8538"/>
                  </a:lnTo>
                  <a:lnTo>
                    <a:pt x="3624" y="8191"/>
                  </a:lnTo>
                  <a:cubicBezTo>
                    <a:pt x="3624" y="8002"/>
                    <a:pt x="3781" y="7845"/>
                    <a:pt x="4002" y="7845"/>
                  </a:cubicBezTo>
                  <a:cubicBezTo>
                    <a:pt x="4191" y="7845"/>
                    <a:pt x="4348" y="8002"/>
                    <a:pt x="4348" y="8191"/>
                  </a:cubicBezTo>
                  <a:lnTo>
                    <a:pt x="4348" y="8538"/>
                  </a:lnTo>
                  <a:lnTo>
                    <a:pt x="6522" y="8538"/>
                  </a:lnTo>
                  <a:lnTo>
                    <a:pt x="6522" y="6049"/>
                  </a:lnTo>
                  <a:cubicBezTo>
                    <a:pt x="6522" y="5829"/>
                    <a:pt x="6680" y="5671"/>
                    <a:pt x="6869" y="5671"/>
                  </a:cubicBezTo>
                  <a:cubicBezTo>
                    <a:pt x="7058" y="5671"/>
                    <a:pt x="7215" y="5829"/>
                    <a:pt x="7215" y="6049"/>
                  </a:cubicBezTo>
                  <a:lnTo>
                    <a:pt x="7215" y="8601"/>
                  </a:lnTo>
                  <a:lnTo>
                    <a:pt x="11153" y="8601"/>
                  </a:lnTo>
                  <a:cubicBezTo>
                    <a:pt x="11468" y="8538"/>
                    <a:pt x="11595" y="8128"/>
                    <a:pt x="11311" y="7939"/>
                  </a:cubicBezTo>
                  <a:cubicBezTo>
                    <a:pt x="10208" y="7215"/>
                    <a:pt x="9547" y="5986"/>
                    <a:pt x="9389" y="4726"/>
                  </a:cubicBezTo>
                  <a:lnTo>
                    <a:pt x="10681" y="3434"/>
                  </a:lnTo>
                  <a:cubicBezTo>
                    <a:pt x="10775" y="3371"/>
                    <a:pt x="10807" y="3277"/>
                    <a:pt x="10807" y="3182"/>
                  </a:cubicBezTo>
                  <a:lnTo>
                    <a:pt x="10807" y="1764"/>
                  </a:lnTo>
                  <a:cubicBezTo>
                    <a:pt x="10807" y="1563"/>
                    <a:pt x="10625" y="1422"/>
                    <a:pt x="10440" y="1422"/>
                  </a:cubicBezTo>
                  <a:cubicBezTo>
                    <a:pt x="10394" y="1422"/>
                    <a:pt x="10347" y="1431"/>
                    <a:pt x="10303" y="1449"/>
                  </a:cubicBezTo>
                  <a:lnTo>
                    <a:pt x="9389" y="1922"/>
                  </a:lnTo>
                  <a:lnTo>
                    <a:pt x="9389" y="347"/>
                  </a:lnTo>
                  <a:cubicBezTo>
                    <a:pt x="9389" y="158"/>
                    <a:pt x="9232" y="0"/>
                    <a:pt x="9043" y="0"/>
                  </a:cubicBezTo>
                  <a:lnTo>
                    <a:pt x="6522" y="0"/>
                  </a:lnTo>
                  <a:lnTo>
                    <a:pt x="6522" y="3245"/>
                  </a:lnTo>
                  <a:cubicBezTo>
                    <a:pt x="6522" y="3434"/>
                    <a:pt x="6365" y="3592"/>
                    <a:pt x="6144" y="3592"/>
                  </a:cubicBezTo>
                  <a:cubicBezTo>
                    <a:pt x="5955" y="3592"/>
                    <a:pt x="5798" y="3434"/>
                    <a:pt x="5798" y="3245"/>
                  </a:cubicBezTo>
                  <a:lnTo>
                    <a:pt x="5798" y="0"/>
                  </a:lnTo>
                  <a:lnTo>
                    <a:pt x="4348" y="0"/>
                  </a:lnTo>
                  <a:lnTo>
                    <a:pt x="4348" y="1764"/>
                  </a:lnTo>
                  <a:cubicBezTo>
                    <a:pt x="4348" y="1985"/>
                    <a:pt x="4191" y="2143"/>
                    <a:pt x="4002" y="2143"/>
                  </a:cubicBezTo>
                  <a:cubicBezTo>
                    <a:pt x="3781" y="2143"/>
                    <a:pt x="3624" y="1985"/>
                    <a:pt x="3624" y="1764"/>
                  </a:cubicBezTo>
                  <a:lnTo>
                    <a:pt x="36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3" name="Google Shape;8583;p75"/>
            <p:cNvSpPr/>
            <p:nvPr/>
          </p:nvSpPr>
          <p:spPr>
            <a:xfrm>
              <a:off x="-18645175" y="3424975"/>
              <a:ext cx="141800" cy="159900"/>
            </a:xfrm>
            <a:custGeom>
              <a:avLst/>
              <a:gdLst/>
              <a:ahLst/>
              <a:cxnLst/>
              <a:rect l="l" t="t" r="r" b="b"/>
              <a:pathLst>
                <a:path w="5672" h="6396" extrusionOk="0">
                  <a:moveTo>
                    <a:pt x="347" y="0"/>
                  </a:moveTo>
                  <a:cubicBezTo>
                    <a:pt x="158" y="0"/>
                    <a:pt x="1" y="158"/>
                    <a:pt x="1" y="347"/>
                  </a:cubicBezTo>
                  <a:lnTo>
                    <a:pt x="1" y="2489"/>
                  </a:lnTo>
                  <a:cubicBezTo>
                    <a:pt x="1" y="4600"/>
                    <a:pt x="1733" y="6396"/>
                    <a:pt x="3907" y="6396"/>
                  </a:cubicBezTo>
                  <a:lnTo>
                    <a:pt x="4254" y="6396"/>
                  </a:lnTo>
                  <a:cubicBezTo>
                    <a:pt x="5041" y="6396"/>
                    <a:pt x="5671" y="5766"/>
                    <a:pt x="5671" y="4978"/>
                  </a:cubicBezTo>
                  <a:cubicBezTo>
                    <a:pt x="5671" y="4190"/>
                    <a:pt x="5041" y="3560"/>
                    <a:pt x="4254" y="3560"/>
                  </a:cubicBezTo>
                  <a:lnTo>
                    <a:pt x="3183" y="3560"/>
                  </a:lnTo>
                  <a:cubicBezTo>
                    <a:pt x="2584" y="3560"/>
                    <a:pt x="2111" y="3088"/>
                    <a:pt x="2111" y="2489"/>
                  </a:cubicBezTo>
                  <a:lnTo>
                    <a:pt x="2111" y="1764"/>
                  </a:lnTo>
                  <a:cubicBezTo>
                    <a:pt x="2111" y="788"/>
                    <a:pt x="132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4" name="Google Shape;8584;p75"/>
            <p:cNvSpPr/>
            <p:nvPr/>
          </p:nvSpPr>
          <p:spPr>
            <a:xfrm>
              <a:off x="-18466375" y="3334200"/>
              <a:ext cx="54350" cy="71100"/>
            </a:xfrm>
            <a:custGeom>
              <a:avLst/>
              <a:gdLst/>
              <a:ahLst/>
              <a:cxnLst/>
              <a:rect l="l" t="t" r="r" b="b"/>
              <a:pathLst>
                <a:path w="2174" h="2844" extrusionOk="0">
                  <a:moveTo>
                    <a:pt x="1449" y="0"/>
                  </a:moveTo>
                  <a:cubicBezTo>
                    <a:pt x="1371" y="0"/>
                    <a:pt x="1292" y="24"/>
                    <a:pt x="1229" y="71"/>
                  </a:cubicBezTo>
                  <a:cubicBezTo>
                    <a:pt x="1197" y="103"/>
                    <a:pt x="0" y="953"/>
                    <a:pt x="0" y="2150"/>
                  </a:cubicBezTo>
                  <a:cubicBezTo>
                    <a:pt x="0" y="2403"/>
                    <a:pt x="95" y="2623"/>
                    <a:pt x="158" y="2844"/>
                  </a:cubicBezTo>
                  <a:lnTo>
                    <a:pt x="756" y="2844"/>
                  </a:lnTo>
                  <a:cubicBezTo>
                    <a:pt x="882" y="1898"/>
                    <a:pt x="1386" y="1048"/>
                    <a:pt x="2174" y="544"/>
                  </a:cubicBezTo>
                  <a:cubicBezTo>
                    <a:pt x="1954" y="260"/>
                    <a:pt x="1701" y="71"/>
                    <a:pt x="1670" y="71"/>
                  </a:cubicBezTo>
                  <a:cubicBezTo>
                    <a:pt x="1607" y="24"/>
                    <a:pt x="1528" y="0"/>
                    <a:pt x="1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5"/>
            <p:cNvSpPr/>
            <p:nvPr/>
          </p:nvSpPr>
          <p:spPr>
            <a:xfrm>
              <a:off x="-18428575" y="3352500"/>
              <a:ext cx="87450" cy="82725"/>
            </a:xfrm>
            <a:custGeom>
              <a:avLst/>
              <a:gdLst/>
              <a:ahLst/>
              <a:cxnLst/>
              <a:rect l="l" t="t" r="r" b="b"/>
              <a:pathLst>
                <a:path w="3498" h="3309" extrusionOk="0">
                  <a:moveTo>
                    <a:pt x="2426" y="1"/>
                  </a:moveTo>
                  <a:cubicBezTo>
                    <a:pt x="1166" y="1"/>
                    <a:pt x="158" y="946"/>
                    <a:pt x="0" y="2112"/>
                  </a:cubicBezTo>
                  <a:lnTo>
                    <a:pt x="1009" y="2112"/>
                  </a:lnTo>
                  <a:cubicBezTo>
                    <a:pt x="1607" y="2112"/>
                    <a:pt x="2080" y="2584"/>
                    <a:pt x="2080" y="3183"/>
                  </a:cubicBezTo>
                  <a:lnTo>
                    <a:pt x="2080" y="3309"/>
                  </a:lnTo>
                  <a:cubicBezTo>
                    <a:pt x="2899" y="2899"/>
                    <a:pt x="3497" y="2049"/>
                    <a:pt x="3497" y="1072"/>
                  </a:cubicBezTo>
                  <a:lnTo>
                    <a:pt x="3497" y="347"/>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6" name="Google Shape;8586;p75"/>
            <p:cNvSpPr/>
            <p:nvPr/>
          </p:nvSpPr>
          <p:spPr>
            <a:xfrm>
              <a:off x="-18645175" y="3334400"/>
              <a:ext cx="70900" cy="70900"/>
            </a:xfrm>
            <a:custGeom>
              <a:avLst/>
              <a:gdLst/>
              <a:ahLst/>
              <a:cxnLst/>
              <a:rect l="l" t="t" r="r" b="b"/>
              <a:pathLst>
                <a:path w="2836" h="2836" extrusionOk="0">
                  <a:moveTo>
                    <a:pt x="1765" y="0"/>
                  </a:moveTo>
                  <a:cubicBezTo>
                    <a:pt x="788" y="0"/>
                    <a:pt x="1" y="788"/>
                    <a:pt x="1" y="1796"/>
                  </a:cubicBezTo>
                  <a:lnTo>
                    <a:pt x="1" y="2489"/>
                  </a:lnTo>
                  <a:cubicBezTo>
                    <a:pt x="1" y="2678"/>
                    <a:pt x="158" y="2836"/>
                    <a:pt x="347" y="2836"/>
                  </a:cubicBezTo>
                  <a:lnTo>
                    <a:pt x="1072" y="2836"/>
                  </a:lnTo>
                  <a:cubicBezTo>
                    <a:pt x="2048" y="2836"/>
                    <a:pt x="2836" y="2048"/>
                    <a:pt x="2836" y="1071"/>
                  </a:cubicBezTo>
                  <a:lnTo>
                    <a:pt x="2836" y="347"/>
                  </a:lnTo>
                  <a:cubicBezTo>
                    <a:pt x="2836" y="158"/>
                    <a:pt x="2679"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7" name="Google Shape;8587;p75"/>
          <p:cNvGrpSpPr/>
          <p:nvPr/>
        </p:nvGrpSpPr>
        <p:grpSpPr>
          <a:xfrm>
            <a:off x="4633429" y="2242989"/>
            <a:ext cx="452798" cy="450507"/>
            <a:chOff x="-18645175" y="3708500"/>
            <a:chExt cx="306400" cy="304850"/>
          </a:xfrm>
        </p:grpSpPr>
        <p:sp>
          <p:nvSpPr>
            <p:cNvPr id="8588" name="Google Shape;8588;p75"/>
            <p:cNvSpPr/>
            <p:nvPr/>
          </p:nvSpPr>
          <p:spPr>
            <a:xfrm>
              <a:off x="-18555375" y="3817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9" name="Google Shape;8589;p75"/>
            <p:cNvSpPr/>
            <p:nvPr/>
          </p:nvSpPr>
          <p:spPr>
            <a:xfrm>
              <a:off x="-18501825" y="3894000"/>
              <a:ext cx="18150" cy="16950"/>
            </a:xfrm>
            <a:custGeom>
              <a:avLst/>
              <a:gdLst/>
              <a:ahLst/>
              <a:cxnLst/>
              <a:rect l="l" t="t" r="r" b="b"/>
              <a:pathLst>
                <a:path w="726" h="678" extrusionOk="0">
                  <a:moveTo>
                    <a:pt x="351" y="0"/>
                  </a:moveTo>
                  <a:cubicBezTo>
                    <a:pt x="197" y="0"/>
                    <a:pt x="48" y="79"/>
                    <a:pt x="0" y="237"/>
                  </a:cubicBezTo>
                  <a:lnTo>
                    <a:pt x="379" y="678"/>
                  </a:lnTo>
                  <a:lnTo>
                    <a:pt x="725" y="237"/>
                  </a:lnTo>
                  <a:cubicBezTo>
                    <a:pt x="662" y="79"/>
                    <a:pt x="505"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0" name="Google Shape;8590;p75"/>
            <p:cNvSpPr/>
            <p:nvPr/>
          </p:nvSpPr>
          <p:spPr>
            <a:xfrm>
              <a:off x="-18546725" y="3835325"/>
              <a:ext cx="108725" cy="124450"/>
            </a:xfrm>
            <a:custGeom>
              <a:avLst/>
              <a:gdLst/>
              <a:ahLst/>
              <a:cxnLst/>
              <a:rect l="l" t="t" r="r" b="b"/>
              <a:pathLst>
                <a:path w="4349" h="4978" extrusionOk="0">
                  <a:moveTo>
                    <a:pt x="2175" y="0"/>
                  </a:moveTo>
                  <a:cubicBezTo>
                    <a:pt x="1481" y="0"/>
                    <a:pt x="914" y="473"/>
                    <a:pt x="757" y="1134"/>
                  </a:cubicBezTo>
                  <a:lnTo>
                    <a:pt x="221" y="3151"/>
                  </a:lnTo>
                  <a:cubicBezTo>
                    <a:pt x="1" y="4096"/>
                    <a:pt x="725" y="4978"/>
                    <a:pt x="1639" y="4978"/>
                  </a:cubicBezTo>
                  <a:lnTo>
                    <a:pt x="1796" y="4978"/>
                  </a:lnTo>
                  <a:lnTo>
                    <a:pt x="1796" y="3686"/>
                  </a:lnTo>
                  <a:lnTo>
                    <a:pt x="1198" y="2899"/>
                  </a:lnTo>
                  <a:cubicBezTo>
                    <a:pt x="1135" y="2804"/>
                    <a:pt x="1103" y="2741"/>
                    <a:pt x="1103" y="2647"/>
                  </a:cubicBezTo>
                  <a:cubicBezTo>
                    <a:pt x="1103" y="2048"/>
                    <a:pt x="1576" y="1575"/>
                    <a:pt x="2175" y="1575"/>
                  </a:cubicBezTo>
                  <a:cubicBezTo>
                    <a:pt x="2773" y="1575"/>
                    <a:pt x="3246" y="2048"/>
                    <a:pt x="3246" y="2647"/>
                  </a:cubicBezTo>
                  <a:cubicBezTo>
                    <a:pt x="3246" y="2741"/>
                    <a:pt x="3183" y="2804"/>
                    <a:pt x="3151" y="2899"/>
                  </a:cubicBezTo>
                  <a:lnTo>
                    <a:pt x="2521" y="3686"/>
                  </a:lnTo>
                  <a:lnTo>
                    <a:pt x="2521" y="4978"/>
                  </a:lnTo>
                  <a:lnTo>
                    <a:pt x="2679" y="4978"/>
                  </a:lnTo>
                  <a:cubicBezTo>
                    <a:pt x="3624" y="4978"/>
                    <a:pt x="4348" y="4064"/>
                    <a:pt x="4096" y="3151"/>
                  </a:cubicBezTo>
                  <a:lnTo>
                    <a:pt x="3592" y="1134"/>
                  </a:lnTo>
                  <a:cubicBezTo>
                    <a:pt x="3435" y="441"/>
                    <a:pt x="2836" y="0"/>
                    <a:pt x="21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1" name="Google Shape;8591;p75"/>
            <p:cNvSpPr/>
            <p:nvPr/>
          </p:nvSpPr>
          <p:spPr>
            <a:xfrm>
              <a:off x="-18644375" y="3728200"/>
              <a:ext cx="305600" cy="285150"/>
            </a:xfrm>
            <a:custGeom>
              <a:avLst/>
              <a:gdLst/>
              <a:ahLst/>
              <a:cxnLst/>
              <a:rect l="l" t="t" r="r" b="b"/>
              <a:pathLst>
                <a:path w="12224" h="11406" extrusionOk="0">
                  <a:moveTo>
                    <a:pt x="8128" y="2836"/>
                  </a:moveTo>
                  <a:cubicBezTo>
                    <a:pt x="8695" y="2836"/>
                    <a:pt x="9168" y="3309"/>
                    <a:pt x="9168" y="3907"/>
                  </a:cubicBezTo>
                  <a:cubicBezTo>
                    <a:pt x="9257" y="4501"/>
                    <a:pt x="8814" y="4984"/>
                    <a:pt x="8182" y="4984"/>
                  </a:cubicBezTo>
                  <a:cubicBezTo>
                    <a:pt x="8143" y="4984"/>
                    <a:pt x="8105" y="4982"/>
                    <a:pt x="8065" y="4978"/>
                  </a:cubicBezTo>
                  <a:lnTo>
                    <a:pt x="8065" y="4978"/>
                  </a:lnTo>
                  <a:cubicBezTo>
                    <a:pt x="8128" y="5041"/>
                    <a:pt x="8160" y="5136"/>
                    <a:pt x="8160" y="5199"/>
                  </a:cubicBezTo>
                  <a:lnTo>
                    <a:pt x="8664" y="7247"/>
                  </a:lnTo>
                  <a:cubicBezTo>
                    <a:pt x="9011" y="8633"/>
                    <a:pt x="7971" y="9988"/>
                    <a:pt x="6553" y="9988"/>
                  </a:cubicBezTo>
                  <a:lnTo>
                    <a:pt x="5513" y="9988"/>
                  </a:lnTo>
                  <a:cubicBezTo>
                    <a:pt x="4096" y="9988"/>
                    <a:pt x="3025" y="8633"/>
                    <a:pt x="3403" y="7247"/>
                  </a:cubicBezTo>
                  <a:lnTo>
                    <a:pt x="3907" y="5199"/>
                  </a:lnTo>
                  <a:cubicBezTo>
                    <a:pt x="3938" y="5136"/>
                    <a:pt x="3938" y="5041"/>
                    <a:pt x="3970" y="4978"/>
                  </a:cubicBezTo>
                  <a:lnTo>
                    <a:pt x="3970" y="4978"/>
                  </a:lnTo>
                  <a:cubicBezTo>
                    <a:pt x="3934" y="4982"/>
                    <a:pt x="3899" y="4983"/>
                    <a:pt x="3864" y="4983"/>
                  </a:cubicBezTo>
                  <a:cubicBezTo>
                    <a:pt x="3255" y="4983"/>
                    <a:pt x="2804" y="4473"/>
                    <a:pt x="2804" y="3907"/>
                  </a:cubicBezTo>
                  <a:cubicBezTo>
                    <a:pt x="2804" y="3309"/>
                    <a:pt x="3277" y="2836"/>
                    <a:pt x="3875" y="2836"/>
                  </a:cubicBezTo>
                  <a:cubicBezTo>
                    <a:pt x="4411" y="2836"/>
                    <a:pt x="4883" y="3277"/>
                    <a:pt x="4915" y="3844"/>
                  </a:cubicBezTo>
                  <a:cubicBezTo>
                    <a:pt x="5230" y="3624"/>
                    <a:pt x="5608" y="3561"/>
                    <a:pt x="5986" y="3561"/>
                  </a:cubicBezTo>
                  <a:cubicBezTo>
                    <a:pt x="6396" y="3561"/>
                    <a:pt x="6742" y="3687"/>
                    <a:pt x="7057" y="3844"/>
                  </a:cubicBezTo>
                  <a:cubicBezTo>
                    <a:pt x="7089" y="3277"/>
                    <a:pt x="7561" y="2836"/>
                    <a:pt x="8128" y="2836"/>
                  </a:cubicBezTo>
                  <a:close/>
                  <a:moveTo>
                    <a:pt x="4285" y="1"/>
                  </a:moveTo>
                  <a:cubicBezTo>
                    <a:pt x="2710" y="1"/>
                    <a:pt x="1449" y="946"/>
                    <a:pt x="1449" y="2143"/>
                  </a:cubicBezTo>
                  <a:lnTo>
                    <a:pt x="1449" y="2773"/>
                  </a:lnTo>
                  <a:cubicBezTo>
                    <a:pt x="1449" y="4380"/>
                    <a:pt x="945" y="5955"/>
                    <a:pt x="95" y="7310"/>
                  </a:cubicBezTo>
                  <a:cubicBezTo>
                    <a:pt x="0" y="7373"/>
                    <a:pt x="0" y="7530"/>
                    <a:pt x="32" y="7625"/>
                  </a:cubicBezTo>
                  <a:cubicBezTo>
                    <a:pt x="945" y="9893"/>
                    <a:pt x="3182" y="11405"/>
                    <a:pt x="5671" y="11405"/>
                  </a:cubicBezTo>
                  <a:lnTo>
                    <a:pt x="6553" y="11405"/>
                  </a:lnTo>
                  <a:cubicBezTo>
                    <a:pt x="9011" y="11405"/>
                    <a:pt x="11216" y="9893"/>
                    <a:pt x="12161" y="7625"/>
                  </a:cubicBezTo>
                  <a:cubicBezTo>
                    <a:pt x="12224" y="7499"/>
                    <a:pt x="12224" y="7373"/>
                    <a:pt x="12129" y="7310"/>
                  </a:cubicBezTo>
                  <a:cubicBezTo>
                    <a:pt x="11184" y="5955"/>
                    <a:pt x="10680" y="4380"/>
                    <a:pt x="10680" y="2773"/>
                  </a:cubicBezTo>
                  <a:lnTo>
                    <a:pt x="10680" y="2143"/>
                  </a:lnTo>
                  <a:cubicBezTo>
                    <a:pt x="10680" y="946"/>
                    <a:pt x="9420" y="1"/>
                    <a:pt x="7845" y="1"/>
                  </a:cubicBezTo>
                  <a:cubicBezTo>
                    <a:pt x="7183" y="1"/>
                    <a:pt x="6553" y="158"/>
                    <a:pt x="6081" y="473"/>
                  </a:cubicBezTo>
                  <a:cubicBezTo>
                    <a:pt x="5545" y="158"/>
                    <a:pt x="4915" y="1"/>
                    <a:pt x="4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2" name="Google Shape;8592;p75"/>
            <p:cNvSpPr/>
            <p:nvPr/>
          </p:nvSpPr>
          <p:spPr>
            <a:xfrm>
              <a:off x="-18448275" y="38172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5" y="536"/>
                    <a:pt x="725"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3" name="Google Shape;8593;p75"/>
            <p:cNvSpPr/>
            <p:nvPr/>
          </p:nvSpPr>
          <p:spPr>
            <a:xfrm>
              <a:off x="-18645175" y="3708500"/>
              <a:ext cx="74050" cy="91400"/>
            </a:xfrm>
            <a:custGeom>
              <a:avLst/>
              <a:gdLst/>
              <a:ahLst/>
              <a:cxnLst/>
              <a:rect l="l" t="t" r="r" b="b"/>
              <a:pathLst>
                <a:path w="2962" h="3656" extrusionOk="0">
                  <a:moveTo>
                    <a:pt x="2111" y="1"/>
                  </a:moveTo>
                  <a:cubicBezTo>
                    <a:pt x="946" y="1"/>
                    <a:pt x="1" y="946"/>
                    <a:pt x="1" y="2143"/>
                  </a:cubicBezTo>
                  <a:cubicBezTo>
                    <a:pt x="1" y="2710"/>
                    <a:pt x="221" y="3277"/>
                    <a:pt x="631" y="3656"/>
                  </a:cubicBezTo>
                  <a:lnTo>
                    <a:pt x="631" y="3498"/>
                  </a:lnTo>
                  <a:lnTo>
                    <a:pt x="631" y="2868"/>
                  </a:lnTo>
                  <a:cubicBezTo>
                    <a:pt x="631" y="1608"/>
                    <a:pt x="1576" y="600"/>
                    <a:pt x="2962" y="190"/>
                  </a:cubicBezTo>
                  <a:cubicBezTo>
                    <a:pt x="2679" y="95"/>
                    <a:pt x="2395"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5"/>
            <p:cNvSpPr/>
            <p:nvPr/>
          </p:nvSpPr>
          <p:spPr>
            <a:xfrm>
              <a:off x="-18415975" y="3710075"/>
              <a:ext cx="74850" cy="92975"/>
            </a:xfrm>
            <a:custGeom>
              <a:avLst/>
              <a:gdLst/>
              <a:ahLst/>
              <a:cxnLst/>
              <a:rect l="l" t="t" r="r" b="b"/>
              <a:pathLst>
                <a:path w="2994" h="3719" extrusionOk="0">
                  <a:moveTo>
                    <a:pt x="883" y="1"/>
                  </a:moveTo>
                  <a:cubicBezTo>
                    <a:pt x="568" y="1"/>
                    <a:pt x="284" y="64"/>
                    <a:pt x="1" y="190"/>
                  </a:cubicBezTo>
                  <a:cubicBezTo>
                    <a:pt x="1292" y="568"/>
                    <a:pt x="2206" y="1608"/>
                    <a:pt x="2206" y="2836"/>
                  </a:cubicBezTo>
                  <a:lnTo>
                    <a:pt x="2206" y="3466"/>
                  </a:lnTo>
                  <a:cubicBezTo>
                    <a:pt x="2206" y="3529"/>
                    <a:pt x="2206" y="3656"/>
                    <a:pt x="2237" y="3719"/>
                  </a:cubicBezTo>
                  <a:cubicBezTo>
                    <a:pt x="2710" y="3340"/>
                    <a:pt x="2993" y="2742"/>
                    <a:pt x="2993" y="2112"/>
                  </a:cubicBezTo>
                  <a:cubicBezTo>
                    <a:pt x="2993" y="946"/>
                    <a:pt x="2048"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5" name="Google Shape;8595;p75"/>
          <p:cNvGrpSpPr/>
          <p:nvPr/>
        </p:nvGrpSpPr>
        <p:grpSpPr>
          <a:xfrm>
            <a:off x="4631101" y="2795630"/>
            <a:ext cx="457453" cy="451763"/>
            <a:chOff x="-18647525" y="4082625"/>
            <a:chExt cx="309550" cy="305700"/>
          </a:xfrm>
        </p:grpSpPr>
        <p:sp>
          <p:nvSpPr>
            <p:cNvPr id="8596" name="Google Shape;8596;p75"/>
            <p:cNvSpPr/>
            <p:nvPr/>
          </p:nvSpPr>
          <p:spPr>
            <a:xfrm>
              <a:off x="-18609725" y="4082625"/>
              <a:ext cx="123675" cy="61475"/>
            </a:xfrm>
            <a:custGeom>
              <a:avLst/>
              <a:gdLst/>
              <a:ahLst/>
              <a:cxnLst/>
              <a:rect l="l" t="t" r="r" b="b"/>
              <a:pathLst>
                <a:path w="4947" h="2459" extrusionOk="0">
                  <a:moveTo>
                    <a:pt x="2473" y="1"/>
                  </a:moveTo>
                  <a:cubicBezTo>
                    <a:pt x="2387" y="1"/>
                    <a:pt x="2300" y="32"/>
                    <a:pt x="2237" y="95"/>
                  </a:cubicBezTo>
                  <a:cubicBezTo>
                    <a:pt x="2206" y="127"/>
                    <a:pt x="1576" y="694"/>
                    <a:pt x="1450" y="1481"/>
                  </a:cubicBezTo>
                  <a:cubicBezTo>
                    <a:pt x="1324" y="1418"/>
                    <a:pt x="1166" y="1418"/>
                    <a:pt x="1071" y="1418"/>
                  </a:cubicBezTo>
                  <a:lnTo>
                    <a:pt x="347" y="1418"/>
                  </a:lnTo>
                  <a:cubicBezTo>
                    <a:pt x="158" y="1418"/>
                    <a:pt x="0" y="1576"/>
                    <a:pt x="0" y="1797"/>
                  </a:cubicBezTo>
                  <a:cubicBezTo>
                    <a:pt x="0" y="2017"/>
                    <a:pt x="32" y="2206"/>
                    <a:pt x="126" y="2427"/>
                  </a:cubicBezTo>
                  <a:cubicBezTo>
                    <a:pt x="1008" y="2175"/>
                    <a:pt x="1922" y="2175"/>
                    <a:pt x="2489" y="2175"/>
                  </a:cubicBezTo>
                  <a:cubicBezTo>
                    <a:pt x="3277" y="2175"/>
                    <a:pt x="4096" y="2206"/>
                    <a:pt x="4852" y="2458"/>
                  </a:cubicBezTo>
                  <a:cubicBezTo>
                    <a:pt x="4915" y="2269"/>
                    <a:pt x="4947" y="2017"/>
                    <a:pt x="4947" y="1797"/>
                  </a:cubicBezTo>
                  <a:cubicBezTo>
                    <a:pt x="4947" y="1576"/>
                    <a:pt x="4789" y="1418"/>
                    <a:pt x="4600" y="1418"/>
                  </a:cubicBezTo>
                  <a:lnTo>
                    <a:pt x="3907" y="1418"/>
                  </a:lnTo>
                  <a:cubicBezTo>
                    <a:pt x="3781" y="1418"/>
                    <a:pt x="3623" y="1418"/>
                    <a:pt x="3497" y="1481"/>
                  </a:cubicBezTo>
                  <a:cubicBezTo>
                    <a:pt x="3340" y="694"/>
                    <a:pt x="2710" y="127"/>
                    <a:pt x="2710" y="95"/>
                  </a:cubicBezTo>
                  <a:cubicBezTo>
                    <a:pt x="2647" y="32"/>
                    <a:pt x="2560" y="1"/>
                    <a:pt x="24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5"/>
            <p:cNvSpPr/>
            <p:nvPr/>
          </p:nvSpPr>
          <p:spPr>
            <a:xfrm>
              <a:off x="-18647525" y="4155875"/>
              <a:ext cx="148075" cy="195350"/>
            </a:xfrm>
            <a:custGeom>
              <a:avLst/>
              <a:gdLst/>
              <a:ahLst/>
              <a:cxnLst/>
              <a:rect l="l" t="t" r="r" b="b"/>
              <a:pathLst>
                <a:path w="5923" h="7814" extrusionOk="0">
                  <a:moveTo>
                    <a:pt x="1859" y="2836"/>
                  </a:moveTo>
                  <a:cubicBezTo>
                    <a:pt x="2048" y="2836"/>
                    <a:pt x="2205" y="2994"/>
                    <a:pt x="2205" y="3183"/>
                  </a:cubicBezTo>
                  <a:lnTo>
                    <a:pt x="2205" y="3907"/>
                  </a:lnTo>
                  <a:cubicBezTo>
                    <a:pt x="2205" y="4096"/>
                    <a:pt x="2048" y="4254"/>
                    <a:pt x="1859" y="4254"/>
                  </a:cubicBezTo>
                  <a:cubicBezTo>
                    <a:pt x="1670" y="4254"/>
                    <a:pt x="1512" y="4096"/>
                    <a:pt x="1512" y="3907"/>
                  </a:cubicBezTo>
                  <a:lnTo>
                    <a:pt x="1512" y="3183"/>
                  </a:lnTo>
                  <a:cubicBezTo>
                    <a:pt x="1512" y="2994"/>
                    <a:pt x="1670" y="2836"/>
                    <a:pt x="1859" y="2836"/>
                  </a:cubicBezTo>
                  <a:close/>
                  <a:moveTo>
                    <a:pt x="3938" y="1"/>
                  </a:moveTo>
                  <a:cubicBezTo>
                    <a:pt x="2678" y="1"/>
                    <a:pt x="0" y="1"/>
                    <a:pt x="0" y="2836"/>
                  </a:cubicBezTo>
                  <a:cubicBezTo>
                    <a:pt x="0" y="4569"/>
                    <a:pt x="914" y="6774"/>
                    <a:pt x="2205" y="7814"/>
                  </a:cubicBezTo>
                  <a:cubicBezTo>
                    <a:pt x="2016" y="6995"/>
                    <a:pt x="1985" y="6018"/>
                    <a:pt x="2268" y="4915"/>
                  </a:cubicBezTo>
                  <a:cubicBezTo>
                    <a:pt x="2457" y="4222"/>
                    <a:pt x="2741" y="3466"/>
                    <a:pt x="3088" y="2805"/>
                  </a:cubicBezTo>
                  <a:cubicBezTo>
                    <a:pt x="2962" y="2710"/>
                    <a:pt x="2899" y="2647"/>
                    <a:pt x="2899" y="2490"/>
                  </a:cubicBezTo>
                  <a:lnTo>
                    <a:pt x="2899" y="1765"/>
                  </a:lnTo>
                  <a:cubicBezTo>
                    <a:pt x="2899" y="1576"/>
                    <a:pt x="3056" y="1418"/>
                    <a:pt x="3245" y="1418"/>
                  </a:cubicBezTo>
                  <a:cubicBezTo>
                    <a:pt x="3434" y="1418"/>
                    <a:pt x="3592" y="1576"/>
                    <a:pt x="3592" y="1765"/>
                  </a:cubicBezTo>
                  <a:lnTo>
                    <a:pt x="3592" y="1954"/>
                  </a:lnTo>
                  <a:cubicBezTo>
                    <a:pt x="3781" y="1702"/>
                    <a:pt x="4033" y="1450"/>
                    <a:pt x="4222" y="1229"/>
                  </a:cubicBezTo>
                  <a:cubicBezTo>
                    <a:pt x="4726" y="694"/>
                    <a:pt x="5324" y="347"/>
                    <a:pt x="5923" y="190"/>
                  </a:cubicBezTo>
                  <a:cubicBezTo>
                    <a:pt x="5293" y="32"/>
                    <a:pt x="4631"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8" name="Google Shape;8598;p75"/>
            <p:cNvSpPr/>
            <p:nvPr/>
          </p:nvSpPr>
          <p:spPr>
            <a:xfrm>
              <a:off x="-18442750" y="4150575"/>
              <a:ext cx="102400" cy="100625"/>
            </a:xfrm>
            <a:custGeom>
              <a:avLst/>
              <a:gdLst/>
              <a:ahLst/>
              <a:cxnLst/>
              <a:rect l="l" t="t" r="r" b="b"/>
              <a:pathLst>
                <a:path w="4096" h="4025" extrusionOk="0">
                  <a:moveTo>
                    <a:pt x="630" y="0"/>
                  </a:moveTo>
                  <a:cubicBezTo>
                    <a:pt x="544" y="0"/>
                    <a:pt x="457" y="39"/>
                    <a:pt x="378" y="118"/>
                  </a:cubicBezTo>
                  <a:cubicBezTo>
                    <a:pt x="221" y="276"/>
                    <a:pt x="95" y="496"/>
                    <a:pt x="0" y="685"/>
                  </a:cubicBezTo>
                  <a:cubicBezTo>
                    <a:pt x="851" y="1063"/>
                    <a:pt x="1481" y="1725"/>
                    <a:pt x="1891" y="2134"/>
                  </a:cubicBezTo>
                  <a:cubicBezTo>
                    <a:pt x="2300" y="2513"/>
                    <a:pt x="2962" y="3206"/>
                    <a:pt x="3371" y="4025"/>
                  </a:cubicBezTo>
                  <a:cubicBezTo>
                    <a:pt x="3560" y="3962"/>
                    <a:pt x="3749" y="3836"/>
                    <a:pt x="3907" y="3647"/>
                  </a:cubicBezTo>
                  <a:cubicBezTo>
                    <a:pt x="4096" y="3552"/>
                    <a:pt x="4096" y="3332"/>
                    <a:pt x="3938" y="3206"/>
                  </a:cubicBezTo>
                  <a:lnTo>
                    <a:pt x="3434" y="2702"/>
                  </a:lnTo>
                  <a:cubicBezTo>
                    <a:pt x="3371" y="2607"/>
                    <a:pt x="3245" y="2544"/>
                    <a:pt x="3119" y="2450"/>
                  </a:cubicBezTo>
                  <a:cubicBezTo>
                    <a:pt x="3560" y="1788"/>
                    <a:pt x="3529" y="937"/>
                    <a:pt x="3529" y="906"/>
                  </a:cubicBezTo>
                  <a:cubicBezTo>
                    <a:pt x="3529" y="717"/>
                    <a:pt x="3371" y="591"/>
                    <a:pt x="3151" y="559"/>
                  </a:cubicBezTo>
                  <a:cubicBezTo>
                    <a:pt x="3147" y="559"/>
                    <a:pt x="3130" y="559"/>
                    <a:pt x="3103" y="559"/>
                  </a:cubicBezTo>
                  <a:cubicBezTo>
                    <a:pt x="2910" y="559"/>
                    <a:pt x="2190" y="583"/>
                    <a:pt x="1639" y="969"/>
                  </a:cubicBezTo>
                  <a:cubicBezTo>
                    <a:pt x="1544" y="843"/>
                    <a:pt x="1481" y="748"/>
                    <a:pt x="1387" y="654"/>
                  </a:cubicBezTo>
                  <a:lnTo>
                    <a:pt x="882" y="118"/>
                  </a:lnTo>
                  <a:cubicBezTo>
                    <a:pt x="804" y="39"/>
                    <a:pt x="717" y="0"/>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9" name="Google Shape;8599;p75"/>
            <p:cNvSpPr/>
            <p:nvPr/>
          </p:nvSpPr>
          <p:spPr>
            <a:xfrm>
              <a:off x="-18581375" y="4176775"/>
              <a:ext cx="243400" cy="211550"/>
            </a:xfrm>
            <a:custGeom>
              <a:avLst/>
              <a:gdLst/>
              <a:ahLst/>
              <a:cxnLst/>
              <a:rect l="l" t="t" r="r" b="b"/>
              <a:pathLst>
                <a:path w="9736" h="8462" extrusionOk="0">
                  <a:moveTo>
                    <a:pt x="4191" y="1000"/>
                  </a:moveTo>
                  <a:cubicBezTo>
                    <a:pt x="4277" y="1000"/>
                    <a:pt x="4364" y="1039"/>
                    <a:pt x="4443" y="1118"/>
                  </a:cubicBezTo>
                  <a:cubicBezTo>
                    <a:pt x="4600" y="1275"/>
                    <a:pt x="4600" y="1465"/>
                    <a:pt x="4443" y="1654"/>
                  </a:cubicBezTo>
                  <a:lnTo>
                    <a:pt x="3939" y="2158"/>
                  </a:lnTo>
                  <a:cubicBezTo>
                    <a:pt x="3860" y="2236"/>
                    <a:pt x="3765" y="2276"/>
                    <a:pt x="3675" y="2276"/>
                  </a:cubicBezTo>
                  <a:cubicBezTo>
                    <a:pt x="3584" y="2276"/>
                    <a:pt x="3498" y="2236"/>
                    <a:pt x="3435" y="2158"/>
                  </a:cubicBezTo>
                  <a:cubicBezTo>
                    <a:pt x="3277" y="2000"/>
                    <a:pt x="3277" y="1811"/>
                    <a:pt x="3435" y="1654"/>
                  </a:cubicBezTo>
                  <a:lnTo>
                    <a:pt x="3939" y="1118"/>
                  </a:lnTo>
                  <a:cubicBezTo>
                    <a:pt x="4017" y="1039"/>
                    <a:pt x="4104" y="1000"/>
                    <a:pt x="4191" y="1000"/>
                  </a:cubicBezTo>
                  <a:close/>
                  <a:moveTo>
                    <a:pt x="5230" y="3048"/>
                  </a:moveTo>
                  <a:cubicBezTo>
                    <a:pt x="5317" y="3048"/>
                    <a:pt x="5404" y="3087"/>
                    <a:pt x="5482" y="3166"/>
                  </a:cubicBezTo>
                  <a:cubicBezTo>
                    <a:pt x="5640" y="3323"/>
                    <a:pt x="5640" y="3512"/>
                    <a:pt x="5482" y="3701"/>
                  </a:cubicBezTo>
                  <a:lnTo>
                    <a:pt x="4978" y="4205"/>
                  </a:lnTo>
                  <a:cubicBezTo>
                    <a:pt x="4900" y="4284"/>
                    <a:pt x="4805" y="4324"/>
                    <a:pt x="4710" y="4324"/>
                  </a:cubicBezTo>
                  <a:cubicBezTo>
                    <a:pt x="4616" y="4324"/>
                    <a:pt x="4521" y="4284"/>
                    <a:pt x="4443" y="4205"/>
                  </a:cubicBezTo>
                  <a:cubicBezTo>
                    <a:pt x="4285" y="4048"/>
                    <a:pt x="4285" y="3796"/>
                    <a:pt x="4443" y="3701"/>
                  </a:cubicBezTo>
                  <a:lnTo>
                    <a:pt x="4978" y="3166"/>
                  </a:lnTo>
                  <a:cubicBezTo>
                    <a:pt x="5057" y="3087"/>
                    <a:pt x="5144" y="3048"/>
                    <a:pt x="5230" y="3048"/>
                  </a:cubicBezTo>
                  <a:close/>
                  <a:moveTo>
                    <a:pt x="2674" y="3583"/>
                  </a:moveTo>
                  <a:cubicBezTo>
                    <a:pt x="2765" y="3583"/>
                    <a:pt x="2852" y="3623"/>
                    <a:pt x="2930" y="3701"/>
                  </a:cubicBezTo>
                  <a:cubicBezTo>
                    <a:pt x="3088" y="3796"/>
                    <a:pt x="3088" y="4048"/>
                    <a:pt x="2930" y="4205"/>
                  </a:cubicBezTo>
                  <a:lnTo>
                    <a:pt x="2395" y="4710"/>
                  </a:lnTo>
                  <a:cubicBezTo>
                    <a:pt x="2316" y="4788"/>
                    <a:pt x="2229" y="4828"/>
                    <a:pt x="2143" y="4828"/>
                  </a:cubicBezTo>
                  <a:cubicBezTo>
                    <a:pt x="2056" y="4828"/>
                    <a:pt x="1970" y="4788"/>
                    <a:pt x="1891" y="4710"/>
                  </a:cubicBezTo>
                  <a:cubicBezTo>
                    <a:pt x="1733" y="4552"/>
                    <a:pt x="1733" y="4363"/>
                    <a:pt x="1891" y="4205"/>
                  </a:cubicBezTo>
                  <a:lnTo>
                    <a:pt x="2395" y="3701"/>
                  </a:lnTo>
                  <a:cubicBezTo>
                    <a:pt x="2489" y="3623"/>
                    <a:pt x="2584" y="3583"/>
                    <a:pt x="2674" y="3583"/>
                  </a:cubicBezTo>
                  <a:close/>
                  <a:moveTo>
                    <a:pt x="7207" y="4087"/>
                  </a:moveTo>
                  <a:cubicBezTo>
                    <a:pt x="7302" y="4087"/>
                    <a:pt x="7388" y="4127"/>
                    <a:pt x="7436" y="4205"/>
                  </a:cubicBezTo>
                  <a:cubicBezTo>
                    <a:pt x="7625" y="4363"/>
                    <a:pt x="7625" y="4552"/>
                    <a:pt x="7436" y="4710"/>
                  </a:cubicBezTo>
                  <a:lnTo>
                    <a:pt x="6932" y="5214"/>
                  </a:lnTo>
                  <a:cubicBezTo>
                    <a:pt x="6853" y="5292"/>
                    <a:pt x="6766" y="5332"/>
                    <a:pt x="6680" y="5332"/>
                  </a:cubicBezTo>
                  <a:cubicBezTo>
                    <a:pt x="6593" y="5332"/>
                    <a:pt x="6506" y="5292"/>
                    <a:pt x="6427" y="5214"/>
                  </a:cubicBezTo>
                  <a:cubicBezTo>
                    <a:pt x="6270" y="5056"/>
                    <a:pt x="6270" y="4867"/>
                    <a:pt x="6427" y="4710"/>
                  </a:cubicBezTo>
                  <a:lnTo>
                    <a:pt x="6932" y="4205"/>
                  </a:lnTo>
                  <a:cubicBezTo>
                    <a:pt x="7010" y="4127"/>
                    <a:pt x="7113" y="4087"/>
                    <a:pt x="7207" y="4087"/>
                  </a:cubicBezTo>
                  <a:close/>
                  <a:moveTo>
                    <a:pt x="5388" y="4875"/>
                  </a:moveTo>
                  <a:cubicBezTo>
                    <a:pt x="5474" y="4875"/>
                    <a:pt x="5561" y="4914"/>
                    <a:pt x="5640" y="4993"/>
                  </a:cubicBezTo>
                  <a:cubicBezTo>
                    <a:pt x="5797" y="5151"/>
                    <a:pt x="5797" y="5340"/>
                    <a:pt x="5640" y="5497"/>
                  </a:cubicBezTo>
                  <a:lnTo>
                    <a:pt x="5136" y="6001"/>
                  </a:lnTo>
                  <a:cubicBezTo>
                    <a:pt x="5057" y="6080"/>
                    <a:pt x="4963" y="6119"/>
                    <a:pt x="4868" y="6119"/>
                  </a:cubicBezTo>
                  <a:cubicBezTo>
                    <a:pt x="4773" y="6119"/>
                    <a:pt x="4679" y="6080"/>
                    <a:pt x="4600" y="6001"/>
                  </a:cubicBezTo>
                  <a:cubicBezTo>
                    <a:pt x="4443" y="5844"/>
                    <a:pt x="4443" y="5655"/>
                    <a:pt x="4600" y="5497"/>
                  </a:cubicBezTo>
                  <a:lnTo>
                    <a:pt x="5136" y="4993"/>
                  </a:lnTo>
                  <a:cubicBezTo>
                    <a:pt x="5215" y="4914"/>
                    <a:pt x="5301" y="4875"/>
                    <a:pt x="5388" y="4875"/>
                  </a:cubicBezTo>
                  <a:close/>
                  <a:moveTo>
                    <a:pt x="2674" y="5568"/>
                  </a:moveTo>
                  <a:cubicBezTo>
                    <a:pt x="2765" y="5568"/>
                    <a:pt x="2852" y="5607"/>
                    <a:pt x="2930" y="5686"/>
                  </a:cubicBezTo>
                  <a:cubicBezTo>
                    <a:pt x="3088" y="5844"/>
                    <a:pt x="3088" y="6064"/>
                    <a:pt x="2930" y="6222"/>
                  </a:cubicBezTo>
                  <a:lnTo>
                    <a:pt x="2395" y="6726"/>
                  </a:lnTo>
                  <a:cubicBezTo>
                    <a:pt x="2316" y="6805"/>
                    <a:pt x="2229" y="6844"/>
                    <a:pt x="2143" y="6844"/>
                  </a:cubicBezTo>
                  <a:cubicBezTo>
                    <a:pt x="2056" y="6844"/>
                    <a:pt x="1970" y="6805"/>
                    <a:pt x="1891" y="6726"/>
                  </a:cubicBezTo>
                  <a:cubicBezTo>
                    <a:pt x="1733" y="6568"/>
                    <a:pt x="1733" y="6379"/>
                    <a:pt x="1891" y="6222"/>
                  </a:cubicBezTo>
                  <a:lnTo>
                    <a:pt x="2395" y="5686"/>
                  </a:lnTo>
                  <a:cubicBezTo>
                    <a:pt x="2489" y="5607"/>
                    <a:pt x="2584" y="5568"/>
                    <a:pt x="2674" y="5568"/>
                  </a:cubicBezTo>
                  <a:close/>
                  <a:moveTo>
                    <a:pt x="4065" y="1"/>
                  </a:moveTo>
                  <a:cubicBezTo>
                    <a:pt x="3468" y="1"/>
                    <a:pt x="2828" y="244"/>
                    <a:pt x="2174" y="897"/>
                  </a:cubicBezTo>
                  <a:cubicBezTo>
                    <a:pt x="1355" y="1717"/>
                    <a:pt x="662" y="2977"/>
                    <a:pt x="347" y="4268"/>
                  </a:cubicBezTo>
                  <a:cubicBezTo>
                    <a:pt x="0" y="5781"/>
                    <a:pt x="190" y="7009"/>
                    <a:pt x="914" y="7702"/>
                  </a:cubicBezTo>
                  <a:cubicBezTo>
                    <a:pt x="1466" y="8255"/>
                    <a:pt x="2204" y="8461"/>
                    <a:pt x="2972" y="8461"/>
                  </a:cubicBezTo>
                  <a:cubicBezTo>
                    <a:pt x="3430" y="8461"/>
                    <a:pt x="3900" y="8387"/>
                    <a:pt x="4348" y="8270"/>
                  </a:cubicBezTo>
                  <a:cubicBezTo>
                    <a:pt x="5608" y="7955"/>
                    <a:pt x="6900" y="7230"/>
                    <a:pt x="7719" y="6442"/>
                  </a:cubicBezTo>
                  <a:cubicBezTo>
                    <a:pt x="9736" y="4426"/>
                    <a:pt x="7845" y="2536"/>
                    <a:pt x="6963" y="1654"/>
                  </a:cubicBezTo>
                  <a:cubicBezTo>
                    <a:pt x="6367" y="1057"/>
                    <a:pt x="5310" y="1"/>
                    <a:pt x="40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0" name="Google Shape;8600;p75"/>
          <p:cNvGrpSpPr/>
          <p:nvPr/>
        </p:nvGrpSpPr>
        <p:grpSpPr>
          <a:xfrm>
            <a:off x="7441485" y="1689592"/>
            <a:ext cx="395755" cy="449288"/>
            <a:chOff x="-16775350" y="3309200"/>
            <a:chExt cx="267800" cy="304025"/>
          </a:xfrm>
        </p:grpSpPr>
        <p:sp>
          <p:nvSpPr>
            <p:cNvPr id="8601" name="Google Shape;8601;p75"/>
            <p:cNvSpPr/>
            <p:nvPr/>
          </p:nvSpPr>
          <p:spPr>
            <a:xfrm>
              <a:off x="-16775350" y="3309200"/>
              <a:ext cx="267800" cy="160675"/>
            </a:xfrm>
            <a:custGeom>
              <a:avLst/>
              <a:gdLst/>
              <a:ahLst/>
              <a:cxnLst/>
              <a:rect l="l" t="t" r="r" b="b"/>
              <a:pathLst>
                <a:path w="10712" h="6427" extrusionOk="0">
                  <a:moveTo>
                    <a:pt x="4978" y="1418"/>
                  </a:moveTo>
                  <a:cubicBezTo>
                    <a:pt x="5388" y="1418"/>
                    <a:pt x="5703" y="1733"/>
                    <a:pt x="5703" y="2111"/>
                  </a:cubicBezTo>
                  <a:cubicBezTo>
                    <a:pt x="5703" y="2520"/>
                    <a:pt x="5388" y="2835"/>
                    <a:pt x="4978" y="2835"/>
                  </a:cubicBezTo>
                  <a:cubicBezTo>
                    <a:pt x="4600" y="2835"/>
                    <a:pt x="4285" y="2520"/>
                    <a:pt x="4285" y="2111"/>
                  </a:cubicBezTo>
                  <a:cubicBezTo>
                    <a:pt x="4285" y="1733"/>
                    <a:pt x="4600" y="1418"/>
                    <a:pt x="4978" y="1418"/>
                  </a:cubicBezTo>
                  <a:close/>
                  <a:moveTo>
                    <a:pt x="3182" y="2867"/>
                  </a:moveTo>
                  <a:cubicBezTo>
                    <a:pt x="3781" y="2867"/>
                    <a:pt x="4254" y="3340"/>
                    <a:pt x="4254" y="3938"/>
                  </a:cubicBezTo>
                  <a:cubicBezTo>
                    <a:pt x="4285" y="4505"/>
                    <a:pt x="3781" y="5009"/>
                    <a:pt x="3182" y="5009"/>
                  </a:cubicBezTo>
                  <a:cubicBezTo>
                    <a:pt x="2584" y="5009"/>
                    <a:pt x="2111" y="4537"/>
                    <a:pt x="2111" y="3938"/>
                  </a:cubicBezTo>
                  <a:cubicBezTo>
                    <a:pt x="2111" y="3340"/>
                    <a:pt x="2584" y="2867"/>
                    <a:pt x="3182" y="2867"/>
                  </a:cubicBezTo>
                  <a:close/>
                  <a:moveTo>
                    <a:pt x="5356" y="0"/>
                  </a:moveTo>
                  <a:cubicBezTo>
                    <a:pt x="2395" y="0"/>
                    <a:pt x="0" y="2394"/>
                    <a:pt x="0" y="5356"/>
                  </a:cubicBezTo>
                  <a:cubicBezTo>
                    <a:pt x="0" y="5954"/>
                    <a:pt x="473" y="6427"/>
                    <a:pt x="1040" y="6427"/>
                  </a:cubicBezTo>
                  <a:lnTo>
                    <a:pt x="9609" y="6427"/>
                  </a:lnTo>
                  <a:cubicBezTo>
                    <a:pt x="10208" y="6427"/>
                    <a:pt x="10681" y="5954"/>
                    <a:pt x="10681" y="5356"/>
                  </a:cubicBezTo>
                  <a:cubicBezTo>
                    <a:pt x="10712" y="2394"/>
                    <a:pt x="8286"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2" name="Google Shape;8602;p75"/>
            <p:cNvSpPr/>
            <p:nvPr/>
          </p:nvSpPr>
          <p:spPr>
            <a:xfrm>
              <a:off x="-16704475" y="3398975"/>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5"/>
            <p:cNvSpPr/>
            <p:nvPr/>
          </p:nvSpPr>
          <p:spPr>
            <a:xfrm>
              <a:off x="-16707625" y="3487200"/>
              <a:ext cx="129200" cy="126025"/>
            </a:xfrm>
            <a:custGeom>
              <a:avLst/>
              <a:gdLst/>
              <a:ahLst/>
              <a:cxnLst/>
              <a:rect l="l" t="t" r="r" b="b"/>
              <a:pathLst>
                <a:path w="5168" h="5041" extrusionOk="0">
                  <a:moveTo>
                    <a:pt x="1135" y="0"/>
                  </a:moveTo>
                  <a:cubicBezTo>
                    <a:pt x="1072" y="725"/>
                    <a:pt x="914" y="1449"/>
                    <a:pt x="631" y="2079"/>
                  </a:cubicBezTo>
                  <a:cubicBezTo>
                    <a:pt x="1" y="3592"/>
                    <a:pt x="1103" y="5041"/>
                    <a:pt x="2584" y="5041"/>
                  </a:cubicBezTo>
                  <a:cubicBezTo>
                    <a:pt x="3939" y="5041"/>
                    <a:pt x="5168" y="3875"/>
                    <a:pt x="4632" y="2237"/>
                  </a:cubicBezTo>
                  <a:cubicBezTo>
                    <a:pt x="4411" y="1449"/>
                    <a:pt x="4222" y="725"/>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4" name="Google Shape;8604;p75"/>
          <p:cNvGrpSpPr/>
          <p:nvPr/>
        </p:nvGrpSpPr>
        <p:grpSpPr>
          <a:xfrm>
            <a:off x="7441485" y="2241827"/>
            <a:ext cx="395755" cy="452835"/>
            <a:chOff x="-16775350" y="3683300"/>
            <a:chExt cx="267800" cy="306425"/>
          </a:xfrm>
        </p:grpSpPr>
        <p:sp>
          <p:nvSpPr>
            <p:cNvPr id="8605" name="Google Shape;8605;p75"/>
            <p:cNvSpPr/>
            <p:nvPr/>
          </p:nvSpPr>
          <p:spPr>
            <a:xfrm>
              <a:off x="-16775350" y="3683300"/>
              <a:ext cx="267800" cy="306425"/>
            </a:xfrm>
            <a:custGeom>
              <a:avLst/>
              <a:gdLst/>
              <a:ahLst/>
              <a:cxnLst/>
              <a:rect l="l" t="t" r="r" b="b"/>
              <a:pathLst>
                <a:path w="10712" h="12257" extrusionOk="0">
                  <a:moveTo>
                    <a:pt x="5356" y="1"/>
                  </a:moveTo>
                  <a:cubicBezTo>
                    <a:pt x="2395" y="1"/>
                    <a:pt x="0" y="2395"/>
                    <a:pt x="0" y="5357"/>
                  </a:cubicBezTo>
                  <a:lnTo>
                    <a:pt x="0" y="11847"/>
                  </a:lnTo>
                  <a:cubicBezTo>
                    <a:pt x="0" y="12036"/>
                    <a:pt x="158" y="12193"/>
                    <a:pt x="347" y="12193"/>
                  </a:cubicBezTo>
                  <a:lnTo>
                    <a:pt x="1418" y="12193"/>
                  </a:lnTo>
                  <a:lnTo>
                    <a:pt x="1418" y="11153"/>
                  </a:lnTo>
                  <a:cubicBezTo>
                    <a:pt x="1418" y="10303"/>
                    <a:pt x="1702" y="9578"/>
                    <a:pt x="2206" y="8917"/>
                  </a:cubicBezTo>
                  <a:lnTo>
                    <a:pt x="2741" y="8224"/>
                  </a:lnTo>
                  <a:lnTo>
                    <a:pt x="2017" y="7121"/>
                  </a:lnTo>
                  <a:cubicBezTo>
                    <a:pt x="1607" y="6522"/>
                    <a:pt x="1418" y="5829"/>
                    <a:pt x="1418" y="5136"/>
                  </a:cubicBezTo>
                  <a:cubicBezTo>
                    <a:pt x="1418" y="4128"/>
                    <a:pt x="2080" y="3183"/>
                    <a:pt x="3025" y="2994"/>
                  </a:cubicBezTo>
                  <a:cubicBezTo>
                    <a:pt x="3197" y="2953"/>
                    <a:pt x="3371" y="2933"/>
                    <a:pt x="3544" y="2933"/>
                  </a:cubicBezTo>
                  <a:cubicBezTo>
                    <a:pt x="4034" y="2933"/>
                    <a:pt x="4511" y="3092"/>
                    <a:pt x="4884" y="3372"/>
                  </a:cubicBezTo>
                  <a:cubicBezTo>
                    <a:pt x="5041" y="3529"/>
                    <a:pt x="5199" y="3687"/>
                    <a:pt x="5293" y="3844"/>
                  </a:cubicBezTo>
                  <a:cubicBezTo>
                    <a:pt x="5388" y="3687"/>
                    <a:pt x="5514" y="3561"/>
                    <a:pt x="5671" y="3466"/>
                  </a:cubicBezTo>
                  <a:cubicBezTo>
                    <a:pt x="6052" y="3086"/>
                    <a:pt x="6649" y="2896"/>
                    <a:pt x="7187" y="2896"/>
                  </a:cubicBezTo>
                  <a:cubicBezTo>
                    <a:pt x="7228" y="2896"/>
                    <a:pt x="7269" y="2897"/>
                    <a:pt x="7310" y="2899"/>
                  </a:cubicBezTo>
                  <a:cubicBezTo>
                    <a:pt x="8412" y="3025"/>
                    <a:pt x="9263" y="4002"/>
                    <a:pt x="9263" y="5136"/>
                  </a:cubicBezTo>
                  <a:cubicBezTo>
                    <a:pt x="9263" y="5735"/>
                    <a:pt x="9137" y="6302"/>
                    <a:pt x="8885" y="6837"/>
                  </a:cubicBezTo>
                  <a:cubicBezTo>
                    <a:pt x="8664" y="7404"/>
                    <a:pt x="8349" y="7877"/>
                    <a:pt x="7940" y="8255"/>
                  </a:cubicBezTo>
                  <a:cubicBezTo>
                    <a:pt x="8349" y="8665"/>
                    <a:pt x="8664" y="9137"/>
                    <a:pt x="8885" y="9673"/>
                  </a:cubicBezTo>
                  <a:cubicBezTo>
                    <a:pt x="9137" y="10240"/>
                    <a:pt x="9263" y="10775"/>
                    <a:pt x="9263" y="11374"/>
                  </a:cubicBezTo>
                  <a:lnTo>
                    <a:pt x="9263" y="12256"/>
                  </a:lnTo>
                  <a:lnTo>
                    <a:pt x="10302" y="12256"/>
                  </a:lnTo>
                  <a:cubicBezTo>
                    <a:pt x="10523" y="12256"/>
                    <a:pt x="10681" y="12099"/>
                    <a:pt x="10681" y="11878"/>
                  </a:cubicBezTo>
                  <a:lnTo>
                    <a:pt x="10681" y="5420"/>
                  </a:lnTo>
                  <a:cubicBezTo>
                    <a:pt x="10712" y="2395"/>
                    <a:pt x="8286"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5"/>
            <p:cNvSpPr/>
            <p:nvPr/>
          </p:nvSpPr>
          <p:spPr>
            <a:xfrm>
              <a:off x="-16648550" y="3847925"/>
              <a:ext cx="13425" cy="21275"/>
            </a:xfrm>
            <a:custGeom>
              <a:avLst/>
              <a:gdLst/>
              <a:ahLst/>
              <a:cxnLst/>
              <a:rect l="l" t="t" r="r" b="b"/>
              <a:pathLst>
                <a:path w="537" h="851" extrusionOk="0">
                  <a:moveTo>
                    <a:pt x="284" y="0"/>
                  </a:moveTo>
                  <a:lnTo>
                    <a:pt x="1" y="252"/>
                  </a:lnTo>
                  <a:lnTo>
                    <a:pt x="284" y="851"/>
                  </a:lnTo>
                  <a:lnTo>
                    <a:pt x="536" y="252"/>
                  </a:lnTo>
                  <a:lnTo>
                    <a:pt x="2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7" name="Google Shape;8607;p75"/>
            <p:cNvSpPr/>
            <p:nvPr/>
          </p:nvSpPr>
          <p:spPr>
            <a:xfrm>
              <a:off x="-16722575" y="3771400"/>
              <a:ext cx="161475" cy="215950"/>
            </a:xfrm>
            <a:custGeom>
              <a:avLst/>
              <a:gdLst/>
              <a:ahLst/>
              <a:cxnLst/>
              <a:rect l="l" t="t" r="r" b="b"/>
              <a:pathLst>
                <a:path w="6459" h="8638" extrusionOk="0">
                  <a:moveTo>
                    <a:pt x="1827" y="1486"/>
                  </a:moveTo>
                  <a:cubicBezTo>
                    <a:pt x="2017" y="1486"/>
                    <a:pt x="2174" y="1644"/>
                    <a:pt x="2174" y="1833"/>
                  </a:cubicBezTo>
                  <a:cubicBezTo>
                    <a:pt x="2174" y="2022"/>
                    <a:pt x="2017" y="2179"/>
                    <a:pt x="1827" y="2179"/>
                  </a:cubicBezTo>
                  <a:cubicBezTo>
                    <a:pt x="1607" y="2179"/>
                    <a:pt x="1449" y="2022"/>
                    <a:pt x="1449" y="1833"/>
                  </a:cubicBezTo>
                  <a:cubicBezTo>
                    <a:pt x="1449" y="1644"/>
                    <a:pt x="1607" y="1486"/>
                    <a:pt x="1827" y="1486"/>
                  </a:cubicBezTo>
                  <a:close/>
                  <a:moveTo>
                    <a:pt x="4663" y="1486"/>
                  </a:moveTo>
                  <a:cubicBezTo>
                    <a:pt x="4852" y="1486"/>
                    <a:pt x="5009" y="1644"/>
                    <a:pt x="5009" y="1833"/>
                  </a:cubicBezTo>
                  <a:cubicBezTo>
                    <a:pt x="5009" y="2022"/>
                    <a:pt x="4852" y="2179"/>
                    <a:pt x="4663" y="2179"/>
                  </a:cubicBezTo>
                  <a:cubicBezTo>
                    <a:pt x="4442" y="2179"/>
                    <a:pt x="4285" y="2022"/>
                    <a:pt x="4285" y="1833"/>
                  </a:cubicBezTo>
                  <a:cubicBezTo>
                    <a:pt x="4285" y="1644"/>
                    <a:pt x="4442" y="1486"/>
                    <a:pt x="4663" y="1486"/>
                  </a:cubicBezTo>
                  <a:close/>
                  <a:moveTo>
                    <a:pt x="3257" y="2219"/>
                  </a:moveTo>
                  <a:cubicBezTo>
                    <a:pt x="3348" y="2219"/>
                    <a:pt x="3434" y="2258"/>
                    <a:pt x="3497" y="2337"/>
                  </a:cubicBezTo>
                  <a:lnTo>
                    <a:pt x="4222" y="3061"/>
                  </a:lnTo>
                  <a:cubicBezTo>
                    <a:pt x="4285" y="3124"/>
                    <a:pt x="4348" y="3282"/>
                    <a:pt x="4253" y="3439"/>
                  </a:cubicBezTo>
                  <a:lnTo>
                    <a:pt x="3560" y="4857"/>
                  </a:lnTo>
                  <a:cubicBezTo>
                    <a:pt x="3466" y="4983"/>
                    <a:pt x="3340" y="5046"/>
                    <a:pt x="3245" y="5046"/>
                  </a:cubicBezTo>
                  <a:cubicBezTo>
                    <a:pt x="3119" y="5046"/>
                    <a:pt x="2962" y="4983"/>
                    <a:pt x="2930" y="4857"/>
                  </a:cubicBezTo>
                  <a:lnTo>
                    <a:pt x="2206" y="3439"/>
                  </a:lnTo>
                  <a:cubicBezTo>
                    <a:pt x="2143" y="3313"/>
                    <a:pt x="2174" y="3124"/>
                    <a:pt x="2300" y="3061"/>
                  </a:cubicBezTo>
                  <a:lnTo>
                    <a:pt x="2993" y="2337"/>
                  </a:lnTo>
                  <a:cubicBezTo>
                    <a:pt x="3072" y="2258"/>
                    <a:pt x="3166" y="2219"/>
                    <a:pt x="3257" y="2219"/>
                  </a:cubicBezTo>
                  <a:close/>
                  <a:moveTo>
                    <a:pt x="5044" y="1"/>
                  </a:moveTo>
                  <a:cubicBezTo>
                    <a:pt x="4682" y="1"/>
                    <a:pt x="4348" y="125"/>
                    <a:pt x="4064" y="352"/>
                  </a:cubicBezTo>
                  <a:cubicBezTo>
                    <a:pt x="3749" y="635"/>
                    <a:pt x="3592" y="1045"/>
                    <a:pt x="3592" y="1423"/>
                  </a:cubicBezTo>
                  <a:cubicBezTo>
                    <a:pt x="3592" y="1612"/>
                    <a:pt x="3434" y="1770"/>
                    <a:pt x="3245" y="1770"/>
                  </a:cubicBezTo>
                  <a:cubicBezTo>
                    <a:pt x="3025" y="1770"/>
                    <a:pt x="2867" y="1612"/>
                    <a:pt x="2867" y="1423"/>
                  </a:cubicBezTo>
                  <a:cubicBezTo>
                    <a:pt x="2867" y="982"/>
                    <a:pt x="2678" y="604"/>
                    <a:pt x="2332" y="320"/>
                  </a:cubicBezTo>
                  <a:cubicBezTo>
                    <a:pt x="2072" y="108"/>
                    <a:pt x="1759" y="1"/>
                    <a:pt x="1419" y="1"/>
                  </a:cubicBezTo>
                  <a:cubicBezTo>
                    <a:pt x="1306" y="1"/>
                    <a:pt x="1190" y="13"/>
                    <a:pt x="1071" y="37"/>
                  </a:cubicBezTo>
                  <a:cubicBezTo>
                    <a:pt x="410" y="194"/>
                    <a:pt x="0" y="887"/>
                    <a:pt x="0" y="1549"/>
                  </a:cubicBezTo>
                  <a:cubicBezTo>
                    <a:pt x="0" y="2085"/>
                    <a:pt x="158" y="2652"/>
                    <a:pt x="473" y="3124"/>
                  </a:cubicBezTo>
                  <a:lnTo>
                    <a:pt x="1386" y="4448"/>
                  </a:lnTo>
                  <a:cubicBezTo>
                    <a:pt x="1449" y="4574"/>
                    <a:pt x="1449" y="4763"/>
                    <a:pt x="1386" y="4889"/>
                  </a:cubicBezTo>
                  <a:lnTo>
                    <a:pt x="662" y="5802"/>
                  </a:lnTo>
                  <a:cubicBezTo>
                    <a:pt x="284" y="6275"/>
                    <a:pt x="32" y="6905"/>
                    <a:pt x="32" y="7566"/>
                  </a:cubicBezTo>
                  <a:lnTo>
                    <a:pt x="32" y="8638"/>
                  </a:lnTo>
                  <a:lnTo>
                    <a:pt x="6459" y="8638"/>
                  </a:lnTo>
                  <a:lnTo>
                    <a:pt x="6459" y="7756"/>
                  </a:lnTo>
                  <a:cubicBezTo>
                    <a:pt x="6459" y="7283"/>
                    <a:pt x="6396" y="6779"/>
                    <a:pt x="6175" y="6338"/>
                  </a:cubicBezTo>
                  <a:cubicBezTo>
                    <a:pt x="5860" y="5708"/>
                    <a:pt x="5545" y="5424"/>
                    <a:pt x="5136" y="4920"/>
                  </a:cubicBezTo>
                  <a:cubicBezTo>
                    <a:pt x="4978" y="4794"/>
                    <a:pt x="4978" y="4574"/>
                    <a:pt x="5136" y="4416"/>
                  </a:cubicBezTo>
                  <a:cubicBezTo>
                    <a:pt x="5608" y="3943"/>
                    <a:pt x="5860" y="3691"/>
                    <a:pt x="6144" y="2967"/>
                  </a:cubicBezTo>
                  <a:cubicBezTo>
                    <a:pt x="6333" y="2526"/>
                    <a:pt x="6427" y="2022"/>
                    <a:pt x="6427" y="1549"/>
                  </a:cubicBezTo>
                  <a:cubicBezTo>
                    <a:pt x="6427" y="793"/>
                    <a:pt x="5860" y="100"/>
                    <a:pt x="5167" y="5"/>
                  </a:cubicBezTo>
                  <a:cubicBezTo>
                    <a:pt x="5126" y="2"/>
                    <a:pt x="5085" y="1"/>
                    <a:pt x="50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8" name="Google Shape;8608;p75"/>
          <p:cNvGrpSpPr/>
          <p:nvPr/>
        </p:nvGrpSpPr>
        <p:grpSpPr>
          <a:xfrm>
            <a:off x="7413536" y="2796870"/>
            <a:ext cx="451653" cy="449288"/>
            <a:chOff x="-16794250" y="4058225"/>
            <a:chExt cx="305625" cy="304025"/>
          </a:xfrm>
        </p:grpSpPr>
        <p:sp>
          <p:nvSpPr>
            <p:cNvPr id="8609" name="Google Shape;8609;p75"/>
            <p:cNvSpPr/>
            <p:nvPr/>
          </p:nvSpPr>
          <p:spPr>
            <a:xfrm>
              <a:off x="-16793475" y="4309475"/>
              <a:ext cx="70925" cy="17350"/>
            </a:xfrm>
            <a:custGeom>
              <a:avLst/>
              <a:gdLst/>
              <a:ahLst/>
              <a:cxnLst/>
              <a:rect l="l" t="t" r="r" b="b"/>
              <a:pathLst>
                <a:path w="2837" h="694" extrusionOk="0">
                  <a:moveTo>
                    <a:pt x="347" y="0"/>
                  </a:moveTo>
                  <a:cubicBezTo>
                    <a:pt x="158" y="0"/>
                    <a:pt x="1" y="158"/>
                    <a:pt x="1" y="347"/>
                  </a:cubicBezTo>
                  <a:cubicBezTo>
                    <a:pt x="1" y="536"/>
                    <a:pt x="158" y="693"/>
                    <a:pt x="347" y="693"/>
                  </a:cubicBezTo>
                  <a:lnTo>
                    <a:pt x="2490" y="693"/>
                  </a:lnTo>
                  <a:cubicBezTo>
                    <a:pt x="2679" y="693"/>
                    <a:pt x="2836" y="536"/>
                    <a:pt x="2836" y="347"/>
                  </a:cubicBezTo>
                  <a:cubicBezTo>
                    <a:pt x="2836" y="158"/>
                    <a:pt x="2679"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0" name="Google Shape;8610;p75"/>
            <p:cNvSpPr/>
            <p:nvPr/>
          </p:nvSpPr>
          <p:spPr>
            <a:xfrm>
              <a:off x="-16758025" y="4344900"/>
              <a:ext cx="89800" cy="17350"/>
            </a:xfrm>
            <a:custGeom>
              <a:avLst/>
              <a:gdLst/>
              <a:ahLst/>
              <a:cxnLst/>
              <a:rect l="l" t="t" r="r" b="b"/>
              <a:pathLst>
                <a:path w="3592" h="694" extrusionOk="0">
                  <a:moveTo>
                    <a:pt x="347" y="1"/>
                  </a:moveTo>
                  <a:cubicBezTo>
                    <a:pt x="158" y="1"/>
                    <a:pt x="0" y="158"/>
                    <a:pt x="0" y="347"/>
                  </a:cubicBezTo>
                  <a:cubicBezTo>
                    <a:pt x="0" y="536"/>
                    <a:pt x="158" y="694"/>
                    <a:pt x="347" y="694"/>
                  </a:cubicBezTo>
                  <a:lnTo>
                    <a:pt x="3245" y="694"/>
                  </a:lnTo>
                  <a:cubicBezTo>
                    <a:pt x="3435" y="694"/>
                    <a:pt x="3592" y="536"/>
                    <a:pt x="3592" y="347"/>
                  </a:cubicBezTo>
                  <a:cubicBezTo>
                    <a:pt x="3592" y="158"/>
                    <a:pt x="3435"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75"/>
            <p:cNvSpPr/>
            <p:nvPr/>
          </p:nvSpPr>
          <p:spPr>
            <a:xfrm>
              <a:off x="-16615475" y="4344900"/>
              <a:ext cx="89825" cy="17350"/>
            </a:xfrm>
            <a:custGeom>
              <a:avLst/>
              <a:gdLst/>
              <a:ahLst/>
              <a:cxnLst/>
              <a:rect l="l" t="t" r="r" b="b"/>
              <a:pathLst>
                <a:path w="3593" h="694" extrusionOk="0">
                  <a:moveTo>
                    <a:pt x="379" y="1"/>
                  </a:moveTo>
                  <a:cubicBezTo>
                    <a:pt x="158" y="1"/>
                    <a:pt x="1" y="158"/>
                    <a:pt x="1" y="347"/>
                  </a:cubicBezTo>
                  <a:cubicBezTo>
                    <a:pt x="1" y="536"/>
                    <a:pt x="158" y="694"/>
                    <a:pt x="379" y="694"/>
                  </a:cubicBezTo>
                  <a:lnTo>
                    <a:pt x="3246" y="694"/>
                  </a:lnTo>
                  <a:cubicBezTo>
                    <a:pt x="3435" y="694"/>
                    <a:pt x="3592" y="536"/>
                    <a:pt x="3592" y="347"/>
                  </a:cubicBezTo>
                  <a:cubicBezTo>
                    <a:pt x="3592" y="158"/>
                    <a:pt x="3435" y="1"/>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75"/>
            <p:cNvSpPr/>
            <p:nvPr/>
          </p:nvSpPr>
          <p:spPr>
            <a:xfrm>
              <a:off x="-16561900" y="4309475"/>
              <a:ext cx="71700" cy="17350"/>
            </a:xfrm>
            <a:custGeom>
              <a:avLst/>
              <a:gdLst/>
              <a:ahLst/>
              <a:cxnLst/>
              <a:rect l="l" t="t" r="r" b="b"/>
              <a:pathLst>
                <a:path w="2868" h="694" extrusionOk="0">
                  <a:moveTo>
                    <a:pt x="347" y="0"/>
                  </a:moveTo>
                  <a:cubicBezTo>
                    <a:pt x="158" y="0"/>
                    <a:pt x="0" y="158"/>
                    <a:pt x="0" y="347"/>
                  </a:cubicBezTo>
                  <a:cubicBezTo>
                    <a:pt x="0" y="536"/>
                    <a:pt x="158" y="693"/>
                    <a:pt x="347" y="693"/>
                  </a:cubicBezTo>
                  <a:lnTo>
                    <a:pt x="2521" y="693"/>
                  </a:lnTo>
                  <a:cubicBezTo>
                    <a:pt x="2710" y="693"/>
                    <a:pt x="2867" y="536"/>
                    <a:pt x="2867" y="347"/>
                  </a:cubicBezTo>
                  <a:cubicBezTo>
                    <a:pt x="2867" y="158"/>
                    <a:pt x="2710"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3" name="Google Shape;8613;p75"/>
            <p:cNvSpPr/>
            <p:nvPr/>
          </p:nvSpPr>
          <p:spPr>
            <a:xfrm>
              <a:off x="-16704475" y="4309475"/>
              <a:ext cx="125275" cy="17350"/>
            </a:xfrm>
            <a:custGeom>
              <a:avLst/>
              <a:gdLst/>
              <a:ahLst/>
              <a:cxnLst/>
              <a:rect l="l" t="t" r="r" b="b"/>
              <a:pathLst>
                <a:path w="5011" h="694" extrusionOk="0">
                  <a:moveTo>
                    <a:pt x="347" y="0"/>
                  </a:moveTo>
                  <a:cubicBezTo>
                    <a:pt x="158" y="0"/>
                    <a:pt x="1" y="158"/>
                    <a:pt x="1" y="347"/>
                  </a:cubicBezTo>
                  <a:cubicBezTo>
                    <a:pt x="1" y="536"/>
                    <a:pt x="158" y="693"/>
                    <a:pt x="347" y="693"/>
                  </a:cubicBezTo>
                  <a:lnTo>
                    <a:pt x="4632" y="693"/>
                  </a:lnTo>
                  <a:cubicBezTo>
                    <a:pt x="4821" y="693"/>
                    <a:pt x="5010" y="536"/>
                    <a:pt x="5010" y="347"/>
                  </a:cubicBezTo>
                  <a:cubicBezTo>
                    <a:pt x="5010" y="158"/>
                    <a:pt x="4821" y="0"/>
                    <a:pt x="4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4" name="Google Shape;8614;p75"/>
            <p:cNvSpPr/>
            <p:nvPr/>
          </p:nvSpPr>
          <p:spPr>
            <a:xfrm>
              <a:off x="-16704475" y="4074750"/>
              <a:ext cx="126050" cy="165425"/>
            </a:xfrm>
            <a:custGeom>
              <a:avLst/>
              <a:gdLst/>
              <a:ahLst/>
              <a:cxnLst/>
              <a:rect l="l" t="t" r="r" b="b"/>
              <a:pathLst>
                <a:path w="5042" h="6617" extrusionOk="0">
                  <a:moveTo>
                    <a:pt x="1072" y="2931"/>
                  </a:moveTo>
                  <a:cubicBezTo>
                    <a:pt x="1261" y="2931"/>
                    <a:pt x="1419" y="3088"/>
                    <a:pt x="1419" y="3277"/>
                  </a:cubicBezTo>
                  <a:lnTo>
                    <a:pt x="1419" y="5483"/>
                  </a:lnTo>
                  <a:cubicBezTo>
                    <a:pt x="1419" y="5672"/>
                    <a:pt x="1261" y="5829"/>
                    <a:pt x="1072" y="5829"/>
                  </a:cubicBezTo>
                  <a:cubicBezTo>
                    <a:pt x="851" y="5829"/>
                    <a:pt x="694" y="5672"/>
                    <a:pt x="694" y="5483"/>
                  </a:cubicBezTo>
                  <a:lnTo>
                    <a:pt x="694" y="3277"/>
                  </a:lnTo>
                  <a:cubicBezTo>
                    <a:pt x="694" y="3088"/>
                    <a:pt x="851" y="2931"/>
                    <a:pt x="1072" y="2931"/>
                  </a:cubicBezTo>
                  <a:close/>
                  <a:moveTo>
                    <a:pt x="3939" y="2931"/>
                  </a:moveTo>
                  <a:cubicBezTo>
                    <a:pt x="4128" y="2931"/>
                    <a:pt x="4285" y="3088"/>
                    <a:pt x="4285" y="3277"/>
                  </a:cubicBezTo>
                  <a:lnTo>
                    <a:pt x="4285" y="5483"/>
                  </a:lnTo>
                  <a:cubicBezTo>
                    <a:pt x="4285" y="5672"/>
                    <a:pt x="4128" y="5829"/>
                    <a:pt x="3939" y="5829"/>
                  </a:cubicBezTo>
                  <a:cubicBezTo>
                    <a:pt x="3718" y="5829"/>
                    <a:pt x="3561" y="5672"/>
                    <a:pt x="3561" y="5483"/>
                  </a:cubicBezTo>
                  <a:lnTo>
                    <a:pt x="3561" y="3277"/>
                  </a:lnTo>
                  <a:cubicBezTo>
                    <a:pt x="3561" y="3088"/>
                    <a:pt x="3718" y="2931"/>
                    <a:pt x="3939" y="2931"/>
                  </a:cubicBezTo>
                  <a:close/>
                  <a:moveTo>
                    <a:pt x="1" y="1"/>
                  </a:moveTo>
                  <a:lnTo>
                    <a:pt x="1" y="6554"/>
                  </a:lnTo>
                  <a:cubicBezTo>
                    <a:pt x="116" y="6542"/>
                    <a:pt x="240" y="6535"/>
                    <a:pt x="366" y="6535"/>
                  </a:cubicBezTo>
                  <a:cubicBezTo>
                    <a:pt x="584" y="6535"/>
                    <a:pt x="809" y="6557"/>
                    <a:pt x="1009" y="6617"/>
                  </a:cubicBezTo>
                  <a:cubicBezTo>
                    <a:pt x="1293" y="6207"/>
                    <a:pt x="1671" y="5924"/>
                    <a:pt x="2143" y="5829"/>
                  </a:cubicBezTo>
                  <a:lnTo>
                    <a:pt x="2143" y="3939"/>
                  </a:lnTo>
                  <a:cubicBezTo>
                    <a:pt x="2143" y="3750"/>
                    <a:pt x="2332" y="3592"/>
                    <a:pt x="2521" y="3592"/>
                  </a:cubicBezTo>
                  <a:cubicBezTo>
                    <a:pt x="2710" y="3592"/>
                    <a:pt x="2868" y="3750"/>
                    <a:pt x="2868" y="3939"/>
                  </a:cubicBezTo>
                  <a:lnTo>
                    <a:pt x="2868" y="5829"/>
                  </a:lnTo>
                  <a:cubicBezTo>
                    <a:pt x="3340" y="5955"/>
                    <a:pt x="3750" y="6239"/>
                    <a:pt x="4002" y="6617"/>
                  </a:cubicBezTo>
                  <a:cubicBezTo>
                    <a:pt x="4207" y="6555"/>
                    <a:pt x="4439" y="6507"/>
                    <a:pt x="4672" y="6507"/>
                  </a:cubicBezTo>
                  <a:cubicBezTo>
                    <a:pt x="4796" y="6507"/>
                    <a:pt x="4921" y="6521"/>
                    <a:pt x="5042" y="6554"/>
                  </a:cubicBezTo>
                  <a:lnTo>
                    <a:pt x="5042" y="1"/>
                  </a:lnTo>
                  <a:lnTo>
                    <a:pt x="4285" y="1"/>
                  </a:lnTo>
                  <a:lnTo>
                    <a:pt x="4285" y="1796"/>
                  </a:lnTo>
                  <a:cubicBezTo>
                    <a:pt x="4285" y="1985"/>
                    <a:pt x="4128" y="2143"/>
                    <a:pt x="3939" y="2143"/>
                  </a:cubicBezTo>
                  <a:cubicBezTo>
                    <a:pt x="3718" y="2143"/>
                    <a:pt x="3561" y="1985"/>
                    <a:pt x="3561" y="1796"/>
                  </a:cubicBezTo>
                  <a:lnTo>
                    <a:pt x="3561" y="1"/>
                  </a:lnTo>
                  <a:lnTo>
                    <a:pt x="2868" y="1"/>
                  </a:lnTo>
                  <a:lnTo>
                    <a:pt x="2868" y="2490"/>
                  </a:lnTo>
                  <a:cubicBezTo>
                    <a:pt x="2868" y="2679"/>
                    <a:pt x="2710" y="2836"/>
                    <a:pt x="2521" y="2836"/>
                  </a:cubicBezTo>
                  <a:cubicBezTo>
                    <a:pt x="2301" y="2836"/>
                    <a:pt x="2143" y="2679"/>
                    <a:pt x="2143" y="2490"/>
                  </a:cubicBezTo>
                  <a:lnTo>
                    <a:pt x="2143" y="1"/>
                  </a:lnTo>
                  <a:lnTo>
                    <a:pt x="1450" y="1"/>
                  </a:lnTo>
                  <a:lnTo>
                    <a:pt x="1450" y="1796"/>
                  </a:lnTo>
                  <a:cubicBezTo>
                    <a:pt x="1450" y="1985"/>
                    <a:pt x="1293" y="2143"/>
                    <a:pt x="1103" y="2143"/>
                  </a:cubicBezTo>
                  <a:cubicBezTo>
                    <a:pt x="883" y="2143"/>
                    <a:pt x="725" y="1985"/>
                    <a:pt x="725" y="179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5"/>
            <p:cNvSpPr/>
            <p:nvPr/>
          </p:nvSpPr>
          <p:spPr>
            <a:xfrm>
              <a:off x="-16725725" y="4237800"/>
              <a:ext cx="164625" cy="53575"/>
            </a:xfrm>
            <a:custGeom>
              <a:avLst/>
              <a:gdLst/>
              <a:ahLst/>
              <a:cxnLst/>
              <a:rect l="l" t="t" r="r" b="b"/>
              <a:pathLst>
                <a:path w="6585" h="2143" extrusionOk="0">
                  <a:moveTo>
                    <a:pt x="3308" y="0"/>
                  </a:moveTo>
                  <a:cubicBezTo>
                    <a:pt x="2867" y="0"/>
                    <a:pt x="2458" y="252"/>
                    <a:pt x="2300" y="693"/>
                  </a:cubicBezTo>
                  <a:cubicBezTo>
                    <a:pt x="2232" y="830"/>
                    <a:pt x="2082" y="933"/>
                    <a:pt x="1921" y="933"/>
                  </a:cubicBezTo>
                  <a:cubicBezTo>
                    <a:pt x="1859" y="933"/>
                    <a:pt x="1795" y="917"/>
                    <a:pt x="1733" y="882"/>
                  </a:cubicBezTo>
                  <a:cubicBezTo>
                    <a:pt x="1570" y="774"/>
                    <a:pt x="1377" y="721"/>
                    <a:pt x="1181" y="721"/>
                  </a:cubicBezTo>
                  <a:cubicBezTo>
                    <a:pt x="809" y="721"/>
                    <a:pt x="427" y="910"/>
                    <a:pt x="221" y="1260"/>
                  </a:cubicBezTo>
                  <a:cubicBezTo>
                    <a:pt x="63" y="1512"/>
                    <a:pt x="0" y="1827"/>
                    <a:pt x="126" y="2143"/>
                  </a:cubicBezTo>
                  <a:lnTo>
                    <a:pt x="6522" y="2143"/>
                  </a:lnTo>
                  <a:cubicBezTo>
                    <a:pt x="6585" y="1890"/>
                    <a:pt x="6585" y="1575"/>
                    <a:pt x="6459" y="1292"/>
                  </a:cubicBezTo>
                  <a:cubicBezTo>
                    <a:pt x="6292" y="918"/>
                    <a:pt x="5893" y="708"/>
                    <a:pt x="5487" y="708"/>
                  </a:cubicBezTo>
                  <a:cubicBezTo>
                    <a:pt x="5278" y="708"/>
                    <a:pt x="5066" y="764"/>
                    <a:pt x="4883" y="882"/>
                  </a:cubicBezTo>
                  <a:cubicBezTo>
                    <a:pt x="4820" y="924"/>
                    <a:pt x="4747" y="945"/>
                    <a:pt x="4675" y="945"/>
                  </a:cubicBezTo>
                  <a:cubicBezTo>
                    <a:pt x="4530" y="945"/>
                    <a:pt x="4390" y="861"/>
                    <a:pt x="4348" y="693"/>
                  </a:cubicBezTo>
                  <a:cubicBezTo>
                    <a:pt x="4190" y="252"/>
                    <a:pt x="3781"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75"/>
            <p:cNvSpPr/>
            <p:nvPr/>
          </p:nvSpPr>
          <p:spPr>
            <a:xfrm>
              <a:off x="-16559550" y="4058225"/>
              <a:ext cx="70925" cy="233150"/>
            </a:xfrm>
            <a:custGeom>
              <a:avLst/>
              <a:gdLst/>
              <a:ahLst/>
              <a:cxnLst/>
              <a:rect l="l" t="t" r="r" b="b"/>
              <a:pathLst>
                <a:path w="2837" h="9326" extrusionOk="0">
                  <a:moveTo>
                    <a:pt x="694" y="0"/>
                  </a:moveTo>
                  <a:cubicBezTo>
                    <a:pt x="284" y="0"/>
                    <a:pt x="1" y="315"/>
                    <a:pt x="1" y="725"/>
                  </a:cubicBezTo>
                  <a:lnTo>
                    <a:pt x="1" y="7530"/>
                  </a:lnTo>
                  <a:cubicBezTo>
                    <a:pt x="127" y="7719"/>
                    <a:pt x="347" y="7908"/>
                    <a:pt x="442" y="8160"/>
                  </a:cubicBezTo>
                  <a:cubicBezTo>
                    <a:pt x="662" y="8506"/>
                    <a:pt x="694" y="8947"/>
                    <a:pt x="599" y="9326"/>
                  </a:cubicBezTo>
                  <a:lnTo>
                    <a:pt x="2458" y="9326"/>
                  </a:lnTo>
                  <a:cubicBezTo>
                    <a:pt x="2647" y="9326"/>
                    <a:pt x="2836" y="9168"/>
                    <a:pt x="2836" y="8979"/>
                  </a:cubicBezTo>
                  <a:lnTo>
                    <a:pt x="2836" y="2520"/>
                  </a:lnTo>
                  <a:cubicBezTo>
                    <a:pt x="2836" y="2048"/>
                    <a:pt x="2521" y="1670"/>
                    <a:pt x="2112" y="1512"/>
                  </a:cubicBezTo>
                  <a:lnTo>
                    <a:pt x="2112" y="6112"/>
                  </a:lnTo>
                  <a:cubicBezTo>
                    <a:pt x="2112" y="6301"/>
                    <a:pt x="1954" y="6459"/>
                    <a:pt x="1765" y="6459"/>
                  </a:cubicBezTo>
                  <a:cubicBezTo>
                    <a:pt x="1576" y="6459"/>
                    <a:pt x="1387" y="6301"/>
                    <a:pt x="1387" y="6112"/>
                  </a:cubicBezTo>
                  <a:lnTo>
                    <a:pt x="1387" y="725"/>
                  </a:lnTo>
                  <a:cubicBezTo>
                    <a:pt x="1387" y="315"/>
                    <a:pt x="1040"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7" name="Google Shape;8617;p75"/>
            <p:cNvSpPr/>
            <p:nvPr/>
          </p:nvSpPr>
          <p:spPr>
            <a:xfrm>
              <a:off x="-16794250" y="4059000"/>
              <a:ext cx="70900" cy="232375"/>
            </a:xfrm>
            <a:custGeom>
              <a:avLst/>
              <a:gdLst/>
              <a:ahLst/>
              <a:cxnLst/>
              <a:rect l="l" t="t" r="r" b="b"/>
              <a:pathLst>
                <a:path w="2836" h="9295" extrusionOk="0">
                  <a:moveTo>
                    <a:pt x="2111" y="1"/>
                  </a:moveTo>
                  <a:cubicBezTo>
                    <a:pt x="1733" y="1"/>
                    <a:pt x="1418" y="316"/>
                    <a:pt x="1418" y="725"/>
                  </a:cubicBezTo>
                  <a:lnTo>
                    <a:pt x="1418" y="6113"/>
                  </a:lnTo>
                  <a:cubicBezTo>
                    <a:pt x="1418" y="6302"/>
                    <a:pt x="1260" y="6459"/>
                    <a:pt x="1071" y="6459"/>
                  </a:cubicBezTo>
                  <a:cubicBezTo>
                    <a:pt x="851" y="6459"/>
                    <a:pt x="693" y="6302"/>
                    <a:pt x="693" y="6113"/>
                  </a:cubicBezTo>
                  <a:lnTo>
                    <a:pt x="693" y="1513"/>
                  </a:lnTo>
                  <a:cubicBezTo>
                    <a:pt x="284" y="1670"/>
                    <a:pt x="0" y="2048"/>
                    <a:pt x="0" y="2521"/>
                  </a:cubicBezTo>
                  <a:lnTo>
                    <a:pt x="0" y="8979"/>
                  </a:lnTo>
                  <a:cubicBezTo>
                    <a:pt x="0" y="9137"/>
                    <a:pt x="158" y="9295"/>
                    <a:pt x="347" y="9295"/>
                  </a:cubicBezTo>
                  <a:lnTo>
                    <a:pt x="2174" y="9295"/>
                  </a:lnTo>
                  <a:cubicBezTo>
                    <a:pt x="2080" y="8885"/>
                    <a:pt x="2111" y="8444"/>
                    <a:pt x="2363" y="8034"/>
                  </a:cubicBezTo>
                  <a:cubicBezTo>
                    <a:pt x="2489" y="7845"/>
                    <a:pt x="2647" y="7688"/>
                    <a:pt x="2836" y="7530"/>
                  </a:cubicBezTo>
                  <a:lnTo>
                    <a:pt x="2836" y="725"/>
                  </a:lnTo>
                  <a:cubicBezTo>
                    <a:pt x="2836" y="316"/>
                    <a:pt x="248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8" name="Google Shape;8618;p75"/>
          <p:cNvSpPr/>
          <p:nvPr/>
        </p:nvSpPr>
        <p:spPr>
          <a:xfrm>
            <a:off x="7992205" y="1689084"/>
            <a:ext cx="452798" cy="450470"/>
          </a:xfrm>
          <a:custGeom>
            <a:avLst/>
            <a:gdLst/>
            <a:ahLst/>
            <a:cxnLst/>
            <a:rect l="l" t="t" r="r" b="b"/>
            <a:pathLst>
              <a:path w="12256" h="12193" extrusionOk="0">
                <a:moveTo>
                  <a:pt x="5324" y="2899"/>
                </a:moveTo>
                <a:cubicBezTo>
                  <a:pt x="5513" y="2899"/>
                  <a:pt x="5671" y="3056"/>
                  <a:pt x="5671" y="3245"/>
                </a:cubicBezTo>
                <a:lnTo>
                  <a:pt x="5671" y="3970"/>
                </a:lnTo>
                <a:cubicBezTo>
                  <a:pt x="5671" y="4159"/>
                  <a:pt x="5513" y="4316"/>
                  <a:pt x="5324" y="4316"/>
                </a:cubicBezTo>
                <a:cubicBezTo>
                  <a:pt x="5104" y="4316"/>
                  <a:pt x="4946" y="4159"/>
                  <a:pt x="4946" y="3970"/>
                </a:cubicBezTo>
                <a:lnTo>
                  <a:pt x="4946" y="3245"/>
                </a:lnTo>
                <a:cubicBezTo>
                  <a:pt x="4946" y="3056"/>
                  <a:pt x="5104" y="2899"/>
                  <a:pt x="5324" y="2899"/>
                </a:cubicBezTo>
                <a:close/>
                <a:moveTo>
                  <a:pt x="6742" y="2899"/>
                </a:moveTo>
                <a:cubicBezTo>
                  <a:pt x="6931" y="2899"/>
                  <a:pt x="7089" y="3056"/>
                  <a:pt x="7089" y="3245"/>
                </a:cubicBezTo>
                <a:lnTo>
                  <a:pt x="7089" y="3970"/>
                </a:lnTo>
                <a:cubicBezTo>
                  <a:pt x="7089" y="4159"/>
                  <a:pt x="6931" y="4316"/>
                  <a:pt x="6742" y="4316"/>
                </a:cubicBezTo>
                <a:cubicBezTo>
                  <a:pt x="6522" y="4316"/>
                  <a:pt x="6364" y="4159"/>
                  <a:pt x="6364" y="3970"/>
                </a:cubicBezTo>
                <a:lnTo>
                  <a:pt x="6364" y="3245"/>
                </a:lnTo>
                <a:cubicBezTo>
                  <a:pt x="6364" y="3056"/>
                  <a:pt x="6522" y="2899"/>
                  <a:pt x="6742" y="2899"/>
                </a:cubicBezTo>
                <a:close/>
                <a:moveTo>
                  <a:pt x="6017" y="5041"/>
                </a:moveTo>
                <a:cubicBezTo>
                  <a:pt x="6206" y="5041"/>
                  <a:pt x="6364" y="5198"/>
                  <a:pt x="6364" y="5387"/>
                </a:cubicBezTo>
                <a:lnTo>
                  <a:pt x="6364" y="6081"/>
                </a:lnTo>
                <a:cubicBezTo>
                  <a:pt x="6364" y="6301"/>
                  <a:pt x="6206" y="6427"/>
                  <a:pt x="6017" y="6427"/>
                </a:cubicBezTo>
                <a:cubicBezTo>
                  <a:pt x="5828" y="6427"/>
                  <a:pt x="5671" y="6301"/>
                  <a:pt x="5671" y="6081"/>
                </a:cubicBezTo>
                <a:lnTo>
                  <a:pt x="5671" y="5387"/>
                </a:lnTo>
                <a:cubicBezTo>
                  <a:pt x="5671" y="5198"/>
                  <a:pt x="5828" y="5041"/>
                  <a:pt x="6017" y="5041"/>
                </a:cubicBezTo>
                <a:close/>
                <a:moveTo>
                  <a:pt x="5324" y="7183"/>
                </a:moveTo>
                <a:cubicBezTo>
                  <a:pt x="5513" y="7183"/>
                  <a:pt x="5671" y="7341"/>
                  <a:pt x="5671" y="7561"/>
                </a:cubicBezTo>
                <a:lnTo>
                  <a:pt x="5671" y="8254"/>
                </a:lnTo>
                <a:cubicBezTo>
                  <a:pt x="5671" y="8443"/>
                  <a:pt x="5513" y="8601"/>
                  <a:pt x="5324" y="8601"/>
                </a:cubicBezTo>
                <a:cubicBezTo>
                  <a:pt x="5104" y="8601"/>
                  <a:pt x="4946" y="8443"/>
                  <a:pt x="4946" y="8254"/>
                </a:cubicBezTo>
                <a:lnTo>
                  <a:pt x="4946" y="7561"/>
                </a:lnTo>
                <a:cubicBezTo>
                  <a:pt x="4946" y="7341"/>
                  <a:pt x="5104" y="7183"/>
                  <a:pt x="5324" y="7183"/>
                </a:cubicBezTo>
                <a:close/>
                <a:moveTo>
                  <a:pt x="6742" y="7183"/>
                </a:moveTo>
                <a:cubicBezTo>
                  <a:pt x="6931" y="7183"/>
                  <a:pt x="7089" y="7341"/>
                  <a:pt x="7089" y="7561"/>
                </a:cubicBezTo>
                <a:lnTo>
                  <a:pt x="7089" y="8254"/>
                </a:lnTo>
                <a:cubicBezTo>
                  <a:pt x="7089" y="8443"/>
                  <a:pt x="6931" y="8601"/>
                  <a:pt x="6742" y="8601"/>
                </a:cubicBezTo>
                <a:cubicBezTo>
                  <a:pt x="6522" y="8601"/>
                  <a:pt x="6364" y="8443"/>
                  <a:pt x="6364" y="8254"/>
                </a:cubicBezTo>
                <a:lnTo>
                  <a:pt x="6364" y="7561"/>
                </a:lnTo>
                <a:cubicBezTo>
                  <a:pt x="6364" y="7341"/>
                  <a:pt x="6522" y="7183"/>
                  <a:pt x="6742" y="7183"/>
                </a:cubicBezTo>
                <a:close/>
                <a:moveTo>
                  <a:pt x="6017" y="9326"/>
                </a:moveTo>
                <a:cubicBezTo>
                  <a:pt x="6206" y="9326"/>
                  <a:pt x="6364" y="9483"/>
                  <a:pt x="6364" y="9672"/>
                </a:cubicBezTo>
                <a:lnTo>
                  <a:pt x="6364" y="10397"/>
                </a:lnTo>
                <a:cubicBezTo>
                  <a:pt x="6364" y="10586"/>
                  <a:pt x="6206" y="10743"/>
                  <a:pt x="6017" y="10743"/>
                </a:cubicBezTo>
                <a:cubicBezTo>
                  <a:pt x="5828" y="10743"/>
                  <a:pt x="5671" y="10586"/>
                  <a:pt x="5671" y="10397"/>
                </a:cubicBezTo>
                <a:lnTo>
                  <a:pt x="5671" y="9672"/>
                </a:lnTo>
                <a:cubicBezTo>
                  <a:pt x="5671" y="9483"/>
                  <a:pt x="5828" y="9326"/>
                  <a:pt x="6017" y="9326"/>
                </a:cubicBezTo>
                <a:close/>
                <a:moveTo>
                  <a:pt x="1418" y="0"/>
                </a:moveTo>
                <a:cubicBezTo>
                  <a:pt x="630" y="0"/>
                  <a:pt x="0" y="630"/>
                  <a:pt x="0" y="1418"/>
                </a:cubicBezTo>
                <a:lnTo>
                  <a:pt x="0" y="4631"/>
                </a:lnTo>
                <a:cubicBezTo>
                  <a:pt x="0" y="6396"/>
                  <a:pt x="1449" y="7876"/>
                  <a:pt x="3245" y="7876"/>
                </a:cubicBezTo>
                <a:lnTo>
                  <a:pt x="3623" y="7876"/>
                </a:lnTo>
                <a:lnTo>
                  <a:pt x="3623" y="11499"/>
                </a:lnTo>
                <a:lnTo>
                  <a:pt x="2552" y="11499"/>
                </a:lnTo>
                <a:cubicBezTo>
                  <a:pt x="2363" y="11499"/>
                  <a:pt x="2205" y="11657"/>
                  <a:pt x="2205" y="11846"/>
                </a:cubicBezTo>
                <a:cubicBezTo>
                  <a:pt x="2205" y="12035"/>
                  <a:pt x="2363" y="12193"/>
                  <a:pt x="2552" y="12193"/>
                </a:cubicBezTo>
                <a:lnTo>
                  <a:pt x="9704" y="12193"/>
                </a:lnTo>
                <a:cubicBezTo>
                  <a:pt x="9893" y="12193"/>
                  <a:pt x="10050" y="12035"/>
                  <a:pt x="10050" y="11846"/>
                </a:cubicBezTo>
                <a:cubicBezTo>
                  <a:pt x="10050" y="11657"/>
                  <a:pt x="9893" y="11499"/>
                  <a:pt x="9704" y="11499"/>
                </a:cubicBezTo>
                <a:lnTo>
                  <a:pt x="8632" y="11499"/>
                </a:lnTo>
                <a:lnTo>
                  <a:pt x="8632" y="10743"/>
                </a:lnTo>
                <a:lnTo>
                  <a:pt x="9010" y="10743"/>
                </a:lnTo>
                <a:cubicBezTo>
                  <a:pt x="10775" y="10743"/>
                  <a:pt x="12255" y="9294"/>
                  <a:pt x="12255" y="7498"/>
                </a:cubicBezTo>
                <a:lnTo>
                  <a:pt x="12255" y="5041"/>
                </a:lnTo>
                <a:cubicBezTo>
                  <a:pt x="12129" y="4253"/>
                  <a:pt x="11499" y="3623"/>
                  <a:pt x="10712" y="3623"/>
                </a:cubicBezTo>
                <a:cubicBezTo>
                  <a:pt x="9924" y="3623"/>
                  <a:pt x="9294" y="4253"/>
                  <a:pt x="9294" y="5041"/>
                </a:cubicBezTo>
                <a:lnTo>
                  <a:pt x="9294" y="7498"/>
                </a:lnTo>
                <a:cubicBezTo>
                  <a:pt x="9294" y="7719"/>
                  <a:pt x="9136" y="7876"/>
                  <a:pt x="8947" y="7876"/>
                </a:cubicBezTo>
                <a:lnTo>
                  <a:pt x="8538" y="7876"/>
                </a:lnTo>
                <a:lnTo>
                  <a:pt x="8538" y="3214"/>
                </a:lnTo>
                <a:cubicBezTo>
                  <a:pt x="8538" y="1827"/>
                  <a:pt x="7435" y="725"/>
                  <a:pt x="6049" y="725"/>
                </a:cubicBezTo>
                <a:cubicBezTo>
                  <a:pt x="4694" y="725"/>
                  <a:pt x="3592" y="1827"/>
                  <a:pt x="3592" y="3214"/>
                </a:cubicBezTo>
                <a:lnTo>
                  <a:pt x="3592" y="4978"/>
                </a:lnTo>
                <a:lnTo>
                  <a:pt x="3182" y="4978"/>
                </a:lnTo>
                <a:cubicBezTo>
                  <a:pt x="2993" y="4978"/>
                  <a:pt x="2835" y="4820"/>
                  <a:pt x="2835" y="4631"/>
                </a:cubicBezTo>
                <a:lnTo>
                  <a:pt x="2835" y="1418"/>
                </a:lnTo>
                <a:cubicBezTo>
                  <a:pt x="2835" y="630"/>
                  <a:pt x="220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19" name="Google Shape;8619;p75"/>
          <p:cNvGrpSpPr/>
          <p:nvPr/>
        </p:nvGrpSpPr>
        <p:grpSpPr>
          <a:xfrm>
            <a:off x="2414953" y="1689573"/>
            <a:ext cx="457453" cy="449325"/>
            <a:chOff x="-20199150" y="3317850"/>
            <a:chExt cx="309550" cy="304050"/>
          </a:xfrm>
        </p:grpSpPr>
        <p:sp>
          <p:nvSpPr>
            <p:cNvPr id="8620" name="Google Shape;8620;p75"/>
            <p:cNvSpPr/>
            <p:nvPr/>
          </p:nvSpPr>
          <p:spPr>
            <a:xfrm>
              <a:off x="-20161350" y="3507675"/>
              <a:ext cx="68550" cy="43325"/>
            </a:xfrm>
            <a:custGeom>
              <a:avLst/>
              <a:gdLst/>
              <a:ahLst/>
              <a:cxnLst/>
              <a:rect l="l" t="t" r="r" b="b"/>
              <a:pathLst>
                <a:path w="2742" h="1733" extrusionOk="0">
                  <a:moveTo>
                    <a:pt x="2647" y="0"/>
                  </a:moveTo>
                  <a:cubicBezTo>
                    <a:pt x="2174" y="158"/>
                    <a:pt x="1639" y="284"/>
                    <a:pt x="1072" y="284"/>
                  </a:cubicBezTo>
                  <a:cubicBezTo>
                    <a:pt x="788" y="284"/>
                    <a:pt x="505" y="252"/>
                    <a:pt x="221" y="221"/>
                  </a:cubicBezTo>
                  <a:cubicBezTo>
                    <a:pt x="64" y="567"/>
                    <a:pt x="1" y="945"/>
                    <a:pt x="1" y="1386"/>
                  </a:cubicBezTo>
                  <a:cubicBezTo>
                    <a:pt x="1" y="1575"/>
                    <a:pt x="158" y="1733"/>
                    <a:pt x="347" y="1733"/>
                  </a:cubicBezTo>
                  <a:cubicBezTo>
                    <a:pt x="1292" y="1733"/>
                    <a:pt x="2174" y="1292"/>
                    <a:pt x="2741" y="630"/>
                  </a:cubicBezTo>
                  <a:cubicBezTo>
                    <a:pt x="2710" y="441"/>
                    <a:pt x="2678" y="189"/>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5"/>
            <p:cNvSpPr/>
            <p:nvPr/>
          </p:nvSpPr>
          <p:spPr>
            <a:xfrm>
              <a:off x="-20161350" y="3389525"/>
              <a:ext cx="68550" cy="43350"/>
            </a:xfrm>
            <a:custGeom>
              <a:avLst/>
              <a:gdLst/>
              <a:ahLst/>
              <a:cxnLst/>
              <a:rect l="l" t="t" r="r" b="b"/>
              <a:pathLst>
                <a:path w="2742" h="1734" extrusionOk="0">
                  <a:moveTo>
                    <a:pt x="347" y="1"/>
                  </a:moveTo>
                  <a:cubicBezTo>
                    <a:pt x="158" y="1"/>
                    <a:pt x="1" y="158"/>
                    <a:pt x="1" y="379"/>
                  </a:cubicBezTo>
                  <a:cubicBezTo>
                    <a:pt x="1" y="757"/>
                    <a:pt x="64" y="1166"/>
                    <a:pt x="221" y="1544"/>
                  </a:cubicBezTo>
                  <a:cubicBezTo>
                    <a:pt x="505" y="1513"/>
                    <a:pt x="788" y="1481"/>
                    <a:pt x="1072" y="1481"/>
                  </a:cubicBezTo>
                  <a:cubicBezTo>
                    <a:pt x="1639" y="1481"/>
                    <a:pt x="2174" y="1576"/>
                    <a:pt x="2647" y="1733"/>
                  </a:cubicBezTo>
                  <a:cubicBezTo>
                    <a:pt x="2678" y="1544"/>
                    <a:pt x="2741" y="1292"/>
                    <a:pt x="2741" y="1103"/>
                  </a:cubicBezTo>
                  <a:cubicBezTo>
                    <a:pt x="2174" y="442"/>
                    <a:pt x="1292"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2" name="Google Shape;8622;p75"/>
            <p:cNvSpPr/>
            <p:nvPr/>
          </p:nvSpPr>
          <p:spPr>
            <a:xfrm>
              <a:off x="-20199150" y="3443075"/>
              <a:ext cx="97675" cy="53225"/>
            </a:xfrm>
            <a:custGeom>
              <a:avLst/>
              <a:gdLst/>
              <a:ahLst/>
              <a:cxnLst/>
              <a:rect l="l" t="t" r="r" b="b"/>
              <a:pathLst>
                <a:path w="3907" h="2129" extrusionOk="0">
                  <a:moveTo>
                    <a:pt x="2584" y="1"/>
                  </a:moveTo>
                  <a:cubicBezTo>
                    <a:pt x="1260" y="1"/>
                    <a:pt x="252" y="725"/>
                    <a:pt x="221" y="788"/>
                  </a:cubicBezTo>
                  <a:cubicBezTo>
                    <a:pt x="0" y="914"/>
                    <a:pt x="0" y="1230"/>
                    <a:pt x="221" y="1324"/>
                  </a:cubicBezTo>
                  <a:cubicBezTo>
                    <a:pt x="252" y="1387"/>
                    <a:pt x="1260" y="2112"/>
                    <a:pt x="2584" y="2112"/>
                  </a:cubicBezTo>
                  <a:cubicBezTo>
                    <a:pt x="2669" y="2123"/>
                    <a:pt x="2754" y="2128"/>
                    <a:pt x="2839" y="2128"/>
                  </a:cubicBezTo>
                  <a:cubicBezTo>
                    <a:pt x="3224" y="2128"/>
                    <a:pt x="3597" y="2020"/>
                    <a:pt x="3907" y="1891"/>
                  </a:cubicBezTo>
                  <a:cubicBezTo>
                    <a:pt x="3844" y="1639"/>
                    <a:pt x="3718" y="1450"/>
                    <a:pt x="3592" y="1230"/>
                  </a:cubicBezTo>
                  <a:cubicBezTo>
                    <a:pt x="3560" y="1103"/>
                    <a:pt x="3560" y="1009"/>
                    <a:pt x="3592" y="914"/>
                  </a:cubicBezTo>
                  <a:cubicBezTo>
                    <a:pt x="3718" y="662"/>
                    <a:pt x="3844" y="473"/>
                    <a:pt x="3907" y="221"/>
                  </a:cubicBezTo>
                  <a:cubicBezTo>
                    <a:pt x="3529" y="127"/>
                    <a:pt x="308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75"/>
            <p:cNvSpPr/>
            <p:nvPr/>
          </p:nvSpPr>
          <p:spPr>
            <a:xfrm>
              <a:off x="-20091250" y="3479325"/>
              <a:ext cx="92175" cy="142575"/>
            </a:xfrm>
            <a:custGeom>
              <a:avLst/>
              <a:gdLst/>
              <a:ahLst/>
              <a:cxnLst/>
              <a:rect l="l" t="t" r="r" b="b"/>
              <a:pathLst>
                <a:path w="3687" h="5703" extrusionOk="0">
                  <a:moveTo>
                    <a:pt x="190" y="0"/>
                  </a:moveTo>
                  <a:cubicBezTo>
                    <a:pt x="946" y="1638"/>
                    <a:pt x="883" y="3592"/>
                    <a:pt x="95" y="5198"/>
                  </a:cubicBezTo>
                  <a:cubicBezTo>
                    <a:pt x="0" y="5450"/>
                    <a:pt x="158" y="5702"/>
                    <a:pt x="442" y="5702"/>
                  </a:cubicBezTo>
                  <a:lnTo>
                    <a:pt x="3245" y="5702"/>
                  </a:lnTo>
                  <a:cubicBezTo>
                    <a:pt x="3529" y="5702"/>
                    <a:pt x="3687" y="5450"/>
                    <a:pt x="3592" y="5198"/>
                  </a:cubicBezTo>
                  <a:cubicBezTo>
                    <a:pt x="2741" y="3592"/>
                    <a:pt x="2741" y="1607"/>
                    <a:pt x="34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75"/>
            <p:cNvSpPr/>
            <p:nvPr/>
          </p:nvSpPr>
          <p:spPr>
            <a:xfrm>
              <a:off x="-20090475" y="3317850"/>
              <a:ext cx="91400" cy="142575"/>
            </a:xfrm>
            <a:custGeom>
              <a:avLst/>
              <a:gdLst/>
              <a:ahLst/>
              <a:cxnLst/>
              <a:rect l="l" t="t" r="r" b="b"/>
              <a:pathLst>
                <a:path w="3656" h="5703" extrusionOk="0">
                  <a:moveTo>
                    <a:pt x="411" y="1"/>
                  </a:moveTo>
                  <a:cubicBezTo>
                    <a:pt x="285" y="1"/>
                    <a:pt x="159" y="95"/>
                    <a:pt x="64" y="158"/>
                  </a:cubicBezTo>
                  <a:cubicBezTo>
                    <a:pt x="1" y="284"/>
                    <a:pt x="1" y="410"/>
                    <a:pt x="64" y="505"/>
                  </a:cubicBezTo>
                  <a:cubicBezTo>
                    <a:pt x="915" y="2143"/>
                    <a:pt x="915" y="4096"/>
                    <a:pt x="159" y="5703"/>
                  </a:cubicBezTo>
                  <a:lnTo>
                    <a:pt x="3467" y="5703"/>
                  </a:lnTo>
                  <a:cubicBezTo>
                    <a:pt x="2710" y="4065"/>
                    <a:pt x="2710" y="2143"/>
                    <a:pt x="3530" y="505"/>
                  </a:cubicBezTo>
                  <a:cubicBezTo>
                    <a:pt x="3656" y="284"/>
                    <a:pt x="346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5" name="Google Shape;8625;p75"/>
            <p:cNvSpPr/>
            <p:nvPr/>
          </p:nvSpPr>
          <p:spPr>
            <a:xfrm>
              <a:off x="-19984925" y="3389525"/>
              <a:ext cx="94550" cy="107925"/>
            </a:xfrm>
            <a:custGeom>
              <a:avLst/>
              <a:gdLst/>
              <a:ahLst/>
              <a:cxnLst/>
              <a:rect l="l" t="t" r="r" b="b"/>
              <a:pathLst>
                <a:path w="3782" h="4317" extrusionOk="0">
                  <a:moveTo>
                    <a:pt x="473" y="1"/>
                  </a:moveTo>
                  <a:cubicBezTo>
                    <a:pt x="190" y="1"/>
                    <a:pt x="1" y="316"/>
                    <a:pt x="158" y="568"/>
                  </a:cubicBezTo>
                  <a:cubicBezTo>
                    <a:pt x="946" y="1702"/>
                    <a:pt x="946" y="3119"/>
                    <a:pt x="253" y="4317"/>
                  </a:cubicBezTo>
                  <a:lnTo>
                    <a:pt x="3529" y="4317"/>
                  </a:lnTo>
                  <a:cubicBezTo>
                    <a:pt x="2868" y="3151"/>
                    <a:pt x="2868" y="1702"/>
                    <a:pt x="3624" y="568"/>
                  </a:cubicBezTo>
                  <a:cubicBezTo>
                    <a:pt x="3781" y="316"/>
                    <a:pt x="3624"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6" name="Google Shape;8626;p75"/>
            <p:cNvSpPr/>
            <p:nvPr/>
          </p:nvSpPr>
          <p:spPr>
            <a:xfrm>
              <a:off x="-19984125" y="3514750"/>
              <a:ext cx="94525" cy="107150"/>
            </a:xfrm>
            <a:custGeom>
              <a:avLst/>
              <a:gdLst/>
              <a:ahLst/>
              <a:cxnLst/>
              <a:rect l="l" t="t" r="r" b="b"/>
              <a:pathLst>
                <a:path w="3781" h="4286" extrusionOk="0">
                  <a:moveTo>
                    <a:pt x="221" y="1"/>
                  </a:moveTo>
                  <a:cubicBezTo>
                    <a:pt x="914" y="1135"/>
                    <a:pt x="914" y="2647"/>
                    <a:pt x="158" y="3750"/>
                  </a:cubicBezTo>
                  <a:cubicBezTo>
                    <a:pt x="0" y="3970"/>
                    <a:pt x="158" y="4285"/>
                    <a:pt x="473" y="4285"/>
                  </a:cubicBezTo>
                  <a:lnTo>
                    <a:pt x="3308" y="4285"/>
                  </a:lnTo>
                  <a:cubicBezTo>
                    <a:pt x="3592" y="4285"/>
                    <a:pt x="3781" y="3970"/>
                    <a:pt x="3623" y="3750"/>
                  </a:cubicBezTo>
                  <a:cubicBezTo>
                    <a:pt x="2836" y="2584"/>
                    <a:pt x="2804" y="1135"/>
                    <a:pt x="34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7" name="Google Shape;8627;p75"/>
          <p:cNvGrpSpPr/>
          <p:nvPr/>
        </p:nvGrpSpPr>
        <p:grpSpPr>
          <a:xfrm>
            <a:off x="2417281" y="2242861"/>
            <a:ext cx="452798" cy="450766"/>
            <a:chOff x="-20199150" y="3693150"/>
            <a:chExt cx="306400" cy="305025"/>
          </a:xfrm>
        </p:grpSpPr>
        <p:sp>
          <p:nvSpPr>
            <p:cNvPr id="8628" name="Google Shape;8628;p75"/>
            <p:cNvSpPr/>
            <p:nvPr/>
          </p:nvSpPr>
          <p:spPr>
            <a:xfrm>
              <a:off x="-20182625" y="3762250"/>
              <a:ext cx="227650" cy="212650"/>
            </a:xfrm>
            <a:custGeom>
              <a:avLst/>
              <a:gdLst/>
              <a:ahLst/>
              <a:cxnLst/>
              <a:rect l="l" t="t" r="r" b="b"/>
              <a:pathLst>
                <a:path w="9106" h="8506" extrusionOk="0">
                  <a:moveTo>
                    <a:pt x="1862" y="1"/>
                  </a:moveTo>
                  <a:cubicBezTo>
                    <a:pt x="1462" y="1"/>
                    <a:pt x="1056" y="148"/>
                    <a:pt x="726" y="466"/>
                  </a:cubicBezTo>
                  <a:cubicBezTo>
                    <a:pt x="1" y="1222"/>
                    <a:pt x="158" y="2514"/>
                    <a:pt x="1104" y="3018"/>
                  </a:cubicBezTo>
                  <a:lnTo>
                    <a:pt x="4097" y="4687"/>
                  </a:lnTo>
                  <a:lnTo>
                    <a:pt x="5735" y="7680"/>
                  </a:lnTo>
                  <a:cubicBezTo>
                    <a:pt x="6024" y="8223"/>
                    <a:pt x="6562" y="8506"/>
                    <a:pt x="7117" y="8506"/>
                  </a:cubicBezTo>
                  <a:cubicBezTo>
                    <a:pt x="7529" y="8506"/>
                    <a:pt x="7951" y="8349"/>
                    <a:pt x="8287" y="8027"/>
                  </a:cubicBezTo>
                  <a:cubicBezTo>
                    <a:pt x="9106" y="7239"/>
                    <a:pt x="8854" y="5853"/>
                    <a:pt x="7783" y="5412"/>
                  </a:cubicBezTo>
                  <a:lnTo>
                    <a:pt x="4632" y="4152"/>
                  </a:lnTo>
                  <a:lnTo>
                    <a:pt x="3372" y="1001"/>
                  </a:lnTo>
                  <a:cubicBezTo>
                    <a:pt x="3102" y="366"/>
                    <a:pt x="2491" y="1"/>
                    <a:pt x="18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75"/>
            <p:cNvSpPr/>
            <p:nvPr/>
          </p:nvSpPr>
          <p:spPr>
            <a:xfrm>
              <a:off x="-20077075" y="3785225"/>
              <a:ext cx="97700" cy="91075"/>
            </a:xfrm>
            <a:custGeom>
              <a:avLst/>
              <a:gdLst/>
              <a:ahLst/>
              <a:cxnLst/>
              <a:rect l="l" t="t" r="r" b="b"/>
              <a:pathLst>
                <a:path w="3908" h="3643" extrusionOk="0">
                  <a:moveTo>
                    <a:pt x="1187" y="1"/>
                  </a:moveTo>
                  <a:cubicBezTo>
                    <a:pt x="799" y="1"/>
                    <a:pt x="395" y="94"/>
                    <a:pt x="1" y="303"/>
                  </a:cubicBezTo>
                  <a:lnTo>
                    <a:pt x="946" y="2697"/>
                  </a:lnTo>
                  <a:lnTo>
                    <a:pt x="3372" y="3642"/>
                  </a:lnTo>
                  <a:cubicBezTo>
                    <a:pt x="3907" y="2571"/>
                    <a:pt x="3624" y="1469"/>
                    <a:pt x="2931" y="713"/>
                  </a:cubicBezTo>
                  <a:cubicBezTo>
                    <a:pt x="2473" y="275"/>
                    <a:pt x="1852" y="1"/>
                    <a:pt x="11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5"/>
            <p:cNvSpPr/>
            <p:nvPr/>
          </p:nvSpPr>
          <p:spPr>
            <a:xfrm>
              <a:off x="-20051875" y="3693150"/>
              <a:ext cx="159125" cy="176850"/>
            </a:xfrm>
            <a:custGeom>
              <a:avLst/>
              <a:gdLst/>
              <a:ahLst/>
              <a:cxnLst/>
              <a:rect l="l" t="t" r="r" b="b"/>
              <a:pathLst>
                <a:path w="6365" h="7074" extrusionOk="0">
                  <a:moveTo>
                    <a:pt x="3159" y="1"/>
                  </a:moveTo>
                  <a:cubicBezTo>
                    <a:pt x="3104" y="1"/>
                    <a:pt x="3057" y="16"/>
                    <a:pt x="3025" y="48"/>
                  </a:cubicBezTo>
                  <a:lnTo>
                    <a:pt x="190" y="1466"/>
                  </a:lnTo>
                  <a:cubicBezTo>
                    <a:pt x="64" y="1529"/>
                    <a:pt x="1" y="1655"/>
                    <a:pt x="1" y="1781"/>
                  </a:cubicBezTo>
                  <a:lnTo>
                    <a:pt x="1" y="2978"/>
                  </a:lnTo>
                  <a:cubicBezTo>
                    <a:pt x="54" y="2975"/>
                    <a:pt x="107" y="2974"/>
                    <a:pt x="159" y="2974"/>
                  </a:cubicBezTo>
                  <a:cubicBezTo>
                    <a:pt x="727" y="2974"/>
                    <a:pt x="1246" y="3128"/>
                    <a:pt x="1765" y="3387"/>
                  </a:cubicBezTo>
                  <a:lnTo>
                    <a:pt x="2206" y="2631"/>
                  </a:lnTo>
                  <a:cubicBezTo>
                    <a:pt x="2249" y="2524"/>
                    <a:pt x="2379" y="2461"/>
                    <a:pt x="2507" y="2461"/>
                  </a:cubicBezTo>
                  <a:cubicBezTo>
                    <a:pt x="2568" y="2461"/>
                    <a:pt x="2628" y="2475"/>
                    <a:pt x="2679" y="2505"/>
                  </a:cubicBezTo>
                  <a:cubicBezTo>
                    <a:pt x="2836" y="2600"/>
                    <a:pt x="2899" y="2820"/>
                    <a:pt x="2773" y="2978"/>
                  </a:cubicBezTo>
                  <a:lnTo>
                    <a:pt x="2301" y="3828"/>
                  </a:lnTo>
                  <a:cubicBezTo>
                    <a:pt x="2553" y="4017"/>
                    <a:pt x="2679" y="4080"/>
                    <a:pt x="2899" y="4490"/>
                  </a:cubicBezTo>
                  <a:lnTo>
                    <a:pt x="3813" y="4238"/>
                  </a:lnTo>
                  <a:cubicBezTo>
                    <a:pt x="3832" y="4235"/>
                    <a:pt x="3852" y="4233"/>
                    <a:pt x="3872" y="4233"/>
                  </a:cubicBezTo>
                  <a:cubicBezTo>
                    <a:pt x="4045" y="4233"/>
                    <a:pt x="4226" y="4352"/>
                    <a:pt x="4254" y="4522"/>
                  </a:cubicBezTo>
                  <a:cubicBezTo>
                    <a:pt x="4285" y="4711"/>
                    <a:pt x="4159" y="4931"/>
                    <a:pt x="3970" y="4963"/>
                  </a:cubicBezTo>
                  <a:lnTo>
                    <a:pt x="3183" y="5152"/>
                  </a:lnTo>
                  <a:cubicBezTo>
                    <a:pt x="3372" y="5750"/>
                    <a:pt x="3435" y="6412"/>
                    <a:pt x="3214" y="7073"/>
                  </a:cubicBezTo>
                  <a:cubicBezTo>
                    <a:pt x="3340" y="7042"/>
                    <a:pt x="6050" y="5719"/>
                    <a:pt x="6176" y="5624"/>
                  </a:cubicBezTo>
                  <a:cubicBezTo>
                    <a:pt x="6302" y="5561"/>
                    <a:pt x="6365" y="5435"/>
                    <a:pt x="6365" y="5309"/>
                  </a:cubicBezTo>
                  <a:lnTo>
                    <a:pt x="6365" y="1718"/>
                  </a:lnTo>
                  <a:cubicBezTo>
                    <a:pt x="6365" y="1623"/>
                    <a:pt x="6302" y="1497"/>
                    <a:pt x="6176" y="1466"/>
                  </a:cubicBezTo>
                  <a:lnTo>
                    <a:pt x="3340" y="48"/>
                  </a:lnTo>
                  <a:cubicBezTo>
                    <a:pt x="3277" y="16"/>
                    <a:pt x="3214" y="1"/>
                    <a:pt x="3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75"/>
            <p:cNvSpPr/>
            <p:nvPr/>
          </p:nvSpPr>
          <p:spPr>
            <a:xfrm>
              <a:off x="-20155825" y="3861300"/>
              <a:ext cx="92950" cy="92175"/>
            </a:xfrm>
            <a:custGeom>
              <a:avLst/>
              <a:gdLst/>
              <a:ahLst/>
              <a:cxnLst/>
              <a:rect l="l" t="t" r="r" b="b"/>
              <a:pathLst>
                <a:path w="3718" h="3687" extrusionOk="0">
                  <a:moveTo>
                    <a:pt x="221" y="1"/>
                  </a:moveTo>
                  <a:lnTo>
                    <a:pt x="63" y="158"/>
                  </a:lnTo>
                  <a:lnTo>
                    <a:pt x="0" y="190"/>
                  </a:lnTo>
                  <a:lnTo>
                    <a:pt x="3529" y="3687"/>
                  </a:lnTo>
                  <a:lnTo>
                    <a:pt x="3560" y="3655"/>
                  </a:lnTo>
                  <a:lnTo>
                    <a:pt x="3718" y="3498"/>
                  </a:lnTo>
                  <a:lnTo>
                    <a:pt x="2457" y="1230"/>
                  </a:lnTo>
                  <a:lnTo>
                    <a:pt x="2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75"/>
            <p:cNvSpPr/>
            <p:nvPr/>
          </p:nvSpPr>
          <p:spPr>
            <a:xfrm>
              <a:off x="-20199150" y="3918025"/>
              <a:ext cx="81150" cy="80150"/>
            </a:xfrm>
            <a:custGeom>
              <a:avLst/>
              <a:gdLst/>
              <a:ahLst/>
              <a:cxnLst/>
              <a:rect l="l" t="t" r="r" b="b"/>
              <a:pathLst>
                <a:path w="3246" h="3206" extrusionOk="0">
                  <a:moveTo>
                    <a:pt x="851" y="0"/>
                  </a:moveTo>
                  <a:lnTo>
                    <a:pt x="851" y="0"/>
                  </a:lnTo>
                  <a:cubicBezTo>
                    <a:pt x="756" y="536"/>
                    <a:pt x="851" y="1134"/>
                    <a:pt x="1071" y="1670"/>
                  </a:cubicBezTo>
                  <a:lnTo>
                    <a:pt x="158" y="2584"/>
                  </a:lnTo>
                  <a:cubicBezTo>
                    <a:pt x="0" y="2741"/>
                    <a:pt x="0" y="2930"/>
                    <a:pt x="158" y="3088"/>
                  </a:cubicBezTo>
                  <a:cubicBezTo>
                    <a:pt x="237" y="3166"/>
                    <a:pt x="331" y="3206"/>
                    <a:pt x="426" y="3206"/>
                  </a:cubicBezTo>
                  <a:cubicBezTo>
                    <a:pt x="520" y="3206"/>
                    <a:pt x="615" y="3166"/>
                    <a:pt x="693" y="3088"/>
                  </a:cubicBezTo>
                  <a:lnTo>
                    <a:pt x="1607" y="2174"/>
                  </a:lnTo>
                  <a:cubicBezTo>
                    <a:pt x="2017" y="2332"/>
                    <a:pt x="2458" y="2458"/>
                    <a:pt x="2899" y="2458"/>
                  </a:cubicBezTo>
                  <a:cubicBezTo>
                    <a:pt x="3025" y="2458"/>
                    <a:pt x="3119" y="2426"/>
                    <a:pt x="3245" y="2426"/>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5"/>
            <p:cNvSpPr/>
            <p:nvPr/>
          </p:nvSpPr>
          <p:spPr>
            <a:xfrm>
              <a:off x="-20173950" y="3880200"/>
              <a:ext cx="92175" cy="92200"/>
            </a:xfrm>
            <a:custGeom>
              <a:avLst/>
              <a:gdLst/>
              <a:ahLst/>
              <a:cxnLst/>
              <a:rect l="l" t="t" r="r" b="b"/>
              <a:pathLst>
                <a:path w="3687" h="3688" extrusionOk="0">
                  <a:moveTo>
                    <a:pt x="316" y="1"/>
                  </a:moveTo>
                  <a:cubicBezTo>
                    <a:pt x="189" y="222"/>
                    <a:pt x="63" y="442"/>
                    <a:pt x="0" y="663"/>
                  </a:cubicBezTo>
                  <a:lnTo>
                    <a:pt x="3025" y="3687"/>
                  </a:lnTo>
                  <a:cubicBezTo>
                    <a:pt x="3245" y="3624"/>
                    <a:pt x="3498" y="3498"/>
                    <a:pt x="3687" y="3372"/>
                  </a:cubicBezTo>
                  <a:lnTo>
                    <a:pt x="3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5"/>
          <p:cNvGrpSpPr/>
          <p:nvPr/>
        </p:nvGrpSpPr>
        <p:grpSpPr>
          <a:xfrm>
            <a:off x="2417854" y="2795687"/>
            <a:ext cx="451653" cy="451653"/>
            <a:chOff x="-20197575" y="4066875"/>
            <a:chExt cx="305625" cy="305625"/>
          </a:xfrm>
        </p:grpSpPr>
        <p:sp>
          <p:nvSpPr>
            <p:cNvPr id="8635" name="Google Shape;8635;p75"/>
            <p:cNvSpPr/>
            <p:nvPr/>
          </p:nvSpPr>
          <p:spPr>
            <a:xfrm>
              <a:off x="-20089675" y="4066875"/>
              <a:ext cx="89025" cy="92175"/>
            </a:xfrm>
            <a:custGeom>
              <a:avLst/>
              <a:gdLst/>
              <a:ahLst/>
              <a:cxnLst/>
              <a:rect l="l" t="t" r="r" b="b"/>
              <a:pathLst>
                <a:path w="3561" h="3687" extrusionOk="0">
                  <a:moveTo>
                    <a:pt x="347" y="1"/>
                  </a:moveTo>
                  <a:cubicBezTo>
                    <a:pt x="158" y="1"/>
                    <a:pt x="0" y="158"/>
                    <a:pt x="0" y="379"/>
                  </a:cubicBezTo>
                  <a:cubicBezTo>
                    <a:pt x="0" y="568"/>
                    <a:pt x="158" y="725"/>
                    <a:pt x="347" y="725"/>
                  </a:cubicBezTo>
                  <a:cubicBezTo>
                    <a:pt x="946" y="725"/>
                    <a:pt x="1418" y="1229"/>
                    <a:pt x="1418" y="1828"/>
                  </a:cubicBezTo>
                  <a:lnTo>
                    <a:pt x="1418" y="3687"/>
                  </a:lnTo>
                  <a:cubicBezTo>
                    <a:pt x="1544" y="3624"/>
                    <a:pt x="1670" y="3592"/>
                    <a:pt x="1765" y="3592"/>
                  </a:cubicBezTo>
                  <a:cubicBezTo>
                    <a:pt x="1891" y="3592"/>
                    <a:pt x="2017" y="3624"/>
                    <a:pt x="2143" y="3687"/>
                  </a:cubicBezTo>
                  <a:lnTo>
                    <a:pt x="2143" y="1828"/>
                  </a:lnTo>
                  <a:cubicBezTo>
                    <a:pt x="2143" y="1229"/>
                    <a:pt x="2615" y="725"/>
                    <a:pt x="3182" y="725"/>
                  </a:cubicBezTo>
                  <a:cubicBezTo>
                    <a:pt x="3403" y="725"/>
                    <a:pt x="3561" y="568"/>
                    <a:pt x="3561" y="379"/>
                  </a:cubicBezTo>
                  <a:cubicBezTo>
                    <a:pt x="3561" y="158"/>
                    <a:pt x="3403" y="1"/>
                    <a:pt x="3182" y="1"/>
                  </a:cubicBezTo>
                  <a:cubicBezTo>
                    <a:pt x="2615" y="1"/>
                    <a:pt x="2080" y="284"/>
                    <a:pt x="1765" y="725"/>
                  </a:cubicBezTo>
                  <a:cubicBezTo>
                    <a:pt x="1450" y="284"/>
                    <a:pt x="94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5"/>
            <p:cNvSpPr/>
            <p:nvPr/>
          </p:nvSpPr>
          <p:spPr>
            <a:xfrm>
              <a:off x="-20024300" y="4085775"/>
              <a:ext cx="132350" cy="125250"/>
            </a:xfrm>
            <a:custGeom>
              <a:avLst/>
              <a:gdLst/>
              <a:ahLst/>
              <a:cxnLst/>
              <a:rect l="l" t="t" r="r" b="b"/>
              <a:pathLst>
                <a:path w="5294" h="5010" extrusionOk="0">
                  <a:moveTo>
                    <a:pt x="2741" y="2175"/>
                  </a:moveTo>
                  <a:cubicBezTo>
                    <a:pt x="2930" y="2175"/>
                    <a:pt x="3119" y="2332"/>
                    <a:pt x="3119" y="2521"/>
                  </a:cubicBezTo>
                  <a:cubicBezTo>
                    <a:pt x="3119" y="2710"/>
                    <a:pt x="2930" y="2868"/>
                    <a:pt x="2741" y="2868"/>
                  </a:cubicBezTo>
                  <a:cubicBezTo>
                    <a:pt x="2552" y="2868"/>
                    <a:pt x="2395" y="2710"/>
                    <a:pt x="2395" y="2521"/>
                  </a:cubicBezTo>
                  <a:cubicBezTo>
                    <a:pt x="2395" y="2332"/>
                    <a:pt x="2552" y="2175"/>
                    <a:pt x="2741" y="2175"/>
                  </a:cubicBezTo>
                  <a:close/>
                  <a:moveTo>
                    <a:pt x="1985" y="3592"/>
                  </a:moveTo>
                  <a:cubicBezTo>
                    <a:pt x="2206" y="3592"/>
                    <a:pt x="2363" y="3750"/>
                    <a:pt x="2363" y="3939"/>
                  </a:cubicBezTo>
                  <a:cubicBezTo>
                    <a:pt x="2395" y="4128"/>
                    <a:pt x="2206" y="4285"/>
                    <a:pt x="1985" y="4285"/>
                  </a:cubicBezTo>
                  <a:cubicBezTo>
                    <a:pt x="1796" y="4285"/>
                    <a:pt x="1639" y="4128"/>
                    <a:pt x="1639" y="3939"/>
                  </a:cubicBezTo>
                  <a:cubicBezTo>
                    <a:pt x="1639" y="3750"/>
                    <a:pt x="1796" y="3592"/>
                    <a:pt x="1985" y="3592"/>
                  </a:cubicBezTo>
                  <a:close/>
                  <a:moveTo>
                    <a:pt x="4915" y="1"/>
                  </a:moveTo>
                  <a:cubicBezTo>
                    <a:pt x="2710" y="1"/>
                    <a:pt x="820" y="1355"/>
                    <a:pt x="0" y="3246"/>
                  </a:cubicBezTo>
                  <a:cubicBezTo>
                    <a:pt x="158" y="3435"/>
                    <a:pt x="252" y="3655"/>
                    <a:pt x="252" y="3939"/>
                  </a:cubicBezTo>
                  <a:lnTo>
                    <a:pt x="252" y="5010"/>
                  </a:lnTo>
                  <a:lnTo>
                    <a:pt x="2899" y="5010"/>
                  </a:lnTo>
                  <a:cubicBezTo>
                    <a:pt x="3340" y="5010"/>
                    <a:pt x="3718" y="4695"/>
                    <a:pt x="3812" y="4254"/>
                  </a:cubicBezTo>
                  <a:cubicBezTo>
                    <a:pt x="4632" y="4096"/>
                    <a:pt x="5293" y="3403"/>
                    <a:pt x="5293" y="2490"/>
                  </a:cubicBezTo>
                  <a:lnTo>
                    <a:pt x="5293" y="347"/>
                  </a:lnTo>
                  <a:cubicBezTo>
                    <a:pt x="5262" y="158"/>
                    <a:pt x="5104" y="1"/>
                    <a:pt x="4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7" name="Google Shape;8637;p75"/>
            <p:cNvSpPr/>
            <p:nvPr/>
          </p:nvSpPr>
          <p:spPr>
            <a:xfrm>
              <a:off x="-19983350" y="4263775"/>
              <a:ext cx="18925" cy="18150"/>
            </a:xfrm>
            <a:custGeom>
              <a:avLst/>
              <a:gdLst/>
              <a:ahLst/>
              <a:cxnLst/>
              <a:rect l="l" t="t" r="r" b="b"/>
              <a:pathLst>
                <a:path w="757" h="726" extrusionOk="0">
                  <a:moveTo>
                    <a:pt x="347" y="1"/>
                  </a:moveTo>
                  <a:cubicBezTo>
                    <a:pt x="158" y="1"/>
                    <a:pt x="1" y="158"/>
                    <a:pt x="1" y="347"/>
                  </a:cubicBezTo>
                  <a:cubicBezTo>
                    <a:pt x="1" y="568"/>
                    <a:pt x="158" y="725"/>
                    <a:pt x="347" y="725"/>
                  </a:cubicBezTo>
                  <a:cubicBezTo>
                    <a:pt x="568" y="725"/>
                    <a:pt x="725" y="568"/>
                    <a:pt x="725" y="347"/>
                  </a:cubicBezTo>
                  <a:cubicBezTo>
                    <a:pt x="757"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75"/>
            <p:cNvSpPr/>
            <p:nvPr/>
          </p:nvSpPr>
          <p:spPr>
            <a:xfrm>
              <a:off x="-20035325" y="4228350"/>
              <a:ext cx="125250" cy="143350"/>
            </a:xfrm>
            <a:custGeom>
              <a:avLst/>
              <a:gdLst/>
              <a:ahLst/>
              <a:cxnLst/>
              <a:rect l="l" t="t" r="r" b="b"/>
              <a:pathLst>
                <a:path w="5010" h="5734" extrusionOk="0">
                  <a:moveTo>
                    <a:pt x="2426" y="756"/>
                  </a:moveTo>
                  <a:cubicBezTo>
                    <a:pt x="3025" y="756"/>
                    <a:pt x="3497" y="1229"/>
                    <a:pt x="3497" y="1827"/>
                  </a:cubicBezTo>
                  <a:cubicBezTo>
                    <a:pt x="3560" y="2363"/>
                    <a:pt x="3025" y="2899"/>
                    <a:pt x="2426" y="2899"/>
                  </a:cubicBezTo>
                  <a:cubicBezTo>
                    <a:pt x="1859" y="2899"/>
                    <a:pt x="1387" y="2426"/>
                    <a:pt x="1387" y="1827"/>
                  </a:cubicBezTo>
                  <a:cubicBezTo>
                    <a:pt x="1387" y="1229"/>
                    <a:pt x="1859" y="756"/>
                    <a:pt x="2426" y="756"/>
                  </a:cubicBezTo>
                  <a:close/>
                  <a:moveTo>
                    <a:pt x="693" y="0"/>
                  </a:moveTo>
                  <a:lnTo>
                    <a:pt x="693" y="2489"/>
                  </a:lnTo>
                  <a:cubicBezTo>
                    <a:pt x="693" y="2962"/>
                    <a:pt x="378" y="3371"/>
                    <a:pt x="0" y="3529"/>
                  </a:cubicBezTo>
                  <a:lnTo>
                    <a:pt x="0" y="4663"/>
                  </a:lnTo>
                  <a:cubicBezTo>
                    <a:pt x="0" y="5261"/>
                    <a:pt x="473" y="5734"/>
                    <a:pt x="1071" y="5734"/>
                  </a:cubicBezTo>
                  <a:cubicBezTo>
                    <a:pt x="1639" y="5734"/>
                    <a:pt x="2111" y="5261"/>
                    <a:pt x="2111" y="4663"/>
                  </a:cubicBezTo>
                  <a:cubicBezTo>
                    <a:pt x="2111" y="4474"/>
                    <a:pt x="2269" y="4316"/>
                    <a:pt x="2489" y="4316"/>
                  </a:cubicBezTo>
                  <a:cubicBezTo>
                    <a:pt x="3182" y="4316"/>
                    <a:pt x="3812" y="4033"/>
                    <a:pt x="4285" y="3529"/>
                  </a:cubicBezTo>
                  <a:cubicBezTo>
                    <a:pt x="4758" y="2993"/>
                    <a:pt x="5010" y="2331"/>
                    <a:pt x="4947" y="1670"/>
                  </a:cubicBezTo>
                  <a:cubicBezTo>
                    <a:pt x="4884" y="725"/>
                    <a:pt x="412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5"/>
            <p:cNvSpPr/>
            <p:nvPr/>
          </p:nvSpPr>
          <p:spPr>
            <a:xfrm>
              <a:off x="-20054225" y="4175575"/>
              <a:ext cx="18125" cy="125250"/>
            </a:xfrm>
            <a:custGeom>
              <a:avLst/>
              <a:gdLst/>
              <a:ahLst/>
              <a:cxnLst/>
              <a:rect l="l" t="t" r="r" b="b"/>
              <a:pathLst>
                <a:path w="725" h="5010" extrusionOk="0">
                  <a:moveTo>
                    <a:pt x="347" y="0"/>
                  </a:moveTo>
                  <a:cubicBezTo>
                    <a:pt x="158" y="0"/>
                    <a:pt x="0" y="158"/>
                    <a:pt x="0" y="347"/>
                  </a:cubicBezTo>
                  <a:lnTo>
                    <a:pt x="0" y="4632"/>
                  </a:lnTo>
                  <a:cubicBezTo>
                    <a:pt x="0" y="4852"/>
                    <a:pt x="158" y="5010"/>
                    <a:pt x="347" y="5010"/>
                  </a:cubicBezTo>
                  <a:cubicBezTo>
                    <a:pt x="567" y="5010"/>
                    <a:pt x="725" y="4852"/>
                    <a:pt x="725" y="4632"/>
                  </a:cubicBezTo>
                  <a:lnTo>
                    <a:pt x="725" y="347"/>
                  </a:ln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75"/>
            <p:cNvSpPr/>
            <p:nvPr/>
          </p:nvSpPr>
          <p:spPr>
            <a:xfrm>
              <a:off x="-20197575" y="4085775"/>
              <a:ext cx="132350" cy="125250"/>
            </a:xfrm>
            <a:custGeom>
              <a:avLst/>
              <a:gdLst/>
              <a:ahLst/>
              <a:cxnLst/>
              <a:rect l="l" t="t" r="r" b="b"/>
              <a:pathLst>
                <a:path w="5294" h="5010" extrusionOk="0">
                  <a:moveTo>
                    <a:pt x="2521" y="2175"/>
                  </a:moveTo>
                  <a:cubicBezTo>
                    <a:pt x="2710" y="2175"/>
                    <a:pt x="2867" y="2332"/>
                    <a:pt x="2867" y="2521"/>
                  </a:cubicBezTo>
                  <a:cubicBezTo>
                    <a:pt x="2867" y="2710"/>
                    <a:pt x="2710" y="2868"/>
                    <a:pt x="2521" y="2868"/>
                  </a:cubicBezTo>
                  <a:cubicBezTo>
                    <a:pt x="2300" y="2868"/>
                    <a:pt x="2143" y="2710"/>
                    <a:pt x="2143" y="2521"/>
                  </a:cubicBezTo>
                  <a:cubicBezTo>
                    <a:pt x="2174" y="2332"/>
                    <a:pt x="2300" y="2175"/>
                    <a:pt x="2521" y="2175"/>
                  </a:cubicBezTo>
                  <a:close/>
                  <a:moveTo>
                    <a:pt x="3245" y="3592"/>
                  </a:moveTo>
                  <a:cubicBezTo>
                    <a:pt x="3466" y="3592"/>
                    <a:pt x="3623" y="3750"/>
                    <a:pt x="3623" y="3939"/>
                  </a:cubicBezTo>
                  <a:cubicBezTo>
                    <a:pt x="3623" y="4128"/>
                    <a:pt x="3466" y="4285"/>
                    <a:pt x="3245" y="4285"/>
                  </a:cubicBezTo>
                  <a:cubicBezTo>
                    <a:pt x="3056" y="4285"/>
                    <a:pt x="2899" y="4128"/>
                    <a:pt x="2899" y="3939"/>
                  </a:cubicBezTo>
                  <a:cubicBezTo>
                    <a:pt x="2867" y="3750"/>
                    <a:pt x="3056" y="3592"/>
                    <a:pt x="3245" y="3592"/>
                  </a:cubicBezTo>
                  <a:close/>
                  <a:moveTo>
                    <a:pt x="378" y="1"/>
                  </a:moveTo>
                  <a:cubicBezTo>
                    <a:pt x="189" y="1"/>
                    <a:pt x="32" y="158"/>
                    <a:pt x="32" y="347"/>
                  </a:cubicBezTo>
                  <a:lnTo>
                    <a:pt x="32" y="2490"/>
                  </a:lnTo>
                  <a:cubicBezTo>
                    <a:pt x="0" y="3403"/>
                    <a:pt x="662" y="4096"/>
                    <a:pt x="1481" y="4254"/>
                  </a:cubicBezTo>
                  <a:cubicBezTo>
                    <a:pt x="1576" y="4695"/>
                    <a:pt x="1954" y="5010"/>
                    <a:pt x="2395" y="5010"/>
                  </a:cubicBezTo>
                  <a:lnTo>
                    <a:pt x="5041" y="5010"/>
                  </a:lnTo>
                  <a:lnTo>
                    <a:pt x="5041" y="3939"/>
                  </a:lnTo>
                  <a:cubicBezTo>
                    <a:pt x="5041" y="3655"/>
                    <a:pt x="5136" y="3435"/>
                    <a:pt x="5293" y="3246"/>
                  </a:cubicBezTo>
                  <a:cubicBezTo>
                    <a:pt x="4474" y="1355"/>
                    <a:pt x="2584"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75"/>
            <p:cNvSpPr/>
            <p:nvPr/>
          </p:nvSpPr>
          <p:spPr>
            <a:xfrm>
              <a:off x="-20179475" y="4229925"/>
              <a:ext cx="125275" cy="142575"/>
            </a:xfrm>
            <a:custGeom>
              <a:avLst/>
              <a:gdLst/>
              <a:ahLst/>
              <a:cxnLst/>
              <a:rect l="l" t="t" r="r" b="b"/>
              <a:pathLst>
                <a:path w="5011" h="5703" extrusionOk="0">
                  <a:moveTo>
                    <a:pt x="2521" y="693"/>
                  </a:moveTo>
                  <a:cubicBezTo>
                    <a:pt x="3120" y="693"/>
                    <a:pt x="3592" y="1166"/>
                    <a:pt x="3592" y="1764"/>
                  </a:cubicBezTo>
                  <a:cubicBezTo>
                    <a:pt x="3592" y="2300"/>
                    <a:pt x="3120" y="2836"/>
                    <a:pt x="2521" y="2836"/>
                  </a:cubicBezTo>
                  <a:cubicBezTo>
                    <a:pt x="1954" y="2836"/>
                    <a:pt x="1482" y="2363"/>
                    <a:pt x="1482" y="1764"/>
                  </a:cubicBezTo>
                  <a:cubicBezTo>
                    <a:pt x="1482" y="1166"/>
                    <a:pt x="1954" y="693"/>
                    <a:pt x="2521" y="693"/>
                  </a:cubicBezTo>
                  <a:close/>
                  <a:moveTo>
                    <a:pt x="1797" y="0"/>
                  </a:moveTo>
                  <a:cubicBezTo>
                    <a:pt x="883" y="0"/>
                    <a:pt x="95" y="693"/>
                    <a:pt x="64" y="1638"/>
                  </a:cubicBezTo>
                  <a:cubicBezTo>
                    <a:pt x="1" y="2363"/>
                    <a:pt x="253" y="2962"/>
                    <a:pt x="726" y="3497"/>
                  </a:cubicBezTo>
                  <a:cubicBezTo>
                    <a:pt x="1198" y="4001"/>
                    <a:pt x="1828" y="4285"/>
                    <a:pt x="2521" y="4285"/>
                  </a:cubicBezTo>
                  <a:cubicBezTo>
                    <a:pt x="2742" y="4285"/>
                    <a:pt x="2899" y="4442"/>
                    <a:pt x="2899" y="4631"/>
                  </a:cubicBezTo>
                  <a:cubicBezTo>
                    <a:pt x="2899" y="5230"/>
                    <a:pt x="3372" y="5702"/>
                    <a:pt x="3939" y="5702"/>
                  </a:cubicBezTo>
                  <a:cubicBezTo>
                    <a:pt x="4538" y="5702"/>
                    <a:pt x="5010" y="5230"/>
                    <a:pt x="5010" y="4631"/>
                  </a:cubicBezTo>
                  <a:lnTo>
                    <a:pt x="5010" y="3497"/>
                  </a:lnTo>
                  <a:cubicBezTo>
                    <a:pt x="4601" y="3340"/>
                    <a:pt x="4317" y="2899"/>
                    <a:pt x="4317" y="2458"/>
                  </a:cubicBezTo>
                  <a:lnTo>
                    <a:pt x="43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5"/>
            <p:cNvSpPr/>
            <p:nvPr/>
          </p:nvSpPr>
          <p:spPr>
            <a:xfrm>
              <a:off x="-20125125" y="4263775"/>
              <a:ext cx="18150" cy="18150"/>
            </a:xfrm>
            <a:custGeom>
              <a:avLst/>
              <a:gdLst/>
              <a:ahLst/>
              <a:cxnLst/>
              <a:rect l="l" t="t" r="r" b="b"/>
              <a:pathLst>
                <a:path w="726" h="726" extrusionOk="0">
                  <a:moveTo>
                    <a:pt x="347" y="1"/>
                  </a:moveTo>
                  <a:cubicBezTo>
                    <a:pt x="158" y="1"/>
                    <a:pt x="1" y="158"/>
                    <a:pt x="1" y="347"/>
                  </a:cubicBezTo>
                  <a:cubicBezTo>
                    <a:pt x="1" y="568"/>
                    <a:pt x="158" y="725"/>
                    <a:pt x="347" y="725"/>
                  </a:cubicBezTo>
                  <a:cubicBezTo>
                    <a:pt x="568" y="725"/>
                    <a:pt x="725" y="568"/>
                    <a:pt x="725" y="347"/>
                  </a:cubicBezTo>
                  <a:cubicBezTo>
                    <a:pt x="725"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3" name="Google Shape;8643;p75"/>
          <p:cNvGrpSpPr/>
          <p:nvPr/>
        </p:nvGrpSpPr>
        <p:grpSpPr>
          <a:xfrm>
            <a:off x="5200071" y="1687520"/>
            <a:ext cx="449325" cy="453426"/>
            <a:chOff x="-18271050" y="3333200"/>
            <a:chExt cx="304050" cy="306825"/>
          </a:xfrm>
        </p:grpSpPr>
        <p:sp>
          <p:nvSpPr>
            <p:cNvPr id="8644" name="Google Shape;8644;p75"/>
            <p:cNvSpPr/>
            <p:nvPr/>
          </p:nvSpPr>
          <p:spPr>
            <a:xfrm>
              <a:off x="-18271050" y="3407650"/>
              <a:ext cx="63025" cy="79575"/>
            </a:xfrm>
            <a:custGeom>
              <a:avLst/>
              <a:gdLst/>
              <a:ahLst/>
              <a:cxnLst/>
              <a:rect l="l" t="t" r="r" b="b"/>
              <a:pathLst>
                <a:path w="2521" h="3183" extrusionOk="0">
                  <a:moveTo>
                    <a:pt x="1765" y="0"/>
                  </a:moveTo>
                  <a:cubicBezTo>
                    <a:pt x="788" y="0"/>
                    <a:pt x="0" y="788"/>
                    <a:pt x="0" y="1764"/>
                  </a:cubicBezTo>
                  <a:cubicBezTo>
                    <a:pt x="0" y="2363"/>
                    <a:pt x="284" y="2867"/>
                    <a:pt x="694" y="3182"/>
                  </a:cubicBezTo>
                  <a:cubicBezTo>
                    <a:pt x="694" y="1733"/>
                    <a:pt x="1544" y="567"/>
                    <a:pt x="2521" y="158"/>
                  </a:cubicBezTo>
                  <a:cubicBezTo>
                    <a:pt x="2300" y="32"/>
                    <a:pt x="2048"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75"/>
            <p:cNvSpPr/>
            <p:nvPr/>
          </p:nvSpPr>
          <p:spPr>
            <a:xfrm>
              <a:off x="-18030050" y="3406850"/>
              <a:ext cx="63050" cy="79575"/>
            </a:xfrm>
            <a:custGeom>
              <a:avLst/>
              <a:gdLst/>
              <a:ahLst/>
              <a:cxnLst/>
              <a:rect l="l" t="t" r="r" b="b"/>
              <a:pathLst>
                <a:path w="2522" h="3183" extrusionOk="0">
                  <a:moveTo>
                    <a:pt x="757" y="1"/>
                  </a:moveTo>
                  <a:cubicBezTo>
                    <a:pt x="474" y="1"/>
                    <a:pt x="253" y="64"/>
                    <a:pt x="1" y="158"/>
                  </a:cubicBezTo>
                  <a:cubicBezTo>
                    <a:pt x="978" y="568"/>
                    <a:pt x="1828" y="1733"/>
                    <a:pt x="1828" y="3183"/>
                  </a:cubicBezTo>
                  <a:cubicBezTo>
                    <a:pt x="2238" y="2868"/>
                    <a:pt x="2521" y="2332"/>
                    <a:pt x="2521" y="1765"/>
                  </a:cubicBezTo>
                  <a:cubicBezTo>
                    <a:pt x="2521" y="788"/>
                    <a:pt x="1734"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75"/>
            <p:cNvSpPr/>
            <p:nvPr/>
          </p:nvSpPr>
          <p:spPr>
            <a:xfrm>
              <a:off x="-18136375" y="3549400"/>
              <a:ext cx="35475" cy="32325"/>
            </a:xfrm>
            <a:custGeom>
              <a:avLst/>
              <a:gdLst/>
              <a:ahLst/>
              <a:cxnLst/>
              <a:rect l="l" t="t" r="r" b="b"/>
              <a:pathLst>
                <a:path w="1419" h="1293" extrusionOk="0">
                  <a:moveTo>
                    <a:pt x="725" y="1"/>
                  </a:moveTo>
                  <a:cubicBezTo>
                    <a:pt x="347" y="1"/>
                    <a:pt x="95" y="222"/>
                    <a:pt x="1" y="600"/>
                  </a:cubicBezTo>
                  <a:lnTo>
                    <a:pt x="725" y="1293"/>
                  </a:lnTo>
                  <a:lnTo>
                    <a:pt x="1419" y="600"/>
                  </a:lnTo>
                  <a:cubicBezTo>
                    <a:pt x="1355" y="285"/>
                    <a:pt x="1072"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75"/>
            <p:cNvSpPr/>
            <p:nvPr/>
          </p:nvSpPr>
          <p:spPr>
            <a:xfrm>
              <a:off x="-18233250" y="3423625"/>
              <a:ext cx="230800" cy="216400"/>
            </a:xfrm>
            <a:custGeom>
              <a:avLst/>
              <a:gdLst/>
              <a:ahLst/>
              <a:cxnLst/>
              <a:rect l="l" t="t" r="r" b="b"/>
              <a:pathLst>
                <a:path w="9232" h="8656" extrusionOk="0">
                  <a:moveTo>
                    <a:pt x="2427" y="2890"/>
                  </a:moveTo>
                  <a:cubicBezTo>
                    <a:pt x="2616" y="2890"/>
                    <a:pt x="2773" y="3047"/>
                    <a:pt x="2773" y="3268"/>
                  </a:cubicBezTo>
                  <a:cubicBezTo>
                    <a:pt x="2773" y="3457"/>
                    <a:pt x="2616" y="3614"/>
                    <a:pt x="2427" y="3614"/>
                  </a:cubicBezTo>
                  <a:cubicBezTo>
                    <a:pt x="2238" y="3614"/>
                    <a:pt x="2080" y="3457"/>
                    <a:pt x="2080" y="3268"/>
                  </a:cubicBezTo>
                  <a:cubicBezTo>
                    <a:pt x="2080" y="3047"/>
                    <a:pt x="2238" y="2890"/>
                    <a:pt x="2427" y="2890"/>
                  </a:cubicBezTo>
                  <a:close/>
                  <a:moveTo>
                    <a:pt x="6711" y="2890"/>
                  </a:moveTo>
                  <a:cubicBezTo>
                    <a:pt x="6900" y="2890"/>
                    <a:pt x="7089" y="3047"/>
                    <a:pt x="7089" y="3268"/>
                  </a:cubicBezTo>
                  <a:cubicBezTo>
                    <a:pt x="7058" y="3457"/>
                    <a:pt x="6900" y="3614"/>
                    <a:pt x="6711" y="3614"/>
                  </a:cubicBezTo>
                  <a:cubicBezTo>
                    <a:pt x="6522" y="3614"/>
                    <a:pt x="6365" y="3457"/>
                    <a:pt x="6365" y="3268"/>
                  </a:cubicBezTo>
                  <a:cubicBezTo>
                    <a:pt x="6365" y="3047"/>
                    <a:pt x="6522" y="2890"/>
                    <a:pt x="6711" y="2890"/>
                  </a:cubicBezTo>
                  <a:close/>
                  <a:moveTo>
                    <a:pt x="2066" y="0"/>
                  </a:moveTo>
                  <a:cubicBezTo>
                    <a:pt x="1647" y="0"/>
                    <a:pt x="1224" y="147"/>
                    <a:pt x="883" y="464"/>
                  </a:cubicBezTo>
                  <a:cubicBezTo>
                    <a:pt x="316" y="999"/>
                    <a:pt x="1" y="1724"/>
                    <a:pt x="1" y="2543"/>
                  </a:cubicBezTo>
                  <a:cubicBezTo>
                    <a:pt x="1" y="4528"/>
                    <a:pt x="1765" y="8308"/>
                    <a:pt x="4285" y="8655"/>
                  </a:cubicBezTo>
                  <a:lnTo>
                    <a:pt x="4285" y="6985"/>
                  </a:lnTo>
                  <a:lnTo>
                    <a:pt x="3372" y="6103"/>
                  </a:lnTo>
                  <a:lnTo>
                    <a:pt x="3340" y="6040"/>
                  </a:lnTo>
                  <a:cubicBezTo>
                    <a:pt x="3246" y="5977"/>
                    <a:pt x="3214" y="5883"/>
                    <a:pt x="3214" y="5820"/>
                  </a:cubicBezTo>
                  <a:cubicBezTo>
                    <a:pt x="3214" y="5032"/>
                    <a:pt x="3844" y="4402"/>
                    <a:pt x="4632" y="4402"/>
                  </a:cubicBezTo>
                  <a:cubicBezTo>
                    <a:pt x="5420" y="4402"/>
                    <a:pt x="6050" y="5032"/>
                    <a:pt x="6050" y="5820"/>
                  </a:cubicBezTo>
                  <a:cubicBezTo>
                    <a:pt x="6050" y="5883"/>
                    <a:pt x="6018" y="6009"/>
                    <a:pt x="5924" y="6040"/>
                  </a:cubicBezTo>
                  <a:lnTo>
                    <a:pt x="4947" y="6985"/>
                  </a:lnTo>
                  <a:lnTo>
                    <a:pt x="4947" y="8655"/>
                  </a:lnTo>
                  <a:cubicBezTo>
                    <a:pt x="7436" y="8340"/>
                    <a:pt x="9232" y="4559"/>
                    <a:pt x="9232" y="2543"/>
                  </a:cubicBezTo>
                  <a:cubicBezTo>
                    <a:pt x="9232" y="1724"/>
                    <a:pt x="8917" y="999"/>
                    <a:pt x="8349" y="464"/>
                  </a:cubicBezTo>
                  <a:cubicBezTo>
                    <a:pt x="7984" y="157"/>
                    <a:pt x="7553" y="14"/>
                    <a:pt x="7131" y="14"/>
                  </a:cubicBezTo>
                  <a:cubicBezTo>
                    <a:pt x="6425" y="14"/>
                    <a:pt x="5747" y="415"/>
                    <a:pt x="5451" y="1125"/>
                  </a:cubicBezTo>
                  <a:lnTo>
                    <a:pt x="5230" y="1755"/>
                  </a:lnTo>
                  <a:cubicBezTo>
                    <a:pt x="5104" y="2039"/>
                    <a:pt x="4852" y="2197"/>
                    <a:pt x="4600" y="2197"/>
                  </a:cubicBezTo>
                  <a:cubicBezTo>
                    <a:pt x="4317" y="2197"/>
                    <a:pt x="4033" y="2039"/>
                    <a:pt x="3970" y="1755"/>
                  </a:cubicBezTo>
                  <a:lnTo>
                    <a:pt x="3718" y="1125"/>
                  </a:lnTo>
                  <a:cubicBezTo>
                    <a:pt x="3461" y="414"/>
                    <a:pt x="2771" y="0"/>
                    <a:pt x="2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5"/>
            <p:cNvSpPr/>
            <p:nvPr/>
          </p:nvSpPr>
          <p:spPr>
            <a:xfrm>
              <a:off x="-18231675" y="3333200"/>
              <a:ext cx="220575" cy="125650"/>
            </a:xfrm>
            <a:custGeom>
              <a:avLst/>
              <a:gdLst/>
              <a:ahLst/>
              <a:cxnLst/>
              <a:rect l="l" t="t" r="r" b="b"/>
              <a:pathLst>
                <a:path w="8823" h="5026" extrusionOk="0">
                  <a:moveTo>
                    <a:pt x="3088" y="1088"/>
                  </a:moveTo>
                  <a:cubicBezTo>
                    <a:pt x="3277" y="1088"/>
                    <a:pt x="3435" y="1245"/>
                    <a:pt x="3435" y="1434"/>
                  </a:cubicBezTo>
                  <a:lnTo>
                    <a:pt x="3435" y="2159"/>
                  </a:lnTo>
                  <a:cubicBezTo>
                    <a:pt x="3435" y="2348"/>
                    <a:pt x="3277" y="2506"/>
                    <a:pt x="3088" y="2506"/>
                  </a:cubicBezTo>
                  <a:cubicBezTo>
                    <a:pt x="2868" y="2506"/>
                    <a:pt x="2710" y="2348"/>
                    <a:pt x="2710" y="2159"/>
                  </a:cubicBezTo>
                  <a:lnTo>
                    <a:pt x="2710" y="1434"/>
                  </a:lnTo>
                  <a:cubicBezTo>
                    <a:pt x="2710" y="1245"/>
                    <a:pt x="2868" y="1088"/>
                    <a:pt x="3088" y="1088"/>
                  </a:cubicBezTo>
                  <a:close/>
                  <a:moveTo>
                    <a:pt x="5955" y="1088"/>
                  </a:moveTo>
                  <a:cubicBezTo>
                    <a:pt x="6144" y="1088"/>
                    <a:pt x="6302" y="1245"/>
                    <a:pt x="6302" y="1434"/>
                  </a:cubicBezTo>
                  <a:lnTo>
                    <a:pt x="6302" y="2159"/>
                  </a:lnTo>
                  <a:cubicBezTo>
                    <a:pt x="6302" y="2348"/>
                    <a:pt x="6144" y="2506"/>
                    <a:pt x="5955" y="2506"/>
                  </a:cubicBezTo>
                  <a:cubicBezTo>
                    <a:pt x="5735" y="2506"/>
                    <a:pt x="5577" y="2348"/>
                    <a:pt x="5577" y="2159"/>
                  </a:cubicBezTo>
                  <a:lnTo>
                    <a:pt x="5577" y="1434"/>
                  </a:lnTo>
                  <a:cubicBezTo>
                    <a:pt x="5577" y="1245"/>
                    <a:pt x="5735" y="1088"/>
                    <a:pt x="5955" y="1088"/>
                  </a:cubicBezTo>
                  <a:close/>
                  <a:moveTo>
                    <a:pt x="4537" y="1781"/>
                  </a:moveTo>
                  <a:cubicBezTo>
                    <a:pt x="4726" y="1781"/>
                    <a:pt x="4884" y="1938"/>
                    <a:pt x="4884" y="2159"/>
                  </a:cubicBezTo>
                  <a:lnTo>
                    <a:pt x="4884" y="2852"/>
                  </a:lnTo>
                  <a:cubicBezTo>
                    <a:pt x="4884" y="3041"/>
                    <a:pt x="4726" y="3199"/>
                    <a:pt x="4537" y="3199"/>
                  </a:cubicBezTo>
                  <a:cubicBezTo>
                    <a:pt x="4317" y="3199"/>
                    <a:pt x="4159" y="3041"/>
                    <a:pt x="4159" y="2852"/>
                  </a:cubicBezTo>
                  <a:lnTo>
                    <a:pt x="4159" y="2159"/>
                  </a:lnTo>
                  <a:cubicBezTo>
                    <a:pt x="4159" y="1938"/>
                    <a:pt x="4317" y="1781"/>
                    <a:pt x="4537" y="1781"/>
                  </a:cubicBezTo>
                  <a:close/>
                  <a:moveTo>
                    <a:pt x="4427" y="1"/>
                  </a:moveTo>
                  <a:cubicBezTo>
                    <a:pt x="4372" y="1"/>
                    <a:pt x="4317" y="17"/>
                    <a:pt x="4254" y="48"/>
                  </a:cubicBezTo>
                  <a:lnTo>
                    <a:pt x="3655" y="395"/>
                  </a:lnTo>
                  <a:lnTo>
                    <a:pt x="2994" y="237"/>
                  </a:lnTo>
                  <a:cubicBezTo>
                    <a:pt x="2964" y="230"/>
                    <a:pt x="2934" y="226"/>
                    <a:pt x="2905" y="226"/>
                  </a:cubicBezTo>
                  <a:cubicBezTo>
                    <a:pt x="2810" y="226"/>
                    <a:pt x="2719" y="267"/>
                    <a:pt x="2647" y="363"/>
                  </a:cubicBezTo>
                  <a:lnTo>
                    <a:pt x="2175" y="836"/>
                  </a:lnTo>
                  <a:lnTo>
                    <a:pt x="1481" y="867"/>
                  </a:lnTo>
                  <a:cubicBezTo>
                    <a:pt x="1387" y="867"/>
                    <a:pt x="1261" y="962"/>
                    <a:pt x="1166" y="1088"/>
                  </a:cubicBezTo>
                  <a:lnTo>
                    <a:pt x="851" y="1655"/>
                  </a:lnTo>
                  <a:cubicBezTo>
                    <a:pt x="599" y="1749"/>
                    <a:pt x="127" y="1875"/>
                    <a:pt x="1" y="2096"/>
                  </a:cubicBezTo>
                  <a:cubicBezTo>
                    <a:pt x="851" y="2159"/>
                    <a:pt x="1450" y="2380"/>
                    <a:pt x="1922" y="2821"/>
                  </a:cubicBezTo>
                  <a:cubicBezTo>
                    <a:pt x="2994" y="2821"/>
                    <a:pt x="3907" y="3451"/>
                    <a:pt x="4285" y="4396"/>
                  </a:cubicBezTo>
                  <a:lnTo>
                    <a:pt x="4537" y="5026"/>
                  </a:lnTo>
                  <a:lnTo>
                    <a:pt x="4726" y="4396"/>
                  </a:lnTo>
                  <a:cubicBezTo>
                    <a:pt x="5104" y="3451"/>
                    <a:pt x="6018" y="2821"/>
                    <a:pt x="7058" y="2821"/>
                  </a:cubicBezTo>
                  <a:cubicBezTo>
                    <a:pt x="7486" y="2421"/>
                    <a:pt x="7992" y="2150"/>
                    <a:pt x="8623" y="2150"/>
                  </a:cubicBezTo>
                  <a:cubicBezTo>
                    <a:pt x="8688" y="2150"/>
                    <a:pt x="8754" y="2153"/>
                    <a:pt x="8822" y="2159"/>
                  </a:cubicBezTo>
                  <a:cubicBezTo>
                    <a:pt x="8791" y="2033"/>
                    <a:pt x="8696" y="1938"/>
                    <a:pt x="8633" y="1907"/>
                  </a:cubicBezTo>
                  <a:lnTo>
                    <a:pt x="8003" y="1655"/>
                  </a:lnTo>
                  <a:lnTo>
                    <a:pt x="7688" y="1088"/>
                  </a:lnTo>
                  <a:cubicBezTo>
                    <a:pt x="7656" y="962"/>
                    <a:pt x="7530" y="867"/>
                    <a:pt x="7373" y="867"/>
                  </a:cubicBezTo>
                  <a:lnTo>
                    <a:pt x="6711" y="836"/>
                  </a:lnTo>
                  <a:lnTo>
                    <a:pt x="6239" y="363"/>
                  </a:lnTo>
                  <a:cubicBezTo>
                    <a:pt x="6144" y="300"/>
                    <a:pt x="5987" y="237"/>
                    <a:pt x="5861" y="237"/>
                  </a:cubicBezTo>
                  <a:lnTo>
                    <a:pt x="5199" y="395"/>
                  </a:lnTo>
                  <a:lnTo>
                    <a:pt x="4600" y="48"/>
                  </a:lnTo>
                  <a:cubicBezTo>
                    <a:pt x="4537" y="17"/>
                    <a:pt x="4482" y="1"/>
                    <a:pt x="4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9" name="Google Shape;8649;p75"/>
          <p:cNvGrpSpPr/>
          <p:nvPr/>
        </p:nvGrpSpPr>
        <p:grpSpPr>
          <a:xfrm>
            <a:off x="5200644" y="2244171"/>
            <a:ext cx="448180" cy="448143"/>
            <a:chOff x="-18270275" y="3710875"/>
            <a:chExt cx="303275" cy="303250"/>
          </a:xfrm>
        </p:grpSpPr>
        <p:sp>
          <p:nvSpPr>
            <p:cNvPr id="8650" name="Google Shape;8650;p75"/>
            <p:cNvSpPr/>
            <p:nvPr/>
          </p:nvSpPr>
          <p:spPr>
            <a:xfrm>
              <a:off x="-18240325" y="3896975"/>
              <a:ext cx="59875" cy="71475"/>
            </a:xfrm>
            <a:custGeom>
              <a:avLst/>
              <a:gdLst/>
              <a:ahLst/>
              <a:cxnLst/>
              <a:rect l="l" t="t" r="r" b="b"/>
              <a:pathLst>
                <a:path w="2395" h="2859" extrusionOk="0">
                  <a:moveTo>
                    <a:pt x="1520" y="0"/>
                  </a:moveTo>
                  <a:cubicBezTo>
                    <a:pt x="1300" y="0"/>
                    <a:pt x="1085" y="84"/>
                    <a:pt x="945" y="244"/>
                  </a:cubicBezTo>
                  <a:lnTo>
                    <a:pt x="0" y="1189"/>
                  </a:lnTo>
                  <a:cubicBezTo>
                    <a:pt x="725" y="1220"/>
                    <a:pt x="1418" y="1567"/>
                    <a:pt x="1827" y="2165"/>
                  </a:cubicBezTo>
                  <a:cubicBezTo>
                    <a:pt x="1827" y="2165"/>
                    <a:pt x="2048" y="2386"/>
                    <a:pt x="2395" y="2859"/>
                  </a:cubicBezTo>
                  <a:cubicBezTo>
                    <a:pt x="2395" y="2670"/>
                    <a:pt x="2363" y="2512"/>
                    <a:pt x="2363" y="2354"/>
                  </a:cubicBezTo>
                  <a:lnTo>
                    <a:pt x="2363" y="811"/>
                  </a:lnTo>
                  <a:cubicBezTo>
                    <a:pt x="2363" y="496"/>
                    <a:pt x="2205" y="244"/>
                    <a:pt x="1890" y="86"/>
                  </a:cubicBezTo>
                  <a:cubicBezTo>
                    <a:pt x="1775" y="28"/>
                    <a:pt x="1647" y="0"/>
                    <a:pt x="1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5"/>
            <p:cNvSpPr/>
            <p:nvPr/>
          </p:nvSpPr>
          <p:spPr>
            <a:xfrm>
              <a:off x="-18254500" y="3765100"/>
              <a:ext cx="267800" cy="249025"/>
            </a:xfrm>
            <a:custGeom>
              <a:avLst/>
              <a:gdLst/>
              <a:ahLst/>
              <a:cxnLst/>
              <a:rect l="l" t="t" r="r" b="b"/>
              <a:pathLst>
                <a:path w="10712" h="9961" extrusionOk="0">
                  <a:moveTo>
                    <a:pt x="2583" y="2880"/>
                  </a:moveTo>
                  <a:cubicBezTo>
                    <a:pt x="2670" y="2880"/>
                    <a:pt x="2757" y="2919"/>
                    <a:pt x="2835" y="2998"/>
                  </a:cubicBezTo>
                  <a:lnTo>
                    <a:pt x="3560" y="3691"/>
                  </a:lnTo>
                  <a:cubicBezTo>
                    <a:pt x="3718" y="3849"/>
                    <a:pt x="3718" y="4038"/>
                    <a:pt x="3560" y="4195"/>
                  </a:cubicBezTo>
                  <a:cubicBezTo>
                    <a:pt x="3466" y="4290"/>
                    <a:pt x="3403" y="4321"/>
                    <a:pt x="3308" y="4321"/>
                  </a:cubicBezTo>
                  <a:cubicBezTo>
                    <a:pt x="3245" y="4321"/>
                    <a:pt x="3119" y="4290"/>
                    <a:pt x="3088" y="4195"/>
                  </a:cubicBezTo>
                  <a:lnTo>
                    <a:pt x="2363" y="3502"/>
                  </a:lnTo>
                  <a:cubicBezTo>
                    <a:pt x="2174" y="3345"/>
                    <a:pt x="2174" y="3093"/>
                    <a:pt x="2331" y="2998"/>
                  </a:cubicBezTo>
                  <a:cubicBezTo>
                    <a:pt x="2410" y="2919"/>
                    <a:pt x="2497" y="2880"/>
                    <a:pt x="2583" y="2880"/>
                  </a:cubicBezTo>
                  <a:close/>
                  <a:moveTo>
                    <a:pt x="8286" y="2880"/>
                  </a:moveTo>
                  <a:cubicBezTo>
                    <a:pt x="8372" y="2880"/>
                    <a:pt x="8459" y="2919"/>
                    <a:pt x="8538" y="2998"/>
                  </a:cubicBezTo>
                  <a:cubicBezTo>
                    <a:pt x="8695" y="3156"/>
                    <a:pt x="8695" y="3345"/>
                    <a:pt x="8538" y="3502"/>
                  </a:cubicBezTo>
                  <a:lnTo>
                    <a:pt x="7845" y="4195"/>
                  </a:lnTo>
                  <a:cubicBezTo>
                    <a:pt x="7750" y="4290"/>
                    <a:pt x="7687" y="4321"/>
                    <a:pt x="7593" y="4321"/>
                  </a:cubicBezTo>
                  <a:cubicBezTo>
                    <a:pt x="7530" y="4321"/>
                    <a:pt x="7404" y="4290"/>
                    <a:pt x="7372" y="4195"/>
                  </a:cubicBezTo>
                  <a:cubicBezTo>
                    <a:pt x="7183" y="4038"/>
                    <a:pt x="7183" y="3817"/>
                    <a:pt x="7341" y="3691"/>
                  </a:cubicBezTo>
                  <a:lnTo>
                    <a:pt x="8034" y="2998"/>
                  </a:lnTo>
                  <a:cubicBezTo>
                    <a:pt x="8113" y="2919"/>
                    <a:pt x="8199" y="2880"/>
                    <a:pt x="8286" y="2880"/>
                  </a:cubicBezTo>
                  <a:close/>
                  <a:moveTo>
                    <a:pt x="5272" y="0"/>
                  </a:moveTo>
                  <a:cubicBezTo>
                    <a:pt x="3911" y="0"/>
                    <a:pt x="2618" y="504"/>
                    <a:pt x="1607" y="1486"/>
                  </a:cubicBezTo>
                  <a:cubicBezTo>
                    <a:pt x="567" y="2526"/>
                    <a:pt x="0" y="3849"/>
                    <a:pt x="0" y="5361"/>
                  </a:cubicBezTo>
                  <a:lnTo>
                    <a:pt x="0" y="5897"/>
                  </a:lnTo>
                  <a:lnTo>
                    <a:pt x="977" y="4983"/>
                  </a:lnTo>
                  <a:cubicBezTo>
                    <a:pt x="1267" y="4693"/>
                    <a:pt x="1651" y="4534"/>
                    <a:pt x="2044" y="4534"/>
                  </a:cubicBezTo>
                  <a:cubicBezTo>
                    <a:pt x="2291" y="4534"/>
                    <a:pt x="2541" y="4597"/>
                    <a:pt x="2772" y="4731"/>
                  </a:cubicBezTo>
                  <a:cubicBezTo>
                    <a:pt x="3277" y="4983"/>
                    <a:pt x="3623" y="5519"/>
                    <a:pt x="3623" y="6086"/>
                  </a:cubicBezTo>
                  <a:lnTo>
                    <a:pt x="3623" y="7629"/>
                  </a:lnTo>
                  <a:cubicBezTo>
                    <a:pt x="3623" y="8575"/>
                    <a:pt x="4190" y="9709"/>
                    <a:pt x="5041" y="9961"/>
                  </a:cubicBezTo>
                  <a:lnTo>
                    <a:pt x="5041" y="8701"/>
                  </a:lnTo>
                  <a:lnTo>
                    <a:pt x="4411" y="7913"/>
                  </a:lnTo>
                  <a:cubicBezTo>
                    <a:pt x="4379" y="7818"/>
                    <a:pt x="4348" y="7755"/>
                    <a:pt x="4348" y="7661"/>
                  </a:cubicBezTo>
                  <a:cubicBezTo>
                    <a:pt x="4348" y="7062"/>
                    <a:pt x="4820" y="6590"/>
                    <a:pt x="5387" y="6590"/>
                  </a:cubicBezTo>
                  <a:cubicBezTo>
                    <a:pt x="5986" y="6590"/>
                    <a:pt x="6459" y="7062"/>
                    <a:pt x="6459" y="7661"/>
                  </a:cubicBezTo>
                  <a:cubicBezTo>
                    <a:pt x="6459" y="7755"/>
                    <a:pt x="6427" y="7818"/>
                    <a:pt x="6396" y="7913"/>
                  </a:cubicBezTo>
                  <a:lnTo>
                    <a:pt x="5765" y="8701"/>
                  </a:lnTo>
                  <a:lnTo>
                    <a:pt x="5765" y="9961"/>
                  </a:lnTo>
                  <a:cubicBezTo>
                    <a:pt x="6616" y="9709"/>
                    <a:pt x="7183" y="8575"/>
                    <a:pt x="7183" y="7629"/>
                  </a:cubicBezTo>
                  <a:lnTo>
                    <a:pt x="7183" y="6086"/>
                  </a:lnTo>
                  <a:cubicBezTo>
                    <a:pt x="7183" y="5519"/>
                    <a:pt x="7498" y="4983"/>
                    <a:pt x="8034" y="4731"/>
                  </a:cubicBezTo>
                  <a:cubicBezTo>
                    <a:pt x="8265" y="4597"/>
                    <a:pt x="8511" y="4534"/>
                    <a:pt x="8752" y="4534"/>
                  </a:cubicBezTo>
                  <a:cubicBezTo>
                    <a:pt x="9135" y="4534"/>
                    <a:pt x="9508" y="4693"/>
                    <a:pt x="9798" y="4983"/>
                  </a:cubicBezTo>
                  <a:lnTo>
                    <a:pt x="10712" y="5897"/>
                  </a:lnTo>
                  <a:lnTo>
                    <a:pt x="10712" y="5550"/>
                  </a:lnTo>
                  <a:cubicBezTo>
                    <a:pt x="10712" y="2557"/>
                    <a:pt x="8380" y="68"/>
                    <a:pt x="5513" y="5"/>
                  </a:cubicBezTo>
                  <a:cubicBezTo>
                    <a:pt x="5433" y="2"/>
                    <a:pt x="5352" y="0"/>
                    <a:pt x="52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75"/>
            <p:cNvSpPr/>
            <p:nvPr/>
          </p:nvSpPr>
          <p:spPr>
            <a:xfrm>
              <a:off x="-18057600" y="3896625"/>
              <a:ext cx="61450" cy="71825"/>
            </a:xfrm>
            <a:custGeom>
              <a:avLst/>
              <a:gdLst/>
              <a:ahLst/>
              <a:cxnLst/>
              <a:rect l="l" t="t" r="r" b="b"/>
              <a:pathLst>
                <a:path w="2458" h="2873" extrusionOk="0">
                  <a:moveTo>
                    <a:pt x="885" y="0"/>
                  </a:moveTo>
                  <a:cubicBezTo>
                    <a:pt x="760" y="0"/>
                    <a:pt x="630" y="32"/>
                    <a:pt x="504" y="100"/>
                  </a:cubicBezTo>
                  <a:cubicBezTo>
                    <a:pt x="252" y="258"/>
                    <a:pt x="32" y="510"/>
                    <a:pt x="32" y="825"/>
                  </a:cubicBezTo>
                  <a:lnTo>
                    <a:pt x="32" y="2368"/>
                  </a:lnTo>
                  <a:cubicBezTo>
                    <a:pt x="32" y="2526"/>
                    <a:pt x="32" y="2684"/>
                    <a:pt x="0" y="2873"/>
                  </a:cubicBezTo>
                  <a:lnTo>
                    <a:pt x="32" y="2841"/>
                  </a:lnTo>
                  <a:lnTo>
                    <a:pt x="567" y="2179"/>
                  </a:lnTo>
                  <a:cubicBezTo>
                    <a:pt x="630" y="2053"/>
                    <a:pt x="725" y="1959"/>
                    <a:pt x="819" y="1864"/>
                  </a:cubicBezTo>
                  <a:cubicBezTo>
                    <a:pt x="1260" y="1455"/>
                    <a:pt x="1828" y="1171"/>
                    <a:pt x="2458" y="1171"/>
                  </a:cubicBezTo>
                  <a:lnTo>
                    <a:pt x="1450" y="258"/>
                  </a:lnTo>
                  <a:cubicBezTo>
                    <a:pt x="1309" y="97"/>
                    <a:pt x="1104" y="0"/>
                    <a:pt x="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75"/>
            <p:cNvSpPr/>
            <p:nvPr/>
          </p:nvSpPr>
          <p:spPr>
            <a:xfrm>
              <a:off x="-18127700" y="3949125"/>
              <a:ext cx="18125" cy="16975"/>
            </a:xfrm>
            <a:custGeom>
              <a:avLst/>
              <a:gdLst/>
              <a:ahLst/>
              <a:cxnLst/>
              <a:rect l="l" t="t" r="r" b="b"/>
              <a:pathLst>
                <a:path w="725" h="679" extrusionOk="0">
                  <a:moveTo>
                    <a:pt x="351" y="1"/>
                  </a:moveTo>
                  <a:cubicBezTo>
                    <a:pt x="197" y="1"/>
                    <a:pt x="48" y="79"/>
                    <a:pt x="0" y="237"/>
                  </a:cubicBezTo>
                  <a:lnTo>
                    <a:pt x="378" y="678"/>
                  </a:lnTo>
                  <a:lnTo>
                    <a:pt x="725" y="237"/>
                  </a:lnTo>
                  <a:cubicBezTo>
                    <a:pt x="662" y="79"/>
                    <a:pt x="504" y="1"/>
                    <a:pt x="3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5"/>
            <p:cNvSpPr/>
            <p:nvPr/>
          </p:nvSpPr>
          <p:spPr>
            <a:xfrm>
              <a:off x="-18270275" y="3710875"/>
              <a:ext cx="107150" cy="98475"/>
            </a:xfrm>
            <a:custGeom>
              <a:avLst/>
              <a:gdLst/>
              <a:ahLst/>
              <a:cxnLst/>
              <a:rect l="l" t="t" r="r" b="b"/>
              <a:pathLst>
                <a:path w="4286" h="3939" extrusionOk="0">
                  <a:moveTo>
                    <a:pt x="347" y="0"/>
                  </a:moveTo>
                  <a:cubicBezTo>
                    <a:pt x="158" y="0"/>
                    <a:pt x="32" y="189"/>
                    <a:pt x="32" y="379"/>
                  </a:cubicBezTo>
                  <a:lnTo>
                    <a:pt x="1" y="1103"/>
                  </a:lnTo>
                  <a:cubicBezTo>
                    <a:pt x="1" y="2174"/>
                    <a:pt x="474" y="3214"/>
                    <a:pt x="1230" y="3939"/>
                  </a:cubicBezTo>
                  <a:cubicBezTo>
                    <a:pt x="1387" y="3655"/>
                    <a:pt x="1576" y="3403"/>
                    <a:pt x="1860" y="3182"/>
                  </a:cubicBezTo>
                  <a:cubicBezTo>
                    <a:pt x="2553" y="2521"/>
                    <a:pt x="3403" y="2017"/>
                    <a:pt x="4286" y="1733"/>
                  </a:cubicBezTo>
                  <a:cubicBezTo>
                    <a:pt x="3593" y="694"/>
                    <a:pt x="2364"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75"/>
            <p:cNvSpPr/>
            <p:nvPr/>
          </p:nvSpPr>
          <p:spPr>
            <a:xfrm>
              <a:off x="-18074925" y="3710875"/>
              <a:ext cx="107925" cy="99275"/>
            </a:xfrm>
            <a:custGeom>
              <a:avLst/>
              <a:gdLst/>
              <a:ahLst/>
              <a:cxnLst/>
              <a:rect l="l" t="t" r="r" b="b"/>
              <a:pathLst>
                <a:path w="4317" h="3971" extrusionOk="0">
                  <a:moveTo>
                    <a:pt x="3245" y="0"/>
                  </a:moveTo>
                  <a:cubicBezTo>
                    <a:pt x="1953" y="0"/>
                    <a:pt x="725" y="662"/>
                    <a:pt x="0" y="1733"/>
                  </a:cubicBezTo>
                  <a:cubicBezTo>
                    <a:pt x="1197" y="2111"/>
                    <a:pt x="2269" y="2899"/>
                    <a:pt x="3056" y="3970"/>
                  </a:cubicBezTo>
                  <a:cubicBezTo>
                    <a:pt x="3844" y="3214"/>
                    <a:pt x="4316" y="2206"/>
                    <a:pt x="4316" y="1103"/>
                  </a:cubicBezTo>
                  <a:lnTo>
                    <a:pt x="4316" y="379"/>
                  </a:lnTo>
                  <a:cubicBezTo>
                    <a:pt x="4316" y="189"/>
                    <a:pt x="4159"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6" name="Google Shape;8656;p75"/>
          <p:cNvGrpSpPr/>
          <p:nvPr/>
        </p:nvGrpSpPr>
        <p:grpSpPr>
          <a:xfrm>
            <a:off x="5254196" y="2797422"/>
            <a:ext cx="341076" cy="448180"/>
            <a:chOff x="-18234025" y="4084200"/>
            <a:chExt cx="230800" cy="303275"/>
          </a:xfrm>
        </p:grpSpPr>
        <p:sp>
          <p:nvSpPr>
            <p:cNvPr id="8657" name="Google Shape;8657;p75"/>
            <p:cNvSpPr/>
            <p:nvPr/>
          </p:nvSpPr>
          <p:spPr>
            <a:xfrm>
              <a:off x="-18234025" y="4246450"/>
              <a:ext cx="230800" cy="141025"/>
            </a:xfrm>
            <a:custGeom>
              <a:avLst/>
              <a:gdLst/>
              <a:ahLst/>
              <a:cxnLst/>
              <a:rect l="l" t="t" r="r" b="b"/>
              <a:pathLst>
                <a:path w="9232" h="5641" extrusionOk="0">
                  <a:moveTo>
                    <a:pt x="1796" y="1"/>
                  </a:moveTo>
                  <a:lnTo>
                    <a:pt x="0" y="851"/>
                  </a:lnTo>
                  <a:cubicBezTo>
                    <a:pt x="221" y="3687"/>
                    <a:pt x="2048" y="5640"/>
                    <a:pt x="4631" y="5640"/>
                  </a:cubicBezTo>
                  <a:cubicBezTo>
                    <a:pt x="7183" y="5640"/>
                    <a:pt x="9042" y="3687"/>
                    <a:pt x="9231" y="851"/>
                  </a:cubicBezTo>
                  <a:lnTo>
                    <a:pt x="7467" y="1"/>
                  </a:lnTo>
                  <a:lnTo>
                    <a:pt x="6207" y="631"/>
                  </a:lnTo>
                  <a:cubicBezTo>
                    <a:pt x="6144" y="647"/>
                    <a:pt x="6081" y="654"/>
                    <a:pt x="6025" y="654"/>
                  </a:cubicBezTo>
                  <a:cubicBezTo>
                    <a:pt x="5970" y="654"/>
                    <a:pt x="5923" y="647"/>
                    <a:pt x="5892" y="631"/>
                  </a:cubicBezTo>
                  <a:lnTo>
                    <a:pt x="4631" y="1"/>
                  </a:lnTo>
                  <a:lnTo>
                    <a:pt x="3371" y="631"/>
                  </a:lnTo>
                  <a:cubicBezTo>
                    <a:pt x="3308" y="647"/>
                    <a:pt x="3245" y="654"/>
                    <a:pt x="3190" y="654"/>
                  </a:cubicBezTo>
                  <a:cubicBezTo>
                    <a:pt x="3135" y="654"/>
                    <a:pt x="3088" y="647"/>
                    <a:pt x="3056" y="631"/>
                  </a:cubicBez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75"/>
            <p:cNvSpPr/>
            <p:nvPr/>
          </p:nvSpPr>
          <p:spPr>
            <a:xfrm>
              <a:off x="-18200175" y="4156675"/>
              <a:ext cx="161500" cy="87450"/>
            </a:xfrm>
            <a:custGeom>
              <a:avLst/>
              <a:gdLst/>
              <a:ahLst/>
              <a:cxnLst/>
              <a:rect l="l" t="t" r="r" b="b"/>
              <a:pathLst>
                <a:path w="6460" h="3498" extrusionOk="0">
                  <a:moveTo>
                    <a:pt x="2206" y="1040"/>
                  </a:moveTo>
                  <a:cubicBezTo>
                    <a:pt x="2395" y="1040"/>
                    <a:pt x="2553" y="1197"/>
                    <a:pt x="2553" y="1386"/>
                  </a:cubicBezTo>
                  <a:cubicBezTo>
                    <a:pt x="2553" y="1575"/>
                    <a:pt x="2395" y="1733"/>
                    <a:pt x="2206" y="1733"/>
                  </a:cubicBezTo>
                  <a:cubicBezTo>
                    <a:pt x="2017" y="1733"/>
                    <a:pt x="1860" y="1575"/>
                    <a:pt x="1860" y="1386"/>
                  </a:cubicBezTo>
                  <a:cubicBezTo>
                    <a:pt x="1860" y="1197"/>
                    <a:pt x="2017" y="1040"/>
                    <a:pt x="2206" y="1040"/>
                  </a:cubicBezTo>
                  <a:close/>
                  <a:moveTo>
                    <a:pt x="4317" y="1040"/>
                  </a:moveTo>
                  <a:cubicBezTo>
                    <a:pt x="4538" y="1040"/>
                    <a:pt x="4695" y="1197"/>
                    <a:pt x="4695" y="1386"/>
                  </a:cubicBezTo>
                  <a:cubicBezTo>
                    <a:pt x="4695" y="1575"/>
                    <a:pt x="4538" y="1733"/>
                    <a:pt x="4317" y="1733"/>
                  </a:cubicBezTo>
                  <a:cubicBezTo>
                    <a:pt x="4128" y="1733"/>
                    <a:pt x="3971" y="1575"/>
                    <a:pt x="3971" y="1386"/>
                  </a:cubicBezTo>
                  <a:cubicBezTo>
                    <a:pt x="3971" y="1197"/>
                    <a:pt x="4128" y="1040"/>
                    <a:pt x="4317" y="1040"/>
                  </a:cubicBezTo>
                  <a:close/>
                  <a:moveTo>
                    <a:pt x="1765" y="0"/>
                  </a:moveTo>
                  <a:lnTo>
                    <a:pt x="284" y="504"/>
                  </a:lnTo>
                  <a:cubicBezTo>
                    <a:pt x="127" y="914"/>
                    <a:pt x="1" y="1355"/>
                    <a:pt x="1" y="1764"/>
                  </a:cubicBezTo>
                  <a:cubicBezTo>
                    <a:pt x="1" y="2174"/>
                    <a:pt x="64" y="2521"/>
                    <a:pt x="190" y="2867"/>
                  </a:cubicBezTo>
                  <a:cubicBezTo>
                    <a:pt x="253" y="2851"/>
                    <a:pt x="300" y="2843"/>
                    <a:pt x="347" y="2843"/>
                  </a:cubicBezTo>
                  <a:cubicBezTo>
                    <a:pt x="395" y="2843"/>
                    <a:pt x="442" y="2851"/>
                    <a:pt x="505" y="2867"/>
                  </a:cubicBezTo>
                  <a:lnTo>
                    <a:pt x="1765" y="3497"/>
                  </a:lnTo>
                  <a:lnTo>
                    <a:pt x="2836" y="2962"/>
                  </a:lnTo>
                  <a:lnTo>
                    <a:pt x="2836" y="2458"/>
                  </a:lnTo>
                  <a:cubicBezTo>
                    <a:pt x="2836" y="2237"/>
                    <a:pt x="2994" y="2079"/>
                    <a:pt x="3183" y="2079"/>
                  </a:cubicBezTo>
                  <a:cubicBezTo>
                    <a:pt x="3403" y="2079"/>
                    <a:pt x="3561" y="2237"/>
                    <a:pt x="3561" y="2458"/>
                  </a:cubicBezTo>
                  <a:lnTo>
                    <a:pt x="3561" y="2962"/>
                  </a:lnTo>
                  <a:lnTo>
                    <a:pt x="4695" y="3497"/>
                  </a:lnTo>
                  <a:lnTo>
                    <a:pt x="5955" y="2867"/>
                  </a:lnTo>
                  <a:cubicBezTo>
                    <a:pt x="6003" y="2851"/>
                    <a:pt x="6050" y="2843"/>
                    <a:pt x="6101" y="2843"/>
                  </a:cubicBezTo>
                  <a:cubicBezTo>
                    <a:pt x="6152" y="2843"/>
                    <a:pt x="6207" y="2851"/>
                    <a:pt x="6270" y="2867"/>
                  </a:cubicBezTo>
                  <a:cubicBezTo>
                    <a:pt x="6365" y="2521"/>
                    <a:pt x="6459" y="2174"/>
                    <a:pt x="6459" y="1764"/>
                  </a:cubicBezTo>
                  <a:cubicBezTo>
                    <a:pt x="6459" y="1323"/>
                    <a:pt x="6365" y="914"/>
                    <a:pt x="6176" y="504"/>
                  </a:cubicBezTo>
                  <a:lnTo>
                    <a:pt x="4695" y="0"/>
                  </a:lnTo>
                  <a:lnTo>
                    <a:pt x="3372" y="630"/>
                  </a:lnTo>
                  <a:cubicBezTo>
                    <a:pt x="3325" y="646"/>
                    <a:pt x="3270" y="654"/>
                    <a:pt x="3214" y="654"/>
                  </a:cubicBezTo>
                  <a:cubicBezTo>
                    <a:pt x="3159" y="654"/>
                    <a:pt x="3104" y="646"/>
                    <a:pt x="3057" y="630"/>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75"/>
            <p:cNvSpPr/>
            <p:nvPr/>
          </p:nvSpPr>
          <p:spPr>
            <a:xfrm>
              <a:off x="-18211200" y="4084200"/>
              <a:ext cx="185125" cy="71700"/>
            </a:xfrm>
            <a:custGeom>
              <a:avLst/>
              <a:gdLst/>
              <a:ahLst/>
              <a:cxnLst/>
              <a:rect l="l" t="t" r="r" b="b"/>
              <a:pathLst>
                <a:path w="7405" h="2868" extrusionOk="0">
                  <a:moveTo>
                    <a:pt x="3718" y="1"/>
                  </a:moveTo>
                  <a:cubicBezTo>
                    <a:pt x="2301" y="1"/>
                    <a:pt x="914" y="1040"/>
                    <a:pt x="1" y="2868"/>
                  </a:cubicBezTo>
                  <a:lnTo>
                    <a:pt x="2175" y="2143"/>
                  </a:lnTo>
                  <a:cubicBezTo>
                    <a:pt x="2206" y="2127"/>
                    <a:pt x="2246" y="2119"/>
                    <a:pt x="2293" y="2119"/>
                  </a:cubicBezTo>
                  <a:cubicBezTo>
                    <a:pt x="2340" y="2119"/>
                    <a:pt x="2395" y="2127"/>
                    <a:pt x="2458" y="2143"/>
                  </a:cubicBezTo>
                  <a:lnTo>
                    <a:pt x="3718" y="2773"/>
                  </a:lnTo>
                  <a:lnTo>
                    <a:pt x="4979" y="2143"/>
                  </a:lnTo>
                  <a:cubicBezTo>
                    <a:pt x="5010" y="2127"/>
                    <a:pt x="5057" y="2119"/>
                    <a:pt x="5105" y="2119"/>
                  </a:cubicBezTo>
                  <a:cubicBezTo>
                    <a:pt x="5152" y="2119"/>
                    <a:pt x="5199" y="2127"/>
                    <a:pt x="5231" y="2143"/>
                  </a:cubicBezTo>
                  <a:lnTo>
                    <a:pt x="7404" y="2868"/>
                  </a:lnTo>
                  <a:cubicBezTo>
                    <a:pt x="6491" y="1040"/>
                    <a:pt x="513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0" name="Google Shape;8660;p75"/>
          <p:cNvGrpSpPr/>
          <p:nvPr/>
        </p:nvGrpSpPr>
        <p:grpSpPr>
          <a:xfrm>
            <a:off x="2366751" y="3341641"/>
            <a:ext cx="449325" cy="450470"/>
            <a:chOff x="-16419350" y="3308400"/>
            <a:chExt cx="304050" cy="304825"/>
          </a:xfrm>
        </p:grpSpPr>
        <p:sp>
          <p:nvSpPr>
            <p:cNvPr id="8661" name="Google Shape;8661;p75"/>
            <p:cNvSpPr/>
            <p:nvPr/>
          </p:nvSpPr>
          <p:spPr>
            <a:xfrm>
              <a:off x="-16222450" y="3344625"/>
              <a:ext cx="53600" cy="67775"/>
            </a:xfrm>
            <a:custGeom>
              <a:avLst/>
              <a:gdLst/>
              <a:ahLst/>
              <a:cxnLst/>
              <a:rect l="l" t="t" r="r" b="b"/>
              <a:pathLst>
                <a:path w="2144" h="2711" extrusionOk="0">
                  <a:moveTo>
                    <a:pt x="1072" y="1"/>
                  </a:moveTo>
                  <a:cubicBezTo>
                    <a:pt x="473" y="1"/>
                    <a:pt x="1" y="473"/>
                    <a:pt x="1" y="1072"/>
                  </a:cubicBezTo>
                  <a:cubicBezTo>
                    <a:pt x="1" y="1576"/>
                    <a:pt x="284" y="1954"/>
                    <a:pt x="725" y="2112"/>
                  </a:cubicBezTo>
                  <a:lnTo>
                    <a:pt x="725" y="2710"/>
                  </a:lnTo>
                  <a:cubicBezTo>
                    <a:pt x="946" y="2584"/>
                    <a:pt x="1198" y="2521"/>
                    <a:pt x="1419" y="2427"/>
                  </a:cubicBezTo>
                  <a:lnTo>
                    <a:pt x="1419" y="2080"/>
                  </a:lnTo>
                  <a:cubicBezTo>
                    <a:pt x="1860" y="1923"/>
                    <a:pt x="2143" y="1544"/>
                    <a:pt x="2143" y="1072"/>
                  </a:cubicBezTo>
                  <a:cubicBezTo>
                    <a:pt x="2143" y="473"/>
                    <a:pt x="167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2" name="Google Shape;8662;p75"/>
            <p:cNvSpPr/>
            <p:nvPr/>
          </p:nvSpPr>
          <p:spPr>
            <a:xfrm>
              <a:off x="-16365000" y="3346200"/>
              <a:ext cx="52800" cy="66975"/>
            </a:xfrm>
            <a:custGeom>
              <a:avLst/>
              <a:gdLst/>
              <a:ahLst/>
              <a:cxnLst/>
              <a:rect l="l" t="t" r="r" b="b"/>
              <a:pathLst>
                <a:path w="2112" h="2679" extrusionOk="0">
                  <a:moveTo>
                    <a:pt x="1072" y="1"/>
                  </a:moveTo>
                  <a:cubicBezTo>
                    <a:pt x="473" y="1"/>
                    <a:pt x="0" y="473"/>
                    <a:pt x="0" y="1072"/>
                  </a:cubicBezTo>
                  <a:cubicBezTo>
                    <a:pt x="0" y="1513"/>
                    <a:pt x="284" y="1891"/>
                    <a:pt x="694" y="2049"/>
                  </a:cubicBezTo>
                  <a:lnTo>
                    <a:pt x="694" y="2395"/>
                  </a:lnTo>
                  <a:cubicBezTo>
                    <a:pt x="946" y="2490"/>
                    <a:pt x="1166" y="2553"/>
                    <a:pt x="1418" y="2679"/>
                  </a:cubicBezTo>
                  <a:lnTo>
                    <a:pt x="1418" y="2080"/>
                  </a:lnTo>
                  <a:cubicBezTo>
                    <a:pt x="1859" y="1923"/>
                    <a:pt x="2111" y="1544"/>
                    <a:pt x="2111" y="1072"/>
                  </a:cubicBezTo>
                  <a:cubicBezTo>
                    <a:pt x="2111"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5"/>
            <p:cNvSpPr/>
            <p:nvPr/>
          </p:nvSpPr>
          <p:spPr>
            <a:xfrm>
              <a:off x="-16419350" y="3417100"/>
              <a:ext cx="142575" cy="160700"/>
            </a:xfrm>
            <a:custGeom>
              <a:avLst/>
              <a:gdLst/>
              <a:ahLst/>
              <a:cxnLst/>
              <a:rect l="l" t="t" r="r" b="b"/>
              <a:pathLst>
                <a:path w="5703" h="6428" extrusionOk="0">
                  <a:moveTo>
                    <a:pt x="347" y="0"/>
                  </a:moveTo>
                  <a:cubicBezTo>
                    <a:pt x="158" y="0"/>
                    <a:pt x="1" y="158"/>
                    <a:pt x="1" y="347"/>
                  </a:cubicBezTo>
                  <a:lnTo>
                    <a:pt x="1" y="1071"/>
                  </a:lnTo>
                  <a:cubicBezTo>
                    <a:pt x="1" y="4033"/>
                    <a:pt x="2395" y="6427"/>
                    <a:pt x="5356" y="6427"/>
                  </a:cubicBezTo>
                  <a:lnTo>
                    <a:pt x="5703" y="6427"/>
                  </a:lnTo>
                  <a:lnTo>
                    <a:pt x="5703" y="4001"/>
                  </a:lnTo>
                  <a:cubicBezTo>
                    <a:pt x="5703" y="2773"/>
                    <a:pt x="5073" y="1575"/>
                    <a:pt x="4065" y="914"/>
                  </a:cubicBezTo>
                  <a:cubicBezTo>
                    <a:pt x="3277" y="378"/>
                    <a:pt x="2206"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75"/>
            <p:cNvSpPr/>
            <p:nvPr/>
          </p:nvSpPr>
          <p:spPr>
            <a:xfrm>
              <a:off x="-16258675" y="3417100"/>
              <a:ext cx="143375" cy="161475"/>
            </a:xfrm>
            <a:custGeom>
              <a:avLst/>
              <a:gdLst/>
              <a:ahLst/>
              <a:cxnLst/>
              <a:rect l="l" t="t" r="r" b="b"/>
              <a:pathLst>
                <a:path w="5735" h="6459" extrusionOk="0">
                  <a:moveTo>
                    <a:pt x="4632" y="0"/>
                  </a:moveTo>
                  <a:cubicBezTo>
                    <a:pt x="3529" y="0"/>
                    <a:pt x="2521" y="347"/>
                    <a:pt x="1702" y="914"/>
                  </a:cubicBezTo>
                  <a:cubicBezTo>
                    <a:pt x="631" y="1575"/>
                    <a:pt x="1" y="2773"/>
                    <a:pt x="1" y="4033"/>
                  </a:cubicBezTo>
                  <a:lnTo>
                    <a:pt x="1" y="6459"/>
                  </a:lnTo>
                  <a:lnTo>
                    <a:pt x="347" y="6459"/>
                  </a:lnTo>
                  <a:cubicBezTo>
                    <a:pt x="3309" y="6459"/>
                    <a:pt x="5703" y="4064"/>
                    <a:pt x="5703" y="1103"/>
                  </a:cubicBezTo>
                  <a:lnTo>
                    <a:pt x="5703" y="410"/>
                  </a:lnTo>
                  <a:cubicBezTo>
                    <a:pt x="5735" y="158"/>
                    <a:pt x="5577"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75"/>
            <p:cNvSpPr/>
            <p:nvPr/>
          </p:nvSpPr>
          <p:spPr>
            <a:xfrm>
              <a:off x="-16310650" y="3308400"/>
              <a:ext cx="86650" cy="155975"/>
            </a:xfrm>
            <a:custGeom>
              <a:avLst/>
              <a:gdLst/>
              <a:ahLst/>
              <a:cxnLst/>
              <a:rect l="l" t="t" r="r" b="b"/>
              <a:pathLst>
                <a:path w="3466" h="6239" extrusionOk="0">
                  <a:moveTo>
                    <a:pt x="1733" y="1"/>
                  </a:moveTo>
                  <a:cubicBezTo>
                    <a:pt x="1134" y="1"/>
                    <a:pt x="662" y="473"/>
                    <a:pt x="662" y="1040"/>
                  </a:cubicBezTo>
                  <a:cubicBezTo>
                    <a:pt x="662" y="1513"/>
                    <a:pt x="977" y="1922"/>
                    <a:pt x="1355" y="2080"/>
                  </a:cubicBezTo>
                  <a:lnTo>
                    <a:pt x="1355" y="3088"/>
                  </a:lnTo>
                  <a:cubicBezTo>
                    <a:pt x="1103" y="3340"/>
                    <a:pt x="504" y="3844"/>
                    <a:pt x="0" y="4600"/>
                  </a:cubicBezTo>
                  <a:cubicBezTo>
                    <a:pt x="662" y="5041"/>
                    <a:pt x="1260" y="5577"/>
                    <a:pt x="1733" y="6238"/>
                  </a:cubicBezTo>
                  <a:cubicBezTo>
                    <a:pt x="2206" y="5577"/>
                    <a:pt x="2773" y="5041"/>
                    <a:pt x="3466" y="4600"/>
                  </a:cubicBezTo>
                  <a:cubicBezTo>
                    <a:pt x="2930" y="3844"/>
                    <a:pt x="2363" y="3340"/>
                    <a:pt x="2080" y="3088"/>
                  </a:cubicBezTo>
                  <a:lnTo>
                    <a:pt x="2080" y="2080"/>
                  </a:lnTo>
                  <a:cubicBezTo>
                    <a:pt x="2521" y="1922"/>
                    <a:pt x="2773" y="1513"/>
                    <a:pt x="2773" y="1040"/>
                  </a:cubicBezTo>
                  <a:cubicBezTo>
                    <a:pt x="2773" y="473"/>
                    <a:pt x="230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5"/>
            <p:cNvSpPr/>
            <p:nvPr/>
          </p:nvSpPr>
          <p:spPr>
            <a:xfrm>
              <a:off x="-16327975" y="3589575"/>
              <a:ext cx="51200" cy="23650"/>
            </a:xfrm>
            <a:custGeom>
              <a:avLst/>
              <a:gdLst/>
              <a:ahLst/>
              <a:cxnLst/>
              <a:rect l="l" t="t" r="r" b="b"/>
              <a:pathLst>
                <a:path w="2048" h="946" extrusionOk="0">
                  <a:moveTo>
                    <a:pt x="0" y="1"/>
                  </a:moveTo>
                  <a:lnTo>
                    <a:pt x="0" y="1"/>
                  </a:lnTo>
                  <a:cubicBezTo>
                    <a:pt x="221" y="536"/>
                    <a:pt x="725" y="946"/>
                    <a:pt x="1355" y="946"/>
                  </a:cubicBezTo>
                  <a:lnTo>
                    <a:pt x="1481" y="946"/>
                  </a:lnTo>
                  <a:cubicBezTo>
                    <a:pt x="1827" y="914"/>
                    <a:pt x="2048" y="631"/>
                    <a:pt x="2048" y="316"/>
                  </a:cubicBezTo>
                  <a:lnTo>
                    <a:pt x="2048" y="253"/>
                  </a:lnTo>
                  <a:lnTo>
                    <a:pt x="1701" y="253"/>
                  </a:lnTo>
                  <a:cubicBezTo>
                    <a:pt x="1103" y="253"/>
                    <a:pt x="567"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75"/>
            <p:cNvSpPr/>
            <p:nvPr/>
          </p:nvSpPr>
          <p:spPr>
            <a:xfrm>
              <a:off x="-16258675" y="3589575"/>
              <a:ext cx="51225" cy="23650"/>
            </a:xfrm>
            <a:custGeom>
              <a:avLst/>
              <a:gdLst/>
              <a:ahLst/>
              <a:cxnLst/>
              <a:rect l="l" t="t" r="r" b="b"/>
              <a:pathLst>
                <a:path w="2049" h="946" extrusionOk="0">
                  <a:moveTo>
                    <a:pt x="2048" y="1"/>
                  </a:moveTo>
                  <a:lnTo>
                    <a:pt x="2048" y="1"/>
                  </a:lnTo>
                  <a:cubicBezTo>
                    <a:pt x="1481" y="158"/>
                    <a:pt x="946" y="253"/>
                    <a:pt x="347" y="253"/>
                  </a:cubicBezTo>
                  <a:lnTo>
                    <a:pt x="1" y="253"/>
                  </a:lnTo>
                  <a:cubicBezTo>
                    <a:pt x="1" y="631"/>
                    <a:pt x="284" y="946"/>
                    <a:pt x="662" y="946"/>
                  </a:cubicBezTo>
                  <a:lnTo>
                    <a:pt x="694" y="946"/>
                  </a:lnTo>
                  <a:cubicBezTo>
                    <a:pt x="1324" y="946"/>
                    <a:pt x="1859" y="568"/>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8" name="Google Shape;8668;p75"/>
          <p:cNvGrpSpPr/>
          <p:nvPr/>
        </p:nvGrpSpPr>
        <p:grpSpPr>
          <a:xfrm>
            <a:off x="4638306" y="3340423"/>
            <a:ext cx="395755" cy="452872"/>
            <a:chOff x="-16401225" y="3683275"/>
            <a:chExt cx="267800" cy="306450"/>
          </a:xfrm>
        </p:grpSpPr>
        <p:sp>
          <p:nvSpPr>
            <p:cNvPr id="8669" name="Google Shape;8669;p75"/>
            <p:cNvSpPr/>
            <p:nvPr/>
          </p:nvSpPr>
          <p:spPr>
            <a:xfrm>
              <a:off x="-16257875" y="3826650"/>
              <a:ext cx="70900" cy="72500"/>
            </a:xfrm>
            <a:custGeom>
              <a:avLst/>
              <a:gdLst/>
              <a:ahLst/>
              <a:cxnLst/>
              <a:rect l="l" t="t" r="r" b="b"/>
              <a:pathLst>
                <a:path w="2836" h="2900" extrusionOk="0">
                  <a:moveTo>
                    <a:pt x="567" y="1"/>
                  </a:moveTo>
                  <a:cubicBezTo>
                    <a:pt x="630" y="158"/>
                    <a:pt x="725" y="347"/>
                    <a:pt x="725" y="568"/>
                  </a:cubicBezTo>
                  <a:cubicBezTo>
                    <a:pt x="725" y="631"/>
                    <a:pt x="662" y="725"/>
                    <a:pt x="630" y="788"/>
                  </a:cubicBezTo>
                  <a:lnTo>
                    <a:pt x="0" y="1576"/>
                  </a:lnTo>
                  <a:cubicBezTo>
                    <a:pt x="32" y="2332"/>
                    <a:pt x="662" y="2899"/>
                    <a:pt x="1418" y="2899"/>
                  </a:cubicBezTo>
                  <a:cubicBezTo>
                    <a:pt x="2205" y="2899"/>
                    <a:pt x="2836" y="2269"/>
                    <a:pt x="2836" y="1481"/>
                  </a:cubicBezTo>
                  <a:cubicBezTo>
                    <a:pt x="2836" y="631"/>
                    <a:pt x="22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75"/>
            <p:cNvSpPr/>
            <p:nvPr/>
          </p:nvSpPr>
          <p:spPr>
            <a:xfrm>
              <a:off x="-16275200" y="3832375"/>
              <a:ext cx="16550" cy="16350"/>
            </a:xfrm>
            <a:custGeom>
              <a:avLst/>
              <a:gdLst/>
              <a:ahLst/>
              <a:cxnLst/>
              <a:rect l="l" t="t" r="r" b="b"/>
              <a:pathLst>
                <a:path w="662" h="654" extrusionOk="0">
                  <a:moveTo>
                    <a:pt x="319" y="0"/>
                  </a:moveTo>
                  <a:cubicBezTo>
                    <a:pt x="173" y="0"/>
                    <a:pt x="32" y="71"/>
                    <a:pt x="0" y="213"/>
                  </a:cubicBezTo>
                  <a:lnTo>
                    <a:pt x="347" y="654"/>
                  </a:lnTo>
                  <a:lnTo>
                    <a:pt x="662" y="213"/>
                  </a:lnTo>
                  <a:cubicBezTo>
                    <a:pt x="614" y="71"/>
                    <a:pt x="465" y="0"/>
                    <a:pt x="3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75"/>
            <p:cNvSpPr/>
            <p:nvPr/>
          </p:nvSpPr>
          <p:spPr>
            <a:xfrm>
              <a:off x="-16347675" y="3825875"/>
              <a:ext cx="70900" cy="70900"/>
            </a:xfrm>
            <a:custGeom>
              <a:avLst/>
              <a:gdLst/>
              <a:ahLst/>
              <a:cxnLst/>
              <a:rect l="l" t="t" r="r" b="b"/>
              <a:pathLst>
                <a:path w="2836" h="2836" extrusionOk="0">
                  <a:moveTo>
                    <a:pt x="1418" y="0"/>
                  </a:moveTo>
                  <a:cubicBezTo>
                    <a:pt x="631" y="0"/>
                    <a:pt x="1" y="630"/>
                    <a:pt x="1" y="1418"/>
                  </a:cubicBezTo>
                  <a:cubicBezTo>
                    <a:pt x="1" y="2205"/>
                    <a:pt x="631" y="2836"/>
                    <a:pt x="1418" y="2836"/>
                  </a:cubicBezTo>
                  <a:cubicBezTo>
                    <a:pt x="2174" y="2836"/>
                    <a:pt x="2773" y="2237"/>
                    <a:pt x="2836" y="1544"/>
                  </a:cubicBezTo>
                  <a:lnTo>
                    <a:pt x="2206" y="788"/>
                  </a:lnTo>
                  <a:cubicBezTo>
                    <a:pt x="2174" y="725"/>
                    <a:pt x="2143" y="630"/>
                    <a:pt x="2143" y="536"/>
                  </a:cubicBezTo>
                  <a:cubicBezTo>
                    <a:pt x="2143" y="347"/>
                    <a:pt x="2174" y="158"/>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5"/>
            <p:cNvSpPr/>
            <p:nvPr/>
          </p:nvSpPr>
          <p:spPr>
            <a:xfrm>
              <a:off x="-16338225" y="3907775"/>
              <a:ext cx="35475" cy="81950"/>
            </a:xfrm>
            <a:custGeom>
              <a:avLst/>
              <a:gdLst/>
              <a:ahLst/>
              <a:cxnLst/>
              <a:rect l="l" t="t" r="r" b="b"/>
              <a:pathLst>
                <a:path w="1419" h="3278" extrusionOk="0">
                  <a:moveTo>
                    <a:pt x="1" y="1"/>
                  </a:moveTo>
                  <a:lnTo>
                    <a:pt x="1" y="1796"/>
                  </a:lnTo>
                  <a:cubicBezTo>
                    <a:pt x="1" y="2206"/>
                    <a:pt x="158" y="2553"/>
                    <a:pt x="410" y="2836"/>
                  </a:cubicBezTo>
                  <a:cubicBezTo>
                    <a:pt x="694" y="3120"/>
                    <a:pt x="1040" y="3277"/>
                    <a:pt x="1418" y="3277"/>
                  </a:cubicBezTo>
                  <a:lnTo>
                    <a:pt x="1418" y="347"/>
                  </a:lnTo>
                  <a:cubicBezTo>
                    <a:pt x="1292" y="379"/>
                    <a:pt x="1166" y="379"/>
                    <a:pt x="1103" y="379"/>
                  </a:cubicBezTo>
                  <a:cubicBezTo>
                    <a:pt x="662" y="316"/>
                    <a:pt x="25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75"/>
            <p:cNvSpPr/>
            <p:nvPr/>
          </p:nvSpPr>
          <p:spPr>
            <a:xfrm>
              <a:off x="-16231900" y="3906200"/>
              <a:ext cx="35475" cy="81150"/>
            </a:xfrm>
            <a:custGeom>
              <a:avLst/>
              <a:gdLst/>
              <a:ahLst/>
              <a:cxnLst/>
              <a:rect l="l" t="t" r="r" b="b"/>
              <a:pathLst>
                <a:path w="1419" h="3246" extrusionOk="0">
                  <a:moveTo>
                    <a:pt x="1419" y="1"/>
                  </a:moveTo>
                  <a:cubicBezTo>
                    <a:pt x="1135" y="253"/>
                    <a:pt x="725" y="379"/>
                    <a:pt x="347" y="379"/>
                  </a:cubicBezTo>
                  <a:cubicBezTo>
                    <a:pt x="221" y="379"/>
                    <a:pt x="95" y="379"/>
                    <a:pt x="1" y="316"/>
                  </a:cubicBezTo>
                  <a:lnTo>
                    <a:pt x="1" y="3246"/>
                  </a:lnTo>
                  <a:cubicBezTo>
                    <a:pt x="788" y="3246"/>
                    <a:pt x="1419" y="2584"/>
                    <a:pt x="1419" y="1796"/>
                  </a:cubicBezTo>
                  <a:lnTo>
                    <a:pt x="14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75"/>
            <p:cNvSpPr/>
            <p:nvPr/>
          </p:nvSpPr>
          <p:spPr>
            <a:xfrm>
              <a:off x="-16285450" y="3891250"/>
              <a:ext cx="35475" cy="59875"/>
            </a:xfrm>
            <a:custGeom>
              <a:avLst/>
              <a:gdLst/>
              <a:ahLst/>
              <a:cxnLst/>
              <a:rect l="l" t="t" r="r" b="b"/>
              <a:pathLst>
                <a:path w="1419" h="2395" extrusionOk="0">
                  <a:moveTo>
                    <a:pt x="725" y="0"/>
                  </a:moveTo>
                  <a:cubicBezTo>
                    <a:pt x="505" y="252"/>
                    <a:pt x="284" y="504"/>
                    <a:pt x="0" y="662"/>
                  </a:cubicBezTo>
                  <a:lnTo>
                    <a:pt x="0" y="2268"/>
                  </a:lnTo>
                  <a:cubicBezTo>
                    <a:pt x="252" y="2363"/>
                    <a:pt x="473" y="2394"/>
                    <a:pt x="725" y="2394"/>
                  </a:cubicBezTo>
                  <a:cubicBezTo>
                    <a:pt x="946" y="2394"/>
                    <a:pt x="1198" y="2363"/>
                    <a:pt x="1418" y="2268"/>
                  </a:cubicBezTo>
                  <a:lnTo>
                    <a:pt x="1418" y="662"/>
                  </a:lnTo>
                  <a:cubicBezTo>
                    <a:pt x="1135" y="504"/>
                    <a:pt x="914" y="315"/>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75"/>
            <p:cNvSpPr/>
            <p:nvPr/>
          </p:nvSpPr>
          <p:spPr>
            <a:xfrm>
              <a:off x="-16401225" y="3683275"/>
              <a:ext cx="267800" cy="249725"/>
            </a:xfrm>
            <a:custGeom>
              <a:avLst/>
              <a:gdLst/>
              <a:ahLst/>
              <a:cxnLst/>
              <a:rect l="l" t="t" r="r" b="b"/>
              <a:pathLst>
                <a:path w="10712" h="9989" extrusionOk="0">
                  <a:moveTo>
                    <a:pt x="3214" y="2900"/>
                  </a:moveTo>
                  <a:cubicBezTo>
                    <a:pt x="3403" y="2900"/>
                    <a:pt x="3560" y="3058"/>
                    <a:pt x="3560" y="3278"/>
                  </a:cubicBezTo>
                  <a:cubicBezTo>
                    <a:pt x="3560" y="3467"/>
                    <a:pt x="3403" y="3625"/>
                    <a:pt x="3214" y="3625"/>
                  </a:cubicBezTo>
                  <a:cubicBezTo>
                    <a:pt x="3025" y="3625"/>
                    <a:pt x="2867" y="3467"/>
                    <a:pt x="2867" y="3278"/>
                  </a:cubicBezTo>
                  <a:cubicBezTo>
                    <a:pt x="2867" y="3058"/>
                    <a:pt x="3025" y="2900"/>
                    <a:pt x="3214" y="2900"/>
                  </a:cubicBezTo>
                  <a:close/>
                  <a:moveTo>
                    <a:pt x="7498" y="2900"/>
                  </a:moveTo>
                  <a:cubicBezTo>
                    <a:pt x="7719" y="2900"/>
                    <a:pt x="7876" y="3058"/>
                    <a:pt x="7876" y="3278"/>
                  </a:cubicBezTo>
                  <a:cubicBezTo>
                    <a:pt x="7876" y="3467"/>
                    <a:pt x="7719" y="3625"/>
                    <a:pt x="7498" y="3625"/>
                  </a:cubicBezTo>
                  <a:cubicBezTo>
                    <a:pt x="7309" y="3625"/>
                    <a:pt x="7152" y="3467"/>
                    <a:pt x="7152" y="3278"/>
                  </a:cubicBezTo>
                  <a:cubicBezTo>
                    <a:pt x="7152" y="3058"/>
                    <a:pt x="7309" y="2900"/>
                    <a:pt x="7498" y="2900"/>
                  </a:cubicBezTo>
                  <a:close/>
                  <a:moveTo>
                    <a:pt x="5322" y="0"/>
                  </a:moveTo>
                  <a:cubicBezTo>
                    <a:pt x="5281" y="0"/>
                    <a:pt x="5240" y="1"/>
                    <a:pt x="5199" y="2"/>
                  </a:cubicBezTo>
                  <a:cubicBezTo>
                    <a:pt x="2300" y="65"/>
                    <a:pt x="0" y="2585"/>
                    <a:pt x="0" y="5578"/>
                  </a:cubicBezTo>
                  <a:lnTo>
                    <a:pt x="0" y="8225"/>
                  </a:lnTo>
                  <a:cubicBezTo>
                    <a:pt x="0" y="9201"/>
                    <a:pt x="788" y="9989"/>
                    <a:pt x="1764" y="9989"/>
                  </a:cubicBezTo>
                  <a:lnTo>
                    <a:pt x="1764" y="8319"/>
                  </a:lnTo>
                  <a:cubicBezTo>
                    <a:pt x="1512" y="7941"/>
                    <a:pt x="1418" y="7563"/>
                    <a:pt x="1418" y="7122"/>
                  </a:cubicBezTo>
                  <a:cubicBezTo>
                    <a:pt x="1418" y="5956"/>
                    <a:pt x="2363" y="5011"/>
                    <a:pt x="3529" y="5011"/>
                  </a:cubicBezTo>
                  <a:lnTo>
                    <a:pt x="7089" y="5011"/>
                  </a:lnTo>
                  <a:cubicBezTo>
                    <a:pt x="8255" y="5011"/>
                    <a:pt x="9200" y="5956"/>
                    <a:pt x="9200" y="7122"/>
                  </a:cubicBezTo>
                  <a:cubicBezTo>
                    <a:pt x="9200" y="7563"/>
                    <a:pt x="9074" y="7941"/>
                    <a:pt x="8853" y="8319"/>
                  </a:cubicBezTo>
                  <a:lnTo>
                    <a:pt x="8853" y="9989"/>
                  </a:lnTo>
                  <a:cubicBezTo>
                    <a:pt x="9830" y="9989"/>
                    <a:pt x="10617" y="9201"/>
                    <a:pt x="10617" y="8225"/>
                  </a:cubicBezTo>
                  <a:lnTo>
                    <a:pt x="10617" y="5389"/>
                  </a:lnTo>
                  <a:cubicBezTo>
                    <a:pt x="10712" y="3940"/>
                    <a:pt x="10113" y="2554"/>
                    <a:pt x="9074" y="1546"/>
                  </a:cubicBezTo>
                  <a:cubicBezTo>
                    <a:pt x="8063" y="535"/>
                    <a:pt x="6754" y="0"/>
                    <a:pt x="53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6" name="Google Shape;8676;p75"/>
          <p:cNvGrpSpPr/>
          <p:nvPr/>
        </p:nvGrpSpPr>
        <p:grpSpPr>
          <a:xfrm>
            <a:off x="8003755" y="2797062"/>
            <a:ext cx="450470" cy="448180"/>
            <a:chOff x="-16419350" y="4058200"/>
            <a:chExt cx="304825" cy="303275"/>
          </a:xfrm>
        </p:grpSpPr>
        <p:sp>
          <p:nvSpPr>
            <p:cNvPr id="8677" name="Google Shape;8677;p75"/>
            <p:cNvSpPr/>
            <p:nvPr/>
          </p:nvSpPr>
          <p:spPr>
            <a:xfrm>
              <a:off x="-16347675" y="4202350"/>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5"/>
            <p:cNvSpPr/>
            <p:nvPr/>
          </p:nvSpPr>
          <p:spPr>
            <a:xfrm>
              <a:off x="-16400450" y="416690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75"/>
            <p:cNvSpPr/>
            <p:nvPr/>
          </p:nvSpPr>
          <p:spPr>
            <a:xfrm>
              <a:off x="-16389425" y="4058200"/>
              <a:ext cx="220575" cy="106950"/>
            </a:xfrm>
            <a:custGeom>
              <a:avLst/>
              <a:gdLst/>
              <a:ahLst/>
              <a:cxnLst/>
              <a:rect l="l" t="t" r="r" b="b"/>
              <a:pathLst>
                <a:path w="8823" h="4278" extrusionOk="0">
                  <a:moveTo>
                    <a:pt x="6621" y="0"/>
                  </a:moveTo>
                  <a:cubicBezTo>
                    <a:pt x="6312" y="0"/>
                    <a:pt x="6008" y="97"/>
                    <a:pt x="5766" y="285"/>
                  </a:cubicBezTo>
                  <a:cubicBezTo>
                    <a:pt x="5703" y="348"/>
                    <a:pt x="5609" y="411"/>
                    <a:pt x="5546" y="474"/>
                  </a:cubicBezTo>
                  <a:cubicBezTo>
                    <a:pt x="5451" y="411"/>
                    <a:pt x="5388" y="316"/>
                    <a:pt x="5294" y="285"/>
                  </a:cubicBezTo>
                  <a:cubicBezTo>
                    <a:pt x="5057" y="111"/>
                    <a:pt x="4758" y="25"/>
                    <a:pt x="4459" y="25"/>
                  </a:cubicBezTo>
                  <a:cubicBezTo>
                    <a:pt x="4159" y="25"/>
                    <a:pt x="3860" y="111"/>
                    <a:pt x="3624" y="285"/>
                  </a:cubicBezTo>
                  <a:cubicBezTo>
                    <a:pt x="3529" y="348"/>
                    <a:pt x="3466" y="411"/>
                    <a:pt x="3372" y="474"/>
                  </a:cubicBezTo>
                  <a:cubicBezTo>
                    <a:pt x="3309" y="411"/>
                    <a:pt x="3214" y="316"/>
                    <a:pt x="3151" y="285"/>
                  </a:cubicBezTo>
                  <a:cubicBezTo>
                    <a:pt x="2915" y="101"/>
                    <a:pt x="2618" y="10"/>
                    <a:pt x="2316" y="10"/>
                  </a:cubicBezTo>
                  <a:cubicBezTo>
                    <a:pt x="1894" y="10"/>
                    <a:pt x="1460" y="188"/>
                    <a:pt x="1166" y="537"/>
                  </a:cubicBezTo>
                  <a:cubicBezTo>
                    <a:pt x="1103" y="631"/>
                    <a:pt x="1072" y="757"/>
                    <a:pt x="977" y="820"/>
                  </a:cubicBezTo>
                  <a:cubicBezTo>
                    <a:pt x="1" y="1356"/>
                    <a:pt x="1" y="2931"/>
                    <a:pt x="1103" y="3435"/>
                  </a:cubicBezTo>
                  <a:cubicBezTo>
                    <a:pt x="1166" y="3624"/>
                    <a:pt x="1356" y="3876"/>
                    <a:pt x="1513" y="3971"/>
                  </a:cubicBezTo>
                  <a:cubicBezTo>
                    <a:pt x="1781" y="4144"/>
                    <a:pt x="2088" y="4231"/>
                    <a:pt x="2387" y="4231"/>
                  </a:cubicBezTo>
                  <a:cubicBezTo>
                    <a:pt x="2687" y="4231"/>
                    <a:pt x="2978" y="4144"/>
                    <a:pt x="3214" y="3971"/>
                  </a:cubicBezTo>
                  <a:cubicBezTo>
                    <a:pt x="3277" y="3939"/>
                    <a:pt x="3356" y="3923"/>
                    <a:pt x="3435" y="3923"/>
                  </a:cubicBezTo>
                  <a:cubicBezTo>
                    <a:pt x="3514" y="3923"/>
                    <a:pt x="3592" y="3939"/>
                    <a:pt x="3655" y="3971"/>
                  </a:cubicBezTo>
                  <a:cubicBezTo>
                    <a:pt x="3907" y="4175"/>
                    <a:pt x="4215" y="4278"/>
                    <a:pt x="4518" y="4278"/>
                  </a:cubicBezTo>
                  <a:cubicBezTo>
                    <a:pt x="4821" y="4278"/>
                    <a:pt x="5120" y="4175"/>
                    <a:pt x="5357" y="3971"/>
                  </a:cubicBezTo>
                  <a:cubicBezTo>
                    <a:pt x="5404" y="3939"/>
                    <a:pt x="5483" y="3923"/>
                    <a:pt x="5561" y="3923"/>
                  </a:cubicBezTo>
                  <a:cubicBezTo>
                    <a:pt x="5640" y="3923"/>
                    <a:pt x="5719" y="3939"/>
                    <a:pt x="5766" y="3971"/>
                  </a:cubicBezTo>
                  <a:cubicBezTo>
                    <a:pt x="6018" y="4166"/>
                    <a:pt x="6312" y="4256"/>
                    <a:pt x="6604" y="4256"/>
                  </a:cubicBezTo>
                  <a:cubicBezTo>
                    <a:pt x="7114" y="4256"/>
                    <a:pt x="7616" y="3979"/>
                    <a:pt x="7877" y="3498"/>
                  </a:cubicBezTo>
                  <a:cubicBezTo>
                    <a:pt x="7909" y="3435"/>
                    <a:pt x="7940" y="3404"/>
                    <a:pt x="8035" y="3341"/>
                  </a:cubicBezTo>
                  <a:cubicBezTo>
                    <a:pt x="8507" y="3120"/>
                    <a:pt x="8822" y="2616"/>
                    <a:pt x="8728" y="1986"/>
                  </a:cubicBezTo>
                  <a:cubicBezTo>
                    <a:pt x="8696" y="1576"/>
                    <a:pt x="8507" y="1198"/>
                    <a:pt x="8129" y="946"/>
                  </a:cubicBezTo>
                  <a:cubicBezTo>
                    <a:pt x="8066" y="915"/>
                    <a:pt x="8035" y="883"/>
                    <a:pt x="7940" y="820"/>
                  </a:cubicBezTo>
                  <a:cubicBezTo>
                    <a:pt x="7909" y="694"/>
                    <a:pt x="7814" y="631"/>
                    <a:pt x="7751" y="537"/>
                  </a:cubicBezTo>
                  <a:cubicBezTo>
                    <a:pt x="7462" y="175"/>
                    <a:pt x="7038" y="0"/>
                    <a:pt x="6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75"/>
            <p:cNvSpPr/>
            <p:nvPr/>
          </p:nvSpPr>
          <p:spPr>
            <a:xfrm>
              <a:off x="-16298850" y="4178725"/>
              <a:ext cx="41000" cy="47275"/>
            </a:xfrm>
            <a:custGeom>
              <a:avLst/>
              <a:gdLst/>
              <a:ahLst/>
              <a:cxnLst/>
              <a:rect l="l" t="t" r="r" b="b"/>
              <a:pathLst>
                <a:path w="1640" h="1891" extrusionOk="0">
                  <a:moveTo>
                    <a:pt x="1" y="0"/>
                  </a:moveTo>
                  <a:cubicBezTo>
                    <a:pt x="158" y="252"/>
                    <a:pt x="221" y="630"/>
                    <a:pt x="221" y="945"/>
                  </a:cubicBezTo>
                  <a:cubicBezTo>
                    <a:pt x="221" y="1292"/>
                    <a:pt x="158" y="1607"/>
                    <a:pt x="1" y="1891"/>
                  </a:cubicBezTo>
                  <a:cubicBezTo>
                    <a:pt x="473" y="1733"/>
                    <a:pt x="946" y="1670"/>
                    <a:pt x="1419" y="1670"/>
                  </a:cubicBezTo>
                  <a:cubicBezTo>
                    <a:pt x="1576" y="1450"/>
                    <a:pt x="1639" y="1197"/>
                    <a:pt x="1639" y="945"/>
                  </a:cubicBezTo>
                  <a:cubicBezTo>
                    <a:pt x="1639" y="662"/>
                    <a:pt x="1576" y="378"/>
                    <a:pt x="1419" y="158"/>
                  </a:cubicBezTo>
                  <a:cubicBezTo>
                    <a:pt x="1272" y="187"/>
                    <a:pt x="1120" y="201"/>
                    <a:pt x="967" y="201"/>
                  </a:cubicBezTo>
                  <a:cubicBezTo>
                    <a:pt x="626" y="201"/>
                    <a:pt x="284" y="13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75"/>
            <p:cNvSpPr/>
            <p:nvPr/>
          </p:nvSpPr>
          <p:spPr>
            <a:xfrm>
              <a:off x="-16246075" y="4178725"/>
              <a:ext cx="41775" cy="55150"/>
            </a:xfrm>
            <a:custGeom>
              <a:avLst/>
              <a:gdLst/>
              <a:ahLst/>
              <a:cxnLst/>
              <a:rect l="l" t="t" r="r" b="b"/>
              <a:pathLst>
                <a:path w="1671" h="2206" extrusionOk="0">
                  <a:moveTo>
                    <a:pt x="1" y="0"/>
                  </a:moveTo>
                  <a:lnTo>
                    <a:pt x="1" y="0"/>
                  </a:lnTo>
                  <a:cubicBezTo>
                    <a:pt x="158" y="252"/>
                    <a:pt x="253" y="630"/>
                    <a:pt x="253" y="945"/>
                  </a:cubicBezTo>
                  <a:cubicBezTo>
                    <a:pt x="253" y="1197"/>
                    <a:pt x="190" y="1481"/>
                    <a:pt x="95" y="1765"/>
                  </a:cubicBezTo>
                  <a:cubicBezTo>
                    <a:pt x="505" y="1828"/>
                    <a:pt x="914" y="1954"/>
                    <a:pt x="1292" y="2206"/>
                  </a:cubicBezTo>
                  <a:cubicBezTo>
                    <a:pt x="1576" y="1891"/>
                    <a:pt x="1670" y="1355"/>
                    <a:pt x="1670" y="945"/>
                  </a:cubicBezTo>
                  <a:cubicBezTo>
                    <a:pt x="1670" y="662"/>
                    <a:pt x="1576" y="378"/>
                    <a:pt x="1418" y="158"/>
                  </a:cubicBezTo>
                  <a:cubicBezTo>
                    <a:pt x="1261" y="189"/>
                    <a:pt x="1103" y="221"/>
                    <a:pt x="946" y="221"/>
                  </a:cubicBezTo>
                  <a:cubicBezTo>
                    <a:pt x="631" y="221"/>
                    <a:pt x="316"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75"/>
            <p:cNvSpPr/>
            <p:nvPr/>
          </p:nvSpPr>
          <p:spPr>
            <a:xfrm>
              <a:off x="-16419350" y="4122000"/>
              <a:ext cx="304050" cy="188725"/>
            </a:xfrm>
            <a:custGeom>
              <a:avLst/>
              <a:gdLst/>
              <a:ahLst/>
              <a:cxnLst/>
              <a:rect l="l" t="t" r="r" b="b"/>
              <a:pathLst>
                <a:path w="12162" h="7549" extrusionOk="0">
                  <a:moveTo>
                    <a:pt x="10712" y="1"/>
                  </a:moveTo>
                  <a:cubicBezTo>
                    <a:pt x="10586" y="600"/>
                    <a:pt x="10271" y="1135"/>
                    <a:pt x="9736" y="1450"/>
                  </a:cubicBezTo>
                  <a:cubicBezTo>
                    <a:pt x="9578" y="1734"/>
                    <a:pt x="9326" y="1986"/>
                    <a:pt x="9074" y="2143"/>
                  </a:cubicBezTo>
                  <a:cubicBezTo>
                    <a:pt x="9263" y="2458"/>
                    <a:pt x="9326" y="2805"/>
                    <a:pt x="9326" y="3183"/>
                  </a:cubicBezTo>
                  <a:cubicBezTo>
                    <a:pt x="9326" y="4065"/>
                    <a:pt x="9011" y="4821"/>
                    <a:pt x="8507" y="5168"/>
                  </a:cubicBezTo>
                  <a:cubicBezTo>
                    <a:pt x="8444" y="5199"/>
                    <a:pt x="8373" y="5215"/>
                    <a:pt x="8306" y="5215"/>
                  </a:cubicBezTo>
                  <a:cubicBezTo>
                    <a:pt x="8239" y="5215"/>
                    <a:pt x="8176" y="5199"/>
                    <a:pt x="8129" y="5168"/>
                  </a:cubicBezTo>
                  <a:cubicBezTo>
                    <a:pt x="7515" y="4805"/>
                    <a:pt x="6814" y="4624"/>
                    <a:pt x="6124" y="4624"/>
                  </a:cubicBezTo>
                  <a:cubicBezTo>
                    <a:pt x="5435" y="4624"/>
                    <a:pt x="4758" y="4805"/>
                    <a:pt x="4191" y="5168"/>
                  </a:cubicBezTo>
                  <a:cubicBezTo>
                    <a:pt x="4134" y="5213"/>
                    <a:pt x="4077" y="5230"/>
                    <a:pt x="4022" y="5230"/>
                  </a:cubicBezTo>
                  <a:cubicBezTo>
                    <a:pt x="3924" y="5230"/>
                    <a:pt x="3830" y="5177"/>
                    <a:pt x="3750" y="5136"/>
                  </a:cubicBezTo>
                  <a:cubicBezTo>
                    <a:pt x="3163" y="4757"/>
                    <a:pt x="2501" y="4557"/>
                    <a:pt x="1831" y="4557"/>
                  </a:cubicBezTo>
                  <a:cubicBezTo>
                    <a:pt x="1277" y="4557"/>
                    <a:pt x="717" y="4694"/>
                    <a:pt x="190" y="4979"/>
                  </a:cubicBezTo>
                  <a:cubicBezTo>
                    <a:pt x="95" y="5042"/>
                    <a:pt x="1" y="5168"/>
                    <a:pt x="1" y="5294"/>
                  </a:cubicBezTo>
                  <a:lnTo>
                    <a:pt x="1" y="7436"/>
                  </a:lnTo>
                  <a:cubicBezTo>
                    <a:pt x="316" y="7405"/>
                    <a:pt x="725" y="7247"/>
                    <a:pt x="977" y="7027"/>
                  </a:cubicBezTo>
                  <a:cubicBezTo>
                    <a:pt x="1240" y="6826"/>
                    <a:pt x="1533" y="6723"/>
                    <a:pt x="1823" y="6723"/>
                  </a:cubicBezTo>
                  <a:cubicBezTo>
                    <a:pt x="2124" y="6723"/>
                    <a:pt x="2422" y="6833"/>
                    <a:pt x="2679" y="7058"/>
                  </a:cubicBezTo>
                  <a:cubicBezTo>
                    <a:pt x="3072" y="7373"/>
                    <a:pt x="3529" y="7531"/>
                    <a:pt x="3986" y="7531"/>
                  </a:cubicBezTo>
                  <a:cubicBezTo>
                    <a:pt x="4443" y="7531"/>
                    <a:pt x="4900" y="7373"/>
                    <a:pt x="5293" y="7058"/>
                  </a:cubicBezTo>
                  <a:cubicBezTo>
                    <a:pt x="5545" y="6869"/>
                    <a:pt x="5837" y="6775"/>
                    <a:pt x="6128" y="6775"/>
                  </a:cubicBezTo>
                  <a:cubicBezTo>
                    <a:pt x="6420" y="6775"/>
                    <a:pt x="6711" y="6869"/>
                    <a:pt x="6963" y="7058"/>
                  </a:cubicBezTo>
                  <a:cubicBezTo>
                    <a:pt x="7474" y="7358"/>
                    <a:pt x="7985" y="7549"/>
                    <a:pt x="8524" y="7549"/>
                  </a:cubicBezTo>
                  <a:cubicBezTo>
                    <a:pt x="8948" y="7549"/>
                    <a:pt x="9390" y="7430"/>
                    <a:pt x="9862" y="7153"/>
                  </a:cubicBezTo>
                  <a:cubicBezTo>
                    <a:pt x="11153" y="6428"/>
                    <a:pt x="12162" y="4821"/>
                    <a:pt x="12162" y="3151"/>
                  </a:cubicBezTo>
                  <a:cubicBezTo>
                    <a:pt x="12162" y="1923"/>
                    <a:pt x="11626" y="789"/>
                    <a:pt x="107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3" name="Google Shape;8683;p75"/>
            <p:cNvSpPr/>
            <p:nvPr/>
          </p:nvSpPr>
          <p:spPr>
            <a:xfrm>
              <a:off x="-16419350" y="4263775"/>
              <a:ext cx="304825" cy="97700"/>
            </a:xfrm>
            <a:custGeom>
              <a:avLst/>
              <a:gdLst/>
              <a:ahLst/>
              <a:cxnLst/>
              <a:rect l="l" t="t" r="r" b="b"/>
              <a:pathLst>
                <a:path w="12193" h="3908" extrusionOk="0">
                  <a:moveTo>
                    <a:pt x="12193" y="1"/>
                  </a:moveTo>
                  <a:cubicBezTo>
                    <a:pt x="11689" y="914"/>
                    <a:pt x="10996" y="1639"/>
                    <a:pt x="10208" y="2112"/>
                  </a:cubicBezTo>
                  <a:cubicBezTo>
                    <a:pt x="9626" y="2424"/>
                    <a:pt x="9064" y="2570"/>
                    <a:pt x="8515" y="2570"/>
                  </a:cubicBezTo>
                  <a:cubicBezTo>
                    <a:pt x="7845" y="2570"/>
                    <a:pt x="7194" y="2352"/>
                    <a:pt x="6554" y="1954"/>
                  </a:cubicBezTo>
                  <a:cubicBezTo>
                    <a:pt x="6402" y="1819"/>
                    <a:pt x="6241" y="1756"/>
                    <a:pt x="6085" y="1756"/>
                  </a:cubicBezTo>
                  <a:cubicBezTo>
                    <a:pt x="5951" y="1756"/>
                    <a:pt x="5820" y="1803"/>
                    <a:pt x="5703" y="1891"/>
                  </a:cubicBezTo>
                  <a:cubicBezTo>
                    <a:pt x="5199" y="2316"/>
                    <a:pt x="4592" y="2529"/>
                    <a:pt x="3986" y="2529"/>
                  </a:cubicBezTo>
                  <a:cubicBezTo>
                    <a:pt x="3380" y="2529"/>
                    <a:pt x="2773" y="2316"/>
                    <a:pt x="2269" y="1891"/>
                  </a:cubicBezTo>
                  <a:cubicBezTo>
                    <a:pt x="2143" y="1797"/>
                    <a:pt x="2001" y="1749"/>
                    <a:pt x="1863" y="1749"/>
                  </a:cubicBezTo>
                  <a:cubicBezTo>
                    <a:pt x="1725" y="1749"/>
                    <a:pt x="1592" y="1797"/>
                    <a:pt x="1481" y="1891"/>
                  </a:cubicBezTo>
                  <a:cubicBezTo>
                    <a:pt x="1040" y="2269"/>
                    <a:pt x="505" y="2427"/>
                    <a:pt x="1" y="2490"/>
                  </a:cubicBezTo>
                  <a:lnTo>
                    <a:pt x="1" y="3561"/>
                  </a:lnTo>
                  <a:cubicBezTo>
                    <a:pt x="1" y="3750"/>
                    <a:pt x="158" y="3907"/>
                    <a:pt x="379" y="3907"/>
                  </a:cubicBezTo>
                  <a:lnTo>
                    <a:pt x="11815" y="3907"/>
                  </a:lnTo>
                  <a:cubicBezTo>
                    <a:pt x="12004" y="3907"/>
                    <a:pt x="12193" y="3750"/>
                    <a:pt x="12193" y="3561"/>
                  </a:cubicBezTo>
                  <a:lnTo>
                    <a:pt x="12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4" name="Google Shape;8684;p75"/>
          <p:cNvGrpSpPr/>
          <p:nvPr/>
        </p:nvGrpSpPr>
        <p:grpSpPr>
          <a:xfrm>
            <a:off x="4030643" y="3343080"/>
            <a:ext cx="450507" cy="447589"/>
            <a:chOff x="-15296200" y="3326900"/>
            <a:chExt cx="304850" cy="302875"/>
          </a:xfrm>
        </p:grpSpPr>
        <p:sp>
          <p:nvSpPr>
            <p:cNvPr id="8685" name="Google Shape;8685;p75"/>
            <p:cNvSpPr/>
            <p:nvPr/>
          </p:nvSpPr>
          <p:spPr>
            <a:xfrm>
              <a:off x="-15182775" y="3326900"/>
              <a:ext cx="77200" cy="157175"/>
            </a:xfrm>
            <a:custGeom>
              <a:avLst/>
              <a:gdLst/>
              <a:ahLst/>
              <a:cxnLst/>
              <a:rect l="l" t="t" r="r" b="b"/>
              <a:pathLst>
                <a:path w="3088" h="6287" extrusionOk="0">
                  <a:moveTo>
                    <a:pt x="1556" y="1"/>
                  </a:moveTo>
                  <a:cubicBezTo>
                    <a:pt x="1434" y="1"/>
                    <a:pt x="1308" y="48"/>
                    <a:pt x="1229" y="143"/>
                  </a:cubicBezTo>
                  <a:cubicBezTo>
                    <a:pt x="1198" y="237"/>
                    <a:pt x="410" y="1560"/>
                    <a:pt x="0" y="3451"/>
                  </a:cubicBezTo>
                  <a:cubicBezTo>
                    <a:pt x="630" y="4333"/>
                    <a:pt x="1166" y="5278"/>
                    <a:pt x="1544" y="6286"/>
                  </a:cubicBezTo>
                  <a:cubicBezTo>
                    <a:pt x="1954" y="5309"/>
                    <a:pt x="2458" y="4364"/>
                    <a:pt x="3088" y="3451"/>
                  </a:cubicBezTo>
                  <a:cubicBezTo>
                    <a:pt x="2678" y="1529"/>
                    <a:pt x="1891" y="237"/>
                    <a:pt x="1859" y="143"/>
                  </a:cubicBezTo>
                  <a:cubicBezTo>
                    <a:pt x="1796" y="48"/>
                    <a:pt x="1678" y="1"/>
                    <a:pt x="15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75"/>
            <p:cNvSpPr/>
            <p:nvPr/>
          </p:nvSpPr>
          <p:spPr>
            <a:xfrm>
              <a:off x="-15260825" y="3363175"/>
              <a:ext cx="108800" cy="199650"/>
            </a:xfrm>
            <a:custGeom>
              <a:avLst/>
              <a:gdLst/>
              <a:ahLst/>
              <a:cxnLst/>
              <a:rect l="l" t="t" r="r" b="b"/>
              <a:pathLst>
                <a:path w="4352" h="7986" extrusionOk="0">
                  <a:moveTo>
                    <a:pt x="432" y="1"/>
                  </a:moveTo>
                  <a:cubicBezTo>
                    <a:pt x="212" y="1"/>
                    <a:pt x="0" y="182"/>
                    <a:pt x="66" y="424"/>
                  </a:cubicBezTo>
                  <a:lnTo>
                    <a:pt x="949" y="3638"/>
                  </a:lnTo>
                  <a:cubicBezTo>
                    <a:pt x="1075" y="4047"/>
                    <a:pt x="1201" y="4520"/>
                    <a:pt x="1264" y="4961"/>
                  </a:cubicBezTo>
                  <a:cubicBezTo>
                    <a:pt x="1642" y="5497"/>
                    <a:pt x="2051" y="6001"/>
                    <a:pt x="2587" y="6410"/>
                  </a:cubicBezTo>
                  <a:cubicBezTo>
                    <a:pt x="3406" y="7072"/>
                    <a:pt x="3721" y="7292"/>
                    <a:pt x="4351" y="7986"/>
                  </a:cubicBezTo>
                  <a:lnTo>
                    <a:pt x="4351" y="6064"/>
                  </a:lnTo>
                  <a:cubicBezTo>
                    <a:pt x="4351" y="6001"/>
                    <a:pt x="4351" y="5938"/>
                    <a:pt x="4320" y="5906"/>
                  </a:cubicBezTo>
                  <a:cubicBezTo>
                    <a:pt x="3721" y="4205"/>
                    <a:pt x="2839" y="2693"/>
                    <a:pt x="1705" y="1338"/>
                  </a:cubicBezTo>
                  <a:lnTo>
                    <a:pt x="697" y="109"/>
                  </a:lnTo>
                  <a:cubicBezTo>
                    <a:pt x="621" y="34"/>
                    <a:pt x="526" y="1"/>
                    <a:pt x="4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75"/>
            <p:cNvSpPr/>
            <p:nvPr/>
          </p:nvSpPr>
          <p:spPr>
            <a:xfrm>
              <a:off x="-15135525" y="3362475"/>
              <a:ext cx="109325" cy="200350"/>
            </a:xfrm>
            <a:custGeom>
              <a:avLst/>
              <a:gdLst/>
              <a:ahLst/>
              <a:cxnLst/>
              <a:rect l="l" t="t" r="r" b="b"/>
              <a:pathLst>
                <a:path w="4373" h="8014" extrusionOk="0">
                  <a:moveTo>
                    <a:pt x="3945" y="1"/>
                  </a:moveTo>
                  <a:cubicBezTo>
                    <a:pt x="3846" y="1"/>
                    <a:pt x="3742" y="41"/>
                    <a:pt x="3655" y="137"/>
                  </a:cubicBezTo>
                  <a:lnTo>
                    <a:pt x="2647" y="1366"/>
                  </a:lnTo>
                  <a:cubicBezTo>
                    <a:pt x="1513" y="2721"/>
                    <a:pt x="599" y="4296"/>
                    <a:pt x="32" y="5934"/>
                  </a:cubicBezTo>
                  <a:cubicBezTo>
                    <a:pt x="32" y="5966"/>
                    <a:pt x="1" y="6060"/>
                    <a:pt x="1" y="6092"/>
                  </a:cubicBezTo>
                  <a:lnTo>
                    <a:pt x="1" y="8014"/>
                  </a:lnTo>
                  <a:cubicBezTo>
                    <a:pt x="631" y="7320"/>
                    <a:pt x="914" y="7163"/>
                    <a:pt x="1765" y="6438"/>
                  </a:cubicBezTo>
                  <a:cubicBezTo>
                    <a:pt x="2301" y="6060"/>
                    <a:pt x="2710" y="5525"/>
                    <a:pt x="3088" y="4989"/>
                  </a:cubicBezTo>
                  <a:cubicBezTo>
                    <a:pt x="3151" y="4517"/>
                    <a:pt x="3246" y="4075"/>
                    <a:pt x="3403" y="3666"/>
                  </a:cubicBezTo>
                  <a:lnTo>
                    <a:pt x="4285" y="452"/>
                  </a:lnTo>
                  <a:cubicBezTo>
                    <a:pt x="4373" y="211"/>
                    <a:pt x="4171" y="1"/>
                    <a:pt x="3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75"/>
            <p:cNvSpPr/>
            <p:nvPr/>
          </p:nvSpPr>
          <p:spPr>
            <a:xfrm>
              <a:off x="-15296200" y="3416600"/>
              <a:ext cx="143375" cy="213175"/>
            </a:xfrm>
            <a:custGeom>
              <a:avLst/>
              <a:gdLst/>
              <a:ahLst/>
              <a:cxnLst/>
              <a:rect l="l" t="t" r="r" b="b"/>
              <a:pathLst>
                <a:path w="5735" h="8527" extrusionOk="0">
                  <a:moveTo>
                    <a:pt x="346" y="0"/>
                  </a:moveTo>
                  <a:cubicBezTo>
                    <a:pt x="170" y="0"/>
                    <a:pt x="1" y="123"/>
                    <a:pt x="1" y="335"/>
                  </a:cubicBezTo>
                  <a:lnTo>
                    <a:pt x="1" y="3171"/>
                  </a:lnTo>
                  <a:cubicBezTo>
                    <a:pt x="1" y="6132"/>
                    <a:pt x="2458" y="8526"/>
                    <a:pt x="5357" y="8526"/>
                  </a:cubicBezTo>
                  <a:lnTo>
                    <a:pt x="5735" y="8526"/>
                  </a:lnTo>
                  <a:lnTo>
                    <a:pt x="5735" y="7581"/>
                  </a:lnTo>
                  <a:cubicBezTo>
                    <a:pt x="5735" y="7172"/>
                    <a:pt x="5577" y="6731"/>
                    <a:pt x="5262" y="6384"/>
                  </a:cubicBezTo>
                  <a:cubicBezTo>
                    <a:pt x="4695" y="5723"/>
                    <a:pt x="4254" y="5471"/>
                    <a:pt x="3529" y="4840"/>
                  </a:cubicBezTo>
                  <a:cubicBezTo>
                    <a:pt x="2584" y="4084"/>
                    <a:pt x="1828" y="3108"/>
                    <a:pt x="1387" y="2005"/>
                  </a:cubicBezTo>
                  <a:lnTo>
                    <a:pt x="694" y="241"/>
                  </a:lnTo>
                  <a:cubicBezTo>
                    <a:pt x="625" y="75"/>
                    <a:pt x="483" y="0"/>
                    <a:pt x="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75"/>
            <p:cNvSpPr/>
            <p:nvPr/>
          </p:nvSpPr>
          <p:spPr>
            <a:xfrm>
              <a:off x="-15134725" y="3416100"/>
              <a:ext cx="143375" cy="213675"/>
            </a:xfrm>
            <a:custGeom>
              <a:avLst/>
              <a:gdLst/>
              <a:ahLst/>
              <a:cxnLst/>
              <a:rect l="l" t="t" r="r" b="b"/>
              <a:pathLst>
                <a:path w="5735" h="8547" extrusionOk="0">
                  <a:moveTo>
                    <a:pt x="5357" y="1"/>
                  </a:moveTo>
                  <a:cubicBezTo>
                    <a:pt x="5224" y="1"/>
                    <a:pt x="5094" y="71"/>
                    <a:pt x="5041" y="229"/>
                  </a:cubicBezTo>
                  <a:lnTo>
                    <a:pt x="4348" y="2025"/>
                  </a:lnTo>
                  <a:cubicBezTo>
                    <a:pt x="3907" y="3128"/>
                    <a:pt x="3151" y="4104"/>
                    <a:pt x="2206" y="4860"/>
                  </a:cubicBezTo>
                  <a:cubicBezTo>
                    <a:pt x="1481" y="5427"/>
                    <a:pt x="1040" y="5743"/>
                    <a:pt x="473" y="6341"/>
                  </a:cubicBezTo>
                  <a:cubicBezTo>
                    <a:pt x="158" y="6688"/>
                    <a:pt x="0" y="7129"/>
                    <a:pt x="0" y="7601"/>
                  </a:cubicBezTo>
                  <a:lnTo>
                    <a:pt x="0" y="8546"/>
                  </a:lnTo>
                  <a:lnTo>
                    <a:pt x="378" y="8546"/>
                  </a:lnTo>
                  <a:cubicBezTo>
                    <a:pt x="3308" y="8546"/>
                    <a:pt x="5734" y="6152"/>
                    <a:pt x="5734" y="3191"/>
                  </a:cubicBezTo>
                  <a:lnTo>
                    <a:pt x="5734" y="355"/>
                  </a:lnTo>
                  <a:cubicBezTo>
                    <a:pt x="5734" y="136"/>
                    <a:pt x="554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0" name="Google Shape;8690;p75"/>
          <p:cNvGrpSpPr/>
          <p:nvPr/>
        </p:nvGrpSpPr>
        <p:grpSpPr>
          <a:xfrm>
            <a:off x="2946296" y="1706881"/>
            <a:ext cx="486566" cy="414708"/>
            <a:chOff x="-19835275" y="3330250"/>
            <a:chExt cx="329250" cy="280625"/>
          </a:xfrm>
        </p:grpSpPr>
        <p:sp>
          <p:nvSpPr>
            <p:cNvPr id="8691" name="Google Shape;8691;p75"/>
            <p:cNvSpPr/>
            <p:nvPr/>
          </p:nvSpPr>
          <p:spPr>
            <a:xfrm>
              <a:off x="-19768325" y="3361750"/>
              <a:ext cx="197725" cy="249125"/>
            </a:xfrm>
            <a:custGeom>
              <a:avLst/>
              <a:gdLst/>
              <a:ahLst/>
              <a:cxnLst/>
              <a:rect l="l" t="t" r="r" b="b"/>
              <a:pathLst>
                <a:path w="7909" h="9965" extrusionOk="0">
                  <a:moveTo>
                    <a:pt x="3927" y="1"/>
                  </a:moveTo>
                  <a:cubicBezTo>
                    <a:pt x="3797" y="1"/>
                    <a:pt x="3671" y="56"/>
                    <a:pt x="3624" y="166"/>
                  </a:cubicBezTo>
                  <a:lnTo>
                    <a:pt x="1103" y="5302"/>
                  </a:lnTo>
                  <a:cubicBezTo>
                    <a:pt x="1" y="7412"/>
                    <a:pt x="1607" y="9964"/>
                    <a:pt x="3970" y="9964"/>
                  </a:cubicBezTo>
                  <a:cubicBezTo>
                    <a:pt x="6333" y="9964"/>
                    <a:pt x="7908" y="7412"/>
                    <a:pt x="6837" y="5302"/>
                  </a:cubicBezTo>
                  <a:lnTo>
                    <a:pt x="4254" y="166"/>
                  </a:lnTo>
                  <a:cubicBezTo>
                    <a:pt x="4191" y="56"/>
                    <a:pt x="4057" y="1"/>
                    <a:pt x="3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75"/>
            <p:cNvSpPr/>
            <p:nvPr/>
          </p:nvSpPr>
          <p:spPr>
            <a:xfrm>
              <a:off x="-19622625" y="3330250"/>
              <a:ext cx="116600" cy="189250"/>
            </a:xfrm>
            <a:custGeom>
              <a:avLst/>
              <a:gdLst/>
              <a:ahLst/>
              <a:cxnLst/>
              <a:rect l="l" t="t" r="r" b="b"/>
              <a:pathLst>
                <a:path w="4664" h="7570" extrusionOk="0">
                  <a:moveTo>
                    <a:pt x="1683" y="1"/>
                  </a:moveTo>
                  <a:cubicBezTo>
                    <a:pt x="1553" y="1"/>
                    <a:pt x="1419" y="56"/>
                    <a:pt x="1356" y="166"/>
                  </a:cubicBezTo>
                  <a:lnTo>
                    <a:pt x="1" y="2939"/>
                  </a:lnTo>
                  <a:lnTo>
                    <a:pt x="1608" y="6215"/>
                  </a:lnTo>
                  <a:cubicBezTo>
                    <a:pt x="1828" y="6625"/>
                    <a:pt x="1954" y="7097"/>
                    <a:pt x="1986" y="7570"/>
                  </a:cubicBezTo>
                  <a:cubicBezTo>
                    <a:pt x="3687" y="7381"/>
                    <a:pt x="4664" y="5585"/>
                    <a:pt x="3876" y="4010"/>
                  </a:cubicBezTo>
                  <a:lnTo>
                    <a:pt x="1986" y="166"/>
                  </a:lnTo>
                  <a:cubicBezTo>
                    <a:pt x="1938" y="56"/>
                    <a:pt x="1812" y="1"/>
                    <a:pt x="16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75"/>
            <p:cNvSpPr/>
            <p:nvPr/>
          </p:nvSpPr>
          <p:spPr>
            <a:xfrm>
              <a:off x="-19835275" y="3330250"/>
              <a:ext cx="116600" cy="189250"/>
            </a:xfrm>
            <a:custGeom>
              <a:avLst/>
              <a:gdLst/>
              <a:ahLst/>
              <a:cxnLst/>
              <a:rect l="l" t="t" r="r" b="b"/>
              <a:pathLst>
                <a:path w="4664" h="7570" extrusionOk="0">
                  <a:moveTo>
                    <a:pt x="2982" y="1"/>
                  </a:moveTo>
                  <a:cubicBezTo>
                    <a:pt x="2852" y="1"/>
                    <a:pt x="2726" y="56"/>
                    <a:pt x="2679" y="166"/>
                  </a:cubicBezTo>
                  <a:lnTo>
                    <a:pt x="788" y="4010"/>
                  </a:lnTo>
                  <a:cubicBezTo>
                    <a:pt x="1" y="5522"/>
                    <a:pt x="977" y="7381"/>
                    <a:pt x="2679" y="7570"/>
                  </a:cubicBezTo>
                  <a:cubicBezTo>
                    <a:pt x="2710" y="7097"/>
                    <a:pt x="2868" y="6593"/>
                    <a:pt x="3057" y="6152"/>
                  </a:cubicBezTo>
                  <a:lnTo>
                    <a:pt x="4663" y="2876"/>
                  </a:lnTo>
                  <a:lnTo>
                    <a:pt x="3309" y="166"/>
                  </a:lnTo>
                  <a:cubicBezTo>
                    <a:pt x="3246" y="56"/>
                    <a:pt x="3112" y="1"/>
                    <a:pt x="29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4" name="Google Shape;8694;p75"/>
          <p:cNvGrpSpPr/>
          <p:nvPr/>
        </p:nvGrpSpPr>
        <p:grpSpPr>
          <a:xfrm>
            <a:off x="2964325" y="2243470"/>
            <a:ext cx="450507" cy="449547"/>
            <a:chOff x="-19822675" y="3692750"/>
            <a:chExt cx="304850" cy="304200"/>
          </a:xfrm>
        </p:grpSpPr>
        <p:sp>
          <p:nvSpPr>
            <p:cNvPr id="8695" name="Google Shape;8695;p75"/>
            <p:cNvSpPr/>
            <p:nvPr/>
          </p:nvSpPr>
          <p:spPr>
            <a:xfrm>
              <a:off x="-19715550" y="3692750"/>
              <a:ext cx="90600" cy="60675"/>
            </a:xfrm>
            <a:custGeom>
              <a:avLst/>
              <a:gdLst/>
              <a:ahLst/>
              <a:cxnLst/>
              <a:rect l="l" t="t" r="r" b="b"/>
              <a:pathLst>
                <a:path w="3624" h="2427" extrusionOk="0">
                  <a:moveTo>
                    <a:pt x="441" y="1"/>
                  </a:moveTo>
                  <a:cubicBezTo>
                    <a:pt x="252" y="1"/>
                    <a:pt x="95" y="158"/>
                    <a:pt x="95" y="379"/>
                  </a:cubicBezTo>
                  <a:cubicBezTo>
                    <a:pt x="0" y="946"/>
                    <a:pt x="315" y="1482"/>
                    <a:pt x="756" y="1828"/>
                  </a:cubicBezTo>
                  <a:cubicBezTo>
                    <a:pt x="567" y="1986"/>
                    <a:pt x="347" y="2175"/>
                    <a:pt x="252" y="2427"/>
                  </a:cubicBezTo>
                  <a:cubicBezTo>
                    <a:pt x="756" y="2269"/>
                    <a:pt x="1261" y="2175"/>
                    <a:pt x="1828" y="2175"/>
                  </a:cubicBezTo>
                  <a:cubicBezTo>
                    <a:pt x="2363" y="2175"/>
                    <a:pt x="2867" y="2238"/>
                    <a:pt x="3403" y="2427"/>
                  </a:cubicBezTo>
                  <a:cubicBezTo>
                    <a:pt x="3277" y="2175"/>
                    <a:pt x="3088" y="1986"/>
                    <a:pt x="2867" y="1828"/>
                  </a:cubicBezTo>
                  <a:cubicBezTo>
                    <a:pt x="3308" y="1513"/>
                    <a:pt x="3623" y="946"/>
                    <a:pt x="3623" y="379"/>
                  </a:cubicBezTo>
                  <a:cubicBezTo>
                    <a:pt x="3623" y="158"/>
                    <a:pt x="3466" y="1"/>
                    <a:pt x="3277" y="1"/>
                  </a:cubicBezTo>
                  <a:cubicBezTo>
                    <a:pt x="3088" y="1"/>
                    <a:pt x="2930" y="158"/>
                    <a:pt x="2930" y="379"/>
                  </a:cubicBezTo>
                  <a:cubicBezTo>
                    <a:pt x="2930" y="946"/>
                    <a:pt x="2458" y="1482"/>
                    <a:pt x="1859" y="1482"/>
                  </a:cubicBezTo>
                  <a:cubicBezTo>
                    <a:pt x="1261" y="1482"/>
                    <a:pt x="788" y="946"/>
                    <a:pt x="788" y="379"/>
                  </a:cubicBezTo>
                  <a:cubicBezTo>
                    <a:pt x="788" y="158"/>
                    <a:pt x="630"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5"/>
            <p:cNvSpPr/>
            <p:nvPr/>
          </p:nvSpPr>
          <p:spPr>
            <a:xfrm>
              <a:off x="-19660425" y="3766200"/>
              <a:ext cx="142600" cy="230750"/>
            </a:xfrm>
            <a:custGeom>
              <a:avLst/>
              <a:gdLst/>
              <a:ahLst/>
              <a:cxnLst/>
              <a:rect l="l" t="t" r="r" b="b"/>
              <a:pathLst>
                <a:path w="5704" h="9230" extrusionOk="0">
                  <a:moveTo>
                    <a:pt x="1733" y="3521"/>
                  </a:moveTo>
                  <a:cubicBezTo>
                    <a:pt x="1922" y="3521"/>
                    <a:pt x="2080" y="3679"/>
                    <a:pt x="2080" y="3899"/>
                  </a:cubicBezTo>
                  <a:cubicBezTo>
                    <a:pt x="2080" y="4088"/>
                    <a:pt x="1922" y="4246"/>
                    <a:pt x="1733" y="4246"/>
                  </a:cubicBezTo>
                  <a:cubicBezTo>
                    <a:pt x="1544" y="4246"/>
                    <a:pt x="1387" y="4088"/>
                    <a:pt x="1387" y="3899"/>
                  </a:cubicBezTo>
                  <a:cubicBezTo>
                    <a:pt x="1387" y="3679"/>
                    <a:pt x="1544" y="3521"/>
                    <a:pt x="1733" y="3521"/>
                  </a:cubicBezTo>
                  <a:close/>
                  <a:moveTo>
                    <a:pt x="2080" y="4939"/>
                  </a:moveTo>
                  <a:cubicBezTo>
                    <a:pt x="2490" y="4939"/>
                    <a:pt x="2805" y="5254"/>
                    <a:pt x="2805" y="5664"/>
                  </a:cubicBezTo>
                  <a:cubicBezTo>
                    <a:pt x="2805" y="6042"/>
                    <a:pt x="2490" y="6357"/>
                    <a:pt x="2080" y="6357"/>
                  </a:cubicBezTo>
                  <a:cubicBezTo>
                    <a:pt x="1702" y="6357"/>
                    <a:pt x="1387" y="6042"/>
                    <a:pt x="1387" y="5664"/>
                  </a:cubicBezTo>
                  <a:cubicBezTo>
                    <a:pt x="1387" y="5254"/>
                    <a:pt x="1702" y="4939"/>
                    <a:pt x="2080" y="4939"/>
                  </a:cubicBezTo>
                  <a:close/>
                  <a:moveTo>
                    <a:pt x="5346" y="0"/>
                  </a:moveTo>
                  <a:cubicBezTo>
                    <a:pt x="5207" y="0"/>
                    <a:pt x="5057" y="65"/>
                    <a:pt x="5010" y="182"/>
                  </a:cubicBezTo>
                  <a:lnTo>
                    <a:pt x="4348" y="1474"/>
                  </a:lnTo>
                  <a:lnTo>
                    <a:pt x="3309" y="1883"/>
                  </a:lnTo>
                  <a:cubicBezTo>
                    <a:pt x="3088" y="1568"/>
                    <a:pt x="2805" y="1253"/>
                    <a:pt x="2490" y="1001"/>
                  </a:cubicBezTo>
                  <a:cubicBezTo>
                    <a:pt x="2017" y="1946"/>
                    <a:pt x="1103" y="2671"/>
                    <a:pt x="1" y="2797"/>
                  </a:cubicBezTo>
                  <a:lnTo>
                    <a:pt x="1387" y="8877"/>
                  </a:lnTo>
                  <a:cubicBezTo>
                    <a:pt x="2175" y="8562"/>
                    <a:pt x="2805" y="8027"/>
                    <a:pt x="3309" y="7365"/>
                  </a:cubicBezTo>
                  <a:lnTo>
                    <a:pt x="4348" y="7743"/>
                  </a:lnTo>
                  <a:lnTo>
                    <a:pt x="5010" y="9035"/>
                  </a:lnTo>
                  <a:cubicBezTo>
                    <a:pt x="5078" y="9149"/>
                    <a:pt x="5213" y="9230"/>
                    <a:pt x="5342" y="9230"/>
                  </a:cubicBezTo>
                  <a:cubicBezTo>
                    <a:pt x="5391" y="9230"/>
                    <a:pt x="5439" y="9218"/>
                    <a:pt x="5483" y="9192"/>
                  </a:cubicBezTo>
                  <a:cubicBezTo>
                    <a:pt x="5640" y="9129"/>
                    <a:pt x="5703" y="8877"/>
                    <a:pt x="5640" y="8720"/>
                  </a:cubicBezTo>
                  <a:lnTo>
                    <a:pt x="4915" y="7270"/>
                  </a:lnTo>
                  <a:cubicBezTo>
                    <a:pt x="4884" y="7207"/>
                    <a:pt x="4821" y="7113"/>
                    <a:pt x="4726" y="7113"/>
                  </a:cubicBezTo>
                  <a:lnTo>
                    <a:pt x="3718" y="6735"/>
                  </a:lnTo>
                  <a:cubicBezTo>
                    <a:pt x="4002" y="6168"/>
                    <a:pt x="4128" y="5569"/>
                    <a:pt x="4222" y="4939"/>
                  </a:cubicBezTo>
                  <a:lnTo>
                    <a:pt x="5325" y="4939"/>
                  </a:lnTo>
                  <a:cubicBezTo>
                    <a:pt x="5514" y="4939"/>
                    <a:pt x="5672" y="4782"/>
                    <a:pt x="5672" y="4592"/>
                  </a:cubicBezTo>
                  <a:cubicBezTo>
                    <a:pt x="5672" y="4403"/>
                    <a:pt x="5514" y="4246"/>
                    <a:pt x="5325" y="4246"/>
                  </a:cubicBezTo>
                  <a:lnTo>
                    <a:pt x="4222" y="4246"/>
                  </a:lnTo>
                  <a:cubicBezTo>
                    <a:pt x="4191" y="3616"/>
                    <a:pt x="4002" y="2986"/>
                    <a:pt x="3718" y="2482"/>
                  </a:cubicBezTo>
                  <a:lnTo>
                    <a:pt x="4726" y="2072"/>
                  </a:lnTo>
                  <a:cubicBezTo>
                    <a:pt x="4821" y="2041"/>
                    <a:pt x="4884" y="2009"/>
                    <a:pt x="4915" y="1915"/>
                  </a:cubicBezTo>
                  <a:lnTo>
                    <a:pt x="5640" y="497"/>
                  </a:lnTo>
                  <a:cubicBezTo>
                    <a:pt x="5703" y="339"/>
                    <a:pt x="5640" y="119"/>
                    <a:pt x="5483" y="24"/>
                  </a:cubicBezTo>
                  <a:cubicBezTo>
                    <a:pt x="5442" y="8"/>
                    <a:pt x="5395" y="0"/>
                    <a:pt x="5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7" name="Google Shape;8697;p75"/>
            <p:cNvSpPr/>
            <p:nvPr/>
          </p:nvSpPr>
          <p:spPr>
            <a:xfrm>
              <a:off x="-19728150" y="3763650"/>
              <a:ext cx="114225" cy="54375"/>
            </a:xfrm>
            <a:custGeom>
              <a:avLst/>
              <a:gdLst/>
              <a:ahLst/>
              <a:cxnLst/>
              <a:rect l="l" t="t" r="r" b="b"/>
              <a:pathLst>
                <a:path w="4569" h="2175" extrusionOk="0">
                  <a:moveTo>
                    <a:pt x="2269" y="0"/>
                  </a:moveTo>
                  <a:cubicBezTo>
                    <a:pt x="1449" y="0"/>
                    <a:pt x="662" y="252"/>
                    <a:pt x="0" y="630"/>
                  </a:cubicBezTo>
                  <a:cubicBezTo>
                    <a:pt x="126" y="914"/>
                    <a:pt x="315" y="1197"/>
                    <a:pt x="504" y="1418"/>
                  </a:cubicBezTo>
                  <a:cubicBezTo>
                    <a:pt x="977" y="1891"/>
                    <a:pt x="1607" y="2174"/>
                    <a:pt x="2269" y="2174"/>
                  </a:cubicBezTo>
                  <a:cubicBezTo>
                    <a:pt x="3308" y="2174"/>
                    <a:pt x="4222" y="1544"/>
                    <a:pt x="4568" y="630"/>
                  </a:cubicBezTo>
                  <a:cubicBezTo>
                    <a:pt x="3907" y="252"/>
                    <a:pt x="3119" y="0"/>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8" name="Google Shape;8698;p75"/>
            <p:cNvSpPr/>
            <p:nvPr/>
          </p:nvSpPr>
          <p:spPr>
            <a:xfrm>
              <a:off x="-19695075" y="3868400"/>
              <a:ext cx="48075" cy="110300"/>
            </a:xfrm>
            <a:custGeom>
              <a:avLst/>
              <a:gdLst/>
              <a:ahLst/>
              <a:cxnLst/>
              <a:rect l="l" t="t" r="r" b="b"/>
              <a:pathLst>
                <a:path w="1923" h="4412" extrusionOk="0">
                  <a:moveTo>
                    <a:pt x="977" y="0"/>
                  </a:moveTo>
                  <a:lnTo>
                    <a:pt x="0" y="4285"/>
                  </a:lnTo>
                  <a:cubicBezTo>
                    <a:pt x="316" y="4380"/>
                    <a:pt x="631" y="4411"/>
                    <a:pt x="977" y="4411"/>
                  </a:cubicBezTo>
                  <a:cubicBezTo>
                    <a:pt x="1261" y="4411"/>
                    <a:pt x="1576" y="4380"/>
                    <a:pt x="1922" y="4285"/>
                  </a:cubicBez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5"/>
            <p:cNvSpPr/>
            <p:nvPr/>
          </p:nvSpPr>
          <p:spPr>
            <a:xfrm>
              <a:off x="-19822675" y="3764250"/>
              <a:ext cx="142575" cy="229550"/>
            </a:xfrm>
            <a:custGeom>
              <a:avLst/>
              <a:gdLst/>
              <a:ahLst/>
              <a:cxnLst/>
              <a:rect l="l" t="t" r="r" b="b"/>
              <a:pathLst>
                <a:path w="5703" h="9182" extrusionOk="0">
                  <a:moveTo>
                    <a:pt x="3939" y="3599"/>
                  </a:moveTo>
                  <a:cubicBezTo>
                    <a:pt x="4128" y="3599"/>
                    <a:pt x="4285" y="3757"/>
                    <a:pt x="4285" y="3977"/>
                  </a:cubicBezTo>
                  <a:cubicBezTo>
                    <a:pt x="4285" y="4166"/>
                    <a:pt x="4128" y="4324"/>
                    <a:pt x="3939" y="4324"/>
                  </a:cubicBezTo>
                  <a:cubicBezTo>
                    <a:pt x="3750" y="4324"/>
                    <a:pt x="3592" y="4166"/>
                    <a:pt x="3592" y="3977"/>
                  </a:cubicBezTo>
                  <a:cubicBezTo>
                    <a:pt x="3592" y="3757"/>
                    <a:pt x="3750" y="3599"/>
                    <a:pt x="3939" y="3599"/>
                  </a:cubicBezTo>
                  <a:close/>
                  <a:moveTo>
                    <a:pt x="3592" y="5017"/>
                  </a:moveTo>
                  <a:cubicBezTo>
                    <a:pt x="3970" y="5017"/>
                    <a:pt x="4285" y="5332"/>
                    <a:pt x="4285" y="5742"/>
                  </a:cubicBezTo>
                  <a:cubicBezTo>
                    <a:pt x="4285" y="6120"/>
                    <a:pt x="3970" y="6435"/>
                    <a:pt x="3592" y="6435"/>
                  </a:cubicBezTo>
                  <a:cubicBezTo>
                    <a:pt x="3183" y="6435"/>
                    <a:pt x="2868" y="6120"/>
                    <a:pt x="2868" y="5742"/>
                  </a:cubicBezTo>
                  <a:cubicBezTo>
                    <a:pt x="2868" y="5332"/>
                    <a:pt x="3183" y="5017"/>
                    <a:pt x="3592" y="5017"/>
                  </a:cubicBezTo>
                  <a:close/>
                  <a:moveTo>
                    <a:pt x="371" y="1"/>
                  </a:moveTo>
                  <a:cubicBezTo>
                    <a:pt x="318" y="1"/>
                    <a:pt x="266" y="12"/>
                    <a:pt x="221" y="39"/>
                  </a:cubicBezTo>
                  <a:cubicBezTo>
                    <a:pt x="64" y="102"/>
                    <a:pt x="1" y="354"/>
                    <a:pt x="64" y="480"/>
                  </a:cubicBezTo>
                  <a:lnTo>
                    <a:pt x="788" y="1930"/>
                  </a:lnTo>
                  <a:cubicBezTo>
                    <a:pt x="820" y="1993"/>
                    <a:pt x="914" y="2056"/>
                    <a:pt x="977" y="2056"/>
                  </a:cubicBezTo>
                  <a:lnTo>
                    <a:pt x="2017" y="2465"/>
                  </a:lnTo>
                  <a:cubicBezTo>
                    <a:pt x="1733" y="3001"/>
                    <a:pt x="1576" y="3599"/>
                    <a:pt x="1481" y="4229"/>
                  </a:cubicBezTo>
                  <a:lnTo>
                    <a:pt x="379" y="4229"/>
                  </a:lnTo>
                  <a:cubicBezTo>
                    <a:pt x="190" y="4229"/>
                    <a:pt x="32" y="4387"/>
                    <a:pt x="32" y="4576"/>
                  </a:cubicBezTo>
                  <a:cubicBezTo>
                    <a:pt x="32" y="4797"/>
                    <a:pt x="190" y="4954"/>
                    <a:pt x="379" y="4954"/>
                  </a:cubicBezTo>
                  <a:lnTo>
                    <a:pt x="1481" y="4954"/>
                  </a:lnTo>
                  <a:cubicBezTo>
                    <a:pt x="1544" y="5584"/>
                    <a:pt x="1733" y="6151"/>
                    <a:pt x="2017" y="6718"/>
                  </a:cubicBezTo>
                  <a:lnTo>
                    <a:pt x="977" y="7096"/>
                  </a:lnTo>
                  <a:cubicBezTo>
                    <a:pt x="914" y="7159"/>
                    <a:pt x="820" y="7191"/>
                    <a:pt x="788" y="7254"/>
                  </a:cubicBezTo>
                  <a:lnTo>
                    <a:pt x="64" y="8672"/>
                  </a:lnTo>
                  <a:cubicBezTo>
                    <a:pt x="1" y="8829"/>
                    <a:pt x="64" y="9081"/>
                    <a:pt x="221" y="9144"/>
                  </a:cubicBezTo>
                  <a:cubicBezTo>
                    <a:pt x="282" y="9170"/>
                    <a:pt x="340" y="9182"/>
                    <a:pt x="394" y="9182"/>
                  </a:cubicBezTo>
                  <a:cubicBezTo>
                    <a:pt x="536" y="9182"/>
                    <a:pt x="648" y="9101"/>
                    <a:pt x="694" y="8987"/>
                  </a:cubicBezTo>
                  <a:lnTo>
                    <a:pt x="1387" y="7695"/>
                  </a:lnTo>
                  <a:lnTo>
                    <a:pt x="2395" y="7317"/>
                  </a:lnTo>
                  <a:cubicBezTo>
                    <a:pt x="2868" y="7979"/>
                    <a:pt x="3529" y="8483"/>
                    <a:pt x="4317" y="8829"/>
                  </a:cubicBezTo>
                  <a:lnTo>
                    <a:pt x="5703" y="2749"/>
                  </a:lnTo>
                  <a:cubicBezTo>
                    <a:pt x="4947" y="2749"/>
                    <a:pt x="4285" y="2434"/>
                    <a:pt x="3813" y="1930"/>
                  </a:cubicBezTo>
                  <a:cubicBezTo>
                    <a:pt x="3529" y="1646"/>
                    <a:pt x="3340" y="1362"/>
                    <a:pt x="3214" y="1016"/>
                  </a:cubicBezTo>
                  <a:cubicBezTo>
                    <a:pt x="2899" y="1236"/>
                    <a:pt x="2647" y="1552"/>
                    <a:pt x="2395" y="1867"/>
                  </a:cubicBezTo>
                  <a:lnTo>
                    <a:pt x="1387" y="1489"/>
                  </a:lnTo>
                  <a:lnTo>
                    <a:pt x="694" y="165"/>
                  </a:lnTo>
                  <a:cubicBezTo>
                    <a:pt x="649" y="75"/>
                    <a:pt x="506" y="1"/>
                    <a:pt x="3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0" name="Google Shape;8700;p75"/>
          <p:cNvGrpSpPr/>
          <p:nvPr/>
        </p:nvGrpSpPr>
        <p:grpSpPr>
          <a:xfrm>
            <a:off x="2964916" y="2796278"/>
            <a:ext cx="449325" cy="450470"/>
            <a:chOff x="-19822675" y="4066875"/>
            <a:chExt cx="304050" cy="304825"/>
          </a:xfrm>
        </p:grpSpPr>
        <p:sp>
          <p:nvSpPr>
            <p:cNvPr id="8701" name="Google Shape;8701;p75"/>
            <p:cNvSpPr/>
            <p:nvPr/>
          </p:nvSpPr>
          <p:spPr>
            <a:xfrm>
              <a:off x="-19803775" y="4086925"/>
              <a:ext cx="71700" cy="68975"/>
            </a:xfrm>
            <a:custGeom>
              <a:avLst/>
              <a:gdLst/>
              <a:ahLst/>
              <a:cxnLst/>
              <a:rect l="l" t="t" r="r" b="b"/>
              <a:pathLst>
                <a:path w="2868" h="2759" extrusionOk="0">
                  <a:moveTo>
                    <a:pt x="1829" y="1"/>
                  </a:moveTo>
                  <a:cubicBezTo>
                    <a:pt x="1712" y="1"/>
                    <a:pt x="1595" y="17"/>
                    <a:pt x="1482" y="49"/>
                  </a:cubicBezTo>
                  <a:cubicBezTo>
                    <a:pt x="536" y="270"/>
                    <a:pt x="64" y="1467"/>
                    <a:pt x="1" y="2759"/>
                  </a:cubicBezTo>
                  <a:lnTo>
                    <a:pt x="2143" y="2759"/>
                  </a:lnTo>
                  <a:cubicBezTo>
                    <a:pt x="2238" y="1971"/>
                    <a:pt x="2458" y="1089"/>
                    <a:pt x="2868" y="364"/>
                  </a:cubicBezTo>
                  <a:cubicBezTo>
                    <a:pt x="2517" y="131"/>
                    <a:pt x="2167" y="1"/>
                    <a:pt x="1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5"/>
            <p:cNvSpPr/>
            <p:nvPr/>
          </p:nvSpPr>
          <p:spPr>
            <a:xfrm>
              <a:off x="-19822675" y="4174775"/>
              <a:ext cx="304050" cy="124475"/>
            </a:xfrm>
            <a:custGeom>
              <a:avLst/>
              <a:gdLst/>
              <a:ahLst/>
              <a:cxnLst/>
              <a:rect l="l" t="t" r="r" b="b"/>
              <a:pathLst>
                <a:path w="12162" h="4979" extrusionOk="0">
                  <a:moveTo>
                    <a:pt x="3939" y="1450"/>
                  </a:moveTo>
                  <a:cubicBezTo>
                    <a:pt x="4128" y="1450"/>
                    <a:pt x="4285" y="1608"/>
                    <a:pt x="4285" y="1797"/>
                  </a:cubicBezTo>
                  <a:cubicBezTo>
                    <a:pt x="4285" y="1986"/>
                    <a:pt x="4128" y="2143"/>
                    <a:pt x="3939" y="2143"/>
                  </a:cubicBezTo>
                  <a:lnTo>
                    <a:pt x="2521" y="2143"/>
                  </a:lnTo>
                  <a:cubicBezTo>
                    <a:pt x="2332" y="2143"/>
                    <a:pt x="2175" y="1986"/>
                    <a:pt x="2175" y="1797"/>
                  </a:cubicBezTo>
                  <a:cubicBezTo>
                    <a:pt x="2175" y="1608"/>
                    <a:pt x="2332" y="1450"/>
                    <a:pt x="2521" y="1450"/>
                  </a:cubicBezTo>
                  <a:close/>
                  <a:moveTo>
                    <a:pt x="6774" y="1450"/>
                  </a:moveTo>
                  <a:cubicBezTo>
                    <a:pt x="6963" y="1450"/>
                    <a:pt x="7121" y="1608"/>
                    <a:pt x="7121" y="1797"/>
                  </a:cubicBezTo>
                  <a:cubicBezTo>
                    <a:pt x="7121" y="1986"/>
                    <a:pt x="6963" y="2143"/>
                    <a:pt x="6774" y="2143"/>
                  </a:cubicBezTo>
                  <a:lnTo>
                    <a:pt x="5357" y="2143"/>
                  </a:lnTo>
                  <a:cubicBezTo>
                    <a:pt x="5167" y="2143"/>
                    <a:pt x="5010" y="1986"/>
                    <a:pt x="5010" y="1797"/>
                  </a:cubicBezTo>
                  <a:cubicBezTo>
                    <a:pt x="5010" y="1608"/>
                    <a:pt x="5167" y="1450"/>
                    <a:pt x="5357" y="1450"/>
                  </a:cubicBezTo>
                  <a:close/>
                  <a:moveTo>
                    <a:pt x="9641" y="1450"/>
                  </a:moveTo>
                  <a:cubicBezTo>
                    <a:pt x="9830" y="1450"/>
                    <a:pt x="9988" y="1608"/>
                    <a:pt x="9988" y="1797"/>
                  </a:cubicBezTo>
                  <a:cubicBezTo>
                    <a:pt x="9988" y="1986"/>
                    <a:pt x="9830" y="2143"/>
                    <a:pt x="9641" y="2143"/>
                  </a:cubicBezTo>
                  <a:lnTo>
                    <a:pt x="8223" y="2143"/>
                  </a:lnTo>
                  <a:cubicBezTo>
                    <a:pt x="8034" y="2143"/>
                    <a:pt x="7877" y="1986"/>
                    <a:pt x="7877" y="1797"/>
                  </a:cubicBezTo>
                  <a:cubicBezTo>
                    <a:pt x="7877" y="1608"/>
                    <a:pt x="8034" y="1450"/>
                    <a:pt x="8223" y="1450"/>
                  </a:cubicBezTo>
                  <a:close/>
                  <a:moveTo>
                    <a:pt x="5357" y="2868"/>
                  </a:moveTo>
                  <a:cubicBezTo>
                    <a:pt x="5546" y="2868"/>
                    <a:pt x="5703" y="3025"/>
                    <a:pt x="5703" y="3214"/>
                  </a:cubicBezTo>
                  <a:cubicBezTo>
                    <a:pt x="5703" y="3403"/>
                    <a:pt x="5546" y="3561"/>
                    <a:pt x="5357" y="3561"/>
                  </a:cubicBezTo>
                  <a:lnTo>
                    <a:pt x="3939" y="3561"/>
                  </a:lnTo>
                  <a:cubicBezTo>
                    <a:pt x="3750" y="3561"/>
                    <a:pt x="3592" y="3403"/>
                    <a:pt x="3592" y="3214"/>
                  </a:cubicBezTo>
                  <a:cubicBezTo>
                    <a:pt x="3592" y="3025"/>
                    <a:pt x="3750" y="2868"/>
                    <a:pt x="3939" y="2868"/>
                  </a:cubicBezTo>
                  <a:close/>
                  <a:moveTo>
                    <a:pt x="8223" y="2868"/>
                  </a:moveTo>
                  <a:cubicBezTo>
                    <a:pt x="8412" y="2868"/>
                    <a:pt x="8570" y="3025"/>
                    <a:pt x="8570" y="3214"/>
                  </a:cubicBezTo>
                  <a:cubicBezTo>
                    <a:pt x="8570" y="3403"/>
                    <a:pt x="8412" y="3561"/>
                    <a:pt x="8223" y="3561"/>
                  </a:cubicBezTo>
                  <a:lnTo>
                    <a:pt x="6806" y="3561"/>
                  </a:lnTo>
                  <a:cubicBezTo>
                    <a:pt x="6617" y="3561"/>
                    <a:pt x="6459" y="3403"/>
                    <a:pt x="6459" y="3214"/>
                  </a:cubicBezTo>
                  <a:cubicBezTo>
                    <a:pt x="6459" y="3025"/>
                    <a:pt x="6617" y="2868"/>
                    <a:pt x="6806" y="2868"/>
                  </a:cubicBezTo>
                  <a:close/>
                  <a:moveTo>
                    <a:pt x="1072" y="1"/>
                  </a:moveTo>
                  <a:cubicBezTo>
                    <a:pt x="473" y="1"/>
                    <a:pt x="1" y="473"/>
                    <a:pt x="1" y="1040"/>
                  </a:cubicBezTo>
                  <a:cubicBezTo>
                    <a:pt x="1" y="3214"/>
                    <a:pt x="1765" y="4979"/>
                    <a:pt x="3939" y="4979"/>
                  </a:cubicBezTo>
                  <a:lnTo>
                    <a:pt x="8223" y="4979"/>
                  </a:lnTo>
                  <a:cubicBezTo>
                    <a:pt x="10397" y="4979"/>
                    <a:pt x="12162" y="3214"/>
                    <a:pt x="12162" y="1040"/>
                  </a:cubicBezTo>
                  <a:cubicBezTo>
                    <a:pt x="12162" y="473"/>
                    <a:pt x="11689" y="1"/>
                    <a:pt x="1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75"/>
            <p:cNvSpPr/>
            <p:nvPr/>
          </p:nvSpPr>
          <p:spPr>
            <a:xfrm>
              <a:off x="-19732100" y="4066875"/>
              <a:ext cx="122100" cy="89825"/>
            </a:xfrm>
            <a:custGeom>
              <a:avLst/>
              <a:gdLst/>
              <a:ahLst/>
              <a:cxnLst/>
              <a:rect l="l" t="t" r="r" b="b"/>
              <a:pathLst>
                <a:path w="4884" h="3593" extrusionOk="0">
                  <a:moveTo>
                    <a:pt x="2427" y="1"/>
                  </a:moveTo>
                  <a:cubicBezTo>
                    <a:pt x="1229" y="1"/>
                    <a:pt x="190" y="1796"/>
                    <a:pt x="1" y="3592"/>
                  </a:cubicBezTo>
                  <a:lnTo>
                    <a:pt x="4884" y="3592"/>
                  </a:lnTo>
                  <a:cubicBezTo>
                    <a:pt x="4695" y="1796"/>
                    <a:pt x="3687"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75"/>
            <p:cNvSpPr/>
            <p:nvPr/>
          </p:nvSpPr>
          <p:spPr>
            <a:xfrm>
              <a:off x="-19609225" y="4087725"/>
              <a:ext cx="71700" cy="69750"/>
            </a:xfrm>
            <a:custGeom>
              <a:avLst/>
              <a:gdLst/>
              <a:ahLst/>
              <a:cxnLst/>
              <a:rect l="l" t="t" r="r" b="b"/>
              <a:pathLst>
                <a:path w="2868" h="2790" extrusionOk="0">
                  <a:moveTo>
                    <a:pt x="1039" y="0"/>
                  </a:moveTo>
                  <a:cubicBezTo>
                    <a:pt x="701" y="0"/>
                    <a:pt x="351" y="130"/>
                    <a:pt x="1" y="364"/>
                  </a:cubicBezTo>
                  <a:cubicBezTo>
                    <a:pt x="410" y="1120"/>
                    <a:pt x="631" y="1971"/>
                    <a:pt x="725" y="2790"/>
                  </a:cubicBezTo>
                  <a:lnTo>
                    <a:pt x="2867" y="2790"/>
                  </a:lnTo>
                  <a:lnTo>
                    <a:pt x="2867" y="2758"/>
                  </a:lnTo>
                  <a:cubicBezTo>
                    <a:pt x="2804" y="1466"/>
                    <a:pt x="2332" y="269"/>
                    <a:pt x="1387" y="49"/>
                  </a:cubicBezTo>
                  <a:cubicBezTo>
                    <a:pt x="1273" y="16"/>
                    <a:pt x="1157" y="0"/>
                    <a:pt x="10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5"/>
            <p:cNvSpPr/>
            <p:nvPr/>
          </p:nvSpPr>
          <p:spPr>
            <a:xfrm>
              <a:off x="-19643875" y="4308675"/>
              <a:ext cx="70900" cy="44125"/>
            </a:xfrm>
            <a:custGeom>
              <a:avLst/>
              <a:gdLst/>
              <a:ahLst/>
              <a:cxnLst/>
              <a:rect l="l" t="t" r="r" b="b"/>
              <a:pathLst>
                <a:path w="2836" h="1765" extrusionOk="0">
                  <a:moveTo>
                    <a:pt x="2836" y="1"/>
                  </a:moveTo>
                  <a:cubicBezTo>
                    <a:pt x="2300" y="221"/>
                    <a:pt x="1702" y="347"/>
                    <a:pt x="1071" y="347"/>
                  </a:cubicBezTo>
                  <a:lnTo>
                    <a:pt x="63" y="347"/>
                  </a:lnTo>
                  <a:cubicBezTo>
                    <a:pt x="0" y="473"/>
                    <a:pt x="0" y="568"/>
                    <a:pt x="0" y="694"/>
                  </a:cubicBezTo>
                  <a:lnTo>
                    <a:pt x="0" y="1387"/>
                  </a:lnTo>
                  <a:cubicBezTo>
                    <a:pt x="0" y="1607"/>
                    <a:pt x="189" y="1765"/>
                    <a:pt x="378" y="1765"/>
                  </a:cubicBezTo>
                  <a:lnTo>
                    <a:pt x="1071" y="1765"/>
                  </a:lnTo>
                  <a:cubicBezTo>
                    <a:pt x="2048" y="1765"/>
                    <a:pt x="2836" y="977"/>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75"/>
            <p:cNvSpPr/>
            <p:nvPr/>
          </p:nvSpPr>
          <p:spPr>
            <a:xfrm>
              <a:off x="-19581650" y="4292925"/>
              <a:ext cx="63025" cy="78775"/>
            </a:xfrm>
            <a:custGeom>
              <a:avLst/>
              <a:gdLst/>
              <a:ahLst/>
              <a:cxnLst/>
              <a:rect l="l" t="t" r="r" b="b"/>
              <a:pathLst>
                <a:path w="2521" h="3151" extrusionOk="0">
                  <a:moveTo>
                    <a:pt x="1418" y="1"/>
                  </a:moveTo>
                  <a:lnTo>
                    <a:pt x="1071" y="221"/>
                  </a:lnTo>
                  <a:lnTo>
                    <a:pt x="1071" y="631"/>
                  </a:lnTo>
                  <a:cubicBezTo>
                    <a:pt x="1071" y="1450"/>
                    <a:pt x="630" y="2206"/>
                    <a:pt x="0" y="2678"/>
                  </a:cubicBezTo>
                  <a:cubicBezTo>
                    <a:pt x="410" y="2930"/>
                    <a:pt x="945" y="3151"/>
                    <a:pt x="1449" y="3151"/>
                  </a:cubicBezTo>
                  <a:lnTo>
                    <a:pt x="2174" y="3151"/>
                  </a:lnTo>
                  <a:cubicBezTo>
                    <a:pt x="2363" y="3151"/>
                    <a:pt x="2521" y="2993"/>
                    <a:pt x="2521" y="2773"/>
                  </a:cubicBezTo>
                  <a:lnTo>
                    <a:pt x="2521" y="2080"/>
                  </a:lnTo>
                  <a:cubicBezTo>
                    <a:pt x="2521" y="1198"/>
                    <a:pt x="2048" y="473"/>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7" name="Google Shape;8707;p75"/>
          <p:cNvGrpSpPr/>
          <p:nvPr/>
        </p:nvGrpSpPr>
        <p:grpSpPr>
          <a:xfrm>
            <a:off x="5773985" y="1689571"/>
            <a:ext cx="399302" cy="449325"/>
            <a:chOff x="-17878825" y="3334400"/>
            <a:chExt cx="270200" cy="304050"/>
          </a:xfrm>
        </p:grpSpPr>
        <p:sp>
          <p:nvSpPr>
            <p:cNvPr id="8708" name="Google Shape;8708;p75"/>
            <p:cNvSpPr/>
            <p:nvPr/>
          </p:nvSpPr>
          <p:spPr>
            <a:xfrm>
              <a:off x="-17683475" y="3334400"/>
              <a:ext cx="74850" cy="74050"/>
            </a:xfrm>
            <a:custGeom>
              <a:avLst/>
              <a:gdLst/>
              <a:ahLst/>
              <a:cxnLst/>
              <a:rect l="l" t="t" r="r" b="b"/>
              <a:pathLst>
                <a:path w="2994" h="2962" extrusionOk="0">
                  <a:moveTo>
                    <a:pt x="1985" y="0"/>
                  </a:moveTo>
                  <a:cubicBezTo>
                    <a:pt x="1197" y="0"/>
                    <a:pt x="473" y="378"/>
                    <a:pt x="0" y="945"/>
                  </a:cubicBezTo>
                  <a:cubicBezTo>
                    <a:pt x="630" y="1481"/>
                    <a:pt x="1229" y="2174"/>
                    <a:pt x="1670" y="2962"/>
                  </a:cubicBezTo>
                  <a:lnTo>
                    <a:pt x="2867" y="473"/>
                  </a:lnTo>
                  <a:cubicBezTo>
                    <a:pt x="2993" y="252"/>
                    <a:pt x="2836" y="0"/>
                    <a:pt x="25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75"/>
            <p:cNvSpPr/>
            <p:nvPr/>
          </p:nvSpPr>
          <p:spPr>
            <a:xfrm>
              <a:off x="-17752000" y="3513975"/>
              <a:ext cx="16550" cy="16550"/>
            </a:xfrm>
            <a:custGeom>
              <a:avLst/>
              <a:gdLst/>
              <a:ahLst/>
              <a:cxnLst/>
              <a:rect l="l" t="t" r="r" b="b"/>
              <a:pathLst>
                <a:path w="662" h="662" extrusionOk="0">
                  <a:moveTo>
                    <a:pt x="347" y="0"/>
                  </a:moveTo>
                  <a:cubicBezTo>
                    <a:pt x="158" y="0"/>
                    <a:pt x="0" y="158"/>
                    <a:pt x="0" y="347"/>
                  </a:cubicBezTo>
                  <a:cubicBezTo>
                    <a:pt x="0" y="441"/>
                    <a:pt x="158" y="536"/>
                    <a:pt x="347" y="662"/>
                  </a:cubicBezTo>
                  <a:cubicBezTo>
                    <a:pt x="504" y="599"/>
                    <a:pt x="630" y="473"/>
                    <a:pt x="662" y="378"/>
                  </a:cubicBezTo>
                  <a:lnTo>
                    <a:pt x="662" y="284"/>
                  </a:lnTo>
                  <a:cubicBezTo>
                    <a:pt x="630" y="126"/>
                    <a:pt x="50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75"/>
            <p:cNvSpPr/>
            <p:nvPr/>
          </p:nvSpPr>
          <p:spPr>
            <a:xfrm>
              <a:off x="-17860700" y="3405275"/>
              <a:ext cx="107150" cy="206225"/>
            </a:xfrm>
            <a:custGeom>
              <a:avLst/>
              <a:gdLst/>
              <a:ahLst/>
              <a:cxnLst/>
              <a:rect l="l" t="t" r="r" b="b"/>
              <a:pathLst>
                <a:path w="4286" h="8249" extrusionOk="0">
                  <a:moveTo>
                    <a:pt x="2521" y="2931"/>
                  </a:moveTo>
                  <a:cubicBezTo>
                    <a:pt x="2710" y="2931"/>
                    <a:pt x="2867" y="3088"/>
                    <a:pt x="2867" y="3277"/>
                  </a:cubicBezTo>
                  <a:cubicBezTo>
                    <a:pt x="2867" y="3466"/>
                    <a:pt x="2710" y="3624"/>
                    <a:pt x="2521" y="3624"/>
                  </a:cubicBezTo>
                  <a:cubicBezTo>
                    <a:pt x="2332" y="3624"/>
                    <a:pt x="2174" y="3466"/>
                    <a:pt x="2174" y="3277"/>
                  </a:cubicBezTo>
                  <a:cubicBezTo>
                    <a:pt x="2174" y="3088"/>
                    <a:pt x="2332" y="2931"/>
                    <a:pt x="2521" y="2931"/>
                  </a:cubicBezTo>
                  <a:close/>
                  <a:moveTo>
                    <a:pt x="1513" y="1"/>
                  </a:moveTo>
                  <a:cubicBezTo>
                    <a:pt x="568" y="1387"/>
                    <a:pt x="1" y="3246"/>
                    <a:pt x="1" y="4695"/>
                  </a:cubicBezTo>
                  <a:cubicBezTo>
                    <a:pt x="1" y="6113"/>
                    <a:pt x="473" y="7184"/>
                    <a:pt x="1450" y="7845"/>
                  </a:cubicBezTo>
                  <a:cubicBezTo>
                    <a:pt x="1859" y="8112"/>
                    <a:pt x="2328" y="8248"/>
                    <a:pt x="2801" y="8248"/>
                  </a:cubicBezTo>
                  <a:cubicBezTo>
                    <a:pt x="3166" y="8248"/>
                    <a:pt x="3533" y="8167"/>
                    <a:pt x="3876" y="8003"/>
                  </a:cubicBezTo>
                  <a:cubicBezTo>
                    <a:pt x="4128" y="7845"/>
                    <a:pt x="4285" y="7562"/>
                    <a:pt x="4285" y="7310"/>
                  </a:cubicBezTo>
                  <a:lnTo>
                    <a:pt x="4285" y="5608"/>
                  </a:lnTo>
                  <a:cubicBezTo>
                    <a:pt x="4065" y="5451"/>
                    <a:pt x="3718" y="5199"/>
                    <a:pt x="3624" y="4852"/>
                  </a:cubicBezTo>
                  <a:cubicBezTo>
                    <a:pt x="3592" y="4821"/>
                    <a:pt x="3592" y="4726"/>
                    <a:pt x="3592" y="4695"/>
                  </a:cubicBezTo>
                  <a:lnTo>
                    <a:pt x="3592" y="2300"/>
                  </a:lnTo>
                  <a:cubicBezTo>
                    <a:pt x="3592" y="1670"/>
                    <a:pt x="3277" y="1103"/>
                    <a:pt x="2773" y="788"/>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75"/>
            <p:cNvSpPr/>
            <p:nvPr/>
          </p:nvSpPr>
          <p:spPr>
            <a:xfrm>
              <a:off x="-17735475" y="3405275"/>
              <a:ext cx="107150" cy="206475"/>
            </a:xfrm>
            <a:custGeom>
              <a:avLst/>
              <a:gdLst/>
              <a:ahLst/>
              <a:cxnLst/>
              <a:rect l="l" t="t" r="r" b="b"/>
              <a:pathLst>
                <a:path w="4286" h="8259" extrusionOk="0">
                  <a:moveTo>
                    <a:pt x="1797" y="2931"/>
                  </a:moveTo>
                  <a:cubicBezTo>
                    <a:pt x="2017" y="2931"/>
                    <a:pt x="2175" y="3088"/>
                    <a:pt x="2175" y="3277"/>
                  </a:cubicBezTo>
                  <a:cubicBezTo>
                    <a:pt x="2175" y="3466"/>
                    <a:pt x="2017" y="3624"/>
                    <a:pt x="1797" y="3624"/>
                  </a:cubicBezTo>
                  <a:cubicBezTo>
                    <a:pt x="1608" y="3624"/>
                    <a:pt x="1450" y="3466"/>
                    <a:pt x="1450" y="3277"/>
                  </a:cubicBezTo>
                  <a:cubicBezTo>
                    <a:pt x="1450" y="3088"/>
                    <a:pt x="1608" y="2931"/>
                    <a:pt x="1797" y="2931"/>
                  </a:cubicBezTo>
                  <a:close/>
                  <a:moveTo>
                    <a:pt x="2805" y="1"/>
                  </a:moveTo>
                  <a:lnTo>
                    <a:pt x="1545" y="788"/>
                  </a:lnTo>
                  <a:cubicBezTo>
                    <a:pt x="1009" y="1103"/>
                    <a:pt x="694" y="1702"/>
                    <a:pt x="694" y="2300"/>
                  </a:cubicBezTo>
                  <a:lnTo>
                    <a:pt x="694" y="4506"/>
                  </a:lnTo>
                  <a:lnTo>
                    <a:pt x="694" y="4695"/>
                  </a:lnTo>
                  <a:cubicBezTo>
                    <a:pt x="694" y="4789"/>
                    <a:pt x="694" y="4852"/>
                    <a:pt x="662" y="4947"/>
                  </a:cubicBezTo>
                  <a:lnTo>
                    <a:pt x="662" y="4978"/>
                  </a:lnTo>
                  <a:cubicBezTo>
                    <a:pt x="568" y="5293"/>
                    <a:pt x="253" y="5514"/>
                    <a:pt x="1" y="5640"/>
                  </a:cubicBezTo>
                  <a:lnTo>
                    <a:pt x="1" y="7310"/>
                  </a:lnTo>
                  <a:cubicBezTo>
                    <a:pt x="1" y="7562"/>
                    <a:pt x="158" y="7845"/>
                    <a:pt x="442" y="8003"/>
                  </a:cubicBezTo>
                  <a:cubicBezTo>
                    <a:pt x="777" y="8174"/>
                    <a:pt x="1139" y="8258"/>
                    <a:pt x="1503" y="8258"/>
                  </a:cubicBezTo>
                  <a:cubicBezTo>
                    <a:pt x="2884" y="8258"/>
                    <a:pt x="4285" y="7039"/>
                    <a:pt x="4285" y="4695"/>
                  </a:cubicBezTo>
                  <a:cubicBezTo>
                    <a:pt x="4285" y="3246"/>
                    <a:pt x="3750" y="1418"/>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75"/>
            <p:cNvSpPr/>
            <p:nvPr/>
          </p:nvSpPr>
          <p:spPr>
            <a:xfrm>
              <a:off x="-17812650" y="3353300"/>
              <a:ext cx="136275" cy="144150"/>
            </a:xfrm>
            <a:custGeom>
              <a:avLst/>
              <a:gdLst/>
              <a:ahLst/>
              <a:cxnLst/>
              <a:rect l="l" t="t" r="r" b="b"/>
              <a:pathLst>
                <a:path w="5451" h="5766" extrusionOk="0">
                  <a:moveTo>
                    <a:pt x="2741" y="0"/>
                  </a:moveTo>
                  <a:cubicBezTo>
                    <a:pt x="1702" y="0"/>
                    <a:pt x="756" y="599"/>
                    <a:pt x="0" y="1513"/>
                  </a:cubicBezTo>
                  <a:lnTo>
                    <a:pt x="1229" y="2300"/>
                  </a:lnTo>
                  <a:cubicBezTo>
                    <a:pt x="1954" y="2741"/>
                    <a:pt x="2363" y="3529"/>
                    <a:pt x="2363" y="4379"/>
                  </a:cubicBezTo>
                  <a:lnTo>
                    <a:pt x="2363" y="5766"/>
                  </a:lnTo>
                  <a:cubicBezTo>
                    <a:pt x="2489" y="5703"/>
                    <a:pt x="2615" y="5671"/>
                    <a:pt x="2773" y="5671"/>
                  </a:cubicBezTo>
                  <a:cubicBezTo>
                    <a:pt x="2899" y="5671"/>
                    <a:pt x="2993" y="5703"/>
                    <a:pt x="3088" y="5766"/>
                  </a:cubicBezTo>
                  <a:lnTo>
                    <a:pt x="3088" y="4379"/>
                  </a:lnTo>
                  <a:cubicBezTo>
                    <a:pt x="3088" y="3497"/>
                    <a:pt x="3529" y="2710"/>
                    <a:pt x="4222" y="2300"/>
                  </a:cubicBezTo>
                  <a:lnTo>
                    <a:pt x="5451" y="1513"/>
                  </a:lnTo>
                  <a:cubicBezTo>
                    <a:pt x="4695" y="599"/>
                    <a:pt x="3749" y="0"/>
                    <a:pt x="27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75"/>
            <p:cNvSpPr/>
            <p:nvPr/>
          </p:nvSpPr>
          <p:spPr>
            <a:xfrm>
              <a:off x="-17770900" y="3614000"/>
              <a:ext cx="52775" cy="24450"/>
            </a:xfrm>
            <a:custGeom>
              <a:avLst/>
              <a:gdLst/>
              <a:ahLst/>
              <a:cxnLst/>
              <a:rect l="l" t="t" r="r" b="b"/>
              <a:pathLst>
                <a:path w="2111" h="978" extrusionOk="0">
                  <a:moveTo>
                    <a:pt x="1071" y="0"/>
                  </a:moveTo>
                  <a:cubicBezTo>
                    <a:pt x="756" y="252"/>
                    <a:pt x="378" y="410"/>
                    <a:pt x="0" y="536"/>
                  </a:cubicBezTo>
                  <a:lnTo>
                    <a:pt x="0" y="630"/>
                  </a:lnTo>
                  <a:cubicBezTo>
                    <a:pt x="0" y="851"/>
                    <a:pt x="158" y="977"/>
                    <a:pt x="347" y="977"/>
                  </a:cubicBezTo>
                  <a:lnTo>
                    <a:pt x="1764" y="977"/>
                  </a:lnTo>
                  <a:cubicBezTo>
                    <a:pt x="1953" y="977"/>
                    <a:pt x="2111" y="851"/>
                    <a:pt x="2111" y="630"/>
                  </a:cubicBezTo>
                  <a:lnTo>
                    <a:pt x="2111" y="536"/>
                  </a:lnTo>
                  <a:cubicBezTo>
                    <a:pt x="1733" y="410"/>
                    <a:pt x="1386" y="252"/>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75"/>
            <p:cNvSpPr/>
            <p:nvPr/>
          </p:nvSpPr>
          <p:spPr>
            <a:xfrm>
              <a:off x="-17878825" y="3334400"/>
              <a:ext cx="74075" cy="74050"/>
            </a:xfrm>
            <a:custGeom>
              <a:avLst/>
              <a:gdLst/>
              <a:ahLst/>
              <a:cxnLst/>
              <a:rect l="l" t="t" r="r" b="b"/>
              <a:pathLst>
                <a:path w="2963" h="2962" extrusionOk="0">
                  <a:moveTo>
                    <a:pt x="410" y="0"/>
                  </a:moveTo>
                  <a:cubicBezTo>
                    <a:pt x="127" y="0"/>
                    <a:pt x="1" y="284"/>
                    <a:pt x="95" y="536"/>
                  </a:cubicBezTo>
                  <a:lnTo>
                    <a:pt x="1324" y="2962"/>
                  </a:lnTo>
                  <a:cubicBezTo>
                    <a:pt x="1765" y="2174"/>
                    <a:pt x="2301" y="1512"/>
                    <a:pt x="2962" y="945"/>
                  </a:cubicBezTo>
                  <a:cubicBezTo>
                    <a:pt x="2490" y="378"/>
                    <a:pt x="179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5" name="Google Shape;8715;p75"/>
          <p:cNvGrpSpPr/>
          <p:nvPr/>
        </p:nvGrpSpPr>
        <p:grpSpPr>
          <a:xfrm>
            <a:off x="5747809" y="2242416"/>
            <a:ext cx="451653" cy="451653"/>
            <a:chOff x="-17896150" y="3709300"/>
            <a:chExt cx="305625" cy="305625"/>
          </a:xfrm>
        </p:grpSpPr>
        <p:sp>
          <p:nvSpPr>
            <p:cNvPr id="8716" name="Google Shape;8716;p75"/>
            <p:cNvSpPr/>
            <p:nvPr/>
          </p:nvSpPr>
          <p:spPr>
            <a:xfrm>
              <a:off x="-17896150" y="3709300"/>
              <a:ext cx="54375" cy="77200"/>
            </a:xfrm>
            <a:custGeom>
              <a:avLst/>
              <a:gdLst/>
              <a:ahLst/>
              <a:cxnLst/>
              <a:rect l="l" t="t" r="r" b="b"/>
              <a:pathLst>
                <a:path w="2175" h="3088" extrusionOk="0">
                  <a:moveTo>
                    <a:pt x="1072" y="0"/>
                  </a:moveTo>
                  <a:cubicBezTo>
                    <a:pt x="473" y="0"/>
                    <a:pt x="1" y="473"/>
                    <a:pt x="1" y="1072"/>
                  </a:cubicBezTo>
                  <a:cubicBezTo>
                    <a:pt x="1" y="1670"/>
                    <a:pt x="473" y="2143"/>
                    <a:pt x="1072" y="2143"/>
                  </a:cubicBezTo>
                  <a:lnTo>
                    <a:pt x="1103" y="2143"/>
                  </a:lnTo>
                  <a:lnTo>
                    <a:pt x="1513" y="3088"/>
                  </a:lnTo>
                  <a:cubicBezTo>
                    <a:pt x="1702" y="3025"/>
                    <a:pt x="1891" y="2930"/>
                    <a:pt x="2080" y="2899"/>
                  </a:cubicBezTo>
                  <a:lnTo>
                    <a:pt x="2175" y="2899"/>
                  </a:lnTo>
                  <a:lnTo>
                    <a:pt x="1765" y="1859"/>
                  </a:lnTo>
                  <a:cubicBezTo>
                    <a:pt x="2017" y="1670"/>
                    <a:pt x="2143" y="1387"/>
                    <a:pt x="2143" y="1072"/>
                  </a:cubicBezTo>
                  <a:cubicBezTo>
                    <a:pt x="2143" y="473"/>
                    <a:pt x="167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75"/>
            <p:cNvSpPr/>
            <p:nvPr/>
          </p:nvSpPr>
          <p:spPr>
            <a:xfrm>
              <a:off x="-17877250" y="3801075"/>
              <a:ext cx="286725" cy="213850"/>
            </a:xfrm>
            <a:custGeom>
              <a:avLst/>
              <a:gdLst/>
              <a:ahLst/>
              <a:cxnLst/>
              <a:rect l="l" t="t" r="r" b="b"/>
              <a:pathLst>
                <a:path w="11469" h="8554" extrusionOk="0">
                  <a:moveTo>
                    <a:pt x="1765" y="1339"/>
                  </a:moveTo>
                  <a:cubicBezTo>
                    <a:pt x="1954" y="1339"/>
                    <a:pt x="2112" y="1496"/>
                    <a:pt x="2112" y="1717"/>
                  </a:cubicBezTo>
                  <a:cubicBezTo>
                    <a:pt x="2112" y="1906"/>
                    <a:pt x="1954" y="2063"/>
                    <a:pt x="1765" y="2063"/>
                  </a:cubicBezTo>
                  <a:cubicBezTo>
                    <a:pt x="1576" y="2063"/>
                    <a:pt x="1419" y="1906"/>
                    <a:pt x="1419" y="1717"/>
                  </a:cubicBezTo>
                  <a:cubicBezTo>
                    <a:pt x="1419" y="1496"/>
                    <a:pt x="1576" y="1339"/>
                    <a:pt x="1765" y="1339"/>
                  </a:cubicBezTo>
                  <a:close/>
                  <a:moveTo>
                    <a:pt x="1829" y="0"/>
                  </a:moveTo>
                  <a:cubicBezTo>
                    <a:pt x="913" y="0"/>
                    <a:pt x="1" y="710"/>
                    <a:pt x="1" y="1811"/>
                  </a:cubicBezTo>
                  <a:lnTo>
                    <a:pt x="1" y="5308"/>
                  </a:lnTo>
                  <a:cubicBezTo>
                    <a:pt x="1" y="7104"/>
                    <a:pt x="1450" y="8553"/>
                    <a:pt x="3214" y="8553"/>
                  </a:cubicBezTo>
                  <a:lnTo>
                    <a:pt x="11091" y="8553"/>
                  </a:lnTo>
                  <a:cubicBezTo>
                    <a:pt x="11311" y="8553"/>
                    <a:pt x="11469" y="8396"/>
                    <a:pt x="11469" y="8207"/>
                  </a:cubicBezTo>
                  <a:cubicBezTo>
                    <a:pt x="11411" y="8061"/>
                    <a:pt x="11325" y="7566"/>
                    <a:pt x="11338" y="7566"/>
                  </a:cubicBezTo>
                  <a:lnTo>
                    <a:pt x="11338" y="7566"/>
                  </a:lnTo>
                  <a:cubicBezTo>
                    <a:pt x="11338" y="7566"/>
                    <a:pt x="11338" y="7566"/>
                    <a:pt x="11338" y="7566"/>
                  </a:cubicBezTo>
                  <a:lnTo>
                    <a:pt x="11338" y="7566"/>
                  </a:lnTo>
                  <a:cubicBezTo>
                    <a:pt x="11340" y="7574"/>
                    <a:pt x="11341" y="7580"/>
                    <a:pt x="11342" y="7580"/>
                  </a:cubicBezTo>
                  <a:cubicBezTo>
                    <a:pt x="11343" y="7580"/>
                    <a:pt x="11343" y="7579"/>
                    <a:pt x="11343" y="7577"/>
                  </a:cubicBezTo>
                  <a:cubicBezTo>
                    <a:pt x="11333" y="7529"/>
                    <a:pt x="11329" y="7513"/>
                    <a:pt x="11329" y="7513"/>
                  </a:cubicBezTo>
                  <a:lnTo>
                    <a:pt x="11329" y="7513"/>
                  </a:lnTo>
                  <a:cubicBezTo>
                    <a:pt x="11328" y="7513"/>
                    <a:pt x="11330" y="7523"/>
                    <a:pt x="11332" y="7534"/>
                  </a:cubicBezTo>
                  <a:lnTo>
                    <a:pt x="11332" y="7534"/>
                  </a:lnTo>
                  <a:cubicBezTo>
                    <a:pt x="11201" y="7046"/>
                    <a:pt x="10923" y="6591"/>
                    <a:pt x="10555" y="6285"/>
                  </a:cubicBezTo>
                  <a:cubicBezTo>
                    <a:pt x="9893" y="6789"/>
                    <a:pt x="9043" y="7073"/>
                    <a:pt x="8192" y="7073"/>
                  </a:cubicBezTo>
                  <a:cubicBezTo>
                    <a:pt x="7090" y="7073"/>
                    <a:pt x="6050" y="6506"/>
                    <a:pt x="5514" y="5655"/>
                  </a:cubicBezTo>
                  <a:lnTo>
                    <a:pt x="5514" y="5592"/>
                  </a:lnTo>
                  <a:cubicBezTo>
                    <a:pt x="5483" y="5592"/>
                    <a:pt x="5420" y="5655"/>
                    <a:pt x="5388" y="5655"/>
                  </a:cubicBezTo>
                  <a:lnTo>
                    <a:pt x="4632" y="5655"/>
                  </a:lnTo>
                  <a:cubicBezTo>
                    <a:pt x="4065" y="5655"/>
                    <a:pt x="3592" y="5182"/>
                    <a:pt x="3592" y="4584"/>
                  </a:cubicBezTo>
                  <a:lnTo>
                    <a:pt x="3592" y="1748"/>
                  </a:lnTo>
                  <a:cubicBezTo>
                    <a:pt x="3592" y="1433"/>
                    <a:pt x="3498" y="1150"/>
                    <a:pt x="3340" y="929"/>
                  </a:cubicBezTo>
                  <a:cubicBezTo>
                    <a:pt x="2987" y="283"/>
                    <a:pt x="2407" y="0"/>
                    <a:pt x="1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75"/>
            <p:cNvSpPr/>
            <p:nvPr/>
          </p:nvSpPr>
          <p:spPr>
            <a:xfrm>
              <a:off x="-17783500" y="3763075"/>
              <a:ext cx="191400" cy="194350"/>
            </a:xfrm>
            <a:custGeom>
              <a:avLst/>
              <a:gdLst/>
              <a:ahLst/>
              <a:cxnLst/>
              <a:rect l="l" t="t" r="r" b="b"/>
              <a:pathLst>
                <a:path w="7656" h="7774" extrusionOk="0">
                  <a:moveTo>
                    <a:pt x="3368" y="1"/>
                  </a:moveTo>
                  <a:cubicBezTo>
                    <a:pt x="3223" y="1"/>
                    <a:pt x="3077" y="8"/>
                    <a:pt x="2930" y="23"/>
                  </a:cubicBezTo>
                  <a:cubicBezTo>
                    <a:pt x="1764" y="149"/>
                    <a:pt x="693" y="779"/>
                    <a:pt x="0" y="1725"/>
                  </a:cubicBezTo>
                  <a:cubicBezTo>
                    <a:pt x="315" y="2166"/>
                    <a:pt x="504" y="2670"/>
                    <a:pt x="504" y="3237"/>
                  </a:cubicBezTo>
                  <a:lnTo>
                    <a:pt x="504" y="6041"/>
                  </a:lnTo>
                  <a:cubicBezTo>
                    <a:pt x="504" y="6261"/>
                    <a:pt x="662" y="6419"/>
                    <a:pt x="851" y="6419"/>
                  </a:cubicBezTo>
                  <a:lnTo>
                    <a:pt x="1418" y="6419"/>
                  </a:lnTo>
                  <a:cubicBezTo>
                    <a:pt x="1418" y="6419"/>
                    <a:pt x="1418" y="6356"/>
                    <a:pt x="1386" y="6356"/>
                  </a:cubicBezTo>
                  <a:cubicBezTo>
                    <a:pt x="1260" y="6041"/>
                    <a:pt x="1197" y="5694"/>
                    <a:pt x="1197" y="5348"/>
                  </a:cubicBezTo>
                  <a:lnTo>
                    <a:pt x="1197" y="4749"/>
                  </a:lnTo>
                  <a:cubicBezTo>
                    <a:pt x="1197" y="3363"/>
                    <a:pt x="2268" y="2197"/>
                    <a:pt x="3560" y="2166"/>
                  </a:cubicBezTo>
                  <a:cubicBezTo>
                    <a:pt x="3634" y="2159"/>
                    <a:pt x="3707" y="2156"/>
                    <a:pt x="3779" y="2156"/>
                  </a:cubicBezTo>
                  <a:cubicBezTo>
                    <a:pt x="4417" y="2156"/>
                    <a:pt x="4997" y="2403"/>
                    <a:pt x="5450" y="2827"/>
                  </a:cubicBezTo>
                  <a:cubicBezTo>
                    <a:pt x="5986" y="3300"/>
                    <a:pt x="6238" y="3930"/>
                    <a:pt x="6238" y="4623"/>
                  </a:cubicBezTo>
                  <a:lnTo>
                    <a:pt x="6238" y="5001"/>
                  </a:lnTo>
                  <a:cubicBezTo>
                    <a:pt x="6238" y="5789"/>
                    <a:pt x="5639" y="6419"/>
                    <a:pt x="4852" y="6419"/>
                  </a:cubicBezTo>
                  <a:cubicBezTo>
                    <a:pt x="4064" y="6419"/>
                    <a:pt x="3371" y="5789"/>
                    <a:pt x="3371" y="5001"/>
                  </a:cubicBezTo>
                  <a:lnTo>
                    <a:pt x="3371" y="4623"/>
                  </a:lnTo>
                  <a:cubicBezTo>
                    <a:pt x="3371" y="4434"/>
                    <a:pt x="3529" y="4276"/>
                    <a:pt x="3749" y="4276"/>
                  </a:cubicBezTo>
                  <a:cubicBezTo>
                    <a:pt x="3938" y="4276"/>
                    <a:pt x="4096" y="4434"/>
                    <a:pt x="4096" y="4623"/>
                  </a:cubicBezTo>
                  <a:lnTo>
                    <a:pt x="4096" y="5001"/>
                  </a:lnTo>
                  <a:cubicBezTo>
                    <a:pt x="4096" y="5379"/>
                    <a:pt x="4442" y="5694"/>
                    <a:pt x="4852" y="5694"/>
                  </a:cubicBezTo>
                  <a:cubicBezTo>
                    <a:pt x="5230" y="5694"/>
                    <a:pt x="5545" y="5379"/>
                    <a:pt x="5545" y="5001"/>
                  </a:cubicBezTo>
                  <a:lnTo>
                    <a:pt x="5545" y="4623"/>
                  </a:lnTo>
                  <a:cubicBezTo>
                    <a:pt x="5545" y="4119"/>
                    <a:pt x="5356" y="3678"/>
                    <a:pt x="5009" y="3331"/>
                  </a:cubicBezTo>
                  <a:cubicBezTo>
                    <a:pt x="4631" y="2985"/>
                    <a:pt x="4127" y="2827"/>
                    <a:pt x="3655" y="2827"/>
                  </a:cubicBezTo>
                  <a:cubicBezTo>
                    <a:pt x="2709" y="2859"/>
                    <a:pt x="1953" y="3741"/>
                    <a:pt x="1953" y="4717"/>
                  </a:cubicBezTo>
                  <a:lnTo>
                    <a:pt x="1953" y="5316"/>
                  </a:lnTo>
                  <a:cubicBezTo>
                    <a:pt x="1953" y="5946"/>
                    <a:pt x="2205" y="6576"/>
                    <a:pt x="2583" y="6954"/>
                  </a:cubicBezTo>
                  <a:cubicBezTo>
                    <a:pt x="3056" y="7458"/>
                    <a:pt x="3749" y="7773"/>
                    <a:pt x="4474" y="7773"/>
                  </a:cubicBezTo>
                  <a:cubicBezTo>
                    <a:pt x="5104" y="7773"/>
                    <a:pt x="5702" y="7584"/>
                    <a:pt x="6175" y="7269"/>
                  </a:cubicBezTo>
                  <a:cubicBezTo>
                    <a:pt x="7089" y="6734"/>
                    <a:pt x="7656" y="5726"/>
                    <a:pt x="7656" y="4560"/>
                  </a:cubicBezTo>
                  <a:lnTo>
                    <a:pt x="7656" y="4213"/>
                  </a:lnTo>
                  <a:cubicBezTo>
                    <a:pt x="7656" y="3111"/>
                    <a:pt x="7152" y="1914"/>
                    <a:pt x="6238" y="1126"/>
                  </a:cubicBezTo>
                  <a:cubicBezTo>
                    <a:pt x="5461" y="405"/>
                    <a:pt x="4440" y="1"/>
                    <a:pt x="33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75"/>
            <p:cNvSpPr/>
            <p:nvPr/>
          </p:nvSpPr>
          <p:spPr>
            <a:xfrm>
              <a:off x="-17825250" y="3710075"/>
              <a:ext cx="54375" cy="76425"/>
            </a:xfrm>
            <a:custGeom>
              <a:avLst/>
              <a:gdLst/>
              <a:ahLst/>
              <a:cxnLst/>
              <a:rect l="l" t="t" r="r" b="b"/>
              <a:pathLst>
                <a:path w="2175" h="3057" extrusionOk="0">
                  <a:moveTo>
                    <a:pt x="1103" y="1"/>
                  </a:moveTo>
                  <a:cubicBezTo>
                    <a:pt x="504" y="1"/>
                    <a:pt x="32" y="474"/>
                    <a:pt x="32" y="1041"/>
                  </a:cubicBezTo>
                  <a:cubicBezTo>
                    <a:pt x="32" y="1356"/>
                    <a:pt x="189" y="1639"/>
                    <a:pt x="410" y="1828"/>
                  </a:cubicBezTo>
                  <a:lnTo>
                    <a:pt x="0" y="2868"/>
                  </a:lnTo>
                  <a:cubicBezTo>
                    <a:pt x="252" y="2899"/>
                    <a:pt x="473" y="2931"/>
                    <a:pt x="662" y="3057"/>
                  </a:cubicBezTo>
                  <a:lnTo>
                    <a:pt x="1071" y="2112"/>
                  </a:lnTo>
                  <a:lnTo>
                    <a:pt x="1103" y="2112"/>
                  </a:lnTo>
                  <a:cubicBezTo>
                    <a:pt x="1702" y="2112"/>
                    <a:pt x="2174" y="1639"/>
                    <a:pt x="2174" y="1041"/>
                  </a:cubicBezTo>
                  <a:cubicBezTo>
                    <a:pt x="2174" y="474"/>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0" name="Google Shape;8720;p75"/>
          <p:cNvGrpSpPr/>
          <p:nvPr/>
        </p:nvGrpSpPr>
        <p:grpSpPr>
          <a:xfrm>
            <a:off x="5775740" y="2795686"/>
            <a:ext cx="395792" cy="451653"/>
            <a:chOff x="-17878025" y="4082625"/>
            <a:chExt cx="267825" cy="305625"/>
          </a:xfrm>
        </p:grpSpPr>
        <p:sp>
          <p:nvSpPr>
            <p:cNvPr id="8721" name="Google Shape;8721;p75"/>
            <p:cNvSpPr/>
            <p:nvPr/>
          </p:nvSpPr>
          <p:spPr>
            <a:xfrm>
              <a:off x="-17660650" y="4191325"/>
              <a:ext cx="50450" cy="52000"/>
            </a:xfrm>
            <a:custGeom>
              <a:avLst/>
              <a:gdLst/>
              <a:ahLst/>
              <a:cxnLst/>
              <a:rect l="l" t="t" r="r" b="b"/>
              <a:pathLst>
                <a:path w="2018" h="2080" extrusionOk="0">
                  <a:moveTo>
                    <a:pt x="946" y="0"/>
                  </a:moveTo>
                  <a:cubicBezTo>
                    <a:pt x="599" y="0"/>
                    <a:pt x="284" y="126"/>
                    <a:pt x="1" y="284"/>
                  </a:cubicBezTo>
                  <a:cubicBezTo>
                    <a:pt x="316" y="788"/>
                    <a:pt x="505" y="1418"/>
                    <a:pt x="536" y="2080"/>
                  </a:cubicBezTo>
                  <a:cubicBezTo>
                    <a:pt x="1387" y="1922"/>
                    <a:pt x="2017" y="1229"/>
                    <a:pt x="2017" y="347"/>
                  </a:cubicBezTo>
                  <a:cubicBezTo>
                    <a:pt x="2017" y="158"/>
                    <a:pt x="1860"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75"/>
            <p:cNvSpPr/>
            <p:nvPr/>
          </p:nvSpPr>
          <p:spPr>
            <a:xfrm>
              <a:off x="-17716575" y="4084200"/>
              <a:ext cx="88250" cy="103200"/>
            </a:xfrm>
            <a:custGeom>
              <a:avLst/>
              <a:gdLst/>
              <a:ahLst/>
              <a:cxnLst/>
              <a:rect l="l" t="t" r="r" b="b"/>
              <a:pathLst>
                <a:path w="3530" h="4128" extrusionOk="0">
                  <a:moveTo>
                    <a:pt x="3183" y="1"/>
                  </a:moveTo>
                  <a:cubicBezTo>
                    <a:pt x="2994" y="1"/>
                    <a:pt x="2836" y="158"/>
                    <a:pt x="2836" y="347"/>
                  </a:cubicBezTo>
                  <a:lnTo>
                    <a:pt x="2836" y="1040"/>
                  </a:lnTo>
                  <a:cubicBezTo>
                    <a:pt x="2836" y="1261"/>
                    <a:pt x="2679" y="1418"/>
                    <a:pt x="2458" y="1418"/>
                  </a:cubicBezTo>
                  <a:lnTo>
                    <a:pt x="2112" y="1418"/>
                  </a:lnTo>
                  <a:lnTo>
                    <a:pt x="2112" y="1040"/>
                  </a:lnTo>
                  <a:cubicBezTo>
                    <a:pt x="2112" y="851"/>
                    <a:pt x="1954" y="694"/>
                    <a:pt x="1765" y="694"/>
                  </a:cubicBezTo>
                  <a:cubicBezTo>
                    <a:pt x="1576" y="694"/>
                    <a:pt x="1419" y="851"/>
                    <a:pt x="1419" y="1040"/>
                  </a:cubicBezTo>
                  <a:lnTo>
                    <a:pt x="1419" y="2112"/>
                  </a:lnTo>
                  <a:lnTo>
                    <a:pt x="1041" y="2112"/>
                  </a:lnTo>
                  <a:cubicBezTo>
                    <a:pt x="852" y="2112"/>
                    <a:pt x="694" y="1954"/>
                    <a:pt x="694" y="1765"/>
                  </a:cubicBezTo>
                  <a:lnTo>
                    <a:pt x="694" y="1040"/>
                  </a:lnTo>
                  <a:cubicBezTo>
                    <a:pt x="694" y="851"/>
                    <a:pt x="537" y="694"/>
                    <a:pt x="347" y="694"/>
                  </a:cubicBezTo>
                  <a:cubicBezTo>
                    <a:pt x="158" y="694"/>
                    <a:pt x="1" y="851"/>
                    <a:pt x="1" y="1040"/>
                  </a:cubicBezTo>
                  <a:lnTo>
                    <a:pt x="1" y="1765"/>
                  </a:lnTo>
                  <a:cubicBezTo>
                    <a:pt x="1" y="2364"/>
                    <a:pt x="474" y="2836"/>
                    <a:pt x="1041" y="2836"/>
                  </a:cubicBezTo>
                  <a:lnTo>
                    <a:pt x="1419" y="2836"/>
                  </a:lnTo>
                  <a:lnTo>
                    <a:pt x="1419" y="3466"/>
                  </a:lnTo>
                  <a:cubicBezTo>
                    <a:pt x="1419" y="3498"/>
                    <a:pt x="1356" y="3529"/>
                    <a:pt x="1356" y="3624"/>
                  </a:cubicBezTo>
                  <a:cubicBezTo>
                    <a:pt x="1576" y="3781"/>
                    <a:pt x="1734" y="3939"/>
                    <a:pt x="1923" y="4128"/>
                  </a:cubicBezTo>
                  <a:cubicBezTo>
                    <a:pt x="2049" y="3939"/>
                    <a:pt x="2143" y="3718"/>
                    <a:pt x="2143" y="3498"/>
                  </a:cubicBezTo>
                  <a:lnTo>
                    <a:pt x="2143" y="2112"/>
                  </a:lnTo>
                  <a:lnTo>
                    <a:pt x="2521" y="2112"/>
                  </a:lnTo>
                  <a:cubicBezTo>
                    <a:pt x="3057" y="2112"/>
                    <a:pt x="3529" y="1639"/>
                    <a:pt x="3529" y="1040"/>
                  </a:cubicBez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5"/>
            <p:cNvSpPr/>
            <p:nvPr/>
          </p:nvSpPr>
          <p:spPr>
            <a:xfrm>
              <a:off x="-17860700" y="4082625"/>
              <a:ext cx="90600" cy="104000"/>
            </a:xfrm>
            <a:custGeom>
              <a:avLst/>
              <a:gdLst/>
              <a:ahLst/>
              <a:cxnLst/>
              <a:rect l="l" t="t" r="r" b="b"/>
              <a:pathLst>
                <a:path w="3624" h="4160" extrusionOk="0">
                  <a:moveTo>
                    <a:pt x="442" y="1"/>
                  </a:moveTo>
                  <a:cubicBezTo>
                    <a:pt x="253" y="1"/>
                    <a:pt x="95" y="158"/>
                    <a:pt x="95" y="379"/>
                  </a:cubicBezTo>
                  <a:lnTo>
                    <a:pt x="95" y="1072"/>
                  </a:lnTo>
                  <a:cubicBezTo>
                    <a:pt x="1" y="1702"/>
                    <a:pt x="505" y="2175"/>
                    <a:pt x="1103" y="2175"/>
                  </a:cubicBezTo>
                  <a:lnTo>
                    <a:pt x="1450" y="2175"/>
                  </a:lnTo>
                  <a:lnTo>
                    <a:pt x="1450" y="3529"/>
                  </a:lnTo>
                  <a:cubicBezTo>
                    <a:pt x="1450" y="3750"/>
                    <a:pt x="1544" y="4002"/>
                    <a:pt x="1702" y="4159"/>
                  </a:cubicBezTo>
                  <a:cubicBezTo>
                    <a:pt x="1859" y="3939"/>
                    <a:pt x="2048" y="3781"/>
                    <a:pt x="2237" y="3624"/>
                  </a:cubicBezTo>
                  <a:cubicBezTo>
                    <a:pt x="2206" y="3592"/>
                    <a:pt x="2206" y="3561"/>
                    <a:pt x="2206" y="3466"/>
                  </a:cubicBezTo>
                  <a:lnTo>
                    <a:pt x="2206" y="2836"/>
                  </a:lnTo>
                  <a:lnTo>
                    <a:pt x="2584" y="2836"/>
                  </a:lnTo>
                  <a:cubicBezTo>
                    <a:pt x="3151" y="2836"/>
                    <a:pt x="3624" y="2364"/>
                    <a:pt x="3624" y="1797"/>
                  </a:cubicBezTo>
                  <a:lnTo>
                    <a:pt x="3624" y="1072"/>
                  </a:lnTo>
                  <a:cubicBezTo>
                    <a:pt x="3624" y="883"/>
                    <a:pt x="3466" y="725"/>
                    <a:pt x="3277" y="725"/>
                  </a:cubicBezTo>
                  <a:cubicBezTo>
                    <a:pt x="3088" y="725"/>
                    <a:pt x="2930" y="883"/>
                    <a:pt x="2930" y="1072"/>
                  </a:cubicBezTo>
                  <a:lnTo>
                    <a:pt x="2930" y="1797"/>
                  </a:lnTo>
                  <a:cubicBezTo>
                    <a:pt x="2930" y="1986"/>
                    <a:pt x="2773" y="2143"/>
                    <a:pt x="2552" y="2143"/>
                  </a:cubicBezTo>
                  <a:lnTo>
                    <a:pt x="2206" y="2143"/>
                  </a:lnTo>
                  <a:lnTo>
                    <a:pt x="2206" y="1072"/>
                  </a:lnTo>
                  <a:cubicBezTo>
                    <a:pt x="2206" y="883"/>
                    <a:pt x="2048" y="725"/>
                    <a:pt x="1859" y="725"/>
                  </a:cubicBezTo>
                  <a:cubicBezTo>
                    <a:pt x="1670" y="725"/>
                    <a:pt x="1513" y="883"/>
                    <a:pt x="1513" y="1072"/>
                  </a:cubicBezTo>
                  <a:lnTo>
                    <a:pt x="1513" y="1418"/>
                  </a:lnTo>
                  <a:lnTo>
                    <a:pt x="1135" y="1418"/>
                  </a:lnTo>
                  <a:cubicBezTo>
                    <a:pt x="946" y="1418"/>
                    <a:pt x="788" y="1261"/>
                    <a:pt x="788" y="1072"/>
                  </a:cubicBezTo>
                  <a:lnTo>
                    <a:pt x="788" y="379"/>
                  </a:lnTo>
                  <a:cubicBezTo>
                    <a:pt x="788" y="158"/>
                    <a:pt x="631"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75"/>
            <p:cNvSpPr/>
            <p:nvPr/>
          </p:nvSpPr>
          <p:spPr>
            <a:xfrm>
              <a:off x="-17752000" y="4281300"/>
              <a:ext cx="16550" cy="16375"/>
            </a:xfrm>
            <a:custGeom>
              <a:avLst/>
              <a:gdLst/>
              <a:ahLst/>
              <a:cxnLst/>
              <a:rect l="l" t="t" r="r" b="b"/>
              <a:pathLst>
                <a:path w="662" h="655" extrusionOk="0">
                  <a:moveTo>
                    <a:pt x="319" y="1"/>
                  </a:moveTo>
                  <a:cubicBezTo>
                    <a:pt x="173" y="1"/>
                    <a:pt x="32" y="72"/>
                    <a:pt x="0" y="213"/>
                  </a:cubicBezTo>
                  <a:lnTo>
                    <a:pt x="347" y="655"/>
                  </a:lnTo>
                  <a:lnTo>
                    <a:pt x="662" y="213"/>
                  </a:lnTo>
                  <a:cubicBezTo>
                    <a:pt x="615" y="72"/>
                    <a:pt x="465" y="1"/>
                    <a:pt x="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75"/>
            <p:cNvSpPr/>
            <p:nvPr/>
          </p:nvSpPr>
          <p:spPr>
            <a:xfrm>
              <a:off x="-17825250" y="4173200"/>
              <a:ext cx="161475" cy="161500"/>
            </a:xfrm>
            <a:custGeom>
              <a:avLst/>
              <a:gdLst/>
              <a:ahLst/>
              <a:cxnLst/>
              <a:rect l="l" t="t" r="r" b="b"/>
              <a:pathLst>
                <a:path w="6459" h="6460" extrusionOk="0">
                  <a:moveTo>
                    <a:pt x="1828" y="2175"/>
                  </a:moveTo>
                  <a:cubicBezTo>
                    <a:pt x="2017" y="2175"/>
                    <a:pt x="2174" y="2332"/>
                    <a:pt x="2174" y="2521"/>
                  </a:cubicBezTo>
                  <a:cubicBezTo>
                    <a:pt x="2174" y="2742"/>
                    <a:pt x="2017" y="2899"/>
                    <a:pt x="1828" y="2899"/>
                  </a:cubicBezTo>
                  <a:cubicBezTo>
                    <a:pt x="1607" y="2899"/>
                    <a:pt x="1449" y="2742"/>
                    <a:pt x="1449" y="2521"/>
                  </a:cubicBezTo>
                  <a:cubicBezTo>
                    <a:pt x="1449" y="2332"/>
                    <a:pt x="1607" y="2175"/>
                    <a:pt x="1828" y="2175"/>
                  </a:cubicBezTo>
                  <a:close/>
                  <a:moveTo>
                    <a:pt x="4663" y="2175"/>
                  </a:moveTo>
                  <a:cubicBezTo>
                    <a:pt x="4852" y="2175"/>
                    <a:pt x="5010" y="2332"/>
                    <a:pt x="5010" y="2521"/>
                  </a:cubicBezTo>
                  <a:cubicBezTo>
                    <a:pt x="5041" y="2742"/>
                    <a:pt x="4852" y="2899"/>
                    <a:pt x="4663" y="2899"/>
                  </a:cubicBezTo>
                  <a:cubicBezTo>
                    <a:pt x="4442" y="2899"/>
                    <a:pt x="4285" y="2742"/>
                    <a:pt x="4285" y="2521"/>
                  </a:cubicBezTo>
                  <a:cubicBezTo>
                    <a:pt x="4285" y="2332"/>
                    <a:pt x="4442" y="2175"/>
                    <a:pt x="4663" y="2175"/>
                  </a:cubicBezTo>
                  <a:close/>
                  <a:moveTo>
                    <a:pt x="3245" y="1"/>
                  </a:moveTo>
                  <a:cubicBezTo>
                    <a:pt x="1260" y="1"/>
                    <a:pt x="0" y="1229"/>
                    <a:pt x="0" y="3246"/>
                  </a:cubicBezTo>
                  <a:cubicBezTo>
                    <a:pt x="0" y="4348"/>
                    <a:pt x="410" y="5546"/>
                    <a:pt x="1040" y="6459"/>
                  </a:cubicBezTo>
                  <a:lnTo>
                    <a:pt x="1229" y="5325"/>
                  </a:lnTo>
                  <a:cubicBezTo>
                    <a:pt x="1386" y="4348"/>
                    <a:pt x="2237" y="3624"/>
                    <a:pt x="3245" y="3624"/>
                  </a:cubicBezTo>
                  <a:cubicBezTo>
                    <a:pt x="4222" y="3624"/>
                    <a:pt x="5073" y="4348"/>
                    <a:pt x="5230" y="5325"/>
                  </a:cubicBezTo>
                  <a:lnTo>
                    <a:pt x="5451" y="6459"/>
                  </a:lnTo>
                  <a:cubicBezTo>
                    <a:pt x="6081" y="5546"/>
                    <a:pt x="6459" y="4348"/>
                    <a:pt x="6459" y="3246"/>
                  </a:cubicBezTo>
                  <a:cubicBezTo>
                    <a:pt x="6459" y="1229"/>
                    <a:pt x="5230"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75"/>
            <p:cNvSpPr/>
            <p:nvPr/>
          </p:nvSpPr>
          <p:spPr>
            <a:xfrm>
              <a:off x="-17787450" y="4293725"/>
              <a:ext cx="84300" cy="94525"/>
            </a:xfrm>
            <a:custGeom>
              <a:avLst/>
              <a:gdLst/>
              <a:ahLst/>
              <a:cxnLst/>
              <a:rect l="l" t="t" r="r" b="b"/>
              <a:pathLst>
                <a:path w="3372" h="3781" extrusionOk="0">
                  <a:moveTo>
                    <a:pt x="662" y="0"/>
                  </a:moveTo>
                  <a:cubicBezTo>
                    <a:pt x="536" y="158"/>
                    <a:pt x="442" y="378"/>
                    <a:pt x="379" y="599"/>
                  </a:cubicBezTo>
                  <a:lnTo>
                    <a:pt x="32" y="2741"/>
                  </a:lnTo>
                  <a:cubicBezTo>
                    <a:pt x="0" y="2961"/>
                    <a:pt x="63" y="3182"/>
                    <a:pt x="221" y="3308"/>
                  </a:cubicBezTo>
                  <a:cubicBezTo>
                    <a:pt x="631" y="3623"/>
                    <a:pt x="1072" y="3781"/>
                    <a:pt x="1544" y="3781"/>
                  </a:cubicBezTo>
                  <a:lnTo>
                    <a:pt x="1859" y="3781"/>
                  </a:lnTo>
                  <a:cubicBezTo>
                    <a:pt x="2332" y="3781"/>
                    <a:pt x="2804" y="3623"/>
                    <a:pt x="3182" y="3308"/>
                  </a:cubicBezTo>
                  <a:cubicBezTo>
                    <a:pt x="3340" y="3182"/>
                    <a:pt x="3372" y="2993"/>
                    <a:pt x="3372" y="2772"/>
                  </a:cubicBezTo>
                  <a:lnTo>
                    <a:pt x="3025" y="630"/>
                  </a:lnTo>
                  <a:cubicBezTo>
                    <a:pt x="3025" y="347"/>
                    <a:pt x="2899" y="158"/>
                    <a:pt x="2773" y="0"/>
                  </a:cubicBezTo>
                  <a:cubicBezTo>
                    <a:pt x="2773" y="32"/>
                    <a:pt x="2741" y="32"/>
                    <a:pt x="2741" y="63"/>
                  </a:cubicBezTo>
                  <a:lnTo>
                    <a:pt x="2111" y="851"/>
                  </a:lnTo>
                  <a:lnTo>
                    <a:pt x="2111" y="1134"/>
                  </a:lnTo>
                  <a:lnTo>
                    <a:pt x="2710" y="1733"/>
                  </a:lnTo>
                  <a:cubicBezTo>
                    <a:pt x="2867" y="1890"/>
                    <a:pt x="2867" y="2079"/>
                    <a:pt x="2710" y="2237"/>
                  </a:cubicBezTo>
                  <a:cubicBezTo>
                    <a:pt x="2631" y="2316"/>
                    <a:pt x="2545" y="2355"/>
                    <a:pt x="2458" y="2355"/>
                  </a:cubicBezTo>
                  <a:cubicBezTo>
                    <a:pt x="2371" y="2355"/>
                    <a:pt x="2285" y="2316"/>
                    <a:pt x="2206" y="2237"/>
                  </a:cubicBezTo>
                  <a:lnTo>
                    <a:pt x="1733" y="1764"/>
                  </a:lnTo>
                  <a:lnTo>
                    <a:pt x="1261" y="2237"/>
                  </a:lnTo>
                  <a:cubicBezTo>
                    <a:pt x="1182" y="2316"/>
                    <a:pt x="1087" y="2355"/>
                    <a:pt x="997" y="2355"/>
                  </a:cubicBezTo>
                  <a:cubicBezTo>
                    <a:pt x="906" y="2355"/>
                    <a:pt x="820" y="2316"/>
                    <a:pt x="757" y="2237"/>
                  </a:cubicBezTo>
                  <a:cubicBezTo>
                    <a:pt x="568" y="2079"/>
                    <a:pt x="568" y="1890"/>
                    <a:pt x="757" y="1733"/>
                  </a:cubicBezTo>
                  <a:lnTo>
                    <a:pt x="1324" y="1134"/>
                  </a:lnTo>
                  <a:lnTo>
                    <a:pt x="1324" y="851"/>
                  </a:lnTo>
                  <a:lnTo>
                    <a:pt x="694" y="63"/>
                  </a:lnTo>
                  <a:cubicBezTo>
                    <a:pt x="694" y="32"/>
                    <a:pt x="662" y="32"/>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75"/>
            <p:cNvSpPr/>
            <p:nvPr/>
          </p:nvSpPr>
          <p:spPr>
            <a:xfrm>
              <a:off x="-17878025" y="4191325"/>
              <a:ext cx="49650" cy="52000"/>
            </a:xfrm>
            <a:custGeom>
              <a:avLst/>
              <a:gdLst/>
              <a:ahLst/>
              <a:cxnLst/>
              <a:rect l="l" t="t" r="r" b="b"/>
              <a:pathLst>
                <a:path w="1986" h="2080" extrusionOk="0">
                  <a:moveTo>
                    <a:pt x="347" y="0"/>
                  </a:moveTo>
                  <a:cubicBezTo>
                    <a:pt x="158" y="0"/>
                    <a:pt x="0" y="158"/>
                    <a:pt x="0" y="347"/>
                  </a:cubicBezTo>
                  <a:cubicBezTo>
                    <a:pt x="0" y="1229"/>
                    <a:pt x="631" y="1954"/>
                    <a:pt x="1450" y="2080"/>
                  </a:cubicBezTo>
                  <a:cubicBezTo>
                    <a:pt x="1481" y="1355"/>
                    <a:pt x="1670" y="788"/>
                    <a:pt x="1985" y="252"/>
                  </a:cubicBezTo>
                  <a:cubicBezTo>
                    <a:pt x="1733" y="9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8" name="Google Shape;8728;p75"/>
          <p:cNvGrpSpPr/>
          <p:nvPr/>
        </p:nvGrpSpPr>
        <p:grpSpPr>
          <a:xfrm>
            <a:off x="2919632" y="3355015"/>
            <a:ext cx="450507" cy="423722"/>
            <a:chOff x="-16044450" y="3317850"/>
            <a:chExt cx="304850" cy="286725"/>
          </a:xfrm>
        </p:grpSpPr>
        <p:sp>
          <p:nvSpPr>
            <p:cNvPr id="8729" name="Google Shape;8729;p75"/>
            <p:cNvSpPr/>
            <p:nvPr/>
          </p:nvSpPr>
          <p:spPr>
            <a:xfrm>
              <a:off x="-15873525" y="3317850"/>
              <a:ext cx="133925" cy="115025"/>
            </a:xfrm>
            <a:custGeom>
              <a:avLst/>
              <a:gdLst/>
              <a:ahLst/>
              <a:cxnLst/>
              <a:rect l="l" t="t" r="r" b="b"/>
              <a:pathLst>
                <a:path w="5357" h="4601" extrusionOk="0">
                  <a:moveTo>
                    <a:pt x="2458" y="1"/>
                  </a:moveTo>
                  <a:cubicBezTo>
                    <a:pt x="1418" y="1"/>
                    <a:pt x="473" y="599"/>
                    <a:pt x="1" y="1513"/>
                  </a:cubicBezTo>
                  <a:cubicBezTo>
                    <a:pt x="1670" y="1765"/>
                    <a:pt x="3088" y="3025"/>
                    <a:pt x="3876" y="4600"/>
                  </a:cubicBezTo>
                  <a:cubicBezTo>
                    <a:pt x="3939" y="4159"/>
                    <a:pt x="3876" y="3718"/>
                    <a:pt x="3718" y="3277"/>
                  </a:cubicBezTo>
                  <a:lnTo>
                    <a:pt x="3718" y="3277"/>
                  </a:lnTo>
                  <a:cubicBezTo>
                    <a:pt x="4002" y="3466"/>
                    <a:pt x="4254" y="3750"/>
                    <a:pt x="4443" y="4096"/>
                  </a:cubicBezTo>
                  <a:cubicBezTo>
                    <a:pt x="4506" y="4222"/>
                    <a:pt x="4632" y="4285"/>
                    <a:pt x="4758" y="4285"/>
                  </a:cubicBezTo>
                  <a:cubicBezTo>
                    <a:pt x="4884" y="4285"/>
                    <a:pt x="5010" y="4222"/>
                    <a:pt x="5073" y="4096"/>
                  </a:cubicBezTo>
                  <a:cubicBezTo>
                    <a:pt x="5262" y="3718"/>
                    <a:pt x="5356" y="3309"/>
                    <a:pt x="5356" y="2868"/>
                  </a:cubicBezTo>
                  <a:cubicBezTo>
                    <a:pt x="5293" y="1292"/>
                    <a:pt x="4033"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0" name="Google Shape;8730;p75"/>
            <p:cNvSpPr/>
            <p:nvPr/>
          </p:nvSpPr>
          <p:spPr>
            <a:xfrm>
              <a:off x="-15915275" y="3459625"/>
              <a:ext cx="44125" cy="54375"/>
            </a:xfrm>
            <a:custGeom>
              <a:avLst/>
              <a:gdLst/>
              <a:ahLst/>
              <a:cxnLst/>
              <a:rect l="l" t="t" r="r" b="b"/>
              <a:pathLst>
                <a:path w="1765" h="2175" extrusionOk="0">
                  <a:moveTo>
                    <a:pt x="883" y="0"/>
                  </a:moveTo>
                  <a:cubicBezTo>
                    <a:pt x="631" y="0"/>
                    <a:pt x="410" y="158"/>
                    <a:pt x="316" y="441"/>
                  </a:cubicBezTo>
                  <a:lnTo>
                    <a:pt x="32" y="1450"/>
                  </a:lnTo>
                  <a:cubicBezTo>
                    <a:pt x="1" y="1859"/>
                    <a:pt x="284" y="2174"/>
                    <a:pt x="631" y="2174"/>
                  </a:cubicBezTo>
                  <a:lnTo>
                    <a:pt x="1135" y="2174"/>
                  </a:lnTo>
                  <a:cubicBezTo>
                    <a:pt x="1513" y="2174"/>
                    <a:pt x="1765" y="1828"/>
                    <a:pt x="1702" y="1450"/>
                  </a:cubicBezTo>
                  <a:lnTo>
                    <a:pt x="1419" y="441"/>
                  </a:lnTo>
                  <a:cubicBezTo>
                    <a:pt x="1355" y="189"/>
                    <a:pt x="1135" y="0"/>
                    <a:pt x="8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5"/>
            <p:cNvSpPr/>
            <p:nvPr/>
          </p:nvSpPr>
          <p:spPr>
            <a:xfrm>
              <a:off x="-16009000" y="3372200"/>
              <a:ext cx="232375" cy="232375"/>
            </a:xfrm>
            <a:custGeom>
              <a:avLst/>
              <a:gdLst/>
              <a:ahLst/>
              <a:cxnLst/>
              <a:rect l="l" t="t" r="r" b="b"/>
              <a:pathLst>
                <a:path w="9295" h="9295" extrusionOk="0">
                  <a:moveTo>
                    <a:pt x="2490" y="3592"/>
                  </a:moveTo>
                  <a:cubicBezTo>
                    <a:pt x="2679" y="3592"/>
                    <a:pt x="2836" y="3749"/>
                    <a:pt x="2836" y="3938"/>
                  </a:cubicBezTo>
                  <a:cubicBezTo>
                    <a:pt x="2836" y="4128"/>
                    <a:pt x="2679" y="4285"/>
                    <a:pt x="2490" y="4285"/>
                  </a:cubicBezTo>
                  <a:cubicBezTo>
                    <a:pt x="2301" y="4285"/>
                    <a:pt x="2143" y="4128"/>
                    <a:pt x="2143" y="3938"/>
                  </a:cubicBezTo>
                  <a:cubicBezTo>
                    <a:pt x="2143" y="3749"/>
                    <a:pt x="2301" y="3592"/>
                    <a:pt x="2490" y="3592"/>
                  </a:cubicBezTo>
                  <a:close/>
                  <a:moveTo>
                    <a:pt x="6774" y="3592"/>
                  </a:moveTo>
                  <a:cubicBezTo>
                    <a:pt x="6995" y="3592"/>
                    <a:pt x="7152" y="3749"/>
                    <a:pt x="7152" y="3938"/>
                  </a:cubicBezTo>
                  <a:cubicBezTo>
                    <a:pt x="7152" y="4128"/>
                    <a:pt x="6995" y="4285"/>
                    <a:pt x="6774" y="4285"/>
                  </a:cubicBezTo>
                  <a:cubicBezTo>
                    <a:pt x="6585" y="4285"/>
                    <a:pt x="6428" y="4128"/>
                    <a:pt x="6428" y="3938"/>
                  </a:cubicBezTo>
                  <a:cubicBezTo>
                    <a:pt x="6428" y="3749"/>
                    <a:pt x="6585" y="3592"/>
                    <a:pt x="6774" y="3592"/>
                  </a:cubicBezTo>
                  <a:close/>
                  <a:moveTo>
                    <a:pt x="4663" y="2867"/>
                  </a:moveTo>
                  <a:cubicBezTo>
                    <a:pt x="5262" y="2867"/>
                    <a:pt x="5766" y="3277"/>
                    <a:pt x="5892" y="3812"/>
                  </a:cubicBezTo>
                  <a:lnTo>
                    <a:pt x="6144" y="4852"/>
                  </a:lnTo>
                  <a:cubicBezTo>
                    <a:pt x="6365" y="5640"/>
                    <a:pt x="5766" y="6427"/>
                    <a:pt x="4947" y="6427"/>
                  </a:cubicBezTo>
                  <a:lnTo>
                    <a:pt x="4411" y="6427"/>
                  </a:lnTo>
                  <a:cubicBezTo>
                    <a:pt x="3561" y="6427"/>
                    <a:pt x="2962" y="5640"/>
                    <a:pt x="3151" y="4852"/>
                  </a:cubicBezTo>
                  <a:lnTo>
                    <a:pt x="3435" y="3812"/>
                  </a:lnTo>
                  <a:cubicBezTo>
                    <a:pt x="3592" y="3277"/>
                    <a:pt x="4065" y="2867"/>
                    <a:pt x="4663" y="2867"/>
                  </a:cubicBezTo>
                  <a:close/>
                  <a:moveTo>
                    <a:pt x="6090" y="6899"/>
                  </a:moveTo>
                  <a:cubicBezTo>
                    <a:pt x="6239" y="6899"/>
                    <a:pt x="6379" y="7007"/>
                    <a:pt x="6428" y="7152"/>
                  </a:cubicBezTo>
                  <a:cubicBezTo>
                    <a:pt x="6459" y="7373"/>
                    <a:pt x="6396" y="7562"/>
                    <a:pt x="6207" y="7593"/>
                  </a:cubicBezTo>
                  <a:cubicBezTo>
                    <a:pt x="5640" y="7782"/>
                    <a:pt x="5041" y="7845"/>
                    <a:pt x="4663" y="7845"/>
                  </a:cubicBezTo>
                  <a:cubicBezTo>
                    <a:pt x="4254" y="7845"/>
                    <a:pt x="3687" y="7782"/>
                    <a:pt x="3120" y="7593"/>
                  </a:cubicBezTo>
                  <a:cubicBezTo>
                    <a:pt x="2931" y="7530"/>
                    <a:pt x="2836" y="7310"/>
                    <a:pt x="2899" y="7152"/>
                  </a:cubicBezTo>
                  <a:cubicBezTo>
                    <a:pt x="2952" y="6994"/>
                    <a:pt x="3093" y="6924"/>
                    <a:pt x="3267" y="6924"/>
                  </a:cubicBezTo>
                  <a:cubicBezTo>
                    <a:pt x="3301" y="6924"/>
                    <a:pt x="3336" y="6926"/>
                    <a:pt x="3372" y="6931"/>
                  </a:cubicBezTo>
                  <a:cubicBezTo>
                    <a:pt x="3844" y="7089"/>
                    <a:pt x="4348" y="7120"/>
                    <a:pt x="4663" y="7120"/>
                  </a:cubicBezTo>
                  <a:cubicBezTo>
                    <a:pt x="4978" y="7120"/>
                    <a:pt x="5483" y="7089"/>
                    <a:pt x="5955" y="6931"/>
                  </a:cubicBezTo>
                  <a:cubicBezTo>
                    <a:pt x="5999" y="6909"/>
                    <a:pt x="6045" y="6899"/>
                    <a:pt x="6090" y="6899"/>
                  </a:cubicBezTo>
                  <a:close/>
                  <a:moveTo>
                    <a:pt x="4663" y="0"/>
                  </a:moveTo>
                  <a:cubicBezTo>
                    <a:pt x="2049" y="0"/>
                    <a:pt x="1" y="2867"/>
                    <a:pt x="1" y="5356"/>
                  </a:cubicBezTo>
                  <a:cubicBezTo>
                    <a:pt x="1" y="7751"/>
                    <a:pt x="1828" y="9294"/>
                    <a:pt x="4663" y="9294"/>
                  </a:cubicBezTo>
                  <a:cubicBezTo>
                    <a:pt x="7499" y="9294"/>
                    <a:pt x="9295" y="7751"/>
                    <a:pt x="9295" y="5356"/>
                  </a:cubicBezTo>
                  <a:cubicBezTo>
                    <a:pt x="9263" y="2867"/>
                    <a:pt x="7247"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2" name="Google Shape;8732;p75"/>
            <p:cNvSpPr/>
            <p:nvPr/>
          </p:nvSpPr>
          <p:spPr>
            <a:xfrm>
              <a:off x="-16044450" y="3317850"/>
              <a:ext cx="133150" cy="115025"/>
            </a:xfrm>
            <a:custGeom>
              <a:avLst/>
              <a:gdLst/>
              <a:ahLst/>
              <a:cxnLst/>
              <a:rect l="l" t="t" r="r" b="b"/>
              <a:pathLst>
                <a:path w="5326" h="4601" extrusionOk="0">
                  <a:moveTo>
                    <a:pt x="2836" y="1"/>
                  </a:moveTo>
                  <a:cubicBezTo>
                    <a:pt x="1261" y="1"/>
                    <a:pt x="1" y="1292"/>
                    <a:pt x="1" y="2836"/>
                  </a:cubicBezTo>
                  <a:cubicBezTo>
                    <a:pt x="1" y="3277"/>
                    <a:pt x="95" y="3655"/>
                    <a:pt x="285" y="4065"/>
                  </a:cubicBezTo>
                  <a:cubicBezTo>
                    <a:pt x="348" y="4206"/>
                    <a:pt x="474" y="4277"/>
                    <a:pt x="600" y="4277"/>
                  </a:cubicBezTo>
                  <a:cubicBezTo>
                    <a:pt x="726" y="4277"/>
                    <a:pt x="852" y="4206"/>
                    <a:pt x="915" y="4065"/>
                  </a:cubicBezTo>
                  <a:cubicBezTo>
                    <a:pt x="1072" y="3718"/>
                    <a:pt x="1324" y="3435"/>
                    <a:pt x="1639" y="3246"/>
                  </a:cubicBezTo>
                  <a:lnTo>
                    <a:pt x="1639" y="3246"/>
                  </a:lnTo>
                  <a:cubicBezTo>
                    <a:pt x="1419" y="3718"/>
                    <a:pt x="1387" y="4128"/>
                    <a:pt x="1419" y="4600"/>
                  </a:cubicBezTo>
                  <a:cubicBezTo>
                    <a:pt x="2206" y="3025"/>
                    <a:pt x="3624" y="1765"/>
                    <a:pt x="5325" y="1513"/>
                  </a:cubicBezTo>
                  <a:cubicBezTo>
                    <a:pt x="4853" y="599"/>
                    <a:pt x="3908"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3" name="Google Shape;8733;p75"/>
          <p:cNvSpPr/>
          <p:nvPr/>
        </p:nvSpPr>
        <p:spPr>
          <a:xfrm>
            <a:off x="5164353" y="3341975"/>
            <a:ext cx="448180" cy="450507"/>
          </a:xfrm>
          <a:custGeom>
            <a:avLst/>
            <a:gdLst/>
            <a:ahLst/>
            <a:cxnLst/>
            <a:rect l="l" t="t" r="r" b="b"/>
            <a:pathLst>
              <a:path w="12131" h="12194" extrusionOk="0">
                <a:moveTo>
                  <a:pt x="5798" y="1639"/>
                </a:moveTo>
                <a:lnTo>
                  <a:pt x="5798" y="2395"/>
                </a:lnTo>
                <a:lnTo>
                  <a:pt x="3782" y="3214"/>
                </a:lnTo>
                <a:lnTo>
                  <a:pt x="3214" y="2679"/>
                </a:lnTo>
                <a:lnTo>
                  <a:pt x="5798" y="1639"/>
                </a:lnTo>
                <a:close/>
                <a:moveTo>
                  <a:pt x="6491" y="1639"/>
                </a:moveTo>
                <a:lnTo>
                  <a:pt x="9043" y="2679"/>
                </a:lnTo>
                <a:lnTo>
                  <a:pt x="8507" y="3214"/>
                </a:lnTo>
                <a:lnTo>
                  <a:pt x="6491" y="2395"/>
                </a:lnTo>
                <a:lnTo>
                  <a:pt x="6491" y="1639"/>
                </a:lnTo>
                <a:close/>
                <a:moveTo>
                  <a:pt x="5798" y="3151"/>
                </a:moveTo>
                <a:lnTo>
                  <a:pt x="5798" y="3939"/>
                </a:lnTo>
                <a:lnTo>
                  <a:pt x="4853" y="4285"/>
                </a:lnTo>
                <a:lnTo>
                  <a:pt x="4286" y="3718"/>
                </a:lnTo>
                <a:lnTo>
                  <a:pt x="5798" y="3151"/>
                </a:lnTo>
                <a:close/>
                <a:moveTo>
                  <a:pt x="6491" y="3183"/>
                </a:moveTo>
                <a:lnTo>
                  <a:pt x="8003" y="3781"/>
                </a:lnTo>
                <a:lnTo>
                  <a:pt x="7436" y="4317"/>
                </a:lnTo>
                <a:lnTo>
                  <a:pt x="6491" y="3970"/>
                </a:lnTo>
                <a:lnTo>
                  <a:pt x="6491" y="3183"/>
                </a:lnTo>
                <a:close/>
                <a:moveTo>
                  <a:pt x="5798" y="4695"/>
                </a:moveTo>
                <a:lnTo>
                  <a:pt x="5798" y="5231"/>
                </a:lnTo>
                <a:lnTo>
                  <a:pt x="5388" y="4853"/>
                </a:lnTo>
                <a:lnTo>
                  <a:pt x="5798" y="4695"/>
                </a:lnTo>
                <a:close/>
                <a:moveTo>
                  <a:pt x="6491" y="4727"/>
                </a:moveTo>
                <a:lnTo>
                  <a:pt x="6901" y="4884"/>
                </a:lnTo>
                <a:lnTo>
                  <a:pt x="6491" y="5262"/>
                </a:lnTo>
                <a:lnTo>
                  <a:pt x="6491" y="4727"/>
                </a:lnTo>
                <a:close/>
                <a:moveTo>
                  <a:pt x="2679" y="3183"/>
                </a:moveTo>
                <a:lnTo>
                  <a:pt x="3214" y="3718"/>
                </a:lnTo>
                <a:lnTo>
                  <a:pt x="2395" y="5735"/>
                </a:lnTo>
                <a:lnTo>
                  <a:pt x="1608" y="5735"/>
                </a:lnTo>
                <a:lnTo>
                  <a:pt x="2679" y="3183"/>
                </a:lnTo>
                <a:close/>
                <a:moveTo>
                  <a:pt x="3782" y="4254"/>
                </a:moveTo>
                <a:lnTo>
                  <a:pt x="4317" y="4790"/>
                </a:lnTo>
                <a:lnTo>
                  <a:pt x="3971" y="5735"/>
                </a:lnTo>
                <a:lnTo>
                  <a:pt x="3183" y="5735"/>
                </a:lnTo>
                <a:lnTo>
                  <a:pt x="3782" y="4254"/>
                </a:lnTo>
                <a:close/>
                <a:moveTo>
                  <a:pt x="4884" y="5357"/>
                </a:moveTo>
                <a:lnTo>
                  <a:pt x="5262" y="5735"/>
                </a:lnTo>
                <a:lnTo>
                  <a:pt x="4727" y="5735"/>
                </a:lnTo>
                <a:lnTo>
                  <a:pt x="4884" y="5357"/>
                </a:lnTo>
                <a:close/>
                <a:moveTo>
                  <a:pt x="7405" y="5357"/>
                </a:moveTo>
                <a:lnTo>
                  <a:pt x="7562" y="5735"/>
                </a:lnTo>
                <a:lnTo>
                  <a:pt x="6995" y="5735"/>
                </a:lnTo>
                <a:lnTo>
                  <a:pt x="7405" y="5357"/>
                </a:lnTo>
                <a:close/>
                <a:moveTo>
                  <a:pt x="8507" y="4254"/>
                </a:moveTo>
                <a:lnTo>
                  <a:pt x="9106" y="5735"/>
                </a:lnTo>
                <a:lnTo>
                  <a:pt x="8318" y="5735"/>
                </a:lnTo>
                <a:lnTo>
                  <a:pt x="7940" y="4790"/>
                </a:lnTo>
                <a:lnTo>
                  <a:pt x="8507" y="4254"/>
                </a:lnTo>
                <a:close/>
                <a:moveTo>
                  <a:pt x="9578" y="3183"/>
                </a:moveTo>
                <a:lnTo>
                  <a:pt x="10587" y="5735"/>
                </a:lnTo>
                <a:lnTo>
                  <a:pt x="9831" y="5735"/>
                </a:lnTo>
                <a:lnTo>
                  <a:pt x="9011" y="3718"/>
                </a:lnTo>
                <a:lnTo>
                  <a:pt x="9578" y="3183"/>
                </a:lnTo>
                <a:close/>
                <a:moveTo>
                  <a:pt x="5262" y="6459"/>
                </a:moveTo>
                <a:lnTo>
                  <a:pt x="4884" y="6837"/>
                </a:lnTo>
                <a:lnTo>
                  <a:pt x="4727" y="6459"/>
                </a:lnTo>
                <a:close/>
                <a:moveTo>
                  <a:pt x="7531" y="6459"/>
                </a:moveTo>
                <a:lnTo>
                  <a:pt x="7373" y="6837"/>
                </a:lnTo>
                <a:lnTo>
                  <a:pt x="6964" y="6459"/>
                </a:lnTo>
                <a:close/>
                <a:moveTo>
                  <a:pt x="5798" y="6932"/>
                </a:moveTo>
                <a:lnTo>
                  <a:pt x="5798" y="7467"/>
                </a:lnTo>
                <a:lnTo>
                  <a:pt x="5388" y="7310"/>
                </a:lnTo>
                <a:lnTo>
                  <a:pt x="5798" y="6932"/>
                </a:lnTo>
                <a:close/>
                <a:moveTo>
                  <a:pt x="6491" y="6963"/>
                </a:moveTo>
                <a:lnTo>
                  <a:pt x="6901" y="7373"/>
                </a:lnTo>
                <a:lnTo>
                  <a:pt x="6491" y="7530"/>
                </a:lnTo>
                <a:lnTo>
                  <a:pt x="6491" y="6963"/>
                </a:lnTo>
                <a:close/>
                <a:moveTo>
                  <a:pt x="3971" y="6459"/>
                </a:moveTo>
                <a:lnTo>
                  <a:pt x="4317" y="7404"/>
                </a:lnTo>
                <a:lnTo>
                  <a:pt x="3782" y="7940"/>
                </a:lnTo>
                <a:lnTo>
                  <a:pt x="3183" y="6459"/>
                </a:lnTo>
                <a:close/>
                <a:moveTo>
                  <a:pt x="9043" y="6459"/>
                </a:moveTo>
                <a:lnTo>
                  <a:pt x="8476" y="7940"/>
                </a:lnTo>
                <a:lnTo>
                  <a:pt x="7909" y="7404"/>
                </a:lnTo>
                <a:lnTo>
                  <a:pt x="8255" y="6459"/>
                </a:lnTo>
                <a:close/>
                <a:moveTo>
                  <a:pt x="2427" y="6459"/>
                </a:moveTo>
                <a:lnTo>
                  <a:pt x="3277" y="8476"/>
                </a:lnTo>
                <a:lnTo>
                  <a:pt x="2710" y="9011"/>
                </a:lnTo>
                <a:lnTo>
                  <a:pt x="1639" y="6459"/>
                </a:lnTo>
                <a:close/>
                <a:moveTo>
                  <a:pt x="4853" y="7877"/>
                </a:moveTo>
                <a:lnTo>
                  <a:pt x="5798" y="8224"/>
                </a:lnTo>
                <a:lnTo>
                  <a:pt x="5798" y="9011"/>
                </a:lnTo>
                <a:lnTo>
                  <a:pt x="4286" y="8413"/>
                </a:lnTo>
                <a:lnTo>
                  <a:pt x="4853" y="7877"/>
                </a:lnTo>
                <a:close/>
                <a:moveTo>
                  <a:pt x="7436" y="7908"/>
                </a:moveTo>
                <a:lnTo>
                  <a:pt x="8003" y="8444"/>
                </a:lnTo>
                <a:lnTo>
                  <a:pt x="6491" y="9043"/>
                </a:lnTo>
                <a:lnTo>
                  <a:pt x="6491" y="8255"/>
                </a:lnTo>
                <a:lnTo>
                  <a:pt x="7436" y="7908"/>
                </a:lnTo>
                <a:close/>
                <a:moveTo>
                  <a:pt x="10618" y="6491"/>
                </a:moveTo>
                <a:lnTo>
                  <a:pt x="9578" y="9043"/>
                </a:lnTo>
                <a:lnTo>
                  <a:pt x="9011" y="8507"/>
                </a:lnTo>
                <a:lnTo>
                  <a:pt x="9831" y="6491"/>
                </a:lnTo>
                <a:close/>
                <a:moveTo>
                  <a:pt x="3782" y="8980"/>
                </a:moveTo>
                <a:lnTo>
                  <a:pt x="5798" y="9799"/>
                </a:lnTo>
                <a:lnTo>
                  <a:pt x="5798" y="10555"/>
                </a:lnTo>
                <a:lnTo>
                  <a:pt x="3214" y="9515"/>
                </a:lnTo>
                <a:lnTo>
                  <a:pt x="3782" y="8980"/>
                </a:lnTo>
                <a:close/>
                <a:moveTo>
                  <a:pt x="8507" y="8917"/>
                </a:moveTo>
                <a:lnTo>
                  <a:pt x="9043" y="9484"/>
                </a:lnTo>
                <a:lnTo>
                  <a:pt x="6491" y="10555"/>
                </a:lnTo>
                <a:lnTo>
                  <a:pt x="6491" y="9767"/>
                </a:lnTo>
                <a:lnTo>
                  <a:pt x="8507" y="8917"/>
                </a:lnTo>
                <a:close/>
                <a:moveTo>
                  <a:pt x="6113" y="1"/>
                </a:moveTo>
                <a:cubicBezTo>
                  <a:pt x="5892" y="1"/>
                  <a:pt x="5735" y="158"/>
                  <a:pt x="5735" y="347"/>
                </a:cubicBezTo>
                <a:lnTo>
                  <a:pt x="5735" y="851"/>
                </a:lnTo>
                <a:lnTo>
                  <a:pt x="2647" y="2112"/>
                </a:lnTo>
                <a:lnTo>
                  <a:pt x="2332" y="1797"/>
                </a:lnTo>
                <a:cubicBezTo>
                  <a:pt x="2254" y="1718"/>
                  <a:pt x="2159" y="1678"/>
                  <a:pt x="2065" y="1678"/>
                </a:cubicBezTo>
                <a:cubicBezTo>
                  <a:pt x="1970" y="1678"/>
                  <a:pt x="1875" y="1718"/>
                  <a:pt x="1797" y="1797"/>
                </a:cubicBezTo>
                <a:cubicBezTo>
                  <a:pt x="1639" y="1954"/>
                  <a:pt x="1639" y="2143"/>
                  <a:pt x="1797" y="2332"/>
                </a:cubicBezTo>
                <a:lnTo>
                  <a:pt x="2112" y="2647"/>
                </a:lnTo>
                <a:lnTo>
                  <a:pt x="852" y="5735"/>
                </a:lnTo>
                <a:lnTo>
                  <a:pt x="348" y="5735"/>
                </a:lnTo>
                <a:cubicBezTo>
                  <a:pt x="158" y="5735"/>
                  <a:pt x="1" y="5892"/>
                  <a:pt x="1" y="6081"/>
                </a:cubicBezTo>
                <a:cubicBezTo>
                  <a:pt x="1" y="6302"/>
                  <a:pt x="158" y="6459"/>
                  <a:pt x="348" y="6459"/>
                </a:cubicBezTo>
                <a:lnTo>
                  <a:pt x="852" y="6459"/>
                </a:lnTo>
                <a:lnTo>
                  <a:pt x="2112" y="9547"/>
                </a:lnTo>
                <a:lnTo>
                  <a:pt x="1797" y="9862"/>
                </a:lnTo>
                <a:cubicBezTo>
                  <a:pt x="1639" y="10019"/>
                  <a:pt x="1639" y="10240"/>
                  <a:pt x="1797" y="10397"/>
                </a:cubicBezTo>
                <a:cubicBezTo>
                  <a:pt x="1891" y="10460"/>
                  <a:pt x="1954" y="10492"/>
                  <a:pt x="2049" y="10492"/>
                </a:cubicBezTo>
                <a:cubicBezTo>
                  <a:pt x="2112" y="10492"/>
                  <a:pt x="2238" y="10460"/>
                  <a:pt x="2269" y="10397"/>
                </a:cubicBezTo>
                <a:lnTo>
                  <a:pt x="2584" y="10082"/>
                </a:lnTo>
                <a:lnTo>
                  <a:pt x="5703" y="11343"/>
                </a:lnTo>
                <a:lnTo>
                  <a:pt x="5703" y="11847"/>
                </a:lnTo>
                <a:cubicBezTo>
                  <a:pt x="5703" y="12036"/>
                  <a:pt x="5861" y="12193"/>
                  <a:pt x="6050" y="12193"/>
                </a:cubicBezTo>
                <a:cubicBezTo>
                  <a:pt x="6270" y="12193"/>
                  <a:pt x="6428" y="12036"/>
                  <a:pt x="6428" y="11847"/>
                </a:cubicBezTo>
                <a:lnTo>
                  <a:pt x="6428" y="11343"/>
                </a:lnTo>
                <a:lnTo>
                  <a:pt x="9515" y="10082"/>
                </a:lnTo>
                <a:lnTo>
                  <a:pt x="9831" y="10397"/>
                </a:lnTo>
                <a:cubicBezTo>
                  <a:pt x="9925" y="10460"/>
                  <a:pt x="9988" y="10492"/>
                  <a:pt x="10083" y="10492"/>
                </a:cubicBezTo>
                <a:cubicBezTo>
                  <a:pt x="10146" y="10492"/>
                  <a:pt x="10272" y="10460"/>
                  <a:pt x="10303" y="10397"/>
                </a:cubicBezTo>
                <a:cubicBezTo>
                  <a:pt x="10461" y="10240"/>
                  <a:pt x="10461" y="10019"/>
                  <a:pt x="10303" y="9862"/>
                </a:cubicBezTo>
                <a:lnTo>
                  <a:pt x="9988" y="9547"/>
                </a:lnTo>
                <a:lnTo>
                  <a:pt x="11248" y="6459"/>
                </a:lnTo>
                <a:lnTo>
                  <a:pt x="11784" y="6459"/>
                </a:lnTo>
                <a:cubicBezTo>
                  <a:pt x="11973" y="6459"/>
                  <a:pt x="12130" y="6302"/>
                  <a:pt x="12130" y="6081"/>
                </a:cubicBezTo>
                <a:cubicBezTo>
                  <a:pt x="12130" y="5892"/>
                  <a:pt x="12036" y="5735"/>
                  <a:pt x="11847" y="5735"/>
                </a:cubicBezTo>
                <a:lnTo>
                  <a:pt x="11343" y="5735"/>
                </a:lnTo>
                <a:lnTo>
                  <a:pt x="10083" y="2647"/>
                </a:lnTo>
                <a:lnTo>
                  <a:pt x="10398" y="2332"/>
                </a:lnTo>
                <a:cubicBezTo>
                  <a:pt x="10555" y="2175"/>
                  <a:pt x="10555" y="1954"/>
                  <a:pt x="10398" y="1797"/>
                </a:cubicBezTo>
                <a:cubicBezTo>
                  <a:pt x="10319" y="1718"/>
                  <a:pt x="10232" y="1678"/>
                  <a:pt x="10146" y="1678"/>
                </a:cubicBezTo>
                <a:cubicBezTo>
                  <a:pt x="10059" y="1678"/>
                  <a:pt x="9972" y="1718"/>
                  <a:pt x="9894" y="1797"/>
                </a:cubicBezTo>
                <a:lnTo>
                  <a:pt x="9578" y="2112"/>
                </a:lnTo>
                <a:lnTo>
                  <a:pt x="6459" y="851"/>
                </a:lnTo>
                <a:lnTo>
                  <a:pt x="6459" y="347"/>
                </a:lnTo>
                <a:cubicBezTo>
                  <a:pt x="6459" y="158"/>
                  <a:pt x="6302" y="1"/>
                  <a:pt x="6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34" name="Google Shape;8734;p75"/>
          <p:cNvGrpSpPr/>
          <p:nvPr/>
        </p:nvGrpSpPr>
        <p:grpSpPr>
          <a:xfrm>
            <a:off x="8042149" y="2243724"/>
            <a:ext cx="373662" cy="449030"/>
            <a:chOff x="-16018450" y="4058400"/>
            <a:chExt cx="252850" cy="303850"/>
          </a:xfrm>
        </p:grpSpPr>
        <p:sp>
          <p:nvSpPr>
            <p:cNvPr id="8735" name="Google Shape;8735;p75"/>
            <p:cNvSpPr/>
            <p:nvPr/>
          </p:nvSpPr>
          <p:spPr>
            <a:xfrm>
              <a:off x="-15927875" y="4129900"/>
              <a:ext cx="88250" cy="89025"/>
            </a:xfrm>
            <a:custGeom>
              <a:avLst/>
              <a:gdLst/>
              <a:ahLst/>
              <a:cxnLst/>
              <a:rect l="l" t="t" r="r" b="b"/>
              <a:pathLst>
                <a:path w="3530" h="3561" extrusionOk="0">
                  <a:moveTo>
                    <a:pt x="1765" y="0"/>
                  </a:moveTo>
                  <a:cubicBezTo>
                    <a:pt x="788" y="0"/>
                    <a:pt x="1" y="788"/>
                    <a:pt x="1" y="1764"/>
                  </a:cubicBezTo>
                  <a:cubicBezTo>
                    <a:pt x="1" y="2772"/>
                    <a:pt x="788" y="3560"/>
                    <a:pt x="1765" y="3560"/>
                  </a:cubicBezTo>
                  <a:cubicBezTo>
                    <a:pt x="2742" y="3560"/>
                    <a:pt x="3529" y="2772"/>
                    <a:pt x="3529" y="1764"/>
                  </a:cubicBezTo>
                  <a:cubicBezTo>
                    <a:pt x="3529" y="788"/>
                    <a:pt x="2742"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75"/>
            <p:cNvSpPr/>
            <p:nvPr/>
          </p:nvSpPr>
          <p:spPr>
            <a:xfrm>
              <a:off x="-16002700" y="4058400"/>
              <a:ext cx="237100" cy="233575"/>
            </a:xfrm>
            <a:custGeom>
              <a:avLst/>
              <a:gdLst/>
              <a:ahLst/>
              <a:cxnLst/>
              <a:rect l="l" t="t" r="r" b="b"/>
              <a:pathLst>
                <a:path w="9484" h="9343" extrusionOk="0">
                  <a:moveTo>
                    <a:pt x="4758" y="2167"/>
                  </a:moveTo>
                  <a:cubicBezTo>
                    <a:pt x="6144" y="2167"/>
                    <a:pt x="7247" y="3270"/>
                    <a:pt x="7247" y="4656"/>
                  </a:cubicBezTo>
                  <a:cubicBezTo>
                    <a:pt x="7247" y="6010"/>
                    <a:pt x="6144" y="7113"/>
                    <a:pt x="4758" y="7113"/>
                  </a:cubicBezTo>
                  <a:cubicBezTo>
                    <a:pt x="3372" y="7113"/>
                    <a:pt x="2269" y="6010"/>
                    <a:pt x="2269" y="4656"/>
                  </a:cubicBezTo>
                  <a:cubicBezTo>
                    <a:pt x="2269" y="3270"/>
                    <a:pt x="3372" y="2167"/>
                    <a:pt x="4758" y="2167"/>
                  </a:cubicBezTo>
                  <a:close/>
                  <a:moveTo>
                    <a:pt x="4742" y="1"/>
                  </a:moveTo>
                  <a:cubicBezTo>
                    <a:pt x="4648" y="1"/>
                    <a:pt x="4553" y="40"/>
                    <a:pt x="4474" y="119"/>
                  </a:cubicBezTo>
                  <a:cubicBezTo>
                    <a:pt x="4159" y="434"/>
                    <a:pt x="3939" y="781"/>
                    <a:pt x="3813" y="1222"/>
                  </a:cubicBezTo>
                  <a:cubicBezTo>
                    <a:pt x="3498" y="938"/>
                    <a:pt x="3120" y="686"/>
                    <a:pt x="2679" y="623"/>
                  </a:cubicBezTo>
                  <a:cubicBezTo>
                    <a:pt x="2655" y="619"/>
                    <a:pt x="2630" y="617"/>
                    <a:pt x="2606" y="617"/>
                  </a:cubicBezTo>
                  <a:cubicBezTo>
                    <a:pt x="2437" y="617"/>
                    <a:pt x="2265" y="710"/>
                    <a:pt x="2238" y="875"/>
                  </a:cubicBezTo>
                  <a:cubicBezTo>
                    <a:pt x="2112" y="1285"/>
                    <a:pt x="2112" y="1726"/>
                    <a:pt x="2206" y="2135"/>
                  </a:cubicBezTo>
                  <a:cubicBezTo>
                    <a:pt x="2001" y="2092"/>
                    <a:pt x="1797" y="2068"/>
                    <a:pt x="1595" y="2068"/>
                  </a:cubicBezTo>
                  <a:cubicBezTo>
                    <a:pt x="1362" y="2068"/>
                    <a:pt x="1134" y="2099"/>
                    <a:pt x="914" y="2167"/>
                  </a:cubicBezTo>
                  <a:cubicBezTo>
                    <a:pt x="694" y="2198"/>
                    <a:pt x="599" y="2387"/>
                    <a:pt x="662" y="2608"/>
                  </a:cubicBezTo>
                  <a:cubicBezTo>
                    <a:pt x="788" y="3018"/>
                    <a:pt x="977" y="3396"/>
                    <a:pt x="1261" y="3742"/>
                  </a:cubicBezTo>
                  <a:cubicBezTo>
                    <a:pt x="851" y="3868"/>
                    <a:pt x="473" y="4089"/>
                    <a:pt x="158" y="4404"/>
                  </a:cubicBezTo>
                  <a:cubicBezTo>
                    <a:pt x="1" y="4561"/>
                    <a:pt x="1" y="4750"/>
                    <a:pt x="158" y="4908"/>
                  </a:cubicBezTo>
                  <a:cubicBezTo>
                    <a:pt x="473" y="5223"/>
                    <a:pt x="820" y="5475"/>
                    <a:pt x="1261" y="5601"/>
                  </a:cubicBezTo>
                  <a:cubicBezTo>
                    <a:pt x="977" y="5916"/>
                    <a:pt x="757" y="6294"/>
                    <a:pt x="662" y="6735"/>
                  </a:cubicBezTo>
                  <a:cubicBezTo>
                    <a:pt x="631" y="6924"/>
                    <a:pt x="757" y="7113"/>
                    <a:pt x="914" y="7176"/>
                  </a:cubicBezTo>
                  <a:cubicBezTo>
                    <a:pt x="1140" y="7228"/>
                    <a:pt x="1375" y="7252"/>
                    <a:pt x="1614" y="7252"/>
                  </a:cubicBezTo>
                  <a:cubicBezTo>
                    <a:pt x="1810" y="7252"/>
                    <a:pt x="2008" y="7236"/>
                    <a:pt x="2206" y="7208"/>
                  </a:cubicBezTo>
                  <a:lnTo>
                    <a:pt x="2206" y="7208"/>
                  </a:lnTo>
                  <a:cubicBezTo>
                    <a:pt x="2112" y="7649"/>
                    <a:pt x="2112" y="8058"/>
                    <a:pt x="2238" y="8468"/>
                  </a:cubicBezTo>
                  <a:cubicBezTo>
                    <a:pt x="2262" y="8613"/>
                    <a:pt x="2397" y="8721"/>
                    <a:pt x="2544" y="8721"/>
                  </a:cubicBezTo>
                  <a:cubicBezTo>
                    <a:pt x="2589" y="8721"/>
                    <a:pt x="2634" y="8711"/>
                    <a:pt x="2679" y="8688"/>
                  </a:cubicBezTo>
                  <a:cubicBezTo>
                    <a:pt x="3120" y="8594"/>
                    <a:pt x="3466" y="8373"/>
                    <a:pt x="3813" y="8121"/>
                  </a:cubicBezTo>
                  <a:cubicBezTo>
                    <a:pt x="3939" y="8499"/>
                    <a:pt x="4159" y="8909"/>
                    <a:pt x="4474" y="9224"/>
                  </a:cubicBezTo>
                  <a:cubicBezTo>
                    <a:pt x="4553" y="9303"/>
                    <a:pt x="4648" y="9342"/>
                    <a:pt x="4742" y="9342"/>
                  </a:cubicBezTo>
                  <a:cubicBezTo>
                    <a:pt x="4837" y="9342"/>
                    <a:pt x="4931" y="9303"/>
                    <a:pt x="5010" y="9224"/>
                  </a:cubicBezTo>
                  <a:cubicBezTo>
                    <a:pt x="5325" y="8909"/>
                    <a:pt x="5546" y="8531"/>
                    <a:pt x="5672" y="8121"/>
                  </a:cubicBezTo>
                  <a:cubicBezTo>
                    <a:pt x="5987" y="8342"/>
                    <a:pt x="6365" y="8594"/>
                    <a:pt x="6806" y="8688"/>
                  </a:cubicBezTo>
                  <a:cubicBezTo>
                    <a:pt x="6840" y="8700"/>
                    <a:pt x="6875" y="8705"/>
                    <a:pt x="6910" y="8705"/>
                  </a:cubicBezTo>
                  <a:cubicBezTo>
                    <a:pt x="7068" y="8705"/>
                    <a:pt x="7221" y="8597"/>
                    <a:pt x="7247" y="8468"/>
                  </a:cubicBezTo>
                  <a:cubicBezTo>
                    <a:pt x="7373" y="8027"/>
                    <a:pt x="7373" y="7586"/>
                    <a:pt x="7278" y="7208"/>
                  </a:cubicBezTo>
                  <a:lnTo>
                    <a:pt x="7278" y="7208"/>
                  </a:lnTo>
                  <a:cubicBezTo>
                    <a:pt x="7477" y="7236"/>
                    <a:pt x="7675" y="7252"/>
                    <a:pt x="7870" y="7252"/>
                  </a:cubicBezTo>
                  <a:cubicBezTo>
                    <a:pt x="8110" y="7252"/>
                    <a:pt x="8345" y="7228"/>
                    <a:pt x="8570" y="7176"/>
                  </a:cubicBezTo>
                  <a:cubicBezTo>
                    <a:pt x="8791" y="7113"/>
                    <a:pt x="8885" y="6924"/>
                    <a:pt x="8822" y="6735"/>
                  </a:cubicBezTo>
                  <a:cubicBezTo>
                    <a:pt x="8696" y="6294"/>
                    <a:pt x="8507" y="5947"/>
                    <a:pt x="8224" y="5601"/>
                  </a:cubicBezTo>
                  <a:cubicBezTo>
                    <a:pt x="8633" y="5475"/>
                    <a:pt x="9011" y="5223"/>
                    <a:pt x="9326" y="4908"/>
                  </a:cubicBezTo>
                  <a:cubicBezTo>
                    <a:pt x="9484" y="4750"/>
                    <a:pt x="9484" y="4561"/>
                    <a:pt x="9326" y="4404"/>
                  </a:cubicBezTo>
                  <a:cubicBezTo>
                    <a:pt x="9011" y="4089"/>
                    <a:pt x="8665" y="3868"/>
                    <a:pt x="8224" y="3742"/>
                  </a:cubicBezTo>
                  <a:cubicBezTo>
                    <a:pt x="8507" y="3427"/>
                    <a:pt x="8728" y="3018"/>
                    <a:pt x="8822" y="2608"/>
                  </a:cubicBezTo>
                  <a:cubicBezTo>
                    <a:pt x="8854" y="2387"/>
                    <a:pt x="8728" y="2198"/>
                    <a:pt x="8570" y="2167"/>
                  </a:cubicBezTo>
                  <a:cubicBezTo>
                    <a:pt x="8351" y="2099"/>
                    <a:pt x="8122" y="2068"/>
                    <a:pt x="7889" y="2068"/>
                  </a:cubicBezTo>
                  <a:cubicBezTo>
                    <a:pt x="7688" y="2068"/>
                    <a:pt x="7483" y="2092"/>
                    <a:pt x="7278" y="2135"/>
                  </a:cubicBezTo>
                  <a:cubicBezTo>
                    <a:pt x="7373" y="1694"/>
                    <a:pt x="7373" y="1253"/>
                    <a:pt x="7247" y="875"/>
                  </a:cubicBezTo>
                  <a:cubicBezTo>
                    <a:pt x="7223" y="705"/>
                    <a:pt x="7086" y="591"/>
                    <a:pt x="6938" y="591"/>
                  </a:cubicBezTo>
                  <a:cubicBezTo>
                    <a:pt x="6894" y="591"/>
                    <a:pt x="6849" y="602"/>
                    <a:pt x="6806" y="623"/>
                  </a:cubicBezTo>
                  <a:cubicBezTo>
                    <a:pt x="6365" y="749"/>
                    <a:pt x="6018" y="938"/>
                    <a:pt x="5672" y="1222"/>
                  </a:cubicBezTo>
                  <a:cubicBezTo>
                    <a:pt x="5546" y="812"/>
                    <a:pt x="5325" y="434"/>
                    <a:pt x="5010" y="119"/>
                  </a:cubicBezTo>
                  <a:cubicBezTo>
                    <a:pt x="4931" y="40"/>
                    <a:pt x="4837" y="1"/>
                    <a:pt x="4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5"/>
            <p:cNvSpPr/>
            <p:nvPr/>
          </p:nvSpPr>
          <p:spPr>
            <a:xfrm>
              <a:off x="-16018450" y="4253550"/>
              <a:ext cx="129200" cy="108700"/>
            </a:xfrm>
            <a:custGeom>
              <a:avLst/>
              <a:gdLst/>
              <a:ahLst/>
              <a:cxnLst/>
              <a:rect l="l" t="t" r="r" b="b"/>
              <a:pathLst>
                <a:path w="5168" h="4348" extrusionOk="0">
                  <a:moveTo>
                    <a:pt x="1009" y="0"/>
                  </a:moveTo>
                  <a:cubicBezTo>
                    <a:pt x="410" y="693"/>
                    <a:pt x="1" y="1607"/>
                    <a:pt x="1" y="2615"/>
                  </a:cubicBezTo>
                  <a:lnTo>
                    <a:pt x="1" y="4001"/>
                  </a:lnTo>
                  <a:lnTo>
                    <a:pt x="32" y="4001"/>
                  </a:lnTo>
                  <a:cubicBezTo>
                    <a:pt x="32" y="4190"/>
                    <a:pt x="190" y="4348"/>
                    <a:pt x="410" y="4348"/>
                  </a:cubicBezTo>
                  <a:lnTo>
                    <a:pt x="1796" y="4348"/>
                  </a:lnTo>
                  <a:cubicBezTo>
                    <a:pt x="3214" y="4348"/>
                    <a:pt x="4443" y="3560"/>
                    <a:pt x="5167" y="2426"/>
                  </a:cubicBezTo>
                  <a:cubicBezTo>
                    <a:pt x="4915" y="2237"/>
                    <a:pt x="4411" y="1733"/>
                    <a:pt x="4159" y="1355"/>
                  </a:cubicBezTo>
                  <a:cubicBezTo>
                    <a:pt x="3750" y="1576"/>
                    <a:pt x="3309" y="1670"/>
                    <a:pt x="2836" y="1796"/>
                  </a:cubicBezTo>
                  <a:cubicBezTo>
                    <a:pt x="2805" y="1801"/>
                    <a:pt x="2774" y="1804"/>
                    <a:pt x="2743" y="1804"/>
                  </a:cubicBezTo>
                  <a:cubicBezTo>
                    <a:pt x="2580" y="1804"/>
                    <a:pt x="2421" y="1734"/>
                    <a:pt x="2395" y="1576"/>
                  </a:cubicBezTo>
                  <a:cubicBezTo>
                    <a:pt x="2269" y="1040"/>
                    <a:pt x="2111" y="662"/>
                    <a:pt x="2080" y="189"/>
                  </a:cubicBezTo>
                  <a:cubicBezTo>
                    <a:pt x="1702" y="158"/>
                    <a:pt x="1418" y="63"/>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8" name="Google Shape;8738;p75"/>
            <p:cNvSpPr/>
            <p:nvPr/>
          </p:nvSpPr>
          <p:spPr>
            <a:xfrm>
              <a:off x="-15876675" y="4254325"/>
              <a:ext cx="107925" cy="90600"/>
            </a:xfrm>
            <a:custGeom>
              <a:avLst/>
              <a:gdLst/>
              <a:ahLst/>
              <a:cxnLst/>
              <a:rect l="l" t="t" r="r" b="b"/>
              <a:pathLst>
                <a:path w="4317" h="3624" extrusionOk="0">
                  <a:moveTo>
                    <a:pt x="3750" y="1"/>
                  </a:moveTo>
                  <a:cubicBezTo>
                    <a:pt x="3466" y="64"/>
                    <a:pt x="3277" y="127"/>
                    <a:pt x="2993" y="127"/>
                  </a:cubicBezTo>
                  <a:cubicBezTo>
                    <a:pt x="2962" y="599"/>
                    <a:pt x="2836" y="977"/>
                    <a:pt x="2678" y="1482"/>
                  </a:cubicBezTo>
                  <a:cubicBezTo>
                    <a:pt x="2653" y="1657"/>
                    <a:pt x="2509" y="1753"/>
                    <a:pt x="2355" y="1753"/>
                  </a:cubicBezTo>
                  <a:cubicBezTo>
                    <a:pt x="2316" y="1753"/>
                    <a:pt x="2276" y="1746"/>
                    <a:pt x="2237" y="1734"/>
                  </a:cubicBezTo>
                  <a:cubicBezTo>
                    <a:pt x="1733" y="1608"/>
                    <a:pt x="1292" y="1482"/>
                    <a:pt x="914" y="1292"/>
                  </a:cubicBezTo>
                  <a:cubicBezTo>
                    <a:pt x="631" y="1702"/>
                    <a:pt x="347" y="1923"/>
                    <a:pt x="1" y="2269"/>
                  </a:cubicBezTo>
                  <a:cubicBezTo>
                    <a:pt x="599" y="3057"/>
                    <a:pt x="1481" y="3592"/>
                    <a:pt x="2552" y="3592"/>
                  </a:cubicBezTo>
                  <a:lnTo>
                    <a:pt x="3970" y="3592"/>
                  </a:lnTo>
                  <a:lnTo>
                    <a:pt x="3970" y="3624"/>
                  </a:lnTo>
                  <a:cubicBezTo>
                    <a:pt x="4159" y="3624"/>
                    <a:pt x="4317" y="3466"/>
                    <a:pt x="4317" y="3277"/>
                  </a:cubicBezTo>
                  <a:lnTo>
                    <a:pt x="4317" y="1860"/>
                  </a:lnTo>
                  <a:cubicBezTo>
                    <a:pt x="4317" y="1166"/>
                    <a:pt x="4096" y="536"/>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9" name="Google Shape;8739;p75"/>
          <p:cNvSpPr/>
          <p:nvPr/>
        </p:nvSpPr>
        <p:spPr>
          <a:xfrm>
            <a:off x="6274865" y="3343157"/>
            <a:ext cx="449288" cy="448143"/>
          </a:xfrm>
          <a:custGeom>
            <a:avLst/>
            <a:gdLst/>
            <a:ahLst/>
            <a:cxnLst/>
            <a:rect l="l" t="t" r="r" b="b"/>
            <a:pathLst>
              <a:path w="12161" h="12130" extrusionOk="0">
                <a:moveTo>
                  <a:pt x="3245" y="0"/>
                </a:moveTo>
                <a:cubicBezTo>
                  <a:pt x="3245" y="0"/>
                  <a:pt x="2174" y="820"/>
                  <a:pt x="2174" y="1765"/>
                </a:cubicBezTo>
                <a:cubicBezTo>
                  <a:pt x="2174" y="2363"/>
                  <a:pt x="2552" y="2930"/>
                  <a:pt x="2867" y="3245"/>
                </a:cubicBezTo>
                <a:lnTo>
                  <a:pt x="2867" y="4254"/>
                </a:lnTo>
                <a:cubicBezTo>
                  <a:pt x="2867" y="3466"/>
                  <a:pt x="2237" y="2836"/>
                  <a:pt x="1449" y="2836"/>
                </a:cubicBezTo>
                <a:lnTo>
                  <a:pt x="756" y="2836"/>
                </a:lnTo>
                <a:lnTo>
                  <a:pt x="756" y="3560"/>
                </a:lnTo>
                <a:cubicBezTo>
                  <a:pt x="756" y="4348"/>
                  <a:pt x="1386" y="4978"/>
                  <a:pt x="2174" y="4978"/>
                </a:cubicBezTo>
                <a:lnTo>
                  <a:pt x="2867" y="4978"/>
                </a:lnTo>
                <a:lnTo>
                  <a:pt x="2867" y="6742"/>
                </a:lnTo>
                <a:cubicBezTo>
                  <a:pt x="2867" y="5955"/>
                  <a:pt x="2237" y="5325"/>
                  <a:pt x="1449" y="5325"/>
                </a:cubicBezTo>
                <a:lnTo>
                  <a:pt x="756" y="5325"/>
                </a:lnTo>
                <a:lnTo>
                  <a:pt x="756" y="6018"/>
                </a:lnTo>
                <a:cubicBezTo>
                  <a:pt x="756" y="6805"/>
                  <a:pt x="1386" y="7467"/>
                  <a:pt x="2174" y="7467"/>
                </a:cubicBezTo>
                <a:lnTo>
                  <a:pt x="2867" y="7467"/>
                </a:lnTo>
                <a:lnTo>
                  <a:pt x="2867" y="9263"/>
                </a:lnTo>
                <a:cubicBezTo>
                  <a:pt x="2867" y="8475"/>
                  <a:pt x="2237" y="7845"/>
                  <a:pt x="1449" y="7845"/>
                </a:cubicBezTo>
                <a:lnTo>
                  <a:pt x="756" y="7845"/>
                </a:lnTo>
                <a:lnTo>
                  <a:pt x="756" y="8570"/>
                </a:lnTo>
                <a:cubicBezTo>
                  <a:pt x="756" y="9357"/>
                  <a:pt x="1386" y="9987"/>
                  <a:pt x="2174" y="9987"/>
                </a:cubicBezTo>
                <a:lnTo>
                  <a:pt x="2867" y="9987"/>
                </a:lnTo>
                <a:lnTo>
                  <a:pt x="2867" y="11437"/>
                </a:lnTo>
                <a:lnTo>
                  <a:pt x="347" y="11437"/>
                </a:lnTo>
                <a:cubicBezTo>
                  <a:pt x="158" y="11437"/>
                  <a:pt x="0" y="11594"/>
                  <a:pt x="0" y="11783"/>
                </a:cubicBezTo>
                <a:cubicBezTo>
                  <a:pt x="0" y="11972"/>
                  <a:pt x="158" y="12130"/>
                  <a:pt x="347" y="12130"/>
                </a:cubicBezTo>
                <a:lnTo>
                  <a:pt x="11814" y="12130"/>
                </a:lnTo>
                <a:cubicBezTo>
                  <a:pt x="12004" y="12130"/>
                  <a:pt x="12161" y="11972"/>
                  <a:pt x="12161" y="11783"/>
                </a:cubicBezTo>
                <a:cubicBezTo>
                  <a:pt x="12161" y="11594"/>
                  <a:pt x="12004" y="11437"/>
                  <a:pt x="11814" y="11437"/>
                </a:cubicBezTo>
                <a:lnTo>
                  <a:pt x="9294" y="11437"/>
                </a:lnTo>
                <a:lnTo>
                  <a:pt x="9294" y="9987"/>
                </a:lnTo>
                <a:lnTo>
                  <a:pt x="10019" y="9987"/>
                </a:lnTo>
                <a:cubicBezTo>
                  <a:pt x="10806" y="9987"/>
                  <a:pt x="11436" y="9357"/>
                  <a:pt x="11436" y="8570"/>
                </a:cubicBezTo>
                <a:lnTo>
                  <a:pt x="11436" y="7845"/>
                </a:lnTo>
                <a:lnTo>
                  <a:pt x="10712" y="7845"/>
                </a:lnTo>
                <a:cubicBezTo>
                  <a:pt x="9924" y="7845"/>
                  <a:pt x="9294" y="8475"/>
                  <a:pt x="9294" y="9263"/>
                </a:cubicBezTo>
                <a:lnTo>
                  <a:pt x="9294" y="7467"/>
                </a:lnTo>
                <a:lnTo>
                  <a:pt x="10019" y="7467"/>
                </a:lnTo>
                <a:cubicBezTo>
                  <a:pt x="10806" y="7467"/>
                  <a:pt x="11436" y="6805"/>
                  <a:pt x="11436" y="6018"/>
                </a:cubicBezTo>
                <a:lnTo>
                  <a:pt x="11436" y="5325"/>
                </a:lnTo>
                <a:lnTo>
                  <a:pt x="10712" y="5325"/>
                </a:lnTo>
                <a:cubicBezTo>
                  <a:pt x="9924" y="5325"/>
                  <a:pt x="9294" y="5955"/>
                  <a:pt x="9294" y="6742"/>
                </a:cubicBezTo>
                <a:lnTo>
                  <a:pt x="9294" y="4978"/>
                </a:lnTo>
                <a:lnTo>
                  <a:pt x="10019" y="4978"/>
                </a:lnTo>
                <a:cubicBezTo>
                  <a:pt x="10806" y="4978"/>
                  <a:pt x="11436" y="4348"/>
                  <a:pt x="11436" y="3560"/>
                </a:cubicBezTo>
                <a:lnTo>
                  <a:pt x="11436" y="2836"/>
                </a:lnTo>
                <a:lnTo>
                  <a:pt x="10712" y="2836"/>
                </a:lnTo>
                <a:cubicBezTo>
                  <a:pt x="9924" y="2836"/>
                  <a:pt x="9294" y="3466"/>
                  <a:pt x="9294" y="4254"/>
                </a:cubicBezTo>
                <a:lnTo>
                  <a:pt x="9294" y="3245"/>
                </a:lnTo>
                <a:cubicBezTo>
                  <a:pt x="9609" y="2930"/>
                  <a:pt x="10019" y="2363"/>
                  <a:pt x="10019" y="1765"/>
                </a:cubicBezTo>
                <a:cubicBezTo>
                  <a:pt x="10019" y="788"/>
                  <a:pt x="8948" y="0"/>
                  <a:pt x="8948" y="0"/>
                </a:cubicBezTo>
                <a:cubicBezTo>
                  <a:pt x="8948" y="0"/>
                  <a:pt x="7876" y="820"/>
                  <a:pt x="7876" y="1765"/>
                </a:cubicBezTo>
                <a:cubicBezTo>
                  <a:pt x="7876" y="2363"/>
                  <a:pt x="8286" y="2930"/>
                  <a:pt x="8601" y="3245"/>
                </a:cubicBezTo>
                <a:lnTo>
                  <a:pt x="8601" y="4254"/>
                </a:lnTo>
                <a:cubicBezTo>
                  <a:pt x="8601" y="3466"/>
                  <a:pt x="7971" y="2836"/>
                  <a:pt x="7183" y="2836"/>
                </a:cubicBezTo>
                <a:lnTo>
                  <a:pt x="6459" y="2836"/>
                </a:lnTo>
                <a:lnTo>
                  <a:pt x="6459" y="3560"/>
                </a:lnTo>
                <a:cubicBezTo>
                  <a:pt x="6459" y="4348"/>
                  <a:pt x="7089" y="4978"/>
                  <a:pt x="7876" y="4978"/>
                </a:cubicBezTo>
                <a:lnTo>
                  <a:pt x="8601" y="4978"/>
                </a:lnTo>
                <a:lnTo>
                  <a:pt x="8601" y="6742"/>
                </a:lnTo>
                <a:cubicBezTo>
                  <a:pt x="8601" y="5955"/>
                  <a:pt x="7971" y="5325"/>
                  <a:pt x="7183" y="5325"/>
                </a:cubicBezTo>
                <a:lnTo>
                  <a:pt x="6459" y="5325"/>
                </a:lnTo>
                <a:lnTo>
                  <a:pt x="6459" y="6018"/>
                </a:lnTo>
                <a:cubicBezTo>
                  <a:pt x="6459" y="6805"/>
                  <a:pt x="7089" y="7467"/>
                  <a:pt x="7876" y="7467"/>
                </a:cubicBezTo>
                <a:lnTo>
                  <a:pt x="8601" y="7467"/>
                </a:lnTo>
                <a:lnTo>
                  <a:pt x="8601" y="9263"/>
                </a:lnTo>
                <a:cubicBezTo>
                  <a:pt x="8601" y="8475"/>
                  <a:pt x="7971" y="7845"/>
                  <a:pt x="7183" y="7845"/>
                </a:cubicBezTo>
                <a:lnTo>
                  <a:pt x="6459" y="7845"/>
                </a:lnTo>
                <a:lnTo>
                  <a:pt x="6459" y="8570"/>
                </a:lnTo>
                <a:cubicBezTo>
                  <a:pt x="6459" y="9357"/>
                  <a:pt x="7089" y="9987"/>
                  <a:pt x="7876" y="9987"/>
                </a:cubicBezTo>
                <a:lnTo>
                  <a:pt x="8601" y="9987"/>
                </a:lnTo>
                <a:lnTo>
                  <a:pt x="8601" y="11437"/>
                </a:lnTo>
                <a:lnTo>
                  <a:pt x="3592" y="11437"/>
                </a:lnTo>
                <a:lnTo>
                  <a:pt x="3592" y="9987"/>
                </a:lnTo>
                <a:lnTo>
                  <a:pt x="4285" y="9987"/>
                </a:lnTo>
                <a:cubicBezTo>
                  <a:pt x="5072" y="9987"/>
                  <a:pt x="5703" y="9357"/>
                  <a:pt x="5703" y="8570"/>
                </a:cubicBezTo>
                <a:lnTo>
                  <a:pt x="5703" y="7845"/>
                </a:lnTo>
                <a:lnTo>
                  <a:pt x="5009" y="7845"/>
                </a:lnTo>
                <a:cubicBezTo>
                  <a:pt x="4222" y="7845"/>
                  <a:pt x="3592" y="8475"/>
                  <a:pt x="3592" y="9263"/>
                </a:cubicBezTo>
                <a:lnTo>
                  <a:pt x="3592" y="7467"/>
                </a:lnTo>
                <a:lnTo>
                  <a:pt x="4285" y="7467"/>
                </a:lnTo>
                <a:cubicBezTo>
                  <a:pt x="5072" y="7467"/>
                  <a:pt x="5703" y="6805"/>
                  <a:pt x="5703" y="6018"/>
                </a:cubicBezTo>
                <a:lnTo>
                  <a:pt x="5703" y="5325"/>
                </a:lnTo>
                <a:lnTo>
                  <a:pt x="5009" y="5325"/>
                </a:lnTo>
                <a:cubicBezTo>
                  <a:pt x="4222" y="5325"/>
                  <a:pt x="3592" y="5955"/>
                  <a:pt x="3592" y="6742"/>
                </a:cubicBezTo>
                <a:lnTo>
                  <a:pt x="3592" y="4978"/>
                </a:lnTo>
                <a:lnTo>
                  <a:pt x="4285" y="4978"/>
                </a:lnTo>
                <a:cubicBezTo>
                  <a:pt x="5072" y="4978"/>
                  <a:pt x="5703" y="4348"/>
                  <a:pt x="5703" y="3560"/>
                </a:cubicBezTo>
                <a:lnTo>
                  <a:pt x="5703" y="2836"/>
                </a:lnTo>
                <a:lnTo>
                  <a:pt x="5009" y="2836"/>
                </a:lnTo>
                <a:cubicBezTo>
                  <a:pt x="4222" y="2836"/>
                  <a:pt x="3592" y="3466"/>
                  <a:pt x="3592" y="4254"/>
                </a:cubicBezTo>
                <a:lnTo>
                  <a:pt x="3592" y="3245"/>
                </a:lnTo>
                <a:cubicBezTo>
                  <a:pt x="3907" y="2930"/>
                  <a:pt x="4285" y="2363"/>
                  <a:pt x="4285" y="1765"/>
                </a:cubicBezTo>
                <a:cubicBezTo>
                  <a:pt x="4285" y="788"/>
                  <a:pt x="3245" y="0"/>
                  <a:pt x="32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0" name="Google Shape;8740;p75"/>
          <p:cNvSpPr txBox="1"/>
          <p:nvPr/>
        </p:nvSpPr>
        <p:spPr>
          <a:xfrm>
            <a:off x="1048350" y="721025"/>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Nature Icons</a:t>
            </a:r>
            <a:endParaRPr sz="2400">
              <a:solidFill>
                <a:srgbClr val="FFFFFF"/>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744"/>
        <p:cNvGrpSpPr/>
        <p:nvPr/>
      </p:nvGrpSpPr>
      <p:grpSpPr>
        <a:xfrm>
          <a:off x="0" y="0"/>
          <a:ext cx="0" cy="0"/>
          <a:chOff x="0" y="0"/>
          <a:chExt cx="0" cy="0"/>
        </a:xfrm>
      </p:grpSpPr>
      <p:grpSp>
        <p:nvGrpSpPr>
          <p:cNvPr id="8745" name="Google Shape;8745;p76"/>
          <p:cNvGrpSpPr/>
          <p:nvPr/>
        </p:nvGrpSpPr>
        <p:grpSpPr>
          <a:xfrm>
            <a:off x="845901" y="1689241"/>
            <a:ext cx="442337" cy="419623"/>
            <a:chOff x="-6696925" y="3272575"/>
            <a:chExt cx="307200" cy="291425"/>
          </a:xfrm>
        </p:grpSpPr>
        <p:sp>
          <p:nvSpPr>
            <p:cNvPr id="8746" name="Google Shape;8746;p76"/>
            <p:cNvSpPr/>
            <p:nvPr/>
          </p:nvSpPr>
          <p:spPr>
            <a:xfrm>
              <a:off x="-6696925" y="3371400"/>
              <a:ext cx="220575" cy="192600"/>
            </a:xfrm>
            <a:custGeom>
              <a:avLst/>
              <a:gdLst/>
              <a:ahLst/>
              <a:cxnLst/>
              <a:rect l="l" t="t" r="r" b="b"/>
              <a:pathLst>
                <a:path w="8823" h="7704" extrusionOk="0">
                  <a:moveTo>
                    <a:pt x="7531" y="1"/>
                  </a:moveTo>
                  <a:lnTo>
                    <a:pt x="6333" y="1167"/>
                  </a:lnTo>
                  <a:cubicBezTo>
                    <a:pt x="6207" y="1293"/>
                    <a:pt x="6207" y="1513"/>
                    <a:pt x="6333" y="1639"/>
                  </a:cubicBezTo>
                  <a:cubicBezTo>
                    <a:pt x="6743" y="2017"/>
                    <a:pt x="6743" y="2710"/>
                    <a:pt x="6333" y="3088"/>
                  </a:cubicBezTo>
                  <a:lnTo>
                    <a:pt x="4096" y="5325"/>
                  </a:lnTo>
                  <a:cubicBezTo>
                    <a:pt x="3892" y="5530"/>
                    <a:pt x="3624" y="5632"/>
                    <a:pt x="3360" y="5632"/>
                  </a:cubicBezTo>
                  <a:cubicBezTo>
                    <a:pt x="3096" y="5632"/>
                    <a:pt x="2836" y="5530"/>
                    <a:pt x="2647" y="5325"/>
                  </a:cubicBezTo>
                  <a:cubicBezTo>
                    <a:pt x="2238" y="4947"/>
                    <a:pt x="2238" y="4286"/>
                    <a:pt x="2647" y="3876"/>
                  </a:cubicBezTo>
                  <a:lnTo>
                    <a:pt x="3309" y="3214"/>
                  </a:lnTo>
                  <a:cubicBezTo>
                    <a:pt x="2994" y="2679"/>
                    <a:pt x="2836" y="2017"/>
                    <a:pt x="2836" y="1387"/>
                  </a:cubicBezTo>
                  <a:cubicBezTo>
                    <a:pt x="2836" y="1167"/>
                    <a:pt x="2868" y="978"/>
                    <a:pt x="2899" y="726"/>
                  </a:cubicBezTo>
                  <a:lnTo>
                    <a:pt x="2899" y="726"/>
                  </a:lnTo>
                  <a:lnTo>
                    <a:pt x="1230" y="2427"/>
                  </a:lnTo>
                  <a:cubicBezTo>
                    <a:pt x="1" y="3592"/>
                    <a:pt x="1" y="5577"/>
                    <a:pt x="1230" y="6806"/>
                  </a:cubicBezTo>
                  <a:cubicBezTo>
                    <a:pt x="1820" y="7396"/>
                    <a:pt x="2621" y="7704"/>
                    <a:pt x="3423" y="7704"/>
                  </a:cubicBezTo>
                  <a:cubicBezTo>
                    <a:pt x="4204" y="7704"/>
                    <a:pt x="4986" y="7412"/>
                    <a:pt x="5577" y="6806"/>
                  </a:cubicBezTo>
                  <a:cubicBezTo>
                    <a:pt x="7531" y="4884"/>
                    <a:pt x="8003" y="4506"/>
                    <a:pt x="8350" y="3813"/>
                  </a:cubicBezTo>
                  <a:cubicBezTo>
                    <a:pt x="8822" y="2994"/>
                    <a:pt x="8822" y="1986"/>
                    <a:pt x="8381" y="1104"/>
                  </a:cubicBezTo>
                  <a:cubicBezTo>
                    <a:pt x="8161" y="568"/>
                    <a:pt x="7877" y="253"/>
                    <a:pt x="75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7" name="Google Shape;8747;p76"/>
            <p:cNvSpPr/>
            <p:nvPr/>
          </p:nvSpPr>
          <p:spPr>
            <a:xfrm>
              <a:off x="-6621300" y="3272575"/>
              <a:ext cx="231575" cy="194950"/>
            </a:xfrm>
            <a:custGeom>
              <a:avLst/>
              <a:gdLst/>
              <a:ahLst/>
              <a:cxnLst/>
              <a:rect l="l" t="t" r="r" b="b"/>
              <a:pathLst>
                <a:path w="9263" h="7798" extrusionOk="0">
                  <a:moveTo>
                    <a:pt x="5868" y="0"/>
                  </a:moveTo>
                  <a:cubicBezTo>
                    <a:pt x="5073" y="0"/>
                    <a:pt x="4269" y="299"/>
                    <a:pt x="3655" y="898"/>
                  </a:cubicBezTo>
                  <a:lnTo>
                    <a:pt x="1387" y="3229"/>
                  </a:lnTo>
                  <a:cubicBezTo>
                    <a:pt x="0" y="4615"/>
                    <a:pt x="315" y="6852"/>
                    <a:pt x="1670" y="7797"/>
                  </a:cubicBezTo>
                  <a:lnTo>
                    <a:pt x="2836" y="6632"/>
                  </a:lnTo>
                  <a:cubicBezTo>
                    <a:pt x="2962" y="6506"/>
                    <a:pt x="2962" y="6317"/>
                    <a:pt x="2836" y="6159"/>
                  </a:cubicBezTo>
                  <a:cubicBezTo>
                    <a:pt x="2552" y="5907"/>
                    <a:pt x="2489" y="5466"/>
                    <a:pt x="2552" y="5372"/>
                  </a:cubicBezTo>
                  <a:cubicBezTo>
                    <a:pt x="2552" y="4742"/>
                    <a:pt x="3214" y="4332"/>
                    <a:pt x="5167" y="2379"/>
                  </a:cubicBezTo>
                  <a:cubicBezTo>
                    <a:pt x="5384" y="2162"/>
                    <a:pt x="5630" y="2071"/>
                    <a:pt x="5869" y="2071"/>
                  </a:cubicBezTo>
                  <a:cubicBezTo>
                    <a:pt x="6673" y="2071"/>
                    <a:pt x="7393" y="3099"/>
                    <a:pt x="6616" y="3828"/>
                  </a:cubicBezTo>
                  <a:lnTo>
                    <a:pt x="5923" y="4521"/>
                  </a:lnTo>
                  <a:cubicBezTo>
                    <a:pt x="6364" y="5372"/>
                    <a:pt x="6522" y="6159"/>
                    <a:pt x="6364" y="7010"/>
                  </a:cubicBezTo>
                  <a:lnTo>
                    <a:pt x="8097" y="5277"/>
                  </a:lnTo>
                  <a:cubicBezTo>
                    <a:pt x="9263" y="4048"/>
                    <a:pt x="9263" y="2127"/>
                    <a:pt x="8034" y="898"/>
                  </a:cubicBezTo>
                  <a:cubicBezTo>
                    <a:pt x="7451" y="299"/>
                    <a:pt x="6664" y="0"/>
                    <a:pt x="5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8" name="Google Shape;8748;p76"/>
          <p:cNvGrpSpPr/>
          <p:nvPr/>
        </p:nvGrpSpPr>
        <p:grpSpPr>
          <a:xfrm>
            <a:off x="845884" y="2204636"/>
            <a:ext cx="442373" cy="420775"/>
            <a:chOff x="-6690625" y="3631325"/>
            <a:chExt cx="307225" cy="292225"/>
          </a:xfrm>
        </p:grpSpPr>
        <p:sp>
          <p:nvSpPr>
            <p:cNvPr id="8749" name="Google Shape;8749;p76"/>
            <p:cNvSpPr/>
            <p:nvPr/>
          </p:nvSpPr>
          <p:spPr>
            <a:xfrm>
              <a:off x="-6690625" y="3631325"/>
              <a:ext cx="222925" cy="292225"/>
            </a:xfrm>
            <a:custGeom>
              <a:avLst/>
              <a:gdLst/>
              <a:ahLst/>
              <a:cxnLst/>
              <a:rect l="l" t="t" r="r" b="b"/>
              <a:pathLst>
                <a:path w="8917" h="11689" extrusionOk="0">
                  <a:moveTo>
                    <a:pt x="5861" y="2773"/>
                  </a:moveTo>
                  <a:cubicBezTo>
                    <a:pt x="6270" y="2773"/>
                    <a:pt x="6333" y="3435"/>
                    <a:pt x="5861" y="3435"/>
                  </a:cubicBezTo>
                  <a:lnTo>
                    <a:pt x="3813" y="3435"/>
                  </a:lnTo>
                  <a:cubicBezTo>
                    <a:pt x="3372" y="3435"/>
                    <a:pt x="3340" y="2773"/>
                    <a:pt x="3813" y="2773"/>
                  </a:cubicBezTo>
                  <a:close/>
                  <a:moveTo>
                    <a:pt x="2742" y="0"/>
                  </a:moveTo>
                  <a:lnTo>
                    <a:pt x="2742" y="2395"/>
                  </a:lnTo>
                  <a:cubicBezTo>
                    <a:pt x="2742" y="2584"/>
                    <a:pt x="2584" y="2741"/>
                    <a:pt x="2395" y="2741"/>
                  </a:cubicBezTo>
                  <a:lnTo>
                    <a:pt x="1" y="2741"/>
                  </a:lnTo>
                  <a:lnTo>
                    <a:pt x="1" y="10649"/>
                  </a:lnTo>
                  <a:cubicBezTo>
                    <a:pt x="1" y="11216"/>
                    <a:pt x="473" y="11689"/>
                    <a:pt x="1009" y="11689"/>
                  </a:cubicBezTo>
                  <a:lnTo>
                    <a:pt x="7909" y="11689"/>
                  </a:lnTo>
                  <a:cubicBezTo>
                    <a:pt x="8444" y="11689"/>
                    <a:pt x="8917" y="11248"/>
                    <a:pt x="8917" y="10649"/>
                  </a:cubicBezTo>
                  <a:lnTo>
                    <a:pt x="8917" y="7751"/>
                  </a:lnTo>
                  <a:lnTo>
                    <a:pt x="6491" y="10177"/>
                  </a:lnTo>
                  <a:cubicBezTo>
                    <a:pt x="6491" y="10271"/>
                    <a:pt x="6428" y="10303"/>
                    <a:pt x="6365" y="10303"/>
                  </a:cubicBezTo>
                  <a:lnTo>
                    <a:pt x="4317" y="10901"/>
                  </a:lnTo>
                  <a:cubicBezTo>
                    <a:pt x="4198" y="10938"/>
                    <a:pt x="4080" y="10955"/>
                    <a:pt x="3967" y="10955"/>
                  </a:cubicBezTo>
                  <a:cubicBezTo>
                    <a:pt x="3209" y="10955"/>
                    <a:pt x="2625" y="10192"/>
                    <a:pt x="2899" y="9452"/>
                  </a:cubicBezTo>
                  <a:lnTo>
                    <a:pt x="3057" y="8979"/>
                  </a:lnTo>
                  <a:lnTo>
                    <a:pt x="1765" y="8979"/>
                  </a:lnTo>
                  <a:cubicBezTo>
                    <a:pt x="1324" y="8979"/>
                    <a:pt x="1293" y="8255"/>
                    <a:pt x="1765" y="8255"/>
                  </a:cubicBezTo>
                  <a:lnTo>
                    <a:pt x="3277" y="8255"/>
                  </a:lnTo>
                  <a:lnTo>
                    <a:pt x="3529" y="7593"/>
                  </a:lnTo>
                  <a:lnTo>
                    <a:pt x="1797" y="7593"/>
                  </a:lnTo>
                  <a:cubicBezTo>
                    <a:pt x="1356" y="7593"/>
                    <a:pt x="1324" y="6869"/>
                    <a:pt x="1797" y="6869"/>
                  </a:cubicBezTo>
                  <a:lnTo>
                    <a:pt x="4034" y="6869"/>
                  </a:lnTo>
                  <a:lnTo>
                    <a:pt x="4695" y="6207"/>
                  </a:lnTo>
                  <a:lnTo>
                    <a:pt x="1765" y="6207"/>
                  </a:lnTo>
                  <a:cubicBezTo>
                    <a:pt x="1324" y="6207"/>
                    <a:pt x="1293" y="5514"/>
                    <a:pt x="1765" y="5514"/>
                  </a:cubicBezTo>
                  <a:lnTo>
                    <a:pt x="5388" y="5514"/>
                  </a:lnTo>
                  <a:lnTo>
                    <a:pt x="6050" y="4821"/>
                  </a:lnTo>
                  <a:lnTo>
                    <a:pt x="1734" y="4821"/>
                  </a:lnTo>
                  <a:cubicBezTo>
                    <a:pt x="1293" y="4821"/>
                    <a:pt x="1261" y="4128"/>
                    <a:pt x="1734" y="4128"/>
                  </a:cubicBezTo>
                  <a:lnTo>
                    <a:pt x="6711" y="4128"/>
                  </a:lnTo>
                  <a:cubicBezTo>
                    <a:pt x="6963" y="3876"/>
                    <a:pt x="8696" y="2080"/>
                    <a:pt x="8917" y="1891"/>
                  </a:cubicBezTo>
                  <a:lnTo>
                    <a:pt x="8917" y="1009"/>
                  </a:lnTo>
                  <a:cubicBezTo>
                    <a:pt x="8917" y="473"/>
                    <a:pt x="8507" y="0"/>
                    <a:pt x="7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0" name="Google Shape;8750;p76"/>
            <p:cNvSpPr/>
            <p:nvPr/>
          </p:nvSpPr>
          <p:spPr>
            <a:xfrm>
              <a:off x="-6604350" y="3832175"/>
              <a:ext cx="58675" cy="56550"/>
            </a:xfrm>
            <a:custGeom>
              <a:avLst/>
              <a:gdLst/>
              <a:ahLst/>
              <a:cxnLst/>
              <a:rect l="l" t="t" r="r" b="b"/>
              <a:pathLst>
                <a:path w="2347" h="2262" extrusionOk="0">
                  <a:moveTo>
                    <a:pt x="614" y="0"/>
                  </a:moveTo>
                  <a:lnTo>
                    <a:pt x="110" y="1607"/>
                  </a:lnTo>
                  <a:cubicBezTo>
                    <a:pt x="1" y="1934"/>
                    <a:pt x="222" y="2262"/>
                    <a:pt x="550" y="2262"/>
                  </a:cubicBezTo>
                  <a:cubicBezTo>
                    <a:pt x="600" y="2262"/>
                    <a:pt x="654" y="2254"/>
                    <a:pt x="709" y="2237"/>
                  </a:cubicBezTo>
                  <a:lnTo>
                    <a:pt x="2347" y="1701"/>
                  </a:lnTo>
                  <a:lnTo>
                    <a:pt x="6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1" name="Google Shape;8751;p76"/>
            <p:cNvSpPr/>
            <p:nvPr/>
          </p:nvSpPr>
          <p:spPr>
            <a:xfrm>
              <a:off x="-6470875" y="3684775"/>
              <a:ext cx="87475" cy="71800"/>
            </a:xfrm>
            <a:custGeom>
              <a:avLst/>
              <a:gdLst/>
              <a:ahLst/>
              <a:cxnLst/>
              <a:rect l="l" t="t" r="r" b="b"/>
              <a:pathLst>
                <a:path w="3499" h="2872" extrusionOk="0">
                  <a:moveTo>
                    <a:pt x="1479" y="1"/>
                  </a:moveTo>
                  <a:cubicBezTo>
                    <a:pt x="1176" y="1"/>
                    <a:pt x="868" y="114"/>
                    <a:pt x="599" y="383"/>
                  </a:cubicBezTo>
                  <a:lnTo>
                    <a:pt x="1" y="950"/>
                  </a:lnTo>
                  <a:lnTo>
                    <a:pt x="1954" y="2872"/>
                  </a:lnTo>
                  <a:lnTo>
                    <a:pt x="2521" y="2305"/>
                  </a:lnTo>
                  <a:cubicBezTo>
                    <a:pt x="3498" y="1352"/>
                    <a:pt x="2524" y="1"/>
                    <a:pt x="14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2" name="Google Shape;8752;p76"/>
            <p:cNvSpPr/>
            <p:nvPr/>
          </p:nvSpPr>
          <p:spPr>
            <a:xfrm>
              <a:off x="-6578775" y="3721900"/>
              <a:ext cx="143375" cy="143375"/>
            </a:xfrm>
            <a:custGeom>
              <a:avLst/>
              <a:gdLst/>
              <a:ahLst/>
              <a:cxnLst/>
              <a:rect l="l" t="t" r="r" b="b"/>
              <a:pathLst>
                <a:path w="5735" h="5735" extrusionOk="0">
                  <a:moveTo>
                    <a:pt x="3813" y="1"/>
                  </a:moveTo>
                  <a:lnTo>
                    <a:pt x="1" y="3813"/>
                  </a:lnTo>
                  <a:lnTo>
                    <a:pt x="1922" y="5734"/>
                  </a:lnTo>
                  <a:lnTo>
                    <a:pt x="4474" y="3183"/>
                  </a:lnTo>
                  <a:lnTo>
                    <a:pt x="5734" y="1922"/>
                  </a:lnTo>
                  <a:lnTo>
                    <a:pt x="38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3" name="Google Shape;8753;p76"/>
            <p:cNvSpPr/>
            <p:nvPr/>
          </p:nvSpPr>
          <p:spPr>
            <a:xfrm>
              <a:off x="-6685100" y="3636850"/>
              <a:ext cx="47275" cy="46475"/>
            </a:xfrm>
            <a:custGeom>
              <a:avLst/>
              <a:gdLst/>
              <a:ahLst/>
              <a:cxnLst/>
              <a:rect l="l" t="t" r="r" b="b"/>
              <a:pathLst>
                <a:path w="1891" h="1859" extrusionOk="0">
                  <a:moveTo>
                    <a:pt x="1891" y="0"/>
                  </a:moveTo>
                  <a:lnTo>
                    <a:pt x="0" y="1859"/>
                  </a:lnTo>
                  <a:lnTo>
                    <a:pt x="1891" y="1859"/>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4" name="Google Shape;8754;p76"/>
          <p:cNvGrpSpPr/>
          <p:nvPr/>
        </p:nvGrpSpPr>
        <p:grpSpPr>
          <a:xfrm>
            <a:off x="868005" y="2756972"/>
            <a:ext cx="421927" cy="419371"/>
            <a:chOff x="-6689825" y="3992050"/>
            <a:chExt cx="293025" cy="291250"/>
          </a:xfrm>
        </p:grpSpPr>
        <p:sp>
          <p:nvSpPr>
            <p:cNvPr id="8755" name="Google Shape;8755;p76"/>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6" name="Google Shape;8756;p76"/>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7" name="Google Shape;8757;p76"/>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8" name="Google Shape;8758;p76"/>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9" name="Google Shape;8759;p76"/>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0" name="Google Shape;8760;p76"/>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1" name="Google Shape;8761;p76"/>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2" name="Google Shape;8762;p76"/>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3" name="Google Shape;8763;p76"/>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4" name="Google Shape;8764;p76"/>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5" name="Google Shape;8765;p76"/>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6" name="Google Shape;8766;p76"/>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67" name="Google Shape;8767;p76"/>
          <p:cNvSpPr/>
          <p:nvPr/>
        </p:nvSpPr>
        <p:spPr>
          <a:xfrm>
            <a:off x="3545854" y="1689199"/>
            <a:ext cx="434634" cy="419227"/>
          </a:xfrm>
          <a:custGeom>
            <a:avLst/>
            <a:gdLst/>
            <a:ahLst/>
            <a:cxnLst/>
            <a:rect l="l" t="t" r="r" b="b"/>
            <a:pathLst>
              <a:path w="12074" h="11646" extrusionOk="0">
                <a:moveTo>
                  <a:pt x="10001" y="2714"/>
                </a:moveTo>
                <a:cubicBezTo>
                  <a:pt x="10213" y="2714"/>
                  <a:pt x="10440" y="2904"/>
                  <a:pt x="10341" y="3182"/>
                </a:cubicBezTo>
                <a:lnTo>
                  <a:pt x="9332" y="5923"/>
                </a:lnTo>
                <a:cubicBezTo>
                  <a:pt x="9269" y="6065"/>
                  <a:pt x="9143" y="6136"/>
                  <a:pt x="9017" y="6136"/>
                </a:cubicBezTo>
                <a:cubicBezTo>
                  <a:pt x="8891" y="6136"/>
                  <a:pt x="8765" y="6065"/>
                  <a:pt x="8702" y="5923"/>
                </a:cubicBezTo>
                <a:lnTo>
                  <a:pt x="7978" y="4033"/>
                </a:lnTo>
                <a:lnTo>
                  <a:pt x="7285" y="5923"/>
                </a:lnTo>
                <a:cubicBezTo>
                  <a:pt x="7222" y="6065"/>
                  <a:pt x="7080" y="6136"/>
                  <a:pt x="6946" y="6136"/>
                </a:cubicBezTo>
                <a:cubicBezTo>
                  <a:pt x="6812" y="6136"/>
                  <a:pt x="6686" y="6065"/>
                  <a:pt x="6655" y="5923"/>
                </a:cubicBezTo>
                <a:lnTo>
                  <a:pt x="5615" y="3182"/>
                </a:lnTo>
                <a:cubicBezTo>
                  <a:pt x="5516" y="2904"/>
                  <a:pt x="5729" y="2714"/>
                  <a:pt x="5941" y="2714"/>
                </a:cubicBezTo>
                <a:cubicBezTo>
                  <a:pt x="6064" y="2714"/>
                  <a:pt x="6187" y="2779"/>
                  <a:pt x="6245" y="2930"/>
                </a:cubicBezTo>
                <a:lnTo>
                  <a:pt x="6970" y="4820"/>
                </a:lnTo>
                <a:lnTo>
                  <a:pt x="7663" y="2930"/>
                </a:lnTo>
                <a:cubicBezTo>
                  <a:pt x="7726" y="2804"/>
                  <a:pt x="7867" y="2741"/>
                  <a:pt x="8001" y="2741"/>
                </a:cubicBezTo>
                <a:cubicBezTo>
                  <a:pt x="8135" y="2741"/>
                  <a:pt x="8261" y="2804"/>
                  <a:pt x="8293" y="2930"/>
                </a:cubicBezTo>
                <a:lnTo>
                  <a:pt x="9017" y="4820"/>
                </a:lnTo>
                <a:lnTo>
                  <a:pt x="9711" y="2930"/>
                </a:lnTo>
                <a:cubicBezTo>
                  <a:pt x="9757" y="2779"/>
                  <a:pt x="9877" y="2714"/>
                  <a:pt x="10001" y="2714"/>
                </a:cubicBezTo>
                <a:close/>
                <a:moveTo>
                  <a:pt x="7946" y="0"/>
                </a:moveTo>
                <a:cubicBezTo>
                  <a:pt x="5678" y="0"/>
                  <a:pt x="3851" y="1827"/>
                  <a:pt x="3851" y="4096"/>
                </a:cubicBezTo>
                <a:cubicBezTo>
                  <a:pt x="3851" y="5104"/>
                  <a:pt x="4197" y="6018"/>
                  <a:pt x="4827" y="6711"/>
                </a:cubicBezTo>
                <a:lnTo>
                  <a:pt x="4134" y="7435"/>
                </a:lnTo>
                <a:cubicBezTo>
                  <a:pt x="3981" y="7364"/>
                  <a:pt x="3827" y="7329"/>
                  <a:pt x="3678" y="7329"/>
                </a:cubicBezTo>
                <a:cubicBezTo>
                  <a:pt x="3431" y="7329"/>
                  <a:pt x="3197" y="7427"/>
                  <a:pt x="3000" y="7624"/>
                </a:cubicBezTo>
                <a:lnTo>
                  <a:pt x="732" y="9861"/>
                </a:lnTo>
                <a:cubicBezTo>
                  <a:pt x="0" y="10593"/>
                  <a:pt x="722" y="11645"/>
                  <a:pt x="1524" y="11645"/>
                </a:cubicBezTo>
                <a:cubicBezTo>
                  <a:pt x="1758" y="11645"/>
                  <a:pt x="1999" y="11555"/>
                  <a:pt x="2212" y="11342"/>
                </a:cubicBezTo>
                <a:lnTo>
                  <a:pt x="4449" y="9074"/>
                </a:lnTo>
                <a:cubicBezTo>
                  <a:pt x="4764" y="8759"/>
                  <a:pt x="4796" y="8286"/>
                  <a:pt x="4638" y="7939"/>
                </a:cubicBezTo>
                <a:lnTo>
                  <a:pt x="5363" y="7246"/>
                </a:lnTo>
                <a:cubicBezTo>
                  <a:pt x="6056" y="7813"/>
                  <a:pt x="7001" y="8223"/>
                  <a:pt x="7978" y="8223"/>
                </a:cubicBezTo>
                <a:cubicBezTo>
                  <a:pt x="10278" y="8223"/>
                  <a:pt x="12073" y="6364"/>
                  <a:pt x="12073" y="4127"/>
                </a:cubicBezTo>
                <a:cubicBezTo>
                  <a:pt x="12073" y="1796"/>
                  <a:pt x="10246" y="0"/>
                  <a:pt x="7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76"/>
          <p:cNvGrpSpPr/>
          <p:nvPr/>
        </p:nvGrpSpPr>
        <p:grpSpPr>
          <a:xfrm>
            <a:off x="3551317" y="2205192"/>
            <a:ext cx="423043" cy="419659"/>
            <a:chOff x="-4837325" y="3612425"/>
            <a:chExt cx="293800" cy="291450"/>
          </a:xfrm>
        </p:grpSpPr>
        <p:sp>
          <p:nvSpPr>
            <p:cNvPr id="8769" name="Google Shape;8769;p76"/>
            <p:cNvSpPr/>
            <p:nvPr/>
          </p:nvSpPr>
          <p:spPr>
            <a:xfrm>
              <a:off x="-4836550" y="3612425"/>
              <a:ext cx="293025" cy="170925"/>
            </a:xfrm>
            <a:custGeom>
              <a:avLst/>
              <a:gdLst/>
              <a:ahLst/>
              <a:cxnLst/>
              <a:rect l="l" t="t" r="r" b="b"/>
              <a:pathLst>
                <a:path w="11721" h="6837" extrusionOk="0">
                  <a:moveTo>
                    <a:pt x="6837" y="2017"/>
                  </a:moveTo>
                  <a:lnTo>
                    <a:pt x="6837" y="2741"/>
                  </a:lnTo>
                  <a:lnTo>
                    <a:pt x="4789" y="2741"/>
                  </a:lnTo>
                  <a:lnTo>
                    <a:pt x="4789" y="2017"/>
                  </a:lnTo>
                  <a:close/>
                  <a:moveTo>
                    <a:pt x="4411" y="0"/>
                  </a:moveTo>
                  <a:cubicBezTo>
                    <a:pt x="3466" y="0"/>
                    <a:pt x="2741" y="725"/>
                    <a:pt x="2741" y="1702"/>
                  </a:cubicBezTo>
                  <a:lnTo>
                    <a:pt x="2741" y="2741"/>
                  </a:lnTo>
                  <a:lnTo>
                    <a:pt x="1166" y="2741"/>
                  </a:lnTo>
                  <a:cubicBezTo>
                    <a:pt x="536" y="2741"/>
                    <a:pt x="1" y="3277"/>
                    <a:pt x="1" y="3875"/>
                  </a:cubicBezTo>
                  <a:lnTo>
                    <a:pt x="1" y="4254"/>
                  </a:lnTo>
                  <a:cubicBezTo>
                    <a:pt x="1513" y="5860"/>
                    <a:pt x="3592" y="6837"/>
                    <a:pt x="5829" y="6837"/>
                  </a:cubicBezTo>
                  <a:cubicBezTo>
                    <a:pt x="8097" y="6837"/>
                    <a:pt x="10208" y="5892"/>
                    <a:pt x="11720" y="4254"/>
                  </a:cubicBezTo>
                  <a:lnTo>
                    <a:pt x="11720" y="3718"/>
                  </a:lnTo>
                  <a:cubicBezTo>
                    <a:pt x="11657" y="3214"/>
                    <a:pt x="11185" y="2741"/>
                    <a:pt x="10649" y="2741"/>
                  </a:cubicBezTo>
                  <a:lnTo>
                    <a:pt x="8885" y="2741"/>
                  </a:lnTo>
                  <a:lnTo>
                    <a:pt x="8885" y="1702"/>
                  </a:lnTo>
                  <a:cubicBezTo>
                    <a:pt x="8885" y="756"/>
                    <a:pt x="8129" y="0"/>
                    <a:pt x="7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0" name="Google Shape;8770;p76"/>
            <p:cNvSpPr/>
            <p:nvPr/>
          </p:nvSpPr>
          <p:spPr>
            <a:xfrm>
              <a:off x="-4837325" y="3743950"/>
              <a:ext cx="291425" cy="159925"/>
            </a:xfrm>
            <a:custGeom>
              <a:avLst/>
              <a:gdLst/>
              <a:ahLst/>
              <a:cxnLst/>
              <a:rect l="l" t="t" r="r" b="b"/>
              <a:pathLst>
                <a:path w="11657" h="6397" extrusionOk="0">
                  <a:moveTo>
                    <a:pt x="11657" y="1"/>
                  </a:moveTo>
                  <a:cubicBezTo>
                    <a:pt x="10523" y="1072"/>
                    <a:pt x="9073" y="1828"/>
                    <a:pt x="7530" y="2143"/>
                  </a:cubicBezTo>
                  <a:lnTo>
                    <a:pt x="7530" y="2647"/>
                  </a:lnTo>
                  <a:cubicBezTo>
                    <a:pt x="7530" y="3214"/>
                    <a:pt x="7057" y="3687"/>
                    <a:pt x="6490" y="3687"/>
                  </a:cubicBezTo>
                  <a:lnTo>
                    <a:pt x="5135" y="3687"/>
                  </a:lnTo>
                  <a:cubicBezTo>
                    <a:pt x="4568" y="3687"/>
                    <a:pt x="4096" y="3214"/>
                    <a:pt x="4096" y="2647"/>
                  </a:cubicBezTo>
                  <a:lnTo>
                    <a:pt x="4096" y="2143"/>
                  </a:lnTo>
                  <a:cubicBezTo>
                    <a:pt x="2552" y="1828"/>
                    <a:pt x="1134" y="1103"/>
                    <a:pt x="0" y="64"/>
                  </a:cubicBezTo>
                  <a:lnTo>
                    <a:pt x="0" y="4695"/>
                  </a:lnTo>
                  <a:cubicBezTo>
                    <a:pt x="0" y="5640"/>
                    <a:pt x="756" y="6396"/>
                    <a:pt x="1701" y="6396"/>
                  </a:cubicBezTo>
                  <a:lnTo>
                    <a:pt x="9956" y="6396"/>
                  </a:lnTo>
                  <a:cubicBezTo>
                    <a:pt x="10901" y="6396"/>
                    <a:pt x="11657" y="5640"/>
                    <a:pt x="11657" y="4695"/>
                  </a:cubicBezTo>
                  <a:lnTo>
                    <a:pt x="116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1" name="Google Shape;8771;p76"/>
            <p:cNvSpPr/>
            <p:nvPr/>
          </p:nvSpPr>
          <p:spPr>
            <a:xfrm>
              <a:off x="-4716825" y="3799075"/>
              <a:ext cx="51225" cy="18950"/>
            </a:xfrm>
            <a:custGeom>
              <a:avLst/>
              <a:gdLst/>
              <a:ahLst/>
              <a:cxnLst/>
              <a:rect l="l" t="t" r="r" b="b"/>
              <a:pathLst>
                <a:path w="2049" h="758" extrusionOk="0">
                  <a:moveTo>
                    <a:pt x="0" y="1"/>
                  </a:moveTo>
                  <a:lnTo>
                    <a:pt x="0" y="411"/>
                  </a:lnTo>
                  <a:cubicBezTo>
                    <a:pt x="0" y="600"/>
                    <a:pt x="158" y="757"/>
                    <a:pt x="347" y="757"/>
                  </a:cubicBezTo>
                  <a:lnTo>
                    <a:pt x="1670" y="757"/>
                  </a:lnTo>
                  <a:cubicBezTo>
                    <a:pt x="1891" y="757"/>
                    <a:pt x="2048" y="600"/>
                    <a:pt x="2048" y="411"/>
                  </a:cubicBezTo>
                  <a:lnTo>
                    <a:pt x="2048" y="1"/>
                  </a:lnTo>
                  <a:cubicBezTo>
                    <a:pt x="1686" y="48"/>
                    <a:pt x="1347" y="72"/>
                    <a:pt x="1012" y="72"/>
                  </a:cubicBezTo>
                  <a:cubicBezTo>
                    <a:pt x="678" y="72"/>
                    <a:pt x="347" y="4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2" name="Google Shape;8772;p76"/>
          <p:cNvGrpSpPr/>
          <p:nvPr/>
        </p:nvGrpSpPr>
        <p:grpSpPr>
          <a:xfrm>
            <a:off x="3564349" y="2756826"/>
            <a:ext cx="420775" cy="419659"/>
            <a:chOff x="-4837325" y="3971575"/>
            <a:chExt cx="292225" cy="291450"/>
          </a:xfrm>
        </p:grpSpPr>
        <p:sp>
          <p:nvSpPr>
            <p:cNvPr id="8773" name="Google Shape;8773;p76"/>
            <p:cNvSpPr/>
            <p:nvPr/>
          </p:nvSpPr>
          <p:spPr>
            <a:xfrm>
              <a:off x="-4734150" y="4073975"/>
              <a:ext cx="86650" cy="86650"/>
            </a:xfrm>
            <a:custGeom>
              <a:avLst/>
              <a:gdLst/>
              <a:ahLst/>
              <a:cxnLst/>
              <a:rect l="l" t="t" r="r" b="b"/>
              <a:pathLst>
                <a:path w="3466" h="3466" extrusionOk="0">
                  <a:moveTo>
                    <a:pt x="1701" y="725"/>
                  </a:moveTo>
                  <a:cubicBezTo>
                    <a:pt x="2269" y="725"/>
                    <a:pt x="2773" y="1197"/>
                    <a:pt x="2773" y="1733"/>
                  </a:cubicBezTo>
                  <a:cubicBezTo>
                    <a:pt x="2773" y="2300"/>
                    <a:pt x="2300" y="2804"/>
                    <a:pt x="1733" y="2804"/>
                  </a:cubicBezTo>
                  <a:cubicBezTo>
                    <a:pt x="1197" y="2804"/>
                    <a:pt x="693" y="2300"/>
                    <a:pt x="693" y="1733"/>
                  </a:cubicBezTo>
                  <a:cubicBezTo>
                    <a:pt x="693" y="1197"/>
                    <a:pt x="1166" y="725"/>
                    <a:pt x="1701" y="725"/>
                  </a:cubicBezTo>
                  <a:close/>
                  <a:moveTo>
                    <a:pt x="1701" y="0"/>
                  </a:moveTo>
                  <a:cubicBezTo>
                    <a:pt x="756" y="0"/>
                    <a:pt x="0" y="756"/>
                    <a:pt x="0" y="1701"/>
                  </a:cubicBezTo>
                  <a:cubicBezTo>
                    <a:pt x="0" y="2647"/>
                    <a:pt x="851" y="3466"/>
                    <a:pt x="1796" y="3466"/>
                  </a:cubicBezTo>
                  <a:cubicBezTo>
                    <a:pt x="2741" y="3466"/>
                    <a:pt x="3466" y="2647"/>
                    <a:pt x="3466" y="1701"/>
                  </a:cubicBezTo>
                  <a:cubicBezTo>
                    <a:pt x="3434" y="756"/>
                    <a:pt x="2647"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4" name="Google Shape;8774;p76"/>
            <p:cNvSpPr/>
            <p:nvPr/>
          </p:nvSpPr>
          <p:spPr>
            <a:xfrm>
              <a:off x="-4700300" y="4108625"/>
              <a:ext cx="18950" cy="17350"/>
            </a:xfrm>
            <a:custGeom>
              <a:avLst/>
              <a:gdLst/>
              <a:ahLst/>
              <a:cxnLst/>
              <a:rect l="l" t="t" r="r" b="b"/>
              <a:pathLst>
                <a:path w="758" h="694" extrusionOk="0">
                  <a:moveTo>
                    <a:pt x="347" y="0"/>
                  </a:moveTo>
                  <a:cubicBezTo>
                    <a:pt x="158" y="0"/>
                    <a:pt x="1" y="158"/>
                    <a:pt x="1" y="347"/>
                  </a:cubicBezTo>
                  <a:cubicBezTo>
                    <a:pt x="1" y="536"/>
                    <a:pt x="158" y="693"/>
                    <a:pt x="347" y="693"/>
                  </a:cubicBezTo>
                  <a:cubicBezTo>
                    <a:pt x="536" y="693"/>
                    <a:pt x="757" y="536"/>
                    <a:pt x="757" y="347"/>
                  </a:cubicBezTo>
                  <a:cubicBezTo>
                    <a:pt x="757"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6"/>
            <p:cNvSpPr/>
            <p:nvPr/>
          </p:nvSpPr>
          <p:spPr>
            <a:xfrm>
              <a:off x="-4748325" y="3971575"/>
              <a:ext cx="203225" cy="204025"/>
            </a:xfrm>
            <a:custGeom>
              <a:avLst/>
              <a:gdLst/>
              <a:ahLst/>
              <a:cxnLst/>
              <a:rect l="l" t="t" r="r" b="b"/>
              <a:pathLst>
                <a:path w="8129" h="8161" extrusionOk="0">
                  <a:moveTo>
                    <a:pt x="2268" y="1"/>
                  </a:moveTo>
                  <a:cubicBezTo>
                    <a:pt x="1449" y="1"/>
                    <a:pt x="693" y="158"/>
                    <a:pt x="0" y="473"/>
                  </a:cubicBezTo>
                  <a:lnTo>
                    <a:pt x="1512" y="3561"/>
                  </a:lnTo>
                  <a:cubicBezTo>
                    <a:pt x="1764" y="3466"/>
                    <a:pt x="1985" y="3435"/>
                    <a:pt x="2268" y="3435"/>
                  </a:cubicBezTo>
                  <a:cubicBezTo>
                    <a:pt x="3623" y="3435"/>
                    <a:pt x="4726" y="4506"/>
                    <a:pt x="4726" y="5829"/>
                  </a:cubicBezTo>
                  <a:cubicBezTo>
                    <a:pt x="4726" y="6112"/>
                    <a:pt x="4663" y="6396"/>
                    <a:pt x="4600" y="6617"/>
                  </a:cubicBezTo>
                  <a:lnTo>
                    <a:pt x="7656" y="8160"/>
                  </a:lnTo>
                  <a:cubicBezTo>
                    <a:pt x="7971" y="7436"/>
                    <a:pt x="8128" y="6617"/>
                    <a:pt x="8128" y="5829"/>
                  </a:cubicBezTo>
                  <a:cubicBezTo>
                    <a:pt x="8128" y="2647"/>
                    <a:pt x="5513" y="1"/>
                    <a:pt x="22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6" name="Google Shape;8776;p76"/>
            <p:cNvSpPr/>
            <p:nvPr/>
          </p:nvSpPr>
          <p:spPr>
            <a:xfrm>
              <a:off x="-4656175" y="4151950"/>
              <a:ext cx="91375" cy="91375"/>
            </a:xfrm>
            <a:custGeom>
              <a:avLst/>
              <a:gdLst/>
              <a:ahLst/>
              <a:cxnLst/>
              <a:rect l="l" t="t" r="r" b="b"/>
              <a:pathLst>
                <a:path w="3655" h="3655" extrusionOk="0">
                  <a:moveTo>
                    <a:pt x="599" y="0"/>
                  </a:moveTo>
                  <a:cubicBezTo>
                    <a:pt x="441" y="221"/>
                    <a:pt x="252" y="441"/>
                    <a:pt x="0" y="599"/>
                  </a:cubicBezTo>
                  <a:lnTo>
                    <a:pt x="1544" y="3655"/>
                  </a:lnTo>
                  <a:cubicBezTo>
                    <a:pt x="2395" y="3151"/>
                    <a:pt x="3151" y="2395"/>
                    <a:pt x="3655" y="1544"/>
                  </a:cubicBezTo>
                  <a:lnTo>
                    <a:pt x="59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6"/>
            <p:cNvSpPr/>
            <p:nvPr/>
          </p:nvSpPr>
          <p:spPr>
            <a:xfrm>
              <a:off x="-4817650" y="3991275"/>
              <a:ext cx="91400" cy="91375"/>
            </a:xfrm>
            <a:custGeom>
              <a:avLst/>
              <a:gdLst/>
              <a:ahLst/>
              <a:cxnLst/>
              <a:rect l="l" t="t" r="r" b="b"/>
              <a:pathLst>
                <a:path w="3656" h="3655" extrusionOk="0">
                  <a:moveTo>
                    <a:pt x="2143" y="0"/>
                  </a:moveTo>
                  <a:cubicBezTo>
                    <a:pt x="1261" y="504"/>
                    <a:pt x="536" y="1260"/>
                    <a:pt x="1" y="2111"/>
                  </a:cubicBezTo>
                  <a:lnTo>
                    <a:pt x="3088" y="3655"/>
                  </a:lnTo>
                  <a:cubicBezTo>
                    <a:pt x="3246" y="3434"/>
                    <a:pt x="3435" y="3214"/>
                    <a:pt x="3655" y="3088"/>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76"/>
            <p:cNvSpPr/>
            <p:nvPr/>
          </p:nvSpPr>
          <p:spPr>
            <a:xfrm>
              <a:off x="-4837325" y="4059000"/>
              <a:ext cx="204000" cy="204025"/>
            </a:xfrm>
            <a:custGeom>
              <a:avLst/>
              <a:gdLst/>
              <a:ahLst/>
              <a:cxnLst/>
              <a:rect l="l" t="t" r="r" b="b"/>
              <a:pathLst>
                <a:path w="8160" h="8161" extrusionOk="0">
                  <a:moveTo>
                    <a:pt x="473" y="1"/>
                  </a:moveTo>
                  <a:cubicBezTo>
                    <a:pt x="158" y="725"/>
                    <a:pt x="0" y="1513"/>
                    <a:pt x="0" y="2300"/>
                  </a:cubicBezTo>
                  <a:cubicBezTo>
                    <a:pt x="0" y="5482"/>
                    <a:pt x="2615" y="8160"/>
                    <a:pt x="5828" y="8160"/>
                  </a:cubicBezTo>
                  <a:cubicBezTo>
                    <a:pt x="6648" y="8160"/>
                    <a:pt x="7435" y="8003"/>
                    <a:pt x="8160" y="7688"/>
                  </a:cubicBezTo>
                  <a:lnTo>
                    <a:pt x="6616" y="4632"/>
                  </a:lnTo>
                  <a:cubicBezTo>
                    <a:pt x="6396" y="4695"/>
                    <a:pt x="6144" y="4726"/>
                    <a:pt x="5860" y="4726"/>
                  </a:cubicBezTo>
                  <a:cubicBezTo>
                    <a:pt x="4537" y="4726"/>
                    <a:pt x="3434" y="3624"/>
                    <a:pt x="3434" y="2300"/>
                  </a:cubicBezTo>
                  <a:cubicBezTo>
                    <a:pt x="3434" y="2017"/>
                    <a:pt x="3466" y="1796"/>
                    <a:pt x="3560" y="1544"/>
                  </a:cubicBez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9" name="Google Shape;8779;p76"/>
          <p:cNvGrpSpPr/>
          <p:nvPr/>
        </p:nvGrpSpPr>
        <p:grpSpPr>
          <a:xfrm>
            <a:off x="6256364" y="1714185"/>
            <a:ext cx="430998" cy="369730"/>
            <a:chOff x="-3037625" y="3254850"/>
            <a:chExt cx="299325" cy="256775"/>
          </a:xfrm>
        </p:grpSpPr>
        <p:sp>
          <p:nvSpPr>
            <p:cNvPr id="8780" name="Google Shape;8780;p76"/>
            <p:cNvSpPr/>
            <p:nvPr/>
          </p:nvSpPr>
          <p:spPr>
            <a:xfrm>
              <a:off x="-3037625" y="3460400"/>
              <a:ext cx="152825" cy="51225"/>
            </a:xfrm>
            <a:custGeom>
              <a:avLst/>
              <a:gdLst/>
              <a:ahLst/>
              <a:cxnLst/>
              <a:rect l="l" t="t" r="r" b="b"/>
              <a:pathLst>
                <a:path w="6113" h="2049" extrusionOk="0">
                  <a:moveTo>
                    <a:pt x="1356" y="1"/>
                  </a:moveTo>
                  <a:cubicBezTo>
                    <a:pt x="1" y="1"/>
                    <a:pt x="1" y="2049"/>
                    <a:pt x="1356" y="2049"/>
                  </a:cubicBezTo>
                  <a:lnTo>
                    <a:pt x="4758" y="2049"/>
                  </a:lnTo>
                  <a:cubicBezTo>
                    <a:pt x="6113" y="2049"/>
                    <a:pt x="6113"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76"/>
            <p:cNvSpPr/>
            <p:nvPr/>
          </p:nvSpPr>
          <p:spPr>
            <a:xfrm>
              <a:off x="-2884825" y="3460400"/>
              <a:ext cx="146525" cy="51225"/>
            </a:xfrm>
            <a:custGeom>
              <a:avLst/>
              <a:gdLst/>
              <a:ahLst/>
              <a:cxnLst/>
              <a:rect l="l" t="t" r="r" b="b"/>
              <a:pathLst>
                <a:path w="5861" h="2049" extrusionOk="0">
                  <a:moveTo>
                    <a:pt x="1" y="1"/>
                  </a:moveTo>
                  <a:cubicBezTo>
                    <a:pt x="473" y="631"/>
                    <a:pt x="473" y="1419"/>
                    <a:pt x="1" y="2049"/>
                  </a:cubicBezTo>
                  <a:lnTo>
                    <a:pt x="4853" y="2049"/>
                  </a:lnTo>
                  <a:cubicBezTo>
                    <a:pt x="5388" y="2049"/>
                    <a:pt x="5861" y="1576"/>
                    <a:pt x="5861" y="1041"/>
                  </a:cubicBezTo>
                  <a:cubicBezTo>
                    <a:pt x="5861" y="442"/>
                    <a:pt x="5451" y="1"/>
                    <a:pt x="48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2" name="Google Shape;8782;p76"/>
            <p:cNvSpPr/>
            <p:nvPr/>
          </p:nvSpPr>
          <p:spPr>
            <a:xfrm>
              <a:off x="-2909225" y="3313125"/>
              <a:ext cx="59875" cy="72475"/>
            </a:xfrm>
            <a:custGeom>
              <a:avLst/>
              <a:gdLst/>
              <a:ahLst/>
              <a:cxnLst/>
              <a:rect l="l" t="t" r="r" b="b"/>
              <a:pathLst>
                <a:path w="2395" h="2899" extrusionOk="0">
                  <a:moveTo>
                    <a:pt x="0" y="1"/>
                  </a:moveTo>
                  <a:lnTo>
                    <a:pt x="0" y="2899"/>
                  </a:lnTo>
                  <a:lnTo>
                    <a:pt x="2395" y="145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3" name="Google Shape;8783;p76"/>
            <p:cNvSpPr/>
            <p:nvPr/>
          </p:nvSpPr>
          <p:spPr>
            <a:xfrm>
              <a:off x="-3029750" y="3254850"/>
              <a:ext cx="291450" cy="188250"/>
            </a:xfrm>
            <a:custGeom>
              <a:avLst/>
              <a:gdLst/>
              <a:ahLst/>
              <a:cxnLst/>
              <a:rect l="l" t="t" r="r" b="b"/>
              <a:pathLst>
                <a:path w="11658" h="7530" extrusionOk="0">
                  <a:moveTo>
                    <a:pt x="4414" y="1387"/>
                  </a:moveTo>
                  <a:cubicBezTo>
                    <a:pt x="4476" y="1387"/>
                    <a:pt x="4541" y="1407"/>
                    <a:pt x="4601" y="1449"/>
                  </a:cubicBezTo>
                  <a:lnTo>
                    <a:pt x="8035" y="3497"/>
                  </a:lnTo>
                  <a:cubicBezTo>
                    <a:pt x="8287" y="3623"/>
                    <a:pt x="8287" y="3938"/>
                    <a:pt x="8035" y="4064"/>
                  </a:cubicBezTo>
                  <a:lnTo>
                    <a:pt x="4601" y="6112"/>
                  </a:lnTo>
                  <a:cubicBezTo>
                    <a:pt x="4552" y="6140"/>
                    <a:pt x="4500" y="6153"/>
                    <a:pt x="4448" y="6153"/>
                  </a:cubicBezTo>
                  <a:cubicBezTo>
                    <a:pt x="4268" y="6153"/>
                    <a:pt x="4097" y="6000"/>
                    <a:pt x="4097" y="5829"/>
                  </a:cubicBezTo>
                  <a:lnTo>
                    <a:pt x="4097" y="1733"/>
                  </a:lnTo>
                  <a:cubicBezTo>
                    <a:pt x="4097" y="1527"/>
                    <a:pt x="4247" y="1387"/>
                    <a:pt x="4414" y="1387"/>
                  </a:cubicBezTo>
                  <a:close/>
                  <a:moveTo>
                    <a:pt x="1041" y="0"/>
                  </a:moveTo>
                  <a:cubicBezTo>
                    <a:pt x="473" y="0"/>
                    <a:pt x="1" y="473"/>
                    <a:pt x="1" y="1040"/>
                  </a:cubicBezTo>
                  <a:lnTo>
                    <a:pt x="1" y="6490"/>
                  </a:lnTo>
                  <a:cubicBezTo>
                    <a:pt x="1" y="7057"/>
                    <a:pt x="473" y="7530"/>
                    <a:pt x="1041" y="7530"/>
                  </a:cubicBezTo>
                  <a:lnTo>
                    <a:pt x="10650" y="7530"/>
                  </a:lnTo>
                  <a:cubicBezTo>
                    <a:pt x="11185" y="7530"/>
                    <a:pt x="11658" y="7057"/>
                    <a:pt x="11658" y="6490"/>
                  </a:cubicBezTo>
                  <a:lnTo>
                    <a:pt x="11658" y="1040"/>
                  </a:lnTo>
                  <a:cubicBezTo>
                    <a:pt x="11658" y="473"/>
                    <a:pt x="11248" y="0"/>
                    <a:pt x="106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4" name="Google Shape;8784;p76"/>
          <p:cNvGrpSpPr/>
          <p:nvPr/>
        </p:nvGrpSpPr>
        <p:grpSpPr>
          <a:xfrm>
            <a:off x="6260324" y="2204615"/>
            <a:ext cx="423079" cy="420811"/>
            <a:chOff x="-3031325" y="3597450"/>
            <a:chExt cx="293825" cy="292250"/>
          </a:xfrm>
        </p:grpSpPr>
        <p:sp>
          <p:nvSpPr>
            <p:cNvPr id="8785" name="Google Shape;8785;p76"/>
            <p:cNvSpPr/>
            <p:nvPr/>
          </p:nvSpPr>
          <p:spPr>
            <a:xfrm>
              <a:off x="-3029750" y="3597450"/>
              <a:ext cx="292250" cy="67775"/>
            </a:xfrm>
            <a:custGeom>
              <a:avLst/>
              <a:gdLst/>
              <a:ahLst/>
              <a:cxnLst/>
              <a:rect l="l" t="t" r="r" b="b"/>
              <a:pathLst>
                <a:path w="11690" h="2711" extrusionOk="0">
                  <a:moveTo>
                    <a:pt x="1702" y="1387"/>
                  </a:moveTo>
                  <a:cubicBezTo>
                    <a:pt x="1891" y="1387"/>
                    <a:pt x="2049" y="1545"/>
                    <a:pt x="2049" y="1734"/>
                  </a:cubicBezTo>
                  <a:cubicBezTo>
                    <a:pt x="2049" y="1923"/>
                    <a:pt x="1891" y="2080"/>
                    <a:pt x="1702" y="2080"/>
                  </a:cubicBezTo>
                  <a:cubicBezTo>
                    <a:pt x="1513" y="2080"/>
                    <a:pt x="1356" y="1923"/>
                    <a:pt x="1356" y="1734"/>
                  </a:cubicBezTo>
                  <a:cubicBezTo>
                    <a:pt x="1356" y="1545"/>
                    <a:pt x="1513" y="1387"/>
                    <a:pt x="1702" y="1387"/>
                  </a:cubicBezTo>
                  <a:close/>
                  <a:moveTo>
                    <a:pt x="3120" y="1387"/>
                  </a:moveTo>
                  <a:cubicBezTo>
                    <a:pt x="3309" y="1387"/>
                    <a:pt x="3466" y="1545"/>
                    <a:pt x="3466" y="1734"/>
                  </a:cubicBezTo>
                  <a:cubicBezTo>
                    <a:pt x="3466" y="1923"/>
                    <a:pt x="3309" y="2080"/>
                    <a:pt x="3120" y="2080"/>
                  </a:cubicBezTo>
                  <a:cubicBezTo>
                    <a:pt x="2931" y="2080"/>
                    <a:pt x="2773" y="1923"/>
                    <a:pt x="2773" y="1734"/>
                  </a:cubicBezTo>
                  <a:cubicBezTo>
                    <a:pt x="2773" y="1545"/>
                    <a:pt x="2931" y="1387"/>
                    <a:pt x="3120" y="1387"/>
                  </a:cubicBezTo>
                  <a:close/>
                  <a:moveTo>
                    <a:pt x="9985" y="1417"/>
                  </a:moveTo>
                  <a:cubicBezTo>
                    <a:pt x="10400" y="1417"/>
                    <a:pt x="10449" y="2080"/>
                    <a:pt x="9956" y="2080"/>
                  </a:cubicBezTo>
                  <a:lnTo>
                    <a:pt x="5861" y="2080"/>
                  </a:lnTo>
                  <a:cubicBezTo>
                    <a:pt x="5451" y="2080"/>
                    <a:pt x="5388" y="1418"/>
                    <a:pt x="5861" y="1418"/>
                  </a:cubicBezTo>
                  <a:lnTo>
                    <a:pt x="9956" y="1418"/>
                  </a:lnTo>
                  <a:cubicBezTo>
                    <a:pt x="9966" y="1418"/>
                    <a:pt x="9976" y="1417"/>
                    <a:pt x="9985" y="1417"/>
                  </a:cubicBezTo>
                  <a:close/>
                  <a:moveTo>
                    <a:pt x="1041" y="1"/>
                  </a:moveTo>
                  <a:cubicBezTo>
                    <a:pt x="473" y="1"/>
                    <a:pt x="1" y="473"/>
                    <a:pt x="1" y="1040"/>
                  </a:cubicBezTo>
                  <a:lnTo>
                    <a:pt x="1" y="2710"/>
                  </a:lnTo>
                  <a:lnTo>
                    <a:pt x="11689" y="2710"/>
                  </a:lnTo>
                  <a:lnTo>
                    <a:pt x="11689" y="1040"/>
                  </a:lnTo>
                  <a:cubicBezTo>
                    <a:pt x="11658" y="473"/>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6" name="Google Shape;8786;p76"/>
            <p:cNvSpPr/>
            <p:nvPr/>
          </p:nvSpPr>
          <p:spPr>
            <a:xfrm>
              <a:off x="-3031325" y="3687250"/>
              <a:ext cx="292250" cy="153600"/>
            </a:xfrm>
            <a:custGeom>
              <a:avLst/>
              <a:gdLst/>
              <a:ahLst/>
              <a:cxnLst/>
              <a:rect l="l" t="t" r="r" b="b"/>
              <a:pathLst>
                <a:path w="11690" h="6144" extrusionOk="0">
                  <a:moveTo>
                    <a:pt x="1" y="0"/>
                  </a:moveTo>
                  <a:lnTo>
                    <a:pt x="1" y="5104"/>
                  </a:lnTo>
                  <a:lnTo>
                    <a:pt x="64" y="5104"/>
                  </a:lnTo>
                  <a:cubicBezTo>
                    <a:pt x="64" y="5671"/>
                    <a:pt x="536" y="6144"/>
                    <a:pt x="1104" y="6144"/>
                  </a:cubicBezTo>
                  <a:lnTo>
                    <a:pt x="4475" y="6144"/>
                  </a:lnTo>
                  <a:cubicBezTo>
                    <a:pt x="4317" y="5671"/>
                    <a:pt x="4223" y="5199"/>
                    <a:pt x="4223" y="4695"/>
                  </a:cubicBezTo>
                  <a:lnTo>
                    <a:pt x="4223" y="2395"/>
                  </a:lnTo>
                  <a:cubicBezTo>
                    <a:pt x="4223" y="1790"/>
                    <a:pt x="4686" y="1366"/>
                    <a:pt x="5227" y="1366"/>
                  </a:cubicBezTo>
                  <a:cubicBezTo>
                    <a:pt x="5362" y="1366"/>
                    <a:pt x="5502" y="1393"/>
                    <a:pt x="5640" y="1450"/>
                  </a:cubicBezTo>
                  <a:cubicBezTo>
                    <a:pt x="5735" y="1481"/>
                    <a:pt x="5861" y="1544"/>
                    <a:pt x="5987" y="1544"/>
                  </a:cubicBezTo>
                  <a:cubicBezTo>
                    <a:pt x="6144" y="1544"/>
                    <a:pt x="6365" y="1450"/>
                    <a:pt x="6900" y="977"/>
                  </a:cubicBezTo>
                  <a:cubicBezTo>
                    <a:pt x="7090" y="788"/>
                    <a:pt x="7349" y="693"/>
                    <a:pt x="7613" y="693"/>
                  </a:cubicBezTo>
                  <a:cubicBezTo>
                    <a:pt x="7877" y="693"/>
                    <a:pt x="8145" y="788"/>
                    <a:pt x="8350" y="977"/>
                  </a:cubicBezTo>
                  <a:cubicBezTo>
                    <a:pt x="8822" y="1450"/>
                    <a:pt x="9106" y="1544"/>
                    <a:pt x="9263" y="1544"/>
                  </a:cubicBezTo>
                  <a:cubicBezTo>
                    <a:pt x="9358" y="1544"/>
                    <a:pt x="9484" y="1481"/>
                    <a:pt x="9610" y="1450"/>
                  </a:cubicBezTo>
                  <a:cubicBezTo>
                    <a:pt x="9742" y="1393"/>
                    <a:pt x="9878" y="1366"/>
                    <a:pt x="10011" y="1366"/>
                  </a:cubicBezTo>
                  <a:cubicBezTo>
                    <a:pt x="10544" y="1366"/>
                    <a:pt x="11028" y="1790"/>
                    <a:pt x="11028" y="2395"/>
                  </a:cubicBezTo>
                  <a:lnTo>
                    <a:pt x="11028" y="4695"/>
                  </a:lnTo>
                  <a:cubicBezTo>
                    <a:pt x="11028" y="5199"/>
                    <a:pt x="10933" y="5671"/>
                    <a:pt x="10744" y="6144"/>
                  </a:cubicBezTo>
                  <a:cubicBezTo>
                    <a:pt x="11248" y="6112"/>
                    <a:pt x="11689" y="5671"/>
                    <a:pt x="11689" y="5104"/>
                  </a:cubicBezTo>
                  <a:lnTo>
                    <a:pt x="116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76"/>
            <p:cNvSpPr/>
            <p:nvPr/>
          </p:nvSpPr>
          <p:spPr>
            <a:xfrm>
              <a:off x="-2908450" y="3724275"/>
              <a:ext cx="59900" cy="164625"/>
            </a:xfrm>
            <a:custGeom>
              <a:avLst/>
              <a:gdLst/>
              <a:ahLst/>
              <a:cxnLst/>
              <a:rect l="l" t="t" r="r" b="b"/>
              <a:pathLst>
                <a:path w="2396" h="6585" extrusionOk="0">
                  <a:moveTo>
                    <a:pt x="2395" y="0"/>
                  </a:moveTo>
                  <a:cubicBezTo>
                    <a:pt x="1904" y="491"/>
                    <a:pt x="1500" y="721"/>
                    <a:pt x="1085" y="721"/>
                  </a:cubicBezTo>
                  <a:cubicBezTo>
                    <a:pt x="887" y="721"/>
                    <a:pt x="687" y="669"/>
                    <a:pt x="473" y="567"/>
                  </a:cubicBezTo>
                  <a:cubicBezTo>
                    <a:pt x="423" y="548"/>
                    <a:pt x="374" y="539"/>
                    <a:pt x="327" y="539"/>
                  </a:cubicBezTo>
                  <a:cubicBezTo>
                    <a:pt x="142" y="539"/>
                    <a:pt x="1" y="681"/>
                    <a:pt x="1" y="882"/>
                  </a:cubicBezTo>
                  <a:lnTo>
                    <a:pt x="1" y="3214"/>
                  </a:lnTo>
                  <a:cubicBezTo>
                    <a:pt x="1" y="3718"/>
                    <a:pt x="127" y="4222"/>
                    <a:pt x="316" y="4663"/>
                  </a:cubicBezTo>
                  <a:cubicBezTo>
                    <a:pt x="725" y="5513"/>
                    <a:pt x="1387" y="6238"/>
                    <a:pt x="2395" y="6585"/>
                  </a:cubicBezTo>
                  <a:lnTo>
                    <a:pt x="23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76"/>
            <p:cNvSpPr/>
            <p:nvPr/>
          </p:nvSpPr>
          <p:spPr>
            <a:xfrm>
              <a:off x="-2831250" y="3725850"/>
              <a:ext cx="59875" cy="163850"/>
            </a:xfrm>
            <a:custGeom>
              <a:avLst/>
              <a:gdLst/>
              <a:ahLst/>
              <a:cxnLst/>
              <a:rect l="l" t="t" r="r" b="b"/>
              <a:pathLst>
                <a:path w="2395" h="6554" extrusionOk="0">
                  <a:moveTo>
                    <a:pt x="0" y="0"/>
                  </a:moveTo>
                  <a:lnTo>
                    <a:pt x="0" y="6553"/>
                  </a:lnTo>
                  <a:cubicBezTo>
                    <a:pt x="1008" y="6175"/>
                    <a:pt x="1670" y="5450"/>
                    <a:pt x="2079" y="4631"/>
                  </a:cubicBezTo>
                  <a:cubicBezTo>
                    <a:pt x="2269" y="4159"/>
                    <a:pt x="2395" y="3686"/>
                    <a:pt x="2395" y="3182"/>
                  </a:cubicBezTo>
                  <a:lnTo>
                    <a:pt x="2395" y="851"/>
                  </a:lnTo>
                  <a:cubicBezTo>
                    <a:pt x="2395" y="623"/>
                    <a:pt x="2212" y="477"/>
                    <a:pt x="2042" y="477"/>
                  </a:cubicBezTo>
                  <a:cubicBezTo>
                    <a:pt x="2000" y="477"/>
                    <a:pt x="1959" y="485"/>
                    <a:pt x="1922" y="504"/>
                  </a:cubicBezTo>
                  <a:cubicBezTo>
                    <a:pt x="1704" y="598"/>
                    <a:pt x="1496" y="647"/>
                    <a:pt x="1291" y="647"/>
                  </a:cubicBezTo>
                  <a:cubicBezTo>
                    <a:pt x="873" y="647"/>
                    <a:pt x="465" y="44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9" name="Google Shape;8789;p76"/>
          <p:cNvGrpSpPr/>
          <p:nvPr/>
        </p:nvGrpSpPr>
        <p:grpSpPr>
          <a:xfrm>
            <a:off x="6272798" y="2781214"/>
            <a:ext cx="421927" cy="370882"/>
            <a:chOff x="-3030525" y="3973150"/>
            <a:chExt cx="293025" cy="257575"/>
          </a:xfrm>
        </p:grpSpPr>
        <p:sp>
          <p:nvSpPr>
            <p:cNvPr id="8790" name="Google Shape;8790;p76"/>
            <p:cNvSpPr/>
            <p:nvPr/>
          </p:nvSpPr>
          <p:spPr>
            <a:xfrm>
              <a:off x="-3029750" y="3973150"/>
              <a:ext cx="292250" cy="68550"/>
            </a:xfrm>
            <a:custGeom>
              <a:avLst/>
              <a:gdLst/>
              <a:ahLst/>
              <a:cxnLst/>
              <a:rect l="l" t="t" r="r" b="b"/>
              <a:pathLst>
                <a:path w="11690" h="2742" extrusionOk="0">
                  <a:moveTo>
                    <a:pt x="1702" y="1355"/>
                  </a:moveTo>
                  <a:cubicBezTo>
                    <a:pt x="1891" y="1355"/>
                    <a:pt x="2049" y="1513"/>
                    <a:pt x="2049" y="1702"/>
                  </a:cubicBezTo>
                  <a:cubicBezTo>
                    <a:pt x="2049" y="1922"/>
                    <a:pt x="1891" y="2080"/>
                    <a:pt x="1702" y="2080"/>
                  </a:cubicBezTo>
                  <a:cubicBezTo>
                    <a:pt x="1513" y="2080"/>
                    <a:pt x="1356" y="1922"/>
                    <a:pt x="1356" y="1702"/>
                  </a:cubicBezTo>
                  <a:cubicBezTo>
                    <a:pt x="1356" y="1513"/>
                    <a:pt x="1513" y="1355"/>
                    <a:pt x="1702" y="1355"/>
                  </a:cubicBezTo>
                  <a:close/>
                  <a:moveTo>
                    <a:pt x="3088" y="1355"/>
                  </a:moveTo>
                  <a:cubicBezTo>
                    <a:pt x="3277" y="1355"/>
                    <a:pt x="3435" y="1513"/>
                    <a:pt x="3435" y="1702"/>
                  </a:cubicBezTo>
                  <a:cubicBezTo>
                    <a:pt x="3435" y="1922"/>
                    <a:pt x="3277" y="2080"/>
                    <a:pt x="3088" y="2080"/>
                  </a:cubicBezTo>
                  <a:cubicBezTo>
                    <a:pt x="2868" y="2080"/>
                    <a:pt x="2710" y="1922"/>
                    <a:pt x="2710" y="1702"/>
                  </a:cubicBezTo>
                  <a:cubicBezTo>
                    <a:pt x="2710" y="1513"/>
                    <a:pt x="2868" y="1355"/>
                    <a:pt x="3088" y="1355"/>
                  </a:cubicBezTo>
                  <a:close/>
                  <a:moveTo>
                    <a:pt x="9925" y="1387"/>
                  </a:moveTo>
                  <a:cubicBezTo>
                    <a:pt x="10366" y="1387"/>
                    <a:pt x="10366" y="2080"/>
                    <a:pt x="9925" y="2080"/>
                  </a:cubicBezTo>
                  <a:lnTo>
                    <a:pt x="5829" y="2080"/>
                  </a:lnTo>
                  <a:cubicBezTo>
                    <a:pt x="5388" y="2080"/>
                    <a:pt x="5357" y="1387"/>
                    <a:pt x="5829" y="1387"/>
                  </a:cubicBezTo>
                  <a:close/>
                  <a:moveTo>
                    <a:pt x="1041" y="1"/>
                  </a:moveTo>
                  <a:cubicBezTo>
                    <a:pt x="473" y="1"/>
                    <a:pt x="1" y="473"/>
                    <a:pt x="1" y="1040"/>
                  </a:cubicBezTo>
                  <a:lnTo>
                    <a:pt x="1" y="2741"/>
                  </a:lnTo>
                  <a:lnTo>
                    <a:pt x="11689" y="2741"/>
                  </a:lnTo>
                  <a:lnTo>
                    <a:pt x="11689" y="1040"/>
                  </a:lnTo>
                  <a:cubicBezTo>
                    <a:pt x="11658" y="505"/>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76"/>
            <p:cNvSpPr/>
            <p:nvPr/>
          </p:nvSpPr>
          <p:spPr>
            <a:xfrm>
              <a:off x="-3030525" y="4059000"/>
              <a:ext cx="292225" cy="171725"/>
            </a:xfrm>
            <a:custGeom>
              <a:avLst/>
              <a:gdLst/>
              <a:ahLst/>
              <a:cxnLst/>
              <a:rect l="l" t="t" r="r" b="b"/>
              <a:pathLst>
                <a:path w="11689" h="6869" extrusionOk="0">
                  <a:moveTo>
                    <a:pt x="3773" y="1366"/>
                  </a:moveTo>
                  <a:cubicBezTo>
                    <a:pt x="4065" y="1366"/>
                    <a:pt x="4260" y="1775"/>
                    <a:pt x="3970" y="1985"/>
                  </a:cubicBezTo>
                  <a:lnTo>
                    <a:pt x="2363" y="3088"/>
                  </a:lnTo>
                  <a:lnTo>
                    <a:pt x="3970" y="4191"/>
                  </a:lnTo>
                  <a:cubicBezTo>
                    <a:pt x="4252" y="4370"/>
                    <a:pt x="4075" y="4801"/>
                    <a:pt x="3795" y="4801"/>
                  </a:cubicBezTo>
                  <a:cubicBezTo>
                    <a:pt x="3731" y="4801"/>
                    <a:pt x="3662" y="4779"/>
                    <a:pt x="3592" y="4726"/>
                  </a:cubicBezTo>
                  <a:lnTo>
                    <a:pt x="1544" y="3372"/>
                  </a:lnTo>
                  <a:cubicBezTo>
                    <a:pt x="1324" y="3246"/>
                    <a:pt x="1324" y="2962"/>
                    <a:pt x="1544" y="2805"/>
                  </a:cubicBezTo>
                  <a:lnTo>
                    <a:pt x="3592" y="1418"/>
                  </a:lnTo>
                  <a:cubicBezTo>
                    <a:pt x="3654" y="1382"/>
                    <a:pt x="3715" y="1366"/>
                    <a:pt x="3773" y="1366"/>
                  </a:cubicBezTo>
                  <a:close/>
                  <a:moveTo>
                    <a:pt x="7912" y="1407"/>
                  </a:moveTo>
                  <a:cubicBezTo>
                    <a:pt x="7979" y="1407"/>
                    <a:pt x="8053" y="1429"/>
                    <a:pt x="8129" y="1481"/>
                  </a:cubicBezTo>
                  <a:lnTo>
                    <a:pt x="10145" y="2836"/>
                  </a:lnTo>
                  <a:cubicBezTo>
                    <a:pt x="10366" y="2962"/>
                    <a:pt x="10366" y="3277"/>
                    <a:pt x="10145" y="3403"/>
                  </a:cubicBezTo>
                  <a:lnTo>
                    <a:pt x="8129" y="4789"/>
                  </a:lnTo>
                  <a:cubicBezTo>
                    <a:pt x="8061" y="4826"/>
                    <a:pt x="7996" y="4841"/>
                    <a:pt x="7935" y="4841"/>
                  </a:cubicBezTo>
                  <a:cubicBezTo>
                    <a:pt x="7624" y="4841"/>
                    <a:pt x="7430" y="4433"/>
                    <a:pt x="7719" y="4222"/>
                  </a:cubicBezTo>
                  <a:lnTo>
                    <a:pt x="9326" y="3120"/>
                  </a:lnTo>
                  <a:lnTo>
                    <a:pt x="7719" y="2017"/>
                  </a:lnTo>
                  <a:cubicBezTo>
                    <a:pt x="7437" y="1837"/>
                    <a:pt x="7615" y="1407"/>
                    <a:pt x="7912" y="1407"/>
                  </a:cubicBezTo>
                  <a:close/>
                  <a:moveTo>
                    <a:pt x="6515" y="714"/>
                  </a:moveTo>
                  <a:cubicBezTo>
                    <a:pt x="6728" y="714"/>
                    <a:pt x="6948" y="909"/>
                    <a:pt x="6868" y="1166"/>
                  </a:cubicBezTo>
                  <a:lnTo>
                    <a:pt x="5482" y="5262"/>
                  </a:lnTo>
                  <a:cubicBezTo>
                    <a:pt x="5434" y="5420"/>
                    <a:pt x="5306" y="5489"/>
                    <a:pt x="5176" y="5489"/>
                  </a:cubicBezTo>
                  <a:cubicBezTo>
                    <a:pt x="4968" y="5489"/>
                    <a:pt x="4755" y="5313"/>
                    <a:pt x="4852" y="5041"/>
                  </a:cubicBezTo>
                  <a:lnTo>
                    <a:pt x="6207" y="946"/>
                  </a:lnTo>
                  <a:cubicBezTo>
                    <a:pt x="6265" y="782"/>
                    <a:pt x="6389" y="714"/>
                    <a:pt x="6515" y="714"/>
                  </a:cubicBezTo>
                  <a:close/>
                  <a:moveTo>
                    <a:pt x="0" y="1"/>
                  </a:moveTo>
                  <a:lnTo>
                    <a:pt x="0" y="5829"/>
                  </a:lnTo>
                  <a:lnTo>
                    <a:pt x="32" y="5829"/>
                  </a:lnTo>
                  <a:cubicBezTo>
                    <a:pt x="32" y="6396"/>
                    <a:pt x="504" y="6869"/>
                    <a:pt x="1072" y="6869"/>
                  </a:cubicBezTo>
                  <a:lnTo>
                    <a:pt x="10681" y="6869"/>
                  </a:lnTo>
                  <a:cubicBezTo>
                    <a:pt x="11216" y="6869"/>
                    <a:pt x="11689" y="6396"/>
                    <a:pt x="11689" y="5829"/>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2" name="Google Shape;8792;p76"/>
          <p:cNvGrpSpPr/>
          <p:nvPr/>
        </p:nvGrpSpPr>
        <p:grpSpPr>
          <a:xfrm>
            <a:off x="1374391" y="3369426"/>
            <a:ext cx="421927" cy="297195"/>
            <a:chOff x="-1199300" y="3279250"/>
            <a:chExt cx="293025" cy="206400"/>
          </a:xfrm>
        </p:grpSpPr>
        <p:sp>
          <p:nvSpPr>
            <p:cNvPr id="8793" name="Google Shape;8793;p76"/>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76"/>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5" name="Google Shape;8795;p76"/>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6" name="Google Shape;8796;p76"/>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7" name="Google Shape;8797;p76"/>
          <p:cNvGrpSpPr/>
          <p:nvPr/>
        </p:nvGrpSpPr>
        <p:grpSpPr>
          <a:xfrm>
            <a:off x="1381477" y="1688773"/>
            <a:ext cx="444605" cy="420559"/>
            <a:chOff x="-6338550" y="3272950"/>
            <a:chExt cx="308775" cy="292075"/>
          </a:xfrm>
        </p:grpSpPr>
        <p:sp>
          <p:nvSpPr>
            <p:cNvPr id="8798" name="Google Shape;8798;p76"/>
            <p:cNvSpPr/>
            <p:nvPr/>
          </p:nvSpPr>
          <p:spPr>
            <a:xfrm>
              <a:off x="-6338550" y="3272950"/>
              <a:ext cx="308775" cy="119750"/>
            </a:xfrm>
            <a:custGeom>
              <a:avLst/>
              <a:gdLst/>
              <a:ahLst/>
              <a:cxnLst/>
              <a:rect l="l" t="t" r="r" b="b"/>
              <a:pathLst>
                <a:path w="12351" h="4790" extrusionOk="0">
                  <a:moveTo>
                    <a:pt x="6144" y="2017"/>
                  </a:moveTo>
                  <a:cubicBezTo>
                    <a:pt x="6333" y="2017"/>
                    <a:pt x="6491" y="2206"/>
                    <a:pt x="6491" y="2395"/>
                  </a:cubicBezTo>
                  <a:cubicBezTo>
                    <a:pt x="6459" y="2584"/>
                    <a:pt x="6333" y="2742"/>
                    <a:pt x="6144" y="2742"/>
                  </a:cubicBezTo>
                  <a:cubicBezTo>
                    <a:pt x="5955" y="2742"/>
                    <a:pt x="5797" y="2584"/>
                    <a:pt x="5797" y="2395"/>
                  </a:cubicBezTo>
                  <a:cubicBezTo>
                    <a:pt x="5797" y="2206"/>
                    <a:pt x="5955" y="2017"/>
                    <a:pt x="6144" y="2017"/>
                  </a:cubicBezTo>
                  <a:close/>
                  <a:moveTo>
                    <a:pt x="6144" y="1"/>
                  </a:moveTo>
                  <a:cubicBezTo>
                    <a:pt x="4789" y="1"/>
                    <a:pt x="3750" y="1040"/>
                    <a:pt x="3750" y="2395"/>
                  </a:cubicBezTo>
                  <a:cubicBezTo>
                    <a:pt x="3750" y="2521"/>
                    <a:pt x="3750" y="2616"/>
                    <a:pt x="3781" y="2742"/>
                  </a:cubicBezTo>
                  <a:lnTo>
                    <a:pt x="1324" y="2742"/>
                  </a:lnTo>
                  <a:cubicBezTo>
                    <a:pt x="1" y="2742"/>
                    <a:pt x="1" y="4790"/>
                    <a:pt x="1324" y="4790"/>
                  </a:cubicBezTo>
                  <a:lnTo>
                    <a:pt x="10996" y="4790"/>
                  </a:lnTo>
                  <a:cubicBezTo>
                    <a:pt x="12351" y="4790"/>
                    <a:pt x="12351" y="2742"/>
                    <a:pt x="10996" y="2742"/>
                  </a:cubicBezTo>
                  <a:lnTo>
                    <a:pt x="8507" y="2742"/>
                  </a:lnTo>
                  <a:cubicBezTo>
                    <a:pt x="8507" y="2616"/>
                    <a:pt x="8538" y="2521"/>
                    <a:pt x="8538" y="2395"/>
                  </a:cubicBezTo>
                  <a:cubicBezTo>
                    <a:pt x="8538" y="1040"/>
                    <a:pt x="7467" y="1"/>
                    <a:pt x="61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9" name="Google Shape;8799;p76"/>
            <p:cNvSpPr/>
            <p:nvPr/>
          </p:nvSpPr>
          <p:spPr>
            <a:xfrm>
              <a:off x="-6228275" y="3479325"/>
              <a:ext cx="86650" cy="85700"/>
            </a:xfrm>
            <a:custGeom>
              <a:avLst/>
              <a:gdLst/>
              <a:ahLst/>
              <a:cxnLst/>
              <a:rect l="l" t="t" r="r" b="b"/>
              <a:pathLst>
                <a:path w="3466" h="3428" extrusionOk="0">
                  <a:moveTo>
                    <a:pt x="32" y="0"/>
                  </a:moveTo>
                  <a:lnTo>
                    <a:pt x="32" y="3088"/>
                  </a:lnTo>
                  <a:lnTo>
                    <a:pt x="0" y="3088"/>
                  </a:lnTo>
                  <a:cubicBezTo>
                    <a:pt x="0" y="3268"/>
                    <a:pt x="190" y="3428"/>
                    <a:pt x="380" y="3428"/>
                  </a:cubicBezTo>
                  <a:cubicBezTo>
                    <a:pt x="422" y="3428"/>
                    <a:pt x="464" y="3420"/>
                    <a:pt x="504" y="3403"/>
                  </a:cubicBezTo>
                  <a:lnTo>
                    <a:pt x="3277" y="2016"/>
                  </a:lnTo>
                  <a:cubicBezTo>
                    <a:pt x="3371" y="1985"/>
                    <a:pt x="3466" y="1859"/>
                    <a:pt x="3466" y="1701"/>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76"/>
            <p:cNvSpPr/>
            <p:nvPr/>
          </p:nvSpPr>
          <p:spPr>
            <a:xfrm>
              <a:off x="-6292075" y="3410800"/>
              <a:ext cx="212675" cy="50425"/>
            </a:xfrm>
            <a:custGeom>
              <a:avLst/>
              <a:gdLst/>
              <a:ahLst/>
              <a:cxnLst/>
              <a:rect l="l" t="t" r="r" b="b"/>
              <a:pathLst>
                <a:path w="8507" h="2017" extrusionOk="0">
                  <a:moveTo>
                    <a:pt x="0" y="0"/>
                  </a:moveTo>
                  <a:lnTo>
                    <a:pt x="2048" y="2016"/>
                  </a:lnTo>
                  <a:lnTo>
                    <a:pt x="6459" y="2016"/>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1" name="Google Shape;8801;p76"/>
          <p:cNvGrpSpPr/>
          <p:nvPr/>
        </p:nvGrpSpPr>
        <p:grpSpPr>
          <a:xfrm>
            <a:off x="1392817" y="2205194"/>
            <a:ext cx="421927" cy="419659"/>
            <a:chOff x="-6329100" y="3632100"/>
            <a:chExt cx="293025" cy="291450"/>
          </a:xfrm>
        </p:grpSpPr>
        <p:sp>
          <p:nvSpPr>
            <p:cNvPr id="8802" name="Google Shape;8802;p76"/>
            <p:cNvSpPr/>
            <p:nvPr/>
          </p:nvSpPr>
          <p:spPr>
            <a:xfrm>
              <a:off x="-6210700" y="3751600"/>
              <a:ext cx="174625" cy="171950"/>
            </a:xfrm>
            <a:custGeom>
              <a:avLst/>
              <a:gdLst/>
              <a:ahLst/>
              <a:cxnLst/>
              <a:rect l="l" t="t" r="r" b="b"/>
              <a:pathLst>
                <a:path w="6985" h="6878" extrusionOk="0">
                  <a:moveTo>
                    <a:pt x="492" y="0"/>
                  </a:moveTo>
                  <a:cubicBezTo>
                    <a:pt x="219" y="0"/>
                    <a:pt x="0" y="235"/>
                    <a:pt x="85" y="545"/>
                  </a:cubicBezTo>
                  <a:lnTo>
                    <a:pt x="1503" y="5712"/>
                  </a:lnTo>
                  <a:cubicBezTo>
                    <a:pt x="1559" y="5882"/>
                    <a:pt x="1707" y="5984"/>
                    <a:pt x="1856" y="5984"/>
                  </a:cubicBezTo>
                  <a:cubicBezTo>
                    <a:pt x="1956" y="5984"/>
                    <a:pt x="2057" y="5939"/>
                    <a:pt x="2133" y="5838"/>
                  </a:cubicBezTo>
                  <a:lnTo>
                    <a:pt x="2889" y="4735"/>
                  </a:lnTo>
                  <a:lnTo>
                    <a:pt x="3739" y="5712"/>
                  </a:lnTo>
                  <a:lnTo>
                    <a:pt x="4622" y="6594"/>
                  </a:lnTo>
                  <a:cubicBezTo>
                    <a:pt x="4811" y="6783"/>
                    <a:pt x="5086" y="6878"/>
                    <a:pt x="5362" y="6878"/>
                  </a:cubicBezTo>
                  <a:cubicBezTo>
                    <a:pt x="5638" y="6878"/>
                    <a:pt x="5913" y="6783"/>
                    <a:pt x="6102" y="6594"/>
                  </a:cubicBezTo>
                  <a:lnTo>
                    <a:pt x="6575" y="6122"/>
                  </a:lnTo>
                  <a:cubicBezTo>
                    <a:pt x="6984" y="5712"/>
                    <a:pt x="6984" y="5113"/>
                    <a:pt x="6575" y="4672"/>
                  </a:cubicBezTo>
                  <a:lnTo>
                    <a:pt x="4811" y="2814"/>
                  </a:lnTo>
                  <a:lnTo>
                    <a:pt x="5913" y="2058"/>
                  </a:lnTo>
                  <a:cubicBezTo>
                    <a:pt x="6134" y="1900"/>
                    <a:pt x="6102" y="1522"/>
                    <a:pt x="5787" y="1427"/>
                  </a:cubicBezTo>
                  <a:lnTo>
                    <a:pt x="589" y="10"/>
                  </a:lnTo>
                  <a:cubicBezTo>
                    <a:pt x="556" y="3"/>
                    <a:pt x="524" y="0"/>
                    <a:pt x="4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76"/>
            <p:cNvSpPr/>
            <p:nvPr/>
          </p:nvSpPr>
          <p:spPr>
            <a:xfrm>
              <a:off x="-6272400" y="3691975"/>
              <a:ext cx="136300" cy="135500"/>
            </a:xfrm>
            <a:custGeom>
              <a:avLst/>
              <a:gdLst/>
              <a:ahLst/>
              <a:cxnLst/>
              <a:rect l="l" t="t" r="r" b="b"/>
              <a:pathLst>
                <a:path w="5452" h="5420" extrusionOk="0">
                  <a:moveTo>
                    <a:pt x="2742" y="0"/>
                  </a:moveTo>
                  <a:cubicBezTo>
                    <a:pt x="1261" y="0"/>
                    <a:pt x="1" y="1229"/>
                    <a:pt x="1" y="2710"/>
                  </a:cubicBezTo>
                  <a:cubicBezTo>
                    <a:pt x="1" y="4127"/>
                    <a:pt x="1041" y="5293"/>
                    <a:pt x="2427" y="5419"/>
                  </a:cubicBezTo>
                  <a:lnTo>
                    <a:pt x="2112" y="4317"/>
                  </a:lnTo>
                  <a:cubicBezTo>
                    <a:pt x="1482" y="4096"/>
                    <a:pt x="1009" y="3466"/>
                    <a:pt x="1009" y="2741"/>
                  </a:cubicBezTo>
                  <a:cubicBezTo>
                    <a:pt x="1041" y="1765"/>
                    <a:pt x="1828" y="1009"/>
                    <a:pt x="2773" y="1009"/>
                  </a:cubicBezTo>
                  <a:cubicBezTo>
                    <a:pt x="3530" y="1009"/>
                    <a:pt x="4128" y="1481"/>
                    <a:pt x="4349" y="2143"/>
                  </a:cubicBezTo>
                  <a:lnTo>
                    <a:pt x="5451" y="2458"/>
                  </a:lnTo>
                  <a:cubicBezTo>
                    <a:pt x="5294" y="1072"/>
                    <a:pt x="4160" y="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76"/>
            <p:cNvSpPr/>
            <p:nvPr/>
          </p:nvSpPr>
          <p:spPr>
            <a:xfrm>
              <a:off x="-6329100" y="3632100"/>
              <a:ext cx="257575" cy="256025"/>
            </a:xfrm>
            <a:custGeom>
              <a:avLst/>
              <a:gdLst/>
              <a:ahLst/>
              <a:cxnLst/>
              <a:rect l="l" t="t" r="r" b="b"/>
              <a:pathLst>
                <a:path w="10303" h="10241" extrusionOk="0">
                  <a:moveTo>
                    <a:pt x="5136" y="1"/>
                  </a:moveTo>
                  <a:cubicBezTo>
                    <a:pt x="2301" y="1"/>
                    <a:pt x="1" y="2269"/>
                    <a:pt x="1" y="5105"/>
                  </a:cubicBezTo>
                  <a:cubicBezTo>
                    <a:pt x="1" y="7972"/>
                    <a:pt x="2332" y="10240"/>
                    <a:pt x="5136" y="10240"/>
                  </a:cubicBezTo>
                  <a:cubicBezTo>
                    <a:pt x="5262" y="10240"/>
                    <a:pt x="5356" y="10240"/>
                    <a:pt x="5451" y="10177"/>
                  </a:cubicBezTo>
                  <a:lnTo>
                    <a:pt x="4978" y="8444"/>
                  </a:lnTo>
                  <a:cubicBezTo>
                    <a:pt x="4959" y="8445"/>
                    <a:pt x="4940" y="8445"/>
                    <a:pt x="4921" y="8445"/>
                  </a:cubicBezTo>
                  <a:cubicBezTo>
                    <a:pt x="3089" y="8445"/>
                    <a:pt x="1639" y="6945"/>
                    <a:pt x="1639" y="5105"/>
                  </a:cubicBezTo>
                  <a:cubicBezTo>
                    <a:pt x="1639" y="3214"/>
                    <a:pt x="3151" y="1702"/>
                    <a:pt x="5073" y="1702"/>
                  </a:cubicBezTo>
                  <a:cubicBezTo>
                    <a:pt x="6900" y="1702"/>
                    <a:pt x="8412" y="3151"/>
                    <a:pt x="8475" y="4979"/>
                  </a:cubicBezTo>
                  <a:lnTo>
                    <a:pt x="10208" y="5451"/>
                  </a:lnTo>
                  <a:cubicBezTo>
                    <a:pt x="10303" y="4002"/>
                    <a:pt x="9799" y="2553"/>
                    <a:pt x="8759" y="1482"/>
                  </a:cubicBezTo>
                  <a:cubicBezTo>
                    <a:pt x="7782" y="505"/>
                    <a:pt x="6522"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5" name="Google Shape;8805;p76"/>
          <p:cNvGrpSpPr/>
          <p:nvPr/>
        </p:nvGrpSpPr>
        <p:grpSpPr>
          <a:xfrm>
            <a:off x="1405867" y="2756828"/>
            <a:ext cx="419623" cy="419659"/>
            <a:chOff x="-6329875" y="3992050"/>
            <a:chExt cx="291425" cy="291450"/>
          </a:xfrm>
        </p:grpSpPr>
        <p:sp>
          <p:nvSpPr>
            <p:cNvPr id="8806" name="Google Shape;8806;p76"/>
            <p:cNvSpPr/>
            <p:nvPr/>
          </p:nvSpPr>
          <p:spPr>
            <a:xfrm>
              <a:off x="-6090450" y="4077900"/>
              <a:ext cx="52000" cy="34675"/>
            </a:xfrm>
            <a:custGeom>
              <a:avLst/>
              <a:gdLst/>
              <a:ahLst/>
              <a:cxnLst/>
              <a:rect l="l" t="t" r="r" b="b"/>
              <a:pathLst>
                <a:path w="2080" h="1387" extrusionOk="0">
                  <a:moveTo>
                    <a:pt x="1" y="1"/>
                  </a:moveTo>
                  <a:lnTo>
                    <a:pt x="1" y="1387"/>
                  </a:lnTo>
                  <a:lnTo>
                    <a:pt x="2080" y="1387"/>
                  </a:lnTo>
                  <a:lnTo>
                    <a:pt x="2080" y="1040"/>
                  </a:lnTo>
                  <a:cubicBezTo>
                    <a:pt x="2080" y="473"/>
                    <a:pt x="1607"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6"/>
            <p:cNvSpPr/>
            <p:nvPr/>
          </p:nvSpPr>
          <p:spPr>
            <a:xfrm>
              <a:off x="-6262925" y="3992050"/>
              <a:ext cx="154400" cy="155200"/>
            </a:xfrm>
            <a:custGeom>
              <a:avLst/>
              <a:gdLst/>
              <a:ahLst/>
              <a:cxnLst/>
              <a:rect l="l" t="t" r="r" b="b"/>
              <a:pathLst>
                <a:path w="6176" h="6208" extrusionOk="0">
                  <a:moveTo>
                    <a:pt x="5167" y="1387"/>
                  </a:moveTo>
                  <a:cubicBezTo>
                    <a:pt x="5608" y="1387"/>
                    <a:pt x="5639" y="2048"/>
                    <a:pt x="5167" y="2048"/>
                  </a:cubicBezTo>
                  <a:lnTo>
                    <a:pt x="1071" y="2048"/>
                  </a:lnTo>
                  <a:cubicBezTo>
                    <a:pt x="1053" y="2051"/>
                    <a:pt x="1035" y="2052"/>
                    <a:pt x="1018" y="2052"/>
                  </a:cubicBezTo>
                  <a:cubicBezTo>
                    <a:pt x="628" y="2052"/>
                    <a:pt x="618" y="1387"/>
                    <a:pt x="1071" y="1387"/>
                  </a:cubicBezTo>
                  <a:close/>
                  <a:moveTo>
                    <a:pt x="5167" y="2773"/>
                  </a:moveTo>
                  <a:cubicBezTo>
                    <a:pt x="5608" y="2773"/>
                    <a:pt x="5639" y="3435"/>
                    <a:pt x="5167" y="3435"/>
                  </a:cubicBezTo>
                  <a:lnTo>
                    <a:pt x="1071" y="3435"/>
                  </a:lnTo>
                  <a:cubicBezTo>
                    <a:pt x="630" y="3435"/>
                    <a:pt x="599" y="2773"/>
                    <a:pt x="1071" y="2773"/>
                  </a:cubicBezTo>
                  <a:close/>
                  <a:moveTo>
                    <a:pt x="5167" y="4159"/>
                  </a:moveTo>
                  <a:cubicBezTo>
                    <a:pt x="5608" y="4159"/>
                    <a:pt x="5639" y="4821"/>
                    <a:pt x="5167" y="4821"/>
                  </a:cubicBezTo>
                  <a:lnTo>
                    <a:pt x="1071" y="4821"/>
                  </a:lnTo>
                  <a:cubicBezTo>
                    <a:pt x="630" y="4821"/>
                    <a:pt x="599" y="4159"/>
                    <a:pt x="1071" y="4159"/>
                  </a:cubicBezTo>
                  <a:close/>
                  <a:moveTo>
                    <a:pt x="347" y="1"/>
                  </a:moveTo>
                  <a:cubicBezTo>
                    <a:pt x="158" y="1"/>
                    <a:pt x="0" y="158"/>
                    <a:pt x="0" y="379"/>
                  </a:cubicBezTo>
                  <a:lnTo>
                    <a:pt x="0" y="6207"/>
                  </a:lnTo>
                  <a:lnTo>
                    <a:pt x="4726" y="6207"/>
                  </a:lnTo>
                  <a:cubicBezTo>
                    <a:pt x="5041" y="6207"/>
                    <a:pt x="5198" y="5672"/>
                    <a:pt x="5356" y="5420"/>
                  </a:cubicBezTo>
                  <a:cubicBezTo>
                    <a:pt x="5513" y="5104"/>
                    <a:pt x="5828" y="4884"/>
                    <a:pt x="6175" y="4852"/>
                  </a:cubicBezTo>
                  <a:lnTo>
                    <a:pt x="6175" y="379"/>
                  </a:lnTo>
                  <a:cubicBezTo>
                    <a:pt x="6175" y="158"/>
                    <a:pt x="6018" y="1"/>
                    <a:pt x="5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8" name="Google Shape;8808;p76"/>
            <p:cNvSpPr/>
            <p:nvPr/>
          </p:nvSpPr>
          <p:spPr>
            <a:xfrm>
              <a:off x="-6329875" y="4044825"/>
              <a:ext cx="51200" cy="102425"/>
            </a:xfrm>
            <a:custGeom>
              <a:avLst/>
              <a:gdLst/>
              <a:ahLst/>
              <a:cxnLst/>
              <a:rect l="l" t="t" r="r" b="b"/>
              <a:pathLst>
                <a:path w="2048" h="4097" extrusionOk="0">
                  <a:moveTo>
                    <a:pt x="1040" y="0"/>
                  </a:moveTo>
                  <a:cubicBezTo>
                    <a:pt x="473" y="0"/>
                    <a:pt x="0" y="473"/>
                    <a:pt x="0" y="1009"/>
                  </a:cubicBezTo>
                  <a:lnTo>
                    <a:pt x="0" y="4096"/>
                  </a:lnTo>
                  <a:lnTo>
                    <a:pt x="2048" y="4096"/>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9" name="Google Shape;8809;p76"/>
            <p:cNvSpPr/>
            <p:nvPr/>
          </p:nvSpPr>
          <p:spPr>
            <a:xfrm>
              <a:off x="-6329875" y="4129900"/>
              <a:ext cx="291425" cy="153600"/>
            </a:xfrm>
            <a:custGeom>
              <a:avLst/>
              <a:gdLst/>
              <a:ahLst/>
              <a:cxnLst/>
              <a:rect l="l" t="t" r="r" b="b"/>
              <a:pathLst>
                <a:path w="11657" h="6144" extrusionOk="0">
                  <a:moveTo>
                    <a:pt x="8948" y="0"/>
                  </a:moveTo>
                  <a:cubicBezTo>
                    <a:pt x="8664" y="0"/>
                    <a:pt x="8506" y="473"/>
                    <a:pt x="8349" y="788"/>
                  </a:cubicBezTo>
                  <a:cubicBezTo>
                    <a:pt x="8191" y="1166"/>
                    <a:pt x="7845" y="1355"/>
                    <a:pt x="7467" y="1355"/>
                  </a:cubicBezTo>
                  <a:lnTo>
                    <a:pt x="0" y="1355"/>
                  </a:lnTo>
                  <a:lnTo>
                    <a:pt x="0" y="5135"/>
                  </a:lnTo>
                  <a:cubicBezTo>
                    <a:pt x="0" y="5671"/>
                    <a:pt x="473" y="6143"/>
                    <a:pt x="1040" y="6143"/>
                  </a:cubicBezTo>
                  <a:lnTo>
                    <a:pt x="10649" y="6143"/>
                  </a:lnTo>
                  <a:cubicBezTo>
                    <a:pt x="11184" y="6143"/>
                    <a:pt x="11657" y="5671"/>
                    <a:pt x="11657" y="5135"/>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0" name="Google Shape;8810;p76"/>
          <p:cNvGrpSpPr/>
          <p:nvPr/>
        </p:nvGrpSpPr>
        <p:grpSpPr>
          <a:xfrm>
            <a:off x="4092004" y="1687530"/>
            <a:ext cx="423079" cy="423043"/>
            <a:chOff x="-4478975" y="3251700"/>
            <a:chExt cx="293825" cy="293800"/>
          </a:xfrm>
        </p:grpSpPr>
        <p:sp>
          <p:nvSpPr>
            <p:cNvPr id="8811" name="Google Shape;8811;p76"/>
            <p:cNvSpPr/>
            <p:nvPr/>
          </p:nvSpPr>
          <p:spPr>
            <a:xfrm>
              <a:off x="-4375000" y="3365100"/>
              <a:ext cx="85075" cy="110900"/>
            </a:xfrm>
            <a:custGeom>
              <a:avLst/>
              <a:gdLst/>
              <a:ahLst/>
              <a:cxnLst/>
              <a:rect l="l" t="t" r="r" b="b"/>
              <a:pathLst>
                <a:path w="3403" h="4436" extrusionOk="0">
                  <a:moveTo>
                    <a:pt x="662" y="1"/>
                  </a:moveTo>
                  <a:cubicBezTo>
                    <a:pt x="221" y="316"/>
                    <a:pt x="0" y="820"/>
                    <a:pt x="0" y="1387"/>
                  </a:cubicBezTo>
                  <a:cubicBezTo>
                    <a:pt x="0" y="2080"/>
                    <a:pt x="473" y="2773"/>
                    <a:pt x="1135" y="2994"/>
                  </a:cubicBezTo>
                  <a:cubicBezTo>
                    <a:pt x="1261" y="3025"/>
                    <a:pt x="1355" y="3183"/>
                    <a:pt x="1355" y="3309"/>
                  </a:cubicBezTo>
                  <a:lnTo>
                    <a:pt x="1355" y="4412"/>
                  </a:lnTo>
                  <a:cubicBezTo>
                    <a:pt x="1576" y="4427"/>
                    <a:pt x="1647" y="4435"/>
                    <a:pt x="1714" y="4435"/>
                  </a:cubicBezTo>
                  <a:cubicBezTo>
                    <a:pt x="1780" y="4435"/>
                    <a:pt x="1843" y="4427"/>
                    <a:pt x="2048" y="4412"/>
                  </a:cubicBezTo>
                  <a:lnTo>
                    <a:pt x="2048" y="3309"/>
                  </a:lnTo>
                  <a:cubicBezTo>
                    <a:pt x="2048" y="3151"/>
                    <a:pt x="2111" y="3025"/>
                    <a:pt x="2269" y="2994"/>
                  </a:cubicBezTo>
                  <a:cubicBezTo>
                    <a:pt x="2962" y="2710"/>
                    <a:pt x="3403" y="2080"/>
                    <a:pt x="3403" y="1387"/>
                  </a:cubicBezTo>
                  <a:cubicBezTo>
                    <a:pt x="3403" y="820"/>
                    <a:pt x="3119" y="316"/>
                    <a:pt x="2741" y="1"/>
                  </a:cubicBezTo>
                  <a:lnTo>
                    <a:pt x="2741" y="1387"/>
                  </a:lnTo>
                  <a:cubicBezTo>
                    <a:pt x="2741" y="1576"/>
                    <a:pt x="2584" y="1734"/>
                    <a:pt x="2395" y="1734"/>
                  </a:cubicBezTo>
                  <a:lnTo>
                    <a:pt x="1009" y="1734"/>
                  </a:lnTo>
                  <a:cubicBezTo>
                    <a:pt x="820" y="1734"/>
                    <a:pt x="662" y="1576"/>
                    <a:pt x="662" y="1387"/>
                  </a:cubicBez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76"/>
            <p:cNvSpPr/>
            <p:nvPr/>
          </p:nvSpPr>
          <p:spPr>
            <a:xfrm>
              <a:off x="-4408875" y="3321800"/>
              <a:ext cx="154400" cy="148875"/>
            </a:xfrm>
            <a:custGeom>
              <a:avLst/>
              <a:gdLst/>
              <a:ahLst/>
              <a:cxnLst/>
              <a:rect l="l" t="t" r="r" b="b"/>
              <a:pathLst>
                <a:path w="6176" h="5955" extrusionOk="0">
                  <a:moveTo>
                    <a:pt x="3057" y="0"/>
                  </a:moveTo>
                  <a:cubicBezTo>
                    <a:pt x="1387" y="0"/>
                    <a:pt x="1" y="1386"/>
                    <a:pt x="1" y="3088"/>
                  </a:cubicBezTo>
                  <a:cubicBezTo>
                    <a:pt x="1" y="4411"/>
                    <a:pt x="851" y="5545"/>
                    <a:pt x="2049" y="5954"/>
                  </a:cubicBezTo>
                  <a:lnTo>
                    <a:pt x="2049" y="5230"/>
                  </a:lnTo>
                  <a:cubicBezTo>
                    <a:pt x="1229" y="4852"/>
                    <a:pt x="662" y="4001"/>
                    <a:pt x="662" y="3088"/>
                  </a:cubicBezTo>
                  <a:cubicBezTo>
                    <a:pt x="662" y="2048"/>
                    <a:pt x="1292" y="1134"/>
                    <a:pt x="2269" y="819"/>
                  </a:cubicBezTo>
                  <a:cubicBezTo>
                    <a:pt x="2307" y="810"/>
                    <a:pt x="2344" y="805"/>
                    <a:pt x="2380" y="805"/>
                  </a:cubicBezTo>
                  <a:cubicBezTo>
                    <a:pt x="2583" y="805"/>
                    <a:pt x="2742" y="947"/>
                    <a:pt x="2742" y="1134"/>
                  </a:cubicBezTo>
                  <a:lnTo>
                    <a:pt x="2742" y="2710"/>
                  </a:lnTo>
                  <a:lnTo>
                    <a:pt x="3435" y="2710"/>
                  </a:lnTo>
                  <a:lnTo>
                    <a:pt x="3435" y="1134"/>
                  </a:lnTo>
                  <a:cubicBezTo>
                    <a:pt x="3435" y="947"/>
                    <a:pt x="3594" y="805"/>
                    <a:pt x="3796" y="805"/>
                  </a:cubicBezTo>
                  <a:cubicBezTo>
                    <a:pt x="3832" y="805"/>
                    <a:pt x="3869" y="810"/>
                    <a:pt x="3907" y="819"/>
                  </a:cubicBezTo>
                  <a:cubicBezTo>
                    <a:pt x="4852" y="1197"/>
                    <a:pt x="5514" y="2079"/>
                    <a:pt x="5514" y="3088"/>
                  </a:cubicBezTo>
                  <a:cubicBezTo>
                    <a:pt x="5514" y="4001"/>
                    <a:pt x="4947" y="4852"/>
                    <a:pt x="4128" y="5230"/>
                  </a:cubicBezTo>
                  <a:lnTo>
                    <a:pt x="4128" y="5954"/>
                  </a:lnTo>
                  <a:cubicBezTo>
                    <a:pt x="5325" y="5513"/>
                    <a:pt x="6176" y="4411"/>
                    <a:pt x="6176" y="3088"/>
                  </a:cubicBezTo>
                  <a:cubicBezTo>
                    <a:pt x="6144" y="1386"/>
                    <a:pt x="4758" y="0"/>
                    <a:pt x="3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6"/>
            <p:cNvSpPr/>
            <p:nvPr/>
          </p:nvSpPr>
          <p:spPr>
            <a:xfrm>
              <a:off x="-4478975" y="3251700"/>
              <a:ext cx="293825" cy="293800"/>
            </a:xfrm>
            <a:custGeom>
              <a:avLst/>
              <a:gdLst/>
              <a:ahLst/>
              <a:cxnLst/>
              <a:rect l="l" t="t" r="r" b="b"/>
              <a:pathLst>
                <a:path w="11753" h="11752" extrusionOk="0">
                  <a:moveTo>
                    <a:pt x="5861" y="2111"/>
                  </a:moveTo>
                  <a:cubicBezTo>
                    <a:pt x="7972" y="2111"/>
                    <a:pt x="9641" y="3781"/>
                    <a:pt x="9641" y="5892"/>
                  </a:cubicBezTo>
                  <a:cubicBezTo>
                    <a:pt x="9610" y="7971"/>
                    <a:pt x="7909" y="9672"/>
                    <a:pt x="5861" y="9672"/>
                  </a:cubicBezTo>
                  <a:cubicBezTo>
                    <a:pt x="3781" y="9672"/>
                    <a:pt x="2080" y="7971"/>
                    <a:pt x="2080" y="5892"/>
                  </a:cubicBezTo>
                  <a:cubicBezTo>
                    <a:pt x="2080" y="3781"/>
                    <a:pt x="3781" y="2111"/>
                    <a:pt x="5861" y="2111"/>
                  </a:cubicBezTo>
                  <a:close/>
                  <a:moveTo>
                    <a:pt x="5168" y="0"/>
                  </a:moveTo>
                  <a:cubicBezTo>
                    <a:pt x="5010" y="0"/>
                    <a:pt x="4884" y="126"/>
                    <a:pt x="4853" y="284"/>
                  </a:cubicBezTo>
                  <a:lnTo>
                    <a:pt x="4695" y="882"/>
                  </a:lnTo>
                  <a:cubicBezTo>
                    <a:pt x="4128" y="1008"/>
                    <a:pt x="3624" y="1229"/>
                    <a:pt x="3120" y="1512"/>
                  </a:cubicBezTo>
                  <a:lnTo>
                    <a:pt x="2616" y="1197"/>
                  </a:lnTo>
                  <a:cubicBezTo>
                    <a:pt x="2557" y="1153"/>
                    <a:pt x="2485" y="1130"/>
                    <a:pt x="2412" y="1130"/>
                  </a:cubicBezTo>
                  <a:cubicBezTo>
                    <a:pt x="2328" y="1130"/>
                    <a:pt x="2242" y="1161"/>
                    <a:pt x="2175" y="1229"/>
                  </a:cubicBezTo>
                  <a:lnTo>
                    <a:pt x="1198" y="2205"/>
                  </a:lnTo>
                  <a:cubicBezTo>
                    <a:pt x="1072" y="2332"/>
                    <a:pt x="1072" y="2489"/>
                    <a:pt x="1135" y="2647"/>
                  </a:cubicBezTo>
                  <a:lnTo>
                    <a:pt x="1450" y="3151"/>
                  </a:lnTo>
                  <a:cubicBezTo>
                    <a:pt x="1135" y="3623"/>
                    <a:pt x="946" y="4190"/>
                    <a:pt x="820" y="4726"/>
                  </a:cubicBezTo>
                  <a:lnTo>
                    <a:pt x="284" y="4883"/>
                  </a:lnTo>
                  <a:cubicBezTo>
                    <a:pt x="127" y="4946"/>
                    <a:pt x="1" y="5041"/>
                    <a:pt x="1" y="5198"/>
                  </a:cubicBezTo>
                  <a:lnTo>
                    <a:pt x="1" y="6585"/>
                  </a:lnTo>
                  <a:cubicBezTo>
                    <a:pt x="1" y="6742"/>
                    <a:pt x="127" y="6868"/>
                    <a:pt x="284" y="6900"/>
                  </a:cubicBezTo>
                  <a:lnTo>
                    <a:pt x="820" y="7057"/>
                  </a:lnTo>
                  <a:cubicBezTo>
                    <a:pt x="946" y="7593"/>
                    <a:pt x="1198" y="8128"/>
                    <a:pt x="1450" y="8632"/>
                  </a:cubicBezTo>
                  <a:lnTo>
                    <a:pt x="1135" y="9137"/>
                  </a:lnTo>
                  <a:cubicBezTo>
                    <a:pt x="1072" y="9263"/>
                    <a:pt x="1072" y="9452"/>
                    <a:pt x="1198" y="9578"/>
                  </a:cubicBezTo>
                  <a:lnTo>
                    <a:pt x="2175" y="10554"/>
                  </a:lnTo>
                  <a:cubicBezTo>
                    <a:pt x="2248" y="10628"/>
                    <a:pt x="2333" y="10659"/>
                    <a:pt x="2422" y="10659"/>
                  </a:cubicBezTo>
                  <a:cubicBezTo>
                    <a:pt x="2485" y="10659"/>
                    <a:pt x="2550" y="10643"/>
                    <a:pt x="2616" y="10617"/>
                  </a:cubicBezTo>
                  <a:lnTo>
                    <a:pt x="3120" y="10302"/>
                  </a:lnTo>
                  <a:cubicBezTo>
                    <a:pt x="3592" y="10617"/>
                    <a:pt x="4128" y="10806"/>
                    <a:pt x="4695" y="10932"/>
                  </a:cubicBezTo>
                  <a:lnTo>
                    <a:pt x="4853" y="11468"/>
                  </a:lnTo>
                  <a:cubicBezTo>
                    <a:pt x="4884" y="11625"/>
                    <a:pt x="5010" y="11751"/>
                    <a:pt x="5168" y="11751"/>
                  </a:cubicBezTo>
                  <a:lnTo>
                    <a:pt x="6554" y="11751"/>
                  </a:lnTo>
                  <a:cubicBezTo>
                    <a:pt x="6711" y="11751"/>
                    <a:pt x="6806" y="11625"/>
                    <a:pt x="6869" y="11468"/>
                  </a:cubicBezTo>
                  <a:lnTo>
                    <a:pt x="7026" y="10932"/>
                  </a:lnTo>
                  <a:cubicBezTo>
                    <a:pt x="7562" y="10806"/>
                    <a:pt x="8066" y="10554"/>
                    <a:pt x="8602" y="10302"/>
                  </a:cubicBezTo>
                  <a:lnTo>
                    <a:pt x="9106" y="10617"/>
                  </a:lnTo>
                  <a:cubicBezTo>
                    <a:pt x="9158" y="10643"/>
                    <a:pt x="9221" y="10659"/>
                    <a:pt x="9286" y="10659"/>
                  </a:cubicBezTo>
                  <a:cubicBezTo>
                    <a:pt x="9378" y="10659"/>
                    <a:pt x="9473" y="10628"/>
                    <a:pt x="9547" y="10554"/>
                  </a:cubicBezTo>
                  <a:lnTo>
                    <a:pt x="10523" y="9578"/>
                  </a:lnTo>
                  <a:cubicBezTo>
                    <a:pt x="10649" y="9452"/>
                    <a:pt x="10649" y="9294"/>
                    <a:pt x="10555" y="9137"/>
                  </a:cubicBezTo>
                  <a:lnTo>
                    <a:pt x="10240" y="8632"/>
                  </a:lnTo>
                  <a:cubicBezTo>
                    <a:pt x="10555" y="8160"/>
                    <a:pt x="10744" y="7593"/>
                    <a:pt x="10870" y="7057"/>
                  </a:cubicBezTo>
                  <a:lnTo>
                    <a:pt x="11469" y="6900"/>
                  </a:lnTo>
                  <a:cubicBezTo>
                    <a:pt x="11626" y="6868"/>
                    <a:pt x="11752" y="6742"/>
                    <a:pt x="11752" y="6585"/>
                  </a:cubicBezTo>
                  <a:lnTo>
                    <a:pt x="11752" y="5198"/>
                  </a:lnTo>
                  <a:cubicBezTo>
                    <a:pt x="11752" y="5041"/>
                    <a:pt x="11626" y="4946"/>
                    <a:pt x="11469" y="4883"/>
                  </a:cubicBezTo>
                  <a:lnTo>
                    <a:pt x="10870" y="4726"/>
                  </a:lnTo>
                  <a:cubicBezTo>
                    <a:pt x="10744" y="4190"/>
                    <a:pt x="10523" y="3686"/>
                    <a:pt x="10240" y="3151"/>
                  </a:cubicBezTo>
                  <a:lnTo>
                    <a:pt x="10555" y="2647"/>
                  </a:lnTo>
                  <a:cubicBezTo>
                    <a:pt x="10649" y="2521"/>
                    <a:pt x="10649" y="2332"/>
                    <a:pt x="10523" y="2205"/>
                  </a:cubicBezTo>
                  <a:lnTo>
                    <a:pt x="9547" y="1229"/>
                  </a:lnTo>
                  <a:cubicBezTo>
                    <a:pt x="9479" y="1161"/>
                    <a:pt x="9403" y="1130"/>
                    <a:pt x="9322" y="1130"/>
                  </a:cubicBezTo>
                  <a:cubicBezTo>
                    <a:pt x="9252" y="1130"/>
                    <a:pt x="9179" y="1153"/>
                    <a:pt x="9106" y="1197"/>
                  </a:cubicBezTo>
                  <a:lnTo>
                    <a:pt x="8602" y="1512"/>
                  </a:lnTo>
                  <a:cubicBezTo>
                    <a:pt x="8129" y="1197"/>
                    <a:pt x="7562" y="1008"/>
                    <a:pt x="7026" y="882"/>
                  </a:cubicBezTo>
                  <a:lnTo>
                    <a:pt x="6869" y="284"/>
                  </a:lnTo>
                  <a:cubicBezTo>
                    <a:pt x="6806" y="126"/>
                    <a:pt x="6711"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4" name="Google Shape;8814;p76"/>
          <p:cNvGrpSpPr/>
          <p:nvPr/>
        </p:nvGrpSpPr>
        <p:grpSpPr>
          <a:xfrm>
            <a:off x="4092004" y="2205192"/>
            <a:ext cx="423079" cy="419659"/>
            <a:chOff x="-4475825" y="3612425"/>
            <a:chExt cx="293825" cy="291450"/>
          </a:xfrm>
        </p:grpSpPr>
        <p:sp>
          <p:nvSpPr>
            <p:cNvPr id="8815" name="Google Shape;8815;p76"/>
            <p:cNvSpPr/>
            <p:nvPr/>
          </p:nvSpPr>
          <p:spPr>
            <a:xfrm>
              <a:off x="-4349800" y="3664400"/>
              <a:ext cx="34675" cy="33100"/>
            </a:xfrm>
            <a:custGeom>
              <a:avLst/>
              <a:gdLst/>
              <a:ahLst/>
              <a:cxnLst/>
              <a:rect l="l" t="t" r="r" b="b"/>
              <a:pathLst>
                <a:path w="1387" h="1324" extrusionOk="0">
                  <a:moveTo>
                    <a:pt x="694" y="1"/>
                  </a:moveTo>
                  <a:cubicBezTo>
                    <a:pt x="347" y="1"/>
                    <a:pt x="32" y="316"/>
                    <a:pt x="32" y="662"/>
                  </a:cubicBezTo>
                  <a:cubicBezTo>
                    <a:pt x="1" y="1040"/>
                    <a:pt x="316" y="1324"/>
                    <a:pt x="694" y="1324"/>
                  </a:cubicBezTo>
                  <a:cubicBezTo>
                    <a:pt x="1103" y="1324"/>
                    <a:pt x="1387" y="1009"/>
                    <a:pt x="1387" y="662"/>
                  </a:cubicBezTo>
                  <a:cubicBezTo>
                    <a:pt x="1387" y="284"/>
                    <a:pt x="1072"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6"/>
            <p:cNvSpPr/>
            <p:nvPr/>
          </p:nvSpPr>
          <p:spPr>
            <a:xfrm>
              <a:off x="-4366325" y="3714800"/>
              <a:ext cx="68525" cy="34700"/>
            </a:xfrm>
            <a:custGeom>
              <a:avLst/>
              <a:gdLst/>
              <a:ahLst/>
              <a:cxnLst/>
              <a:rect l="l" t="t" r="r" b="b"/>
              <a:pathLst>
                <a:path w="2741" h="1388" extrusionOk="0">
                  <a:moveTo>
                    <a:pt x="1008" y="1"/>
                  </a:moveTo>
                  <a:cubicBezTo>
                    <a:pt x="473" y="1"/>
                    <a:pt x="0" y="474"/>
                    <a:pt x="0" y="1009"/>
                  </a:cubicBezTo>
                  <a:lnTo>
                    <a:pt x="0" y="1387"/>
                  </a:lnTo>
                  <a:lnTo>
                    <a:pt x="2741" y="1387"/>
                  </a:lnTo>
                  <a:lnTo>
                    <a:pt x="2741" y="1009"/>
                  </a:lnTo>
                  <a:cubicBezTo>
                    <a:pt x="2741" y="474"/>
                    <a:pt x="226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7" name="Google Shape;8817;p76"/>
            <p:cNvSpPr/>
            <p:nvPr/>
          </p:nvSpPr>
          <p:spPr>
            <a:xfrm>
              <a:off x="-4475825" y="3612425"/>
              <a:ext cx="293825" cy="291450"/>
            </a:xfrm>
            <a:custGeom>
              <a:avLst/>
              <a:gdLst/>
              <a:ahLst/>
              <a:cxnLst/>
              <a:rect l="l" t="t" r="r" b="b"/>
              <a:pathLst>
                <a:path w="11753" h="11658" extrusionOk="0">
                  <a:moveTo>
                    <a:pt x="5703" y="1324"/>
                  </a:moveTo>
                  <a:cubicBezTo>
                    <a:pt x="6459" y="1324"/>
                    <a:pt x="7089" y="1954"/>
                    <a:pt x="7089" y="2710"/>
                  </a:cubicBezTo>
                  <a:cubicBezTo>
                    <a:pt x="7089" y="3025"/>
                    <a:pt x="6963" y="3340"/>
                    <a:pt x="6774" y="3592"/>
                  </a:cubicBezTo>
                  <a:cubicBezTo>
                    <a:pt x="7373" y="3844"/>
                    <a:pt x="7751" y="4443"/>
                    <a:pt x="7751" y="5104"/>
                  </a:cubicBezTo>
                  <a:lnTo>
                    <a:pt x="7751" y="5766"/>
                  </a:lnTo>
                  <a:lnTo>
                    <a:pt x="7783" y="5766"/>
                  </a:lnTo>
                  <a:cubicBezTo>
                    <a:pt x="7783" y="5986"/>
                    <a:pt x="7625" y="6144"/>
                    <a:pt x="7436" y="6144"/>
                  </a:cubicBezTo>
                  <a:lnTo>
                    <a:pt x="4002" y="6144"/>
                  </a:lnTo>
                  <a:cubicBezTo>
                    <a:pt x="3813" y="6144"/>
                    <a:pt x="3655" y="5986"/>
                    <a:pt x="3655" y="5766"/>
                  </a:cubicBezTo>
                  <a:lnTo>
                    <a:pt x="3655" y="5104"/>
                  </a:lnTo>
                  <a:cubicBezTo>
                    <a:pt x="3655" y="4443"/>
                    <a:pt x="4065" y="3844"/>
                    <a:pt x="4664" y="3592"/>
                  </a:cubicBezTo>
                  <a:cubicBezTo>
                    <a:pt x="4443" y="3340"/>
                    <a:pt x="4348" y="3056"/>
                    <a:pt x="4348" y="2710"/>
                  </a:cubicBezTo>
                  <a:cubicBezTo>
                    <a:pt x="4348" y="1954"/>
                    <a:pt x="4979" y="1324"/>
                    <a:pt x="5703" y="1324"/>
                  </a:cubicBezTo>
                  <a:close/>
                  <a:moveTo>
                    <a:pt x="5798" y="0"/>
                  </a:moveTo>
                  <a:cubicBezTo>
                    <a:pt x="3561" y="0"/>
                    <a:pt x="1702" y="1859"/>
                    <a:pt x="1702" y="4096"/>
                  </a:cubicBezTo>
                  <a:cubicBezTo>
                    <a:pt x="1702" y="5041"/>
                    <a:pt x="2017" y="5955"/>
                    <a:pt x="2553" y="6616"/>
                  </a:cubicBezTo>
                  <a:lnTo>
                    <a:pt x="1702" y="7120"/>
                  </a:lnTo>
                  <a:cubicBezTo>
                    <a:pt x="1513" y="6963"/>
                    <a:pt x="1293" y="6900"/>
                    <a:pt x="1040" y="6900"/>
                  </a:cubicBezTo>
                  <a:cubicBezTo>
                    <a:pt x="473" y="6900"/>
                    <a:pt x="1" y="7341"/>
                    <a:pt x="1" y="7908"/>
                  </a:cubicBezTo>
                  <a:cubicBezTo>
                    <a:pt x="1" y="8475"/>
                    <a:pt x="473" y="8948"/>
                    <a:pt x="1040" y="8948"/>
                  </a:cubicBezTo>
                  <a:cubicBezTo>
                    <a:pt x="1576" y="8948"/>
                    <a:pt x="2049" y="8475"/>
                    <a:pt x="2049" y="7908"/>
                  </a:cubicBezTo>
                  <a:lnTo>
                    <a:pt x="2049" y="7719"/>
                  </a:lnTo>
                  <a:lnTo>
                    <a:pt x="3025" y="7120"/>
                  </a:lnTo>
                  <a:cubicBezTo>
                    <a:pt x="3309" y="7372"/>
                    <a:pt x="3592" y="7593"/>
                    <a:pt x="3939" y="7751"/>
                  </a:cubicBezTo>
                  <a:lnTo>
                    <a:pt x="3277" y="8948"/>
                  </a:lnTo>
                  <a:lnTo>
                    <a:pt x="3088" y="8948"/>
                  </a:lnTo>
                  <a:cubicBezTo>
                    <a:pt x="2521" y="8948"/>
                    <a:pt x="2049" y="9420"/>
                    <a:pt x="2049" y="9956"/>
                  </a:cubicBezTo>
                  <a:cubicBezTo>
                    <a:pt x="2049" y="10523"/>
                    <a:pt x="2521" y="10996"/>
                    <a:pt x="3088" y="10996"/>
                  </a:cubicBezTo>
                  <a:cubicBezTo>
                    <a:pt x="3624" y="10996"/>
                    <a:pt x="4096" y="10523"/>
                    <a:pt x="4096" y="9956"/>
                  </a:cubicBezTo>
                  <a:cubicBezTo>
                    <a:pt x="4096" y="9735"/>
                    <a:pt x="4033" y="9483"/>
                    <a:pt x="3876" y="9294"/>
                  </a:cubicBezTo>
                  <a:lnTo>
                    <a:pt x="4569" y="8034"/>
                  </a:lnTo>
                  <a:cubicBezTo>
                    <a:pt x="4853" y="8097"/>
                    <a:pt x="5168" y="8192"/>
                    <a:pt x="5483" y="8223"/>
                  </a:cubicBezTo>
                  <a:lnTo>
                    <a:pt x="5483" y="9672"/>
                  </a:lnTo>
                  <a:cubicBezTo>
                    <a:pt x="5073" y="9830"/>
                    <a:pt x="4821" y="10208"/>
                    <a:pt x="4821" y="10617"/>
                  </a:cubicBezTo>
                  <a:cubicBezTo>
                    <a:pt x="4821" y="11185"/>
                    <a:pt x="5294" y="11657"/>
                    <a:pt x="5829" y="11657"/>
                  </a:cubicBezTo>
                  <a:cubicBezTo>
                    <a:pt x="6396" y="11657"/>
                    <a:pt x="6869" y="11185"/>
                    <a:pt x="6869" y="10617"/>
                  </a:cubicBezTo>
                  <a:cubicBezTo>
                    <a:pt x="6869" y="10208"/>
                    <a:pt x="6585" y="9798"/>
                    <a:pt x="6176" y="9672"/>
                  </a:cubicBezTo>
                  <a:lnTo>
                    <a:pt x="6176" y="8223"/>
                  </a:lnTo>
                  <a:cubicBezTo>
                    <a:pt x="6491" y="8192"/>
                    <a:pt x="6806" y="8160"/>
                    <a:pt x="7089" y="8034"/>
                  </a:cubicBezTo>
                  <a:lnTo>
                    <a:pt x="7814" y="9294"/>
                  </a:lnTo>
                  <a:cubicBezTo>
                    <a:pt x="7657" y="9483"/>
                    <a:pt x="7562" y="9672"/>
                    <a:pt x="7562" y="9956"/>
                  </a:cubicBezTo>
                  <a:cubicBezTo>
                    <a:pt x="7562" y="10523"/>
                    <a:pt x="8035" y="10996"/>
                    <a:pt x="8602" y="10996"/>
                  </a:cubicBezTo>
                  <a:cubicBezTo>
                    <a:pt x="9137" y="10996"/>
                    <a:pt x="9610" y="10523"/>
                    <a:pt x="9610" y="9956"/>
                  </a:cubicBezTo>
                  <a:cubicBezTo>
                    <a:pt x="9610" y="9420"/>
                    <a:pt x="9137" y="8948"/>
                    <a:pt x="8602" y="8948"/>
                  </a:cubicBezTo>
                  <a:lnTo>
                    <a:pt x="8381" y="8948"/>
                  </a:lnTo>
                  <a:lnTo>
                    <a:pt x="7720" y="7751"/>
                  </a:lnTo>
                  <a:cubicBezTo>
                    <a:pt x="8035" y="7593"/>
                    <a:pt x="8350" y="7372"/>
                    <a:pt x="8633" y="7120"/>
                  </a:cubicBezTo>
                  <a:lnTo>
                    <a:pt x="9704" y="7719"/>
                  </a:lnTo>
                  <a:lnTo>
                    <a:pt x="9704" y="7908"/>
                  </a:lnTo>
                  <a:cubicBezTo>
                    <a:pt x="9704" y="8475"/>
                    <a:pt x="10177" y="8948"/>
                    <a:pt x="10713" y="8948"/>
                  </a:cubicBezTo>
                  <a:cubicBezTo>
                    <a:pt x="11280" y="8948"/>
                    <a:pt x="11752" y="8475"/>
                    <a:pt x="11752" y="7908"/>
                  </a:cubicBezTo>
                  <a:cubicBezTo>
                    <a:pt x="11626" y="7309"/>
                    <a:pt x="11154" y="6900"/>
                    <a:pt x="10586" y="6900"/>
                  </a:cubicBezTo>
                  <a:cubicBezTo>
                    <a:pt x="10366" y="6900"/>
                    <a:pt x="10114" y="6963"/>
                    <a:pt x="9925" y="7120"/>
                  </a:cubicBezTo>
                  <a:lnTo>
                    <a:pt x="9011" y="6616"/>
                  </a:lnTo>
                  <a:cubicBezTo>
                    <a:pt x="9515" y="5892"/>
                    <a:pt x="9893" y="4978"/>
                    <a:pt x="9893" y="4096"/>
                  </a:cubicBezTo>
                  <a:cubicBezTo>
                    <a:pt x="9893" y="1796"/>
                    <a:pt x="8035" y="0"/>
                    <a:pt x="5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8" name="Google Shape;8818;p76"/>
          <p:cNvGrpSpPr/>
          <p:nvPr/>
        </p:nvGrpSpPr>
        <p:grpSpPr>
          <a:xfrm>
            <a:off x="4101077" y="2756844"/>
            <a:ext cx="428730" cy="419623"/>
            <a:chOff x="-4480550" y="3970800"/>
            <a:chExt cx="297750" cy="291425"/>
          </a:xfrm>
        </p:grpSpPr>
        <p:sp>
          <p:nvSpPr>
            <p:cNvPr id="8819" name="Google Shape;8819;p76"/>
            <p:cNvSpPr/>
            <p:nvPr/>
          </p:nvSpPr>
          <p:spPr>
            <a:xfrm>
              <a:off x="-4426200" y="4058225"/>
              <a:ext cx="51225" cy="69325"/>
            </a:xfrm>
            <a:custGeom>
              <a:avLst/>
              <a:gdLst/>
              <a:ahLst/>
              <a:cxnLst/>
              <a:rect l="l" t="t" r="r" b="b"/>
              <a:pathLst>
                <a:path w="2049" h="2773" extrusionOk="0">
                  <a:moveTo>
                    <a:pt x="1" y="0"/>
                  </a:moveTo>
                  <a:lnTo>
                    <a:pt x="1" y="2773"/>
                  </a:lnTo>
                  <a:lnTo>
                    <a:pt x="2048" y="2773"/>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0" name="Google Shape;8820;p76"/>
            <p:cNvSpPr/>
            <p:nvPr/>
          </p:nvSpPr>
          <p:spPr>
            <a:xfrm>
              <a:off x="-4480550" y="3970800"/>
              <a:ext cx="297750" cy="291425"/>
            </a:xfrm>
            <a:custGeom>
              <a:avLst/>
              <a:gdLst/>
              <a:ahLst/>
              <a:cxnLst/>
              <a:rect l="l" t="t" r="r" b="b"/>
              <a:pathLst>
                <a:path w="11910" h="11657" extrusionOk="0">
                  <a:moveTo>
                    <a:pt x="10082" y="2804"/>
                  </a:moveTo>
                  <a:cubicBezTo>
                    <a:pt x="10492" y="2804"/>
                    <a:pt x="10555" y="3466"/>
                    <a:pt x="10082" y="3466"/>
                  </a:cubicBezTo>
                  <a:lnTo>
                    <a:pt x="5924" y="3466"/>
                  </a:lnTo>
                  <a:cubicBezTo>
                    <a:pt x="5913" y="3466"/>
                    <a:pt x="5903" y="3467"/>
                    <a:pt x="5893" y="3467"/>
                  </a:cubicBezTo>
                  <a:cubicBezTo>
                    <a:pt x="5451" y="3467"/>
                    <a:pt x="5462" y="2804"/>
                    <a:pt x="5924" y="2804"/>
                  </a:cubicBezTo>
                  <a:close/>
                  <a:moveTo>
                    <a:pt x="10082" y="4159"/>
                  </a:moveTo>
                  <a:cubicBezTo>
                    <a:pt x="10492" y="4159"/>
                    <a:pt x="10555" y="4852"/>
                    <a:pt x="10082" y="4852"/>
                  </a:cubicBezTo>
                  <a:lnTo>
                    <a:pt x="5924" y="4852"/>
                  </a:lnTo>
                  <a:cubicBezTo>
                    <a:pt x="5451" y="4852"/>
                    <a:pt x="5451" y="4159"/>
                    <a:pt x="5924" y="4159"/>
                  </a:cubicBezTo>
                  <a:close/>
                  <a:moveTo>
                    <a:pt x="6807" y="5481"/>
                  </a:moveTo>
                  <a:cubicBezTo>
                    <a:pt x="7492" y="5481"/>
                    <a:pt x="8531" y="5513"/>
                    <a:pt x="10082" y="5513"/>
                  </a:cubicBezTo>
                  <a:cubicBezTo>
                    <a:pt x="10492" y="5513"/>
                    <a:pt x="10555" y="6175"/>
                    <a:pt x="10082" y="6175"/>
                  </a:cubicBezTo>
                  <a:lnTo>
                    <a:pt x="5924" y="6175"/>
                  </a:lnTo>
                  <a:lnTo>
                    <a:pt x="5924" y="6206"/>
                  </a:lnTo>
                  <a:cubicBezTo>
                    <a:pt x="5735" y="6206"/>
                    <a:pt x="5577" y="6049"/>
                    <a:pt x="5577" y="5860"/>
                  </a:cubicBezTo>
                  <a:cubicBezTo>
                    <a:pt x="5577" y="5546"/>
                    <a:pt x="5837" y="5481"/>
                    <a:pt x="6807" y="5481"/>
                  </a:cubicBezTo>
                  <a:close/>
                  <a:moveTo>
                    <a:pt x="4569" y="2804"/>
                  </a:moveTo>
                  <a:cubicBezTo>
                    <a:pt x="4758" y="2804"/>
                    <a:pt x="4916" y="2961"/>
                    <a:pt x="4916" y="3151"/>
                  </a:cubicBezTo>
                  <a:lnTo>
                    <a:pt x="4916" y="6585"/>
                  </a:lnTo>
                  <a:cubicBezTo>
                    <a:pt x="4916" y="6774"/>
                    <a:pt x="4758" y="6931"/>
                    <a:pt x="4569" y="6931"/>
                  </a:cubicBezTo>
                  <a:lnTo>
                    <a:pt x="1797" y="6931"/>
                  </a:lnTo>
                  <a:cubicBezTo>
                    <a:pt x="1608" y="6931"/>
                    <a:pt x="1450" y="6774"/>
                    <a:pt x="1450" y="6585"/>
                  </a:cubicBezTo>
                  <a:lnTo>
                    <a:pt x="1450" y="3151"/>
                  </a:lnTo>
                  <a:cubicBezTo>
                    <a:pt x="1450" y="2961"/>
                    <a:pt x="1608" y="2804"/>
                    <a:pt x="1797" y="2804"/>
                  </a:cubicBezTo>
                  <a:close/>
                  <a:moveTo>
                    <a:pt x="4916" y="8317"/>
                  </a:moveTo>
                  <a:lnTo>
                    <a:pt x="4916" y="8979"/>
                  </a:lnTo>
                  <a:lnTo>
                    <a:pt x="3529" y="8979"/>
                  </a:lnTo>
                  <a:lnTo>
                    <a:pt x="3529" y="8317"/>
                  </a:lnTo>
                  <a:close/>
                  <a:moveTo>
                    <a:pt x="8381" y="8317"/>
                  </a:moveTo>
                  <a:lnTo>
                    <a:pt x="8381" y="8979"/>
                  </a:lnTo>
                  <a:lnTo>
                    <a:pt x="6963" y="8979"/>
                  </a:lnTo>
                  <a:lnTo>
                    <a:pt x="6963" y="8317"/>
                  </a:lnTo>
                  <a:close/>
                  <a:moveTo>
                    <a:pt x="1828" y="0"/>
                  </a:moveTo>
                  <a:cubicBezTo>
                    <a:pt x="1419" y="0"/>
                    <a:pt x="1355" y="662"/>
                    <a:pt x="1828" y="662"/>
                  </a:cubicBezTo>
                  <a:lnTo>
                    <a:pt x="2206" y="662"/>
                  </a:lnTo>
                  <a:lnTo>
                    <a:pt x="2206" y="1418"/>
                  </a:lnTo>
                  <a:lnTo>
                    <a:pt x="1166" y="1418"/>
                  </a:lnTo>
                  <a:cubicBezTo>
                    <a:pt x="631" y="1418"/>
                    <a:pt x="158" y="1890"/>
                    <a:pt x="158" y="2426"/>
                  </a:cubicBezTo>
                  <a:lnTo>
                    <a:pt x="158" y="7246"/>
                  </a:lnTo>
                  <a:cubicBezTo>
                    <a:pt x="158" y="7782"/>
                    <a:pt x="631" y="8254"/>
                    <a:pt x="1166" y="8254"/>
                  </a:cubicBezTo>
                  <a:lnTo>
                    <a:pt x="2868" y="8254"/>
                  </a:lnTo>
                  <a:lnTo>
                    <a:pt x="2868" y="8947"/>
                  </a:lnTo>
                  <a:lnTo>
                    <a:pt x="1828" y="8947"/>
                  </a:lnTo>
                  <a:cubicBezTo>
                    <a:pt x="1419" y="8947"/>
                    <a:pt x="1355" y="9609"/>
                    <a:pt x="1828" y="9609"/>
                  </a:cubicBezTo>
                  <a:lnTo>
                    <a:pt x="4916" y="9609"/>
                  </a:lnTo>
                  <a:lnTo>
                    <a:pt x="4916" y="10995"/>
                  </a:lnTo>
                  <a:lnTo>
                    <a:pt x="473" y="10995"/>
                  </a:lnTo>
                  <a:cubicBezTo>
                    <a:pt x="32" y="10995"/>
                    <a:pt x="1" y="11657"/>
                    <a:pt x="473" y="11657"/>
                  </a:cubicBezTo>
                  <a:lnTo>
                    <a:pt x="11437" y="11657"/>
                  </a:lnTo>
                  <a:cubicBezTo>
                    <a:pt x="11878" y="11657"/>
                    <a:pt x="11910" y="10995"/>
                    <a:pt x="11437" y="10995"/>
                  </a:cubicBezTo>
                  <a:lnTo>
                    <a:pt x="6963" y="10995"/>
                  </a:lnTo>
                  <a:lnTo>
                    <a:pt x="6963" y="9609"/>
                  </a:lnTo>
                  <a:lnTo>
                    <a:pt x="10082" y="9609"/>
                  </a:lnTo>
                  <a:cubicBezTo>
                    <a:pt x="10492" y="9609"/>
                    <a:pt x="10555" y="8947"/>
                    <a:pt x="10082" y="8947"/>
                  </a:cubicBezTo>
                  <a:lnTo>
                    <a:pt x="9043" y="8947"/>
                  </a:lnTo>
                  <a:lnTo>
                    <a:pt x="9043" y="8254"/>
                  </a:lnTo>
                  <a:lnTo>
                    <a:pt x="10775" y="8254"/>
                  </a:lnTo>
                  <a:cubicBezTo>
                    <a:pt x="11343" y="8254"/>
                    <a:pt x="11815" y="7782"/>
                    <a:pt x="11815" y="7246"/>
                  </a:cubicBezTo>
                  <a:lnTo>
                    <a:pt x="11815" y="2426"/>
                  </a:lnTo>
                  <a:cubicBezTo>
                    <a:pt x="11815" y="1890"/>
                    <a:pt x="11343" y="1418"/>
                    <a:pt x="10775" y="1418"/>
                  </a:cubicBezTo>
                  <a:lnTo>
                    <a:pt x="9767" y="1418"/>
                  </a:lnTo>
                  <a:lnTo>
                    <a:pt x="9767" y="662"/>
                  </a:lnTo>
                  <a:lnTo>
                    <a:pt x="10114" y="662"/>
                  </a:lnTo>
                  <a:cubicBezTo>
                    <a:pt x="10555" y="662"/>
                    <a:pt x="10586" y="0"/>
                    <a:pt x="10114" y="0"/>
                  </a:cubicBezTo>
                  <a:lnTo>
                    <a:pt x="8728" y="0"/>
                  </a:lnTo>
                  <a:cubicBezTo>
                    <a:pt x="8287" y="0"/>
                    <a:pt x="8255" y="662"/>
                    <a:pt x="8728" y="662"/>
                  </a:cubicBezTo>
                  <a:lnTo>
                    <a:pt x="9074" y="662"/>
                  </a:lnTo>
                  <a:lnTo>
                    <a:pt x="9074" y="1418"/>
                  </a:lnTo>
                  <a:lnTo>
                    <a:pt x="6302" y="1418"/>
                  </a:lnTo>
                  <a:lnTo>
                    <a:pt x="6302" y="662"/>
                  </a:lnTo>
                  <a:lnTo>
                    <a:pt x="6648" y="662"/>
                  </a:lnTo>
                  <a:cubicBezTo>
                    <a:pt x="7089" y="662"/>
                    <a:pt x="7121" y="0"/>
                    <a:pt x="6648" y="0"/>
                  </a:cubicBezTo>
                  <a:lnTo>
                    <a:pt x="5262" y="0"/>
                  </a:lnTo>
                  <a:cubicBezTo>
                    <a:pt x="4821" y="0"/>
                    <a:pt x="4790" y="662"/>
                    <a:pt x="5262" y="662"/>
                  </a:cubicBezTo>
                  <a:lnTo>
                    <a:pt x="5609" y="662"/>
                  </a:lnTo>
                  <a:lnTo>
                    <a:pt x="5609" y="1418"/>
                  </a:lnTo>
                  <a:lnTo>
                    <a:pt x="2868" y="1418"/>
                  </a:lnTo>
                  <a:lnTo>
                    <a:pt x="2868" y="662"/>
                  </a:lnTo>
                  <a:lnTo>
                    <a:pt x="3214" y="662"/>
                  </a:lnTo>
                  <a:cubicBezTo>
                    <a:pt x="3655" y="662"/>
                    <a:pt x="368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1" name="Google Shape;8821;p76"/>
          <p:cNvGrpSpPr/>
          <p:nvPr/>
        </p:nvGrpSpPr>
        <p:grpSpPr>
          <a:xfrm>
            <a:off x="6804910" y="1689221"/>
            <a:ext cx="415123" cy="419659"/>
            <a:chOff x="-2668225" y="3239075"/>
            <a:chExt cx="288300" cy="291450"/>
          </a:xfrm>
        </p:grpSpPr>
        <p:sp>
          <p:nvSpPr>
            <p:cNvPr id="8822" name="Google Shape;8822;p76"/>
            <p:cNvSpPr/>
            <p:nvPr/>
          </p:nvSpPr>
          <p:spPr>
            <a:xfrm>
              <a:off x="-2592600" y="3239075"/>
              <a:ext cx="137850" cy="51225"/>
            </a:xfrm>
            <a:custGeom>
              <a:avLst/>
              <a:gdLst/>
              <a:ahLst/>
              <a:cxnLst/>
              <a:rect l="l" t="t" r="r" b="b"/>
              <a:pathLst>
                <a:path w="5514" h="2049" extrusionOk="0">
                  <a:moveTo>
                    <a:pt x="1355" y="1"/>
                  </a:moveTo>
                  <a:cubicBezTo>
                    <a:pt x="0" y="1"/>
                    <a:pt x="11" y="2049"/>
                    <a:pt x="1386" y="2049"/>
                  </a:cubicBezTo>
                  <a:lnTo>
                    <a:pt x="4127" y="2049"/>
                  </a:lnTo>
                  <a:cubicBezTo>
                    <a:pt x="5482" y="2049"/>
                    <a:pt x="5514" y="1"/>
                    <a:pt x="4127" y="1"/>
                  </a:cubicBezTo>
                  <a:lnTo>
                    <a:pt x="1386" y="1"/>
                  </a:lnTo>
                  <a:cubicBezTo>
                    <a:pt x="1376" y="1"/>
                    <a:pt x="1366"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3" name="Google Shape;8823;p76"/>
            <p:cNvSpPr/>
            <p:nvPr/>
          </p:nvSpPr>
          <p:spPr>
            <a:xfrm>
              <a:off x="-2587875" y="3307875"/>
              <a:ext cx="129200" cy="69850"/>
            </a:xfrm>
            <a:custGeom>
              <a:avLst/>
              <a:gdLst/>
              <a:ahLst/>
              <a:cxnLst/>
              <a:rect l="l" t="t" r="r" b="b"/>
              <a:pathLst>
                <a:path w="5168" h="2794" extrusionOk="0">
                  <a:moveTo>
                    <a:pt x="1235" y="1"/>
                  </a:moveTo>
                  <a:cubicBezTo>
                    <a:pt x="1002" y="1"/>
                    <a:pt x="977" y="13"/>
                    <a:pt x="882" y="53"/>
                  </a:cubicBezTo>
                  <a:lnTo>
                    <a:pt x="882" y="1502"/>
                  </a:lnTo>
                  <a:cubicBezTo>
                    <a:pt x="788" y="1628"/>
                    <a:pt x="599" y="1943"/>
                    <a:pt x="0" y="2794"/>
                  </a:cubicBezTo>
                  <a:lnTo>
                    <a:pt x="5167" y="2794"/>
                  </a:lnTo>
                  <a:cubicBezTo>
                    <a:pt x="4568" y="1912"/>
                    <a:pt x="4379" y="1597"/>
                    <a:pt x="4316" y="1471"/>
                  </a:cubicBezTo>
                  <a:lnTo>
                    <a:pt x="4316" y="22"/>
                  </a:lnTo>
                  <a:lnTo>
                    <a:pt x="3938" y="22"/>
                  </a:lnTo>
                  <a:cubicBezTo>
                    <a:pt x="2228" y="22"/>
                    <a:pt x="1547" y="1"/>
                    <a:pt x="1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76"/>
            <p:cNvSpPr/>
            <p:nvPr/>
          </p:nvSpPr>
          <p:spPr>
            <a:xfrm>
              <a:off x="-2566625" y="3427325"/>
              <a:ext cx="33125" cy="33100"/>
            </a:xfrm>
            <a:custGeom>
              <a:avLst/>
              <a:gdLst/>
              <a:ahLst/>
              <a:cxnLst/>
              <a:rect l="l" t="t" r="r" b="b"/>
              <a:pathLst>
                <a:path w="1325" h="1324" extrusionOk="0">
                  <a:moveTo>
                    <a:pt x="662" y="1"/>
                  </a:moveTo>
                  <a:cubicBezTo>
                    <a:pt x="253" y="1"/>
                    <a:pt x="1" y="316"/>
                    <a:pt x="1" y="662"/>
                  </a:cubicBezTo>
                  <a:cubicBezTo>
                    <a:pt x="1" y="1009"/>
                    <a:pt x="316" y="1324"/>
                    <a:pt x="662" y="1324"/>
                  </a:cubicBezTo>
                  <a:cubicBezTo>
                    <a:pt x="1041" y="1324"/>
                    <a:pt x="1324" y="1009"/>
                    <a:pt x="1324" y="662"/>
                  </a:cubicBezTo>
                  <a:cubicBezTo>
                    <a:pt x="1324" y="316"/>
                    <a:pt x="104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6"/>
            <p:cNvSpPr/>
            <p:nvPr/>
          </p:nvSpPr>
          <p:spPr>
            <a:xfrm>
              <a:off x="-2481550" y="3461200"/>
              <a:ext cx="18125" cy="18150"/>
            </a:xfrm>
            <a:custGeom>
              <a:avLst/>
              <a:gdLst/>
              <a:ahLst/>
              <a:cxnLst/>
              <a:rect l="l" t="t" r="r" b="b"/>
              <a:pathLst>
                <a:path w="725" h="726" extrusionOk="0">
                  <a:moveTo>
                    <a:pt x="378" y="0"/>
                  </a:moveTo>
                  <a:cubicBezTo>
                    <a:pt x="158" y="0"/>
                    <a:pt x="0" y="158"/>
                    <a:pt x="0" y="378"/>
                  </a:cubicBezTo>
                  <a:cubicBezTo>
                    <a:pt x="0" y="568"/>
                    <a:pt x="158" y="725"/>
                    <a:pt x="378" y="725"/>
                  </a:cubicBezTo>
                  <a:cubicBezTo>
                    <a:pt x="567" y="725"/>
                    <a:pt x="725" y="568"/>
                    <a:pt x="725" y="378"/>
                  </a:cubicBezTo>
                  <a:cubicBezTo>
                    <a:pt x="725" y="158"/>
                    <a:pt x="536"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6" name="Google Shape;8826;p76"/>
            <p:cNvSpPr/>
            <p:nvPr/>
          </p:nvSpPr>
          <p:spPr>
            <a:xfrm>
              <a:off x="-2668225" y="3393475"/>
              <a:ext cx="288300" cy="137050"/>
            </a:xfrm>
            <a:custGeom>
              <a:avLst/>
              <a:gdLst/>
              <a:ahLst/>
              <a:cxnLst/>
              <a:rect l="l" t="t" r="r" b="b"/>
              <a:pathLst>
                <a:path w="11532" h="5482" extrusionOk="0">
                  <a:moveTo>
                    <a:pt x="4726" y="630"/>
                  </a:moveTo>
                  <a:cubicBezTo>
                    <a:pt x="5483" y="630"/>
                    <a:pt x="6113" y="1260"/>
                    <a:pt x="6113" y="2016"/>
                  </a:cubicBezTo>
                  <a:cubicBezTo>
                    <a:pt x="6113" y="2804"/>
                    <a:pt x="5514" y="3403"/>
                    <a:pt x="4726" y="3403"/>
                  </a:cubicBezTo>
                  <a:cubicBezTo>
                    <a:pt x="3970" y="3403"/>
                    <a:pt x="3340" y="2772"/>
                    <a:pt x="3340" y="2016"/>
                  </a:cubicBezTo>
                  <a:cubicBezTo>
                    <a:pt x="3340" y="1260"/>
                    <a:pt x="3970" y="630"/>
                    <a:pt x="4726" y="630"/>
                  </a:cubicBezTo>
                  <a:close/>
                  <a:moveTo>
                    <a:pt x="7845" y="2048"/>
                  </a:moveTo>
                  <a:cubicBezTo>
                    <a:pt x="8381" y="2048"/>
                    <a:pt x="8854" y="2520"/>
                    <a:pt x="8854" y="3087"/>
                  </a:cubicBezTo>
                  <a:cubicBezTo>
                    <a:pt x="8854" y="3623"/>
                    <a:pt x="8381" y="4096"/>
                    <a:pt x="7845" y="4096"/>
                  </a:cubicBezTo>
                  <a:cubicBezTo>
                    <a:pt x="7278" y="4096"/>
                    <a:pt x="6806" y="3623"/>
                    <a:pt x="6806" y="3087"/>
                  </a:cubicBezTo>
                  <a:cubicBezTo>
                    <a:pt x="6806" y="2520"/>
                    <a:pt x="7278" y="2048"/>
                    <a:pt x="7845" y="2048"/>
                  </a:cubicBezTo>
                  <a:close/>
                  <a:moveTo>
                    <a:pt x="2710" y="0"/>
                  </a:moveTo>
                  <a:cubicBezTo>
                    <a:pt x="2238" y="693"/>
                    <a:pt x="1607" y="1575"/>
                    <a:pt x="788" y="2804"/>
                  </a:cubicBezTo>
                  <a:cubicBezTo>
                    <a:pt x="1" y="3938"/>
                    <a:pt x="820" y="5482"/>
                    <a:pt x="2206" y="5482"/>
                  </a:cubicBezTo>
                  <a:lnTo>
                    <a:pt x="9295" y="5482"/>
                  </a:lnTo>
                  <a:cubicBezTo>
                    <a:pt x="10712" y="5482"/>
                    <a:pt x="11532" y="3938"/>
                    <a:pt x="10744" y="2804"/>
                  </a:cubicBezTo>
                  <a:cubicBezTo>
                    <a:pt x="9925" y="1575"/>
                    <a:pt x="9295" y="693"/>
                    <a:pt x="8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7" name="Google Shape;8827;p76"/>
          <p:cNvGrpSpPr/>
          <p:nvPr/>
        </p:nvGrpSpPr>
        <p:grpSpPr>
          <a:xfrm>
            <a:off x="6802066" y="2205191"/>
            <a:ext cx="420811" cy="419659"/>
            <a:chOff x="-2671375" y="3597450"/>
            <a:chExt cx="292250" cy="291450"/>
          </a:xfrm>
        </p:grpSpPr>
        <p:sp>
          <p:nvSpPr>
            <p:cNvPr id="8828" name="Google Shape;8828;p76"/>
            <p:cNvSpPr/>
            <p:nvPr/>
          </p:nvSpPr>
          <p:spPr>
            <a:xfrm>
              <a:off x="-2654050" y="3597450"/>
              <a:ext cx="260725" cy="51225"/>
            </a:xfrm>
            <a:custGeom>
              <a:avLst/>
              <a:gdLst/>
              <a:ahLst/>
              <a:cxnLst/>
              <a:rect l="l" t="t" r="r" b="b"/>
              <a:pathLst>
                <a:path w="10429" h="2049" extrusionOk="0">
                  <a:moveTo>
                    <a:pt x="1513" y="1"/>
                  </a:moveTo>
                  <a:cubicBezTo>
                    <a:pt x="1072" y="1"/>
                    <a:pt x="725" y="253"/>
                    <a:pt x="568" y="631"/>
                  </a:cubicBezTo>
                  <a:lnTo>
                    <a:pt x="1" y="2049"/>
                  </a:lnTo>
                  <a:lnTo>
                    <a:pt x="10429" y="2049"/>
                  </a:lnTo>
                  <a:lnTo>
                    <a:pt x="9830" y="631"/>
                  </a:lnTo>
                  <a:cubicBezTo>
                    <a:pt x="9673" y="253"/>
                    <a:pt x="9263" y="1"/>
                    <a:pt x="8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9" name="Google Shape;8829;p76"/>
            <p:cNvSpPr/>
            <p:nvPr/>
          </p:nvSpPr>
          <p:spPr>
            <a:xfrm>
              <a:off x="-2671375" y="3667550"/>
              <a:ext cx="292250" cy="221350"/>
            </a:xfrm>
            <a:custGeom>
              <a:avLst/>
              <a:gdLst/>
              <a:ahLst/>
              <a:cxnLst/>
              <a:rect l="l" t="t" r="r" b="b"/>
              <a:pathLst>
                <a:path w="11690" h="8854" extrusionOk="0">
                  <a:moveTo>
                    <a:pt x="1733" y="1324"/>
                  </a:moveTo>
                  <a:cubicBezTo>
                    <a:pt x="1922" y="1324"/>
                    <a:pt x="2080" y="1481"/>
                    <a:pt x="2080" y="1702"/>
                  </a:cubicBezTo>
                  <a:cubicBezTo>
                    <a:pt x="2080" y="1891"/>
                    <a:pt x="1922" y="2049"/>
                    <a:pt x="1733" y="2049"/>
                  </a:cubicBezTo>
                  <a:cubicBezTo>
                    <a:pt x="1544" y="2049"/>
                    <a:pt x="1387" y="1891"/>
                    <a:pt x="1387" y="1702"/>
                  </a:cubicBezTo>
                  <a:cubicBezTo>
                    <a:pt x="1387" y="1481"/>
                    <a:pt x="1544" y="1324"/>
                    <a:pt x="1733" y="1324"/>
                  </a:cubicBezTo>
                  <a:close/>
                  <a:moveTo>
                    <a:pt x="10019" y="1387"/>
                  </a:moveTo>
                  <a:cubicBezTo>
                    <a:pt x="10492" y="1387"/>
                    <a:pt x="10492" y="2049"/>
                    <a:pt x="10019" y="2049"/>
                  </a:cubicBezTo>
                  <a:lnTo>
                    <a:pt x="3781" y="2049"/>
                  </a:lnTo>
                  <a:cubicBezTo>
                    <a:pt x="3340" y="2049"/>
                    <a:pt x="3309" y="1387"/>
                    <a:pt x="3781" y="1387"/>
                  </a:cubicBezTo>
                  <a:close/>
                  <a:moveTo>
                    <a:pt x="1733" y="4096"/>
                  </a:moveTo>
                  <a:cubicBezTo>
                    <a:pt x="1922" y="4096"/>
                    <a:pt x="2080" y="4254"/>
                    <a:pt x="2080" y="4443"/>
                  </a:cubicBezTo>
                  <a:cubicBezTo>
                    <a:pt x="2080" y="4632"/>
                    <a:pt x="1922" y="4789"/>
                    <a:pt x="1733" y="4789"/>
                  </a:cubicBezTo>
                  <a:cubicBezTo>
                    <a:pt x="1544" y="4789"/>
                    <a:pt x="1387" y="4632"/>
                    <a:pt x="1387" y="4443"/>
                  </a:cubicBezTo>
                  <a:cubicBezTo>
                    <a:pt x="1387" y="4254"/>
                    <a:pt x="1544" y="4096"/>
                    <a:pt x="1733" y="4096"/>
                  </a:cubicBezTo>
                  <a:close/>
                  <a:moveTo>
                    <a:pt x="10050" y="4127"/>
                  </a:moveTo>
                  <a:cubicBezTo>
                    <a:pt x="10492" y="4127"/>
                    <a:pt x="10481" y="4789"/>
                    <a:pt x="10019" y="4789"/>
                  </a:cubicBezTo>
                  <a:lnTo>
                    <a:pt x="3781" y="4789"/>
                  </a:lnTo>
                  <a:cubicBezTo>
                    <a:pt x="3340" y="4789"/>
                    <a:pt x="3309" y="4128"/>
                    <a:pt x="3781" y="4128"/>
                  </a:cubicBezTo>
                  <a:lnTo>
                    <a:pt x="10019" y="4128"/>
                  </a:lnTo>
                  <a:cubicBezTo>
                    <a:pt x="10030" y="4127"/>
                    <a:pt x="10040" y="4127"/>
                    <a:pt x="10050" y="4127"/>
                  </a:cubicBezTo>
                  <a:close/>
                  <a:moveTo>
                    <a:pt x="1733" y="6806"/>
                  </a:moveTo>
                  <a:cubicBezTo>
                    <a:pt x="1922" y="6806"/>
                    <a:pt x="2080" y="6963"/>
                    <a:pt x="2080" y="7152"/>
                  </a:cubicBezTo>
                  <a:cubicBezTo>
                    <a:pt x="2080" y="7373"/>
                    <a:pt x="1922" y="7499"/>
                    <a:pt x="1733" y="7499"/>
                  </a:cubicBezTo>
                  <a:cubicBezTo>
                    <a:pt x="1544" y="7499"/>
                    <a:pt x="1387" y="7373"/>
                    <a:pt x="1387" y="7152"/>
                  </a:cubicBezTo>
                  <a:cubicBezTo>
                    <a:pt x="1387" y="6963"/>
                    <a:pt x="1544" y="6806"/>
                    <a:pt x="1733" y="6806"/>
                  </a:cubicBezTo>
                  <a:close/>
                  <a:moveTo>
                    <a:pt x="10019" y="6837"/>
                  </a:moveTo>
                  <a:cubicBezTo>
                    <a:pt x="10492" y="6837"/>
                    <a:pt x="10492" y="7499"/>
                    <a:pt x="10019" y="7499"/>
                  </a:cubicBezTo>
                  <a:lnTo>
                    <a:pt x="3781" y="7499"/>
                  </a:lnTo>
                  <a:cubicBezTo>
                    <a:pt x="3340" y="7499"/>
                    <a:pt x="3309" y="6837"/>
                    <a:pt x="3781" y="6837"/>
                  </a:cubicBezTo>
                  <a:close/>
                  <a:moveTo>
                    <a:pt x="379" y="1"/>
                  </a:moveTo>
                  <a:lnTo>
                    <a:pt x="95" y="631"/>
                  </a:lnTo>
                  <a:cubicBezTo>
                    <a:pt x="64" y="757"/>
                    <a:pt x="1" y="883"/>
                    <a:pt x="1" y="1009"/>
                  </a:cubicBezTo>
                  <a:lnTo>
                    <a:pt x="1" y="2395"/>
                  </a:lnTo>
                  <a:cubicBezTo>
                    <a:pt x="1" y="2679"/>
                    <a:pt x="127" y="2899"/>
                    <a:pt x="284" y="3057"/>
                  </a:cubicBezTo>
                  <a:cubicBezTo>
                    <a:pt x="127" y="3246"/>
                    <a:pt x="1" y="3498"/>
                    <a:pt x="1" y="3718"/>
                  </a:cubicBezTo>
                  <a:lnTo>
                    <a:pt x="1" y="5104"/>
                  </a:lnTo>
                  <a:cubicBezTo>
                    <a:pt x="1" y="5388"/>
                    <a:pt x="127" y="5609"/>
                    <a:pt x="284" y="5766"/>
                  </a:cubicBezTo>
                  <a:cubicBezTo>
                    <a:pt x="127" y="5987"/>
                    <a:pt x="1" y="6207"/>
                    <a:pt x="1" y="6459"/>
                  </a:cubicBezTo>
                  <a:lnTo>
                    <a:pt x="1" y="7814"/>
                  </a:lnTo>
                  <a:cubicBezTo>
                    <a:pt x="1" y="8381"/>
                    <a:pt x="473" y="8854"/>
                    <a:pt x="1040" y="8854"/>
                  </a:cubicBezTo>
                  <a:lnTo>
                    <a:pt x="10649" y="8854"/>
                  </a:lnTo>
                  <a:cubicBezTo>
                    <a:pt x="11185" y="8854"/>
                    <a:pt x="11658" y="8381"/>
                    <a:pt x="11658" y="7814"/>
                  </a:cubicBezTo>
                  <a:lnTo>
                    <a:pt x="11658" y="6459"/>
                  </a:lnTo>
                  <a:cubicBezTo>
                    <a:pt x="11658" y="6176"/>
                    <a:pt x="11563" y="5924"/>
                    <a:pt x="11405" y="5766"/>
                  </a:cubicBezTo>
                  <a:cubicBezTo>
                    <a:pt x="11563" y="5577"/>
                    <a:pt x="11658" y="5357"/>
                    <a:pt x="11658" y="5104"/>
                  </a:cubicBezTo>
                  <a:lnTo>
                    <a:pt x="11658" y="3718"/>
                  </a:lnTo>
                  <a:cubicBezTo>
                    <a:pt x="11658" y="3466"/>
                    <a:pt x="11563" y="3214"/>
                    <a:pt x="11405" y="3057"/>
                  </a:cubicBezTo>
                  <a:cubicBezTo>
                    <a:pt x="11563" y="2868"/>
                    <a:pt x="11658" y="2616"/>
                    <a:pt x="11658" y="2395"/>
                  </a:cubicBezTo>
                  <a:lnTo>
                    <a:pt x="11658" y="1009"/>
                  </a:lnTo>
                  <a:lnTo>
                    <a:pt x="11689" y="1009"/>
                  </a:lnTo>
                  <a:cubicBezTo>
                    <a:pt x="11689" y="883"/>
                    <a:pt x="11658" y="757"/>
                    <a:pt x="11626" y="631"/>
                  </a:cubicBezTo>
                  <a:lnTo>
                    <a:pt x="113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0" name="Google Shape;8830;p76"/>
          <p:cNvGrpSpPr/>
          <p:nvPr/>
        </p:nvGrpSpPr>
        <p:grpSpPr>
          <a:xfrm>
            <a:off x="6812849" y="2755691"/>
            <a:ext cx="423043" cy="421927"/>
            <a:chOff x="-2670575" y="3956600"/>
            <a:chExt cx="293800" cy="293025"/>
          </a:xfrm>
        </p:grpSpPr>
        <p:sp>
          <p:nvSpPr>
            <p:cNvPr id="8831" name="Google Shape;8831;p76"/>
            <p:cNvSpPr/>
            <p:nvPr/>
          </p:nvSpPr>
          <p:spPr>
            <a:xfrm>
              <a:off x="-2670575" y="3975525"/>
              <a:ext cx="116575" cy="34675"/>
            </a:xfrm>
            <a:custGeom>
              <a:avLst/>
              <a:gdLst/>
              <a:ahLst/>
              <a:cxnLst/>
              <a:rect l="l" t="t" r="r" b="b"/>
              <a:pathLst>
                <a:path w="4663" h="1387" extrusionOk="0">
                  <a:moveTo>
                    <a:pt x="1040" y="0"/>
                  </a:moveTo>
                  <a:cubicBezTo>
                    <a:pt x="473" y="0"/>
                    <a:pt x="0" y="473"/>
                    <a:pt x="0" y="1040"/>
                  </a:cubicBezTo>
                  <a:lnTo>
                    <a:pt x="0" y="1386"/>
                  </a:lnTo>
                  <a:lnTo>
                    <a:pt x="3781" y="1386"/>
                  </a:lnTo>
                  <a:cubicBezTo>
                    <a:pt x="4001" y="882"/>
                    <a:pt x="4316" y="41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2" name="Google Shape;8832;p76"/>
            <p:cNvSpPr/>
            <p:nvPr/>
          </p:nvSpPr>
          <p:spPr>
            <a:xfrm>
              <a:off x="-2669800" y="4026700"/>
              <a:ext cx="170950" cy="136300"/>
            </a:xfrm>
            <a:custGeom>
              <a:avLst/>
              <a:gdLst/>
              <a:ahLst/>
              <a:cxnLst/>
              <a:rect l="l" t="t" r="r" b="b"/>
              <a:pathLst>
                <a:path w="6838" h="5452" extrusionOk="0">
                  <a:moveTo>
                    <a:pt x="1" y="1"/>
                  </a:moveTo>
                  <a:lnTo>
                    <a:pt x="1" y="5451"/>
                  </a:lnTo>
                  <a:lnTo>
                    <a:pt x="6837" y="5451"/>
                  </a:lnTo>
                  <a:lnTo>
                    <a:pt x="6837" y="5357"/>
                  </a:lnTo>
                  <a:cubicBezTo>
                    <a:pt x="6522" y="5294"/>
                    <a:pt x="6207" y="5168"/>
                    <a:pt x="5924" y="5042"/>
                  </a:cubicBezTo>
                  <a:lnTo>
                    <a:pt x="5104" y="5325"/>
                  </a:lnTo>
                  <a:cubicBezTo>
                    <a:pt x="4975" y="5368"/>
                    <a:pt x="4845" y="5389"/>
                    <a:pt x="4720" y="5389"/>
                  </a:cubicBezTo>
                  <a:cubicBezTo>
                    <a:pt x="3931" y="5389"/>
                    <a:pt x="3289" y="4597"/>
                    <a:pt x="3561" y="3781"/>
                  </a:cubicBezTo>
                  <a:lnTo>
                    <a:pt x="3844" y="2962"/>
                  </a:lnTo>
                  <a:cubicBezTo>
                    <a:pt x="3561" y="2364"/>
                    <a:pt x="3403" y="1702"/>
                    <a:pt x="3403" y="1041"/>
                  </a:cubicBezTo>
                  <a:cubicBezTo>
                    <a:pt x="3403" y="662"/>
                    <a:pt x="3466" y="316"/>
                    <a:pt x="35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3" name="Google Shape;8833;p76"/>
            <p:cNvSpPr/>
            <p:nvPr/>
          </p:nvSpPr>
          <p:spPr>
            <a:xfrm>
              <a:off x="-2669800" y="4179500"/>
              <a:ext cx="170950" cy="70125"/>
            </a:xfrm>
            <a:custGeom>
              <a:avLst/>
              <a:gdLst/>
              <a:ahLst/>
              <a:cxnLst/>
              <a:rect l="l" t="t" r="r" b="b"/>
              <a:pathLst>
                <a:path w="6838" h="2805" extrusionOk="0">
                  <a:moveTo>
                    <a:pt x="3403" y="757"/>
                  </a:moveTo>
                  <a:cubicBezTo>
                    <a:pt x="3592" y="757"/>
                    <a:pt x="3750" y="914"/>
                    <a:pt x="3750" y="1103"/>
                  </a:cubicBezTo>
                  <a:cubicBezTo>
                    <a:pt x="3750" y="1293"/>
                    <a:pt x="3592" y="1450"/>
                    <a:pt x="3403" y="1450"/>
                  </a:cubicBezTo>
                  <a:cubicBezTo>
                    <a:pt x="3214" y="1450"/>
                    <a:pt x="3057" y="1293"/>
                    <a:pt x="3057" y="1103"/>
                  </a:cubicBezTo>
                  <a:cubicBezTo>
                    <a:pt x="3057" y="914"/>
                    <a:pt x="3214" y="757"/>
                    <a:pt x="3403" y="757"/>
                  </a:cubicBezTo>
                  <a:close/>
                  <a:moveTo>
                    <a:pt x="1" y="1"/>
                  </a:moveTo>
                  <a:lnTo>
                    <a:pt x="1" y="1765"/>
                  </a:lnTo>
                  <a:cubicBezTo>
                    <a:pt x="1" y="2332"/>
                    <a:pt x="442" y="2805"/>
                    <a:pt x="1009" y="2805"/>
                  </a:cubicBezTo>
                  <a:lnTo>
                    <a:pt x="5829" y="2805"/>
                  </a:lnTo>
                  <a:cubicBezTo>
                    <a:pt x="6365" y="2805"/>
                    <a:pt x="6837" y="2332"/>
                    <a:pt x="6837" y="1765"/>
                  </a:cubicBezTo>
                  <a:lnTo>
                    <a:pt x="6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6"/>
            <p:cNvSpPr/>
            <p:nvPr/>
          </p:nvSpPr>
          <p:spPr>
            <a:xfrm>
              <a:off x="-2566625" y="3956600"/>
              <a:ext cx="189850" cy="190650"/>
            </a:xfrm>
            <a:custGeom>
              <a:avLst/>
              <a:gdLst/>
              <a:ahLst/>
              <a:cxnLst/>
              <a:rect l="l" t="t" r="r" b="b"/>
              <a:pathLst>
                <a:path w="7594" h="7626" extrusionOk="0">
                  <a:moveTo>
                    <a:pt x="3759" y="1391"/>
                  </a:moveTo>
                  <a:cubicBezTo>
                    <a:pt x="3929" y="1391"/>
                    <a:pt x="4096" y="1502"/>
                    <a:pt x="4096" y="1734"/>
                  </a:cubicBezTo>
                  <a:lnTo>
                    <a:pt x="4096" y="2175"/>
                  </a:lnTo>
                  <a:cubicBezTo>
                    <a:pt x="4254" y="2206"/>
                    <a:pt x="4349" y="2301"/>
                    <a:pt x="4475" y="2427"/>
                  </a:cubicBezTo>
                  <a:cubicBezTo>
                    <a:pt x="4716" y="2669"/>
                    <a:pt x="4494" y="3003"/>
                    <a:pt x="4235" y="3003"/>
                  </a:cubicBezTo>
                  <a:cubicBezTo>
                    <a:pt x="4157" y="3003"/>
                    <a:pt x="4075" y="2973"/>
                    <a:pt x="4002" y="2899"/>
                  </a:cubicBezTo>
                  <a:cubicBezTo>
                    <a:pt x="3926" y="2823"/>
                    <a:pt x="3839" y="2791"/>
                    <a:pt x="3756" y="2791"/>
                  </a:cubicBezTo>
                  <a:cubicBezTo>
                    <a:pt x="3493" y="2791"/>
                    <a:pt x="3266" y="3109"/>
                    <a:pt x="3529" y="3372"/>
                  </a:cubicBezTo>
                  <a:cubicBezTo>
                    <a:pt x="3624" y="3435"/>
                    <a:pt x="3687" y="3466"/>
                    <a:pt x="3781" y="3466"/>
                  </a:cubicBezTo>
                  <a:cubicBezTo>
                    <a:pt x="4317" y="3466"/>
                    <a:pt x="4790" y="3939"/>
                    <a:pt x="4790" y="4506"/>
                  </a:cubicBezTo>
                  <a:cubicBezTo>
                    <a:pt x="4790" y="4884"/>
                    <a:pt x="4569" y="5294"/>
                    <a:pt x="4128" y="5451"/>
                  </a:cubicBezTo>
                  <a:lnTo>
                    <a:pt x="4128" y="5829"/>
                  </a:lnTo>
                  <a:cubicBezTo>
                    <a:pt x="4128" y="6054"/>
                    <a:pt x="3957" y="6172"/>
                    <a:pt x="3789" y="6172"/>
                  </a:cubicBezTo>
                  <a:cubicBezTo>
                    <a:pt x="3626" y="6172"/>
                    <a:pt x="3466" y="6062"/>
                    <a:pt x="3466" y="5829"/>
                  </a:cubicBezTo>
                  <a:lnTo>
                    <a:pt x="3466" y="5451"/>
                  </a:lnTo>
                  <a:cubicBezTo>
                    <a:pt x="3309" y="5420"/>
                    <a:pt x="3183" y="5325"/>
                    <a:pt x="3057" y="5199"/>
                  </a:cubicBezTo>
                  <a:cubicBezTo>
                    <a:pt x="2815" y="4957"/>
                    <a:pt x="3037" y="4623"/>
                    <a:pt x="3296" y="4623"/>
                  </a:cubicBezTo>
                  <a:cubicBezTo>
                    <a:pt x="3374" y="4623"/>
                    <a:pt x="3456" y="4653"/>
                    <a:pt x="3529" y="4727"/>
                  </a:cubicBezTo>
                  <a:cubicBezTo>
                    <a:pt x="3603" y="4800"/>
                    <a:pt x="3684" y="4831"/>
                    <a:pt x="3763" y="4831"/>
                  </a:cubicBezTo>
                  <a:cubicBezTo>
                    <a:pt x="4022" y="4831"/>
                    <a:pt x="4244" y="4496"/>
                    <a:pt x="4002" y="4254"/>
                  </a:cubicBezTo>
                  <a:cubicBezTo>
                    <a:pt x="3939" y="4191"/>
                    <a:pt x="3844" y="4160"/>
                    <a:pt x="3781" y="4160"/>
                  </a:cubicBezTo>
                  <a:cubicBezTo>
                    <a:pt x="3214" y="4160"/>
                    <a:pt x="2742" y="3687"/>
                    <a:pt x="2742" y="3120"/>
                  </a:cubicBezTo>
                  <a:cubicBezTo>
                    <a:pt x="2742" y="2710"/>
                    <a:pt x="2994" y="2332"/>
                    <a:pt x="3403" y="2175"/>
                  </a:cubicBezTo>
                  <a:lnTo>
                    <a:pt x="3403" y="1734"/>
                  </a:lnTo>
                  <a:cubicBezTo>
                    <a:pt x="3403" y="1509"/>
                    <a:pt x="3583" y="1391"/>
                    <a:pt x="3759" y="1391"/>
                  </a:cubicBezTo>
                  <a:close/>
                  <a:moveTo>
                    <a:pt x="3781" y="1"/>
                  </a:moveTo>
                  <a:cubicBezTo>
                    <a:pt x="1734" y="1"/>
                    <a:pt x="1" y="1671"/>
                    <a:pt x="1" y="3782"/>
                  </a:cubicBezTo>
                  <a:cubicBezTo>
                    <a:pt x="1" y="4380"/>
                    <a:pt x="158" y="5010"/>
                    <a:pt x="410" y="5514"/>
                  </a:cubicBezTo>
                  <a:cubicBezTo>
                    <a:pt x="473" y="5609"/>
                    <a:pt x="473" y="5735"/>
                    <a:pt x="473" y="5798"/>
                  </a:cubicBezTo>
                  <a:lnTo>
                    <a:pt x="158" y="6774"/>
                  </a:lnTo>
                  <a:cubicBezTo>
                    <a:pt x="46" y="7141"/>
                    <a:pt x="311" y="7482"/>
                    <a:pt x="684" y="7482"/>
                  </a:cubicBezTo>
                  <a:cubicBezTo>
                    <a:pt x="728" y="7482"/>
                    <a:pt x="774" y="7478"/>
                    <a:pt x="820" y="7468"/>
                  </a:cubicBezTo>
                  <a:lnTo>
                    <a:pt x="1797" y="7121"/>
                  </a:lnTo>
                  <a:cubicBezTo>
                    <a:pt x="1831" y="7110"/>
                    <a:pt x="1866" y="7102"/>
                    <a:pt x="1900" y="7102"/>
                  </a:cubicBezTo>
                  <a:cubicBezTo>
                    <a:pt x="1960" y="7102"/>
                    <a:pt x="2020" y="7124"/>
                    <a:pt x="2080" y="7184"/>
                  </a:cubicBezTo>
                  <a:cubicBezTo>
                    <a:pt x="2584" y="7468"/>
                    <a:pt x="3214" y="7625"/>
                    <a:pt x="3813" y="7625"/>
                  </a:cubicBezTo>
                  <a:cubicBezTo>
                    <a:pt x="5892" y="7625"/>
                    <a:pt x="7594" y="5924"/>
                    <a:pt x="7594" y="3813"/>
                  </a:cubicBezTo>
                  <a:cubicBezTo>
                    <a:pt x="7499" y="1702"/>
                    <a:pt x="5861"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6"/>
          <p:cNvGrpSpPr/>
          <p:nvPr/>
        </p:nvGrpSpPr>
        <p:grpSpPr>
          <a:xfrm>
            <a:off x="3070370" y="3311947"/>
            <a:ext cx="426462" cy="418363"/>
            <a:chOff x="-1183550" y="3586525"/>
            <a:chExt cx="296175" cy="290550"/>
          </a:xfrm>
        </p:grpSpPr>
        <p:sp>
          <p:nvSpPr>
            <p:cNvPr id="8836" name="Google Shape;8836;p76"/>
            <p:cNvSpPr/>
            <p:nvPr/>
          </p:nvSpPr>
          <p:spPr>
            <a:xfrm>
              <a:off x="-927575" y="3671500"/>
              <a:ext cx="40200" cy="16575"/>
            </a:xfrm>
            <a:custGeom>
              <a:avLst/>
              <a:gdLst/>
              <a:ahLst/>
              <a:cxnLst/>
              <a:rect l="l" t="t" r="r" b="b"/>
              <a:pathLst>
                <a:path w="1608" h="663" extrusionOk="0">
                  <a:moveTo>
                    <a:pt x="473" y="0"/>
                  </a:moveTo>
                  <a:cubicBezTo>
                    <a:pt x="32" y="0"/>
                    <a:pt x="1" y="662"/>
                    <a:pt x="473" y="662"/>
                  </a:cubicBezTo>
                  <a:lnTo>
                    <a:pt x="1135" y="662"/>
                  </a:lnTo>
                  <a:cubicBezTo>
                    <a:pt x="1145" y="663"/>
                    <a:pt x="1156" y="663"/>
                    <a:pt x="1166" y="663"/>
                  </a:cubicBezTo>
                  <a:cubicBezTo>
                    <a:pt x="1607" y="663"/>
                    <a:pt x="1597"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7" name="Google Shape;8837;p76"/>
            <p:cNvSpPr/>
            <p:nvPr/>
          </p:nvSpPr>
          <p:spPr>
            <a:xfrm>
              <a:off x="-1183550" y="3671500"/>
              <a:ext cx="39400" cy="16575"/>
            </a:xfrm>
            <a:custGeom>
              <a:avLst/>
              <a:gdLst/>
              <a:ahLst/>
              <a:cxnLst/>
              <a:rect l="l" t="t" r="r" b="b"/>
              <a:pathLst>
                <a:path w="1576" h="663" extrusionOk="0">
                  <a:moveTo>
                    <a:pt x="473" y="0"/>
                  </a:moveTo>
                  <a:cubicBezTo>
                    <a:pt x="32" y="0"/>
                    <a:pt x="1" y="662"/>
                    <a:pt x="473" y="662"/>
                  </a:cubicBezTo>
                  <a:lnTo>
                    <a:pt x="1135" y="662"/>
                  </a:lnTo>
                  <a:cubicBezTo>
                    <a:pt x="1145" y="663"/>
                    <a:pt x="1154" y="663"/>
                    <a:pt x="1163" y="663"/>
                  </a:cubicBezTo>
                  <a:cubicBezTo>
                    <a:pt x="1576" y="663"/>
                    <a:pt x="1566"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76"/>
            <p:cNvSpPr/>
            <p:nvPr/>
          </p:nvSpPr>
          <p:spPr>
            <a:xfrm>
              <a:off x="-944250" y="3603025"/>
              <a:ext cx="39525" cy="26375"/>
            </a:xfrm>
            <a:custGeom>
              <a:avLst/>
              <a:gdLst/>
              <a:ahLst/>
              <a:cxnLst/>
              <a:rect l="l" t="t" r="r" b="b"/>
              <a:pathLst>
                <a:path w="1581" h="1055" extrusionOk="0">
                  <a:moveTo>
                    <a:pt x="1086" y="1"/>
                  </a:moveTo>
                  <a:cubicBezTo>
                    <a:pt x="1024" y="1"/>
                    <a:pt x="957" y="19"/>
                    <a:pt x="888" y="61"/>
                  </a:cubicBezTo>
                  <a:lnTo>
                    <a:pt x="321" y="408"/>
                  </a:lnTo>
                  <a:cubicBezTo>
                    <a:pt x="0" y="595"/>
                    <a:pt x="179" y="1054"/>
                    <a:pt x="490" y="1054"/>
                  </a:cubicBezTo>
                  <a:cubicBezTo>
                    <a:pt x="546" y="1054"/>
                    <a:pt x="606" y="1040"/>
                    <a:pt x="668" y="1006"/>
                  </a:cubicBezTo>
                  <a:lnTo>
                    <a:pt x="1266" y="660"/>
                  </a:lnTo>
                  <a:cubicBezTo>
                    <a:pt x="1581" y="450"/>
                    <a:pt x="1394"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76"/>
            <p:cNvSpPr/>
            <p:nvPr/>
          </p:nvSpPr>
          <p:spPr>
            <a:xfrm>
              <a:off x="-1166200" y="3731225"/>
              <a:ext cx="39700" cy="26075"/>
            </a:xfrm>
            <a:custGeom>
              <a:avLst/>
              <a:gdLst/>
              <a:ahLst/>
              <a:cxnLst/>
              <a:rect l="l" t="t" r="r" b="b"/>
              <a:pathLst>
                <a:path w="1588" h="1043" extrusionOk="0">
                  <a:moveTo>
                    <a:pt x="1071" y="1"/>
                  </a:moveTo>
                  <a:cubicBezTo>
                    <a:pt x="1021" y="1"/>
                    <a:pt x="968" y="12"/>
                    <a:pt x="913" y="37"/>
                  </a:cubicBezTo>
                  <a:lnTo>
                    <a:pt x="315" y="384"/>
                  </a:lnTo>
                  <a:cubicBezTo>
                    <a:pt x="0" y="593"/>
                    <a:pt x="187" y="1043"/>
                    <a:pt x="495" y="1043"/>
                  </a:cubicBezTo>
                  <a:cubicBezTo>
                    <a:pt x="557" y="1043"/>
                    <a:pt x="624" y="1025"/>
                    <a:pt x="693" y="982"/>
                  </a:cubicBezTo>
                  <a:lnTo>
                    <a:pt x="1260" y="636"/>
                  </a:lnTo>
                  <a:cubicBezTo>
                    <a:pt x="1587" y="472"/>
                    <a:pt x="1395"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6"/>
            <p:cNvSpPr/>
            <p:nvPr/>
          </p:nvSpPr>
          <p:spPr>
            <a:xfrm>
              <a:off x="-944925" y="3730950"/>
              <a:ext cx="40200" cy="26375"/>
            </a:xfrm>
            <a:custGeom>
              <a:avLst/>
              <a:gdLst/>
              <a:ahLst/>
              <a:cxnLst/>
              <a:rect l="l" t="t" r="r" b="b"/>
              <a:pathLst>
                <a:path w="1608" h="1055" extrusionOk="0">
                  <a:moveTo>
                    <a:pt x="515" y="0"/>
                  </a:moveTo>
                  <a:cubicBezTo>
                    <a:pt x="198" y="0"/>
                    <a:pt x="1" y="460"/>
                    <a:pt x="348" y="647"/>
                  </a:cubicBezTo>
                  <a:lnTo>
                    <a:pt x="915" y="993"/>
                  </a:lnTo>
                  <a:cubicBezTo>
                    <a:pt x="984" y="1036"/>
                    <a:pt x="1052" y="1054"/>
                    <a:pt x="1114" y="1054"/>
                  </a:cubicBezTo>
                  <a:cubicBezTo>
                    <a:pt x="1421" y="1054"/>
                    <a:pt x="1608" y="609"/>
                    <a:pt x="1293" y="426"/>
                  </a:cubicBezTo>
                  <a:lnTo>
                    <a:pt x="695" y="48"/>
                  </a:lnTo>
                  <a:cubicBezTo>
                    <a:pt x="633" y="15"/>
                    <a:pt x="572" y="0"/>
                    <a:pt x="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1" name="Google Shape;8841;p76"/>
            <p:cNvSpPr/>
            <p:nvPr/>
          </p:nvSpPr>
          <p:spPr>
            <a:xfrm>
              <a:off x="-1167000" y="3603025"/>
              <a:ext cx="40200" cy="26375"/>
            </a:xfrm>
            <a:custGeom>
              <a:avLst/>
              <a:gdLst/>
              <a:ahLst/>
              <a:cxnLst/>
              <a:rect l="l" t="t" r="r" b="b"/>
              <a:pathLst>
                <a:path w="1608" h="1055" extrusionOk="0">
                  <a:moveTo>
                    <a:pt x="477" y="1"/>
                  </a:moveTo>
                  <a:cubicBezTo>
                    <a:pt x="188" y="1"/>
                    <a:pt x="1" y="450"/>
                    <a:pt x="315" y="660"/>
                  </a:cubicBezTo>
                  <a:lnTo>
                    <a:pt x="914" y="1006"/>
                  </a:lnTo>
                  <a:cubicBezTo>
                    <a:pt x="981" y="1040"/>
                    <a:pt x="1044" y="1054"/>
                    <a:pt x="1103" y="1054"/>
                  </a:cubicBezTo>
                  <a:cubicBezTo>
                    <a:pt x="1434" y="1054"/>
                    <a:pt x="1608" y="595"/>
                    <a:pt x="1260" y="408"/>
                  </a:cubicBezTo>
                  <a:lnTo>
                    <a:pt x="662" y="61"/>
                  </a:lnTo>
                  <a:cubicBezTo>
                    <a:pt x="598" y="19"/>
                    <a:pt x="536" y="1"/>
                    <a:pt x="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76"/>
            <p:cNvSpPr/>
            <p:nvPr/>
          </p:nvSpPr>
          <p:spPr>
            <a:xfrm>
              <a:off x="-1065400" y="3658900"/>
              <a:ext cx="59875" cy="77200"/>
            </a:xfrm>
            <a:custGeom>
              <a:avLst/>
              <a:gdLst/>
              <a:ahLst/>
              <a:cxnLst/>
              <a:rect l="l" t="t" r="r" b="b"/>
              <a:pathLst>
                <a:path w="2395" h="3088" extrusionOk="0">
                  <a:moveTo>
                    <a:pt x="882" y="0"/>
                  </a:moveTo>
                  <a:lnTo>
                    <a:pt x="0" y="1355"/>
                  </a:lnTo>
                  <a:lnTo>
                    <a:pt x="1355" y="1922"/>
                  </a:lnTo>
                  <a:cubicBezTo>
                    <a:pt x="1450" y="1953"/>
                    <a:pt x="1544" y="2111"/>
                    <a:pt x="1544" y="2237"/>
                  </a:cubicBezTo>
                  <a:lnTo>
                    <a:pt x="1544" y="3088"/>
                  </a:lnTo>
                  <a:lnTo>
                    <a:pt x="2395" y="1733"/>
                  </a:lnTo>
                  <a:lnTo>
                    <a:pt x="1071" y="1166"/>
                  </a:lnTo>
                  <a:cubicBezTo>
                    <a:pt x="945" y="1134"/>
                    <a:pt x="882" y="1008"/>
                    <a:pt x="882" y="851"/>
                  </a:cubicBezTo>
                  <a:lnTo>
                    <a:pt x="8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6"/>
            <p:cNvSpPr/>
            <p:nvPr/>
          </p:nvSpPr>
          <p:spPr>
            <a:xfrm>
              <a:off x="-1078000" y="3809325"/>
              <a:ext cx="85075" cy="67750"/>
            </a:xfrm>
            <a:custGeom>
              <a:avLst/>
              <a:gdLst/>
              <a:ahLst/>
              <a:cxnLst/>
              <a:rect l="l" t="t" r="r" b="b"/>
              <a:pathLst>
                <a:path w="3403" h="2710" extrusionOk="0">
                  <a:moveTo>
                    <a:pt x="0" y="1"/>
                  </a:moveTo>
                  <a:lnTo>
                    <a:pt x="0" y="662"/>
                  </a:lnTo>
                  <a:lnTo>
                    <a:pt x="1008" y="662"/>
                  </a:lnTo>
                  <a:cubicBezTo>
                    <a:pt x="1449" y="662"/>
                    <a:pt x="1481" y="1324"/>
                    <a:pt x="1008" y="1324"/>
                  </a:cubicBezTo>
                  <a:lnTo>
                    <a:pt x="0" y="1324"/>
                  </a:lnTo>
                  <a:lnTo>
                    <a:pt x="0" y="1670"/>
                  </a:lnTo>
                  <a:cubicBezTo>
                    <a:pt x="0" y="2237"/>
                    <a:pt x="473" y="2710"/>
                    <a:pt x="1008" y="2710"/>
                  </a:cubicBezTo>
                  <a:lnTo>
                    <a:pt x="2395" y="2710"/>
                  </a:lnTo>
                  <a:cubicBezTo>
                    <a:pt x="2962" y="2710"/>
                    <a:pt x="3403" y="2237"/>
                    <a:pt x="3403" y="1670"/>
                  </a:cubicBezTo>
                  <a:lnTo>
                    <a:pt x="3403" y="1324"/>
                  </a:lnTo>
                  <a:lnTo>
                    <a:pt x="2395" y="1324"/>
                  </a:lnTo>
                  <a:cubicBezTo>
                    <a:pt x="1954" y="1324"/>
                    <a:pt x="1922" y="662"/>
                    <a:pt x="2395" y="662"/>
                  </a:cubicBezTo>
                  <a:lnTo>
                    <a:pt x="3403" y="662"/>
                  </a:lnTo>
                  <a:lnTo>
                    <a:pt x="3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4" name="Google Shape;8844;p76"/>
            <p:cNvSpPr/>
            <p:nvPr/>
          </p:nvSpPr>
          <p:spPr>
            <a:xfrm>
              <a:off x="-1135500" y="3586525"/>
              <a:ext cx="193775" cy="204700"/>
            </a:xfrm>
            <a:custGeom>
              <a:avLst/>
              <a:gdLst/>
              <a:ahLst/>
              <a:cxnLst/>
              <a:rect l="l" t="t" r="r" b="b"/>
              <a:pathLst>
                <a:path w="7751" h="8188" extrusionOk="0">
                  <a:moveTo>
                    <a:pt x="4023" y="1424"/>
                  </a:moveTo>
                  <a:cubicBezTo>
                    <a:pt x="4201" y="1424"/>
                    <a:pt x="4380" y="1561"/>
                    <a:pt x="4380" y="1761"/>
                  </a:cubicBezTo>
                  <a:lnTo>
                    <a:pt x="4380" y="3588"/>
                  </a:lnTo>
                  <a:lnTo>
                    <a:pt x="5892" y="4124"/>
                  </a:lnTo>
                  <a:cubicBezTo>
                    <a:pt x="5955" y="4187"/>
                    <a:pt x="6049" y="4250"/>
                    <a:pt x="6081" y="4344"/>
                  </a:cubicBezTo>
                  <a:cubicBezTo>
                    <a:pt x="6081" y="4407"/>
                    <a:pt x="6081" y="4533"/>
                    <a:pt x="5986" y="4628"/>
                  </a:cubicBezTo>
                  <a:lnTo>
                    <a:pt x="4285" y="7369"/>
                  </a:lnTo>
                  <a:cubicBezTo>
                    <a:pt x="4222" y="7495"/>
                    <a:pt x="4127" y="7526"/>
                    <a:pt x="4033" y="7526"/>
                  </a:cubicBezTo>
                  <a:lnTo>
                    <a:pt x="3938" y="7526"/>
                  </a:lnTo>
                  <a:cubicBezTo>
                    <a:pt x="3781" y="7495"/>
                    <a:pt x="3718" y="7369"/>
                    <a:pt x="3718" y="7211"/>
                  </a:cubicBezTo>
                  <a:lnTo>
                    <a:pt x="3718" y="5384"/>
                  </a:lnTo>
                  <a:lnTo>
                    <a:pt x="2206" y="4817"/>
                  </a:lnTo>
                  <a:cubicBezTo>
                    <a:pt x="2143" y="4754"/>
                    <a:pt x="2048" y="4691"/>
                    <a:pt x="2017" y="4596"/>
                  </a:cubicBezTo>
                  <a:cubicBezTo>
                    <a:pt x="1985" y="4533"/>
                    <a:pt x="2017" y="4407"/>
                    <a:pt x="2048" y="4344"/>
                  </a:cubicBezTo>
                  <a:lnTo>
                    <a:pt x="3749" y="1572"/>
                  </a:lnTo>
                  <a:cubicBezTo>
                    <a:pt x="3818" y="1469"/>
                    <a:pt x="3920" y="1424"/>
                    <a:pt x="4023" y="1424"/>
                  </a:cubicBezTo>
                  <a:close/>
                  <a:moveTo>
                    <a:pt x="4019" y="1"/>
                  </a:moveTo>
                  <a:cubicBezTo>
                    <a:pt x="3743" y="1"/>
                    <a:pt x="3463" y="31"/>
                    <a:pt x="3182" y="91"/>
                  </a:cubicBezTo>
                  <a:cubicBezTo>
                    <a:pt x="1733" y="406"/>
                    <a:pt x="567" y="1572"/>
                    <a:pt x="284" y="3084"/>
                  </a:cubicBezTo>
                  <a:cubicBezTo>
                    <a:pt x="0" y="4533"/>
                    <a:pt x="599" y="5479"/>
                    <a:pt x="1040" y="6140"/>
                  </a:cubicBezTo>
                  <a:cubicBezTo>
                    <a:pt x="1922" y="7526"/>
                    <a:pt x="1387" y="7526"/>
                    <a:pt x="1670" y="8188"/>
                  </a:cubicBezTo>
                  <a:lnTo>
                    <a:pt x="6301" y="8188"/>
                  </a:lnTo>
                  <a:cubicBezTo>
                    <a:pt x="6553" y="7526"/>
                    <a:pt x="6018" y="7526"/>
                    <a:pt x="6931" y="6109"/>
                  </a:cubicBezTo>
                  <a:cubicBezTo>
                    <a:pt x="7373" y="5447"/>
                    <a:pt x="7719" y="4817"/>
                    <a:pt x="7719" y="3746"/>
                  </a:cubicBezTo>
                  <a:cubicBezTo>
                    <a:pt x="7751" y="2612"/>
                    <a:pt x="7246" y="1540"/>
                    <a:pt x="6396" y="847"/>
                  </a:cubicBezTo>
                  <a:cubicBezTo>
                    <a:pt x="5726" y="297"/>
                    <a:pt x="4892" y="1"/>
                    <a:pt x="4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5" name="Google Shape;8845;p76"/>
          <p:cNvGrpSpPr/>
          <p:nvPr/>
        </p:nvGrpSpPr>
        <p:grpSpPr>
          <a:xfrm>
            <a:off x="1933980" y="1689799"/>
            <a:ext cx="420811" cy="418507"/>
            <a:chOff x="-5971525" y="3273750"/>
            <a:chExt cx="292250" cy="290650"/>
          </a:xfrm>
        </p:grpSpPr>
        <p:sp>
          <p:nvSpPr>
            <p:cNvPr id="8846" name="Google Shape;8846;p76"/>
            <p:cNvSpPr/>
            <p:nvPr/>
          </p:nvSpPr>
          <p:spPr>
            <a:xfrm>
              <a:off x="-5868325" y="3273750"/>
              <a:ext cx="85075" cy="84300"/>
            </a:xfrm>
            <a:custGeom>
              <a:avLst/>
              <a:gdLst/>
              <a:ahLst/>
              <a:cxnLst/>
              <a:rect l="l" t="t" r="r" b="b"/>
              <a:pathLst>
                <a:path w="3403" h="3372" extrusionOk="0">
                  <a:moveTo>
                    <a:pt x="1701" y="0"/>
                  </a:moveTo>
                  <a:cubicBezTo>
                    <a:pt x="788" y="0"/>
                    <a:pt x="0" y="756"/>
                    <a:pt x="0" y="1702"/>
                  </a:cubicBezTo>
                  <a:cubicBezTo>
                    <a:pt x="0" y="2615"/>
                    <a:pt x="788" y="3371"/>
                    <a:pt x="1701" y="3371"/>
                  </a:cubicBezTo>
                  <a:cubicBezTo>
                    <a:pt x="2646" y="3371"/>
                    <a:pt x="3403" y="2615"/>
                    <a:pt x="3403" y="1702"/>
                  </a:cubicBezTo>
                  <a:cubicBezTo>
                    <a:pt x="3403" y="756"/>
                    <a:pt x="2646"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76"/>
            <p:cNvSpPr/>
            <p:nvPr/>
          </p:nvSpPr>
          <p:spPr>
            <a:xfrm>
              <a:off x="-5971525" y="3308400"/>
              <a:ext cx="292250" cy="256000"/>
            </a:xfrm>
            <a:custGeom>
              <a:avLst/>
              <a:gdLst/>
              <a:ahLst/>
              <a:cxnLst/>
              <a:rect l="l" t="t" r="r" b="b"/>
              <a:pathLst>
                <a:path w="11690" h="10240" extrusionOk="0">
                  <a:moveTo>
                    <a:pt x="2049" y="1"/>
                  </a:moveTo>
                  <a:cubicBezTo>
                    <a:pt x="1324" y="1"/>
                    <a:pt x="694" y="599"/>
                    <a:pt x="694" y="1355"/>
                  </a:cubicBezTo>
                  <a:cubicBezTo>
                    <a:pt x="694" y="1733"/>
                    <a:pt x="852" y="2080"/>
                    <a:pt x="1072" y="2300"/>
                  </a:cubicBezTo>
                  <a:cubicBezTo>
                    <a:pt x="442" y="2647"/>
                    <a:pt x="1" y="3340"/>
                    <a:pt x="1" y="4096"/>
                  </a:cubicBezTo>
                  <a:lnTo>
                    <a:pt x="1" y="5766"/>
                  </a:lnTo>
                  <a:cubicBezTo>
                    <a:pt x="1" y="6207"/>
                    <a:pt x="284" y="6617"/>
                    <a:pt x="694" y="6774"/>
                  </a:cubicBezTo>
                  <a:lnTo>
                    <a:pt x="694" y="8538"/>
                  </a:lnTo>
                  <a:cubicBezTo>
                    <a:pt x="694" y="9074"/>
                    <a:pt x="1167" y="9546"/>
                    <a:pt x="1702" y="9546"/>
                  </a:cubicBezTo>
                  <a:lnTo>
                    <a:pt x="2364" y="9546"/>
                  </a:lnTo>
                  <a:cubicBezTo>
                    <a:pt x="2931" y="9546"/>
                    <a:pt x="3403" y="9074"/>
                    <a:pt x="3403" y="8538"/>
                  </a:cubicBezTo>
                  <a:lnTo>
                    <a:pt x="3403" y="6774"/>
                  </a:lnTo>
                  <a:cubicBezTo>
                    <a:pt x="3529" y="6711"/>
                    <a:pt x="3624" y="6648"/>
                    <a:pt x="3750" y="6522"/>
                  </a:cubicBezTo>
                  <a:cubicBezTo>
                    <a:pt x="3876" y="6585"/>
                    <a:pt x="3939" y="6680"/>
                    <a:pt x="4097" y="6774"/>
                  </a:cubicBezTo>
                  <a:lnTo>
                    <a:pt x="4097" y="9200"/>
                  </a:lnTo>
                  <a:cubicBezTo>
                    <a:pt x="4097" y="9735"/>
                    <a:pt x="4569" y="10240"/>
                    <a:pt x="5136" y="10240"/>
                  </a:cubicBezTo>
                  <a:lnTo>
                    <a:pt x="6522" y="10240"/>
                  </a:lnTo>
                  <a:cubicBezTo>
                    <a:pt x="7058" y="10240"/>
                    <a:pt x="7562" y="9767"/>
                    <a:pt x="7562" y="9200"/>
                  </a:cubicBezTo>
                  <a:lnTo>
                    <a:pt x="7562" y="6774"/>
                  </a:lnTo>
                  <a:cubicBezTo>
                    <a:pt x="7688" y="6711"/>
                    <a:pt x="7814" y="6648"/>
                    <a:pt x="7940" y="6522"/>
                  </a:cubicBezTo>
                  <a:cubicBezTo>
                    <a:pt x="8035" y="6585"/>
                    <a:pt x="8129" y="6680"/>
                    <a:pt x="8287" y="6774"/>
                  </a:cubicBezTo>
                  <a:lnTo>
                    <a:pt x="8287" y="8538"/>
                  </a:lnTo>
                  <a:cubicBezTo>
                    <a:pt x="8287" y="9074"/>
                    <a:pt x="8759" y="9546"/>
                    <a:pt x="9295" y="9546"/>
                  </a:cubicBezTo>
                  <a:lnTo>
                    <a:pt x="9988" y="9546"/>
                  </a:lnTo>
                  <a:cubicBezTo>
                    <a:pt x="10524" y="9546"/>
                    <a:pt x="10996" y="9074"/>
                    <a:pt x="10996" y="8538"/>
                  </a:cubicBezTo>
                  <a:lnTo>
                    <a:pt x="10996" y="6774"/>
                  </a:lnTo>
                  <a:cubicBezTo>
                    <a:pt x="11406" y="6617"/>
                    <a:pt x="11658" y="6238"/>
                    <a:pt x="11658" y="5766"/>
                  </a:cubicBezTo>
                  <a:lnTo>
                    <a:pt x="11658" y="4096"/>
                  </a:lnTo>
                  <a:cubicBezTo>
                    <a:pt x="11689" y="3340"/>
                    <a:pt x="11280" y="2678"/>
                    <a:pt x="10650" y="2300"/>
                  </a:cubicBezTo>
                  <a:cubicBezTo>
                    <a:pt x="10870" y="2080"/>
                    <a:pt x="11028" y="1733"/>
                    <a:pt x="11028" y="1355"/>
                  </a:cubicBezTo>
                  <a:cubicBezTo>
                    <a:pt x="11028" y="599"/>
                    <a:pt x="10398" y="1"/>
                    <a:pt x="9641" y="1"/>
                  </a:cubicBezTo>
                  <a:cubicBezTo>
                    <a:pt x="8917" y="1"/>
                    <a:pt x="8287" y="599"/>
                    <a:pt x="8287" y="1355"/>
                  </a:cubicBezTo>
                  <a:cubicBezTo>
                    <a:pt x="8287" y="1733"/>
                    <a:pt x="8444" y="2080"/>
                    <a:pt x="8665" y="2300"/>
                  </a:cubicBezTo>
                  <a:cubicBezTo>
                    <a:pt x="8444" y="2426"/>
                    <a:pt x="8224" y="2584"/>
                    <a:pt x="8066" y="2773"/>
                  </a:cubicBezTo>
                  <a:cubicBezTo>
                    <a:pt x="7972" y="2521"/>
                    <a:pt x="7751" y="2237"/>
                    <a:pt x="7562" y="2017"/>
                  </a:cubicBezTo>
                  <a:cubicBezTo>
                    <a:pt x="7216" y="2395"/>
                    <a:pt x="6743" y="2584"/>
                    <a:pt x="6239" y="2647"/>
                  </a:cubicBezTo>
                  <a:lnTo>
                    <a:pt x="6239" y="4380"/>
                  </a:lnTo>
                  <a:cubicBezTo>
                    <a:pt x="6239" y="4604"/>
                    <a:pt x="6043" y="4722"/>
                    <a:pt x="5851" y="4722"/>
                  </a:cubicBezTo>
                  <a:cubicBezTo>
                    <a:pt x="5665" y="4722"/>
                    <a:pt x="5483" y="4612"/>
                    <a:pt x="5483" y="4380"/>
                  </a:cubicBezTo>
                  <a:lnTo>
                    <a:pt x="5483" y="2647"/>
                  </a:lnTo>
                  <a:cubicBezTo>
                    <a:pt x="4979" y="2584"/>
                    <a:pt x="4506" y="2332"/>
                    <a:pt x="4160" y="2017"/>
                  </a:cubicBezTo>
                  <a:cubicBezTo>
                    <a:pt x="3908" y="2237"/>
                    <a:pt x="3750" y="2521"/>
                    <a:pt x="3624" y="2773"/>
                  </a:cubicBezTo>
                  <a:cubicBezTo>
                    <a:pt x="3466" y="2584"/>
                    <a:pt x="3277" y="2426"/>
                    <a:pt x="3057" y="2300"/>
                  </a:cubicBezTo>
                  <a:cubicBezTo>
                    <a:pt x="3277" y="2080"/>
                    <a:pt x="3435" y="1733"/>
                    <a:pt x="3435" y="1355"/>
                  </a:cubicBezTo>
                  <a:cubicBezTo>
                    <a:pt x="3435" y="599"/>
                    <a:pt x="2805" y="1"/>
                    <a:pt x="2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76"/>
          <p:cNvGrpSpPr/>
          <p:nvPr/>
        </p:nvGrpSpPr>
        <p:grpSpPr>
          <a:xfrm>
            <a:off x="1928310" y="2203826"/>
            <a:ext cx="432150" cy="422395"/>
            <a:chOff x="-5974675" y="3632100"/>
            <a:chExt cx="300125" cy="293350"/>
          </a:xfrm>
        </p:grpSpPr>
        <p:sp>
          <p:nvSpPr>
            <p:cNvPr id="8849" name="Google Shape;8849;p76"/>
            <p:cNvSpPr/>
            <p:nvPr/>
          </p:nvSpPr>
          <p:spPr>
            <a:xfrm>
              <a:off x="-5974675" y="3701875"/>
              <a:ext cx="141025" cy="221650"/>
            </a:xfrm>
            <a:custGeom>
              <a:avLst/>
              <a:gdLst/>
              <a:ahLst/>
              <a:cxnLst/>
              <a:rect l="l" t="t" r="r" b="b"/>
              <a:pathLst>
                <a:path w="5641" h="8866" extrusionOk="0">
                  <a:moveTo>
                    <a:pt x="540" y="1"/>
                  </a:moveTo>
                  <a:cubicBezTo>
                    <a:pt x="331" y="1"/>
                    <a:pt x="123" y="188"/>
                    <a:pt x="221" y="423"/>
                  </a:cubicBezTo>
                  <a:lnTo>
                    <a:pt x="568" y="1526"/>
                  </a:lnTo>
                  <a:cubicBezTo>
                    <a:pt x="788" y="2251"/>
                    <a:pt x="1419" y="2723"/>
                    <a:pt x="2175" y="2723"/>
                  </a:cubicBezTo>
                  <a:lnTo>
                    <a:pt x="2899" y="2723"/>
                  </a:lnTo>
                  <a:lnTo>
                    <a:pt x="2899" y="4110"/>
                  </a:lnTo>
                  <a:lnTo>
                    <a:pt x="473" y="4110"/>
                  </a:lnTo>
                  <a:cubicBezTo>
                    <a:pt x="64" y="4110"/>
                    <a:pt x="1" y="4771"/>
                    <a:pt x="473" y="4771"/>
                  </a:cubicBezTo>
                  <a:lnTo>
                    <a:pt x="2899" y="4771"/>
                  </a:lnTo>
                  <a:lnTo>
                    <a:pt x="2899" y="5779"/>
                  </a:lnTo>
                  <a:cubicBezTo>
                    <a:pt x="2899" y="5905"/>
                    <a:pt x="2899" y="6031"/>
                    <a:pt x="2931" y="6126"/>
                  </a:cubicBezTo>
                  <a:lnTo>
                    <a:pt x="2175" y="6126"/>
                  </a:lnTo>
                  <a:cubicBezTo>
                    <a:pt x="1419" y="6126"/>
                    <a:pt x="788" y="6598"/>
                    <a:pt x="568" y="7323"/>
                  </a:cubicBezTo>
                  <a:lnTo>
                    <a:pt x="221" y="8426"/>
                  </a:lnTo>
                  <a:cubicBezTo>
                    <a:pt x="126" y="8691"/>
                    <a:pt x="329" y="8866"/>
                    <a:pt x="533" y="8866"/>
                  </a:cubicBezTo>
                  <a:cubicBezTo>
                    <a:pt x="667" y="8866"/>
                    <a:pt x="801" y="8790"/>
                    <a:pt x="852" y="8615"/>
                  </a:cubicBezTo>
                  <a:lnTo>
                    <a:pt x="1198" y="7512"/>
                  </a:lnTo>
                  <a:cubicBezTo>
                    <a:pt x="1356" y="7071"/>
                    <a:pt x="1734" y="6819"/>
                    <a:pt x="2175" y="6819"/>
                  </a:cubicBezTo>
                  <a:lnTo>
                    <a:pt x="3088" y="6819"/>
                  </a:lnTo>
                  <a:cubicBezTo>
                    <a:pt x="3466" y="7922"/>
                    <a:pt x="4475" y="8709"/>
                    <a:pt x="5640" y="8835"/>
                  </a:cubicBezTo>
                  <a:lnTo>
                    <a:pt x="5640" y="613"/>
                  </a:lnTo>
                  <a:lnTo>
                    <a:pt x="3939" y="613"/>
                  </a:lnTo>
                  <a:cubicBezTo>
                    <a:pt x="3372" y="676"/>
                    <a:pt x="2899" y="1148"/>
                    <a:pt x="2899" y="1684"/>
                  </a:cubicBezTo>
                  <a:lnTo>
                    <a:pt x="2899" y="2062"/>
                  </a:lnTo>
                  <a:lnTo>
                    <a:pt x="2175" y="2062"/>
                  </a:lnTo>
                  <a:cubicBezTo>
                    <a:pt x="1734" y="2062"/>
                    <a:pt x="1356" y="1778"/>
                    <a:pt x="1198" y="1337"/>
                  </a:cubicBezTo>
                  <a:lnTo>
                    <a:pt x="852" y="234"/>
                  </a:lnTo>
                  <a:cubicBezTo>
                    <a:pt x="792" y="69"/>
                    <a:pt x="666" y="1"/>
                    <a:pt x="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76"/>
            <p:cNvSpPr/>
            <p:nvPr/>
          </p:nvSpPr>
          <p:spPr>
            <a:xfrm>
              <a:off x="-5880150" y="3632100"/>
              <a:ext cx="108725" cy="68550"/>
            </a:xfrm>
            <a:custGeom>
              <a:avLst/>
              <a:gdLst/>
              <a:ahLst/>
              <a:cxnLst/>
              <a:rect l="l" t="t" r="r" b="b"/>
              <a:pathLst>
                <a:path w="4349" h="2742" extrusionOk="0">
                  <a:moveTo>
                    <a:pt x="788" y="1"/>
                  </a:moveTo>
                  <a:cubicBezTo>
                    <a:pt x="599" y="1"/>
                    <a:pt x="442" y="159"/>
                    <a:pt x="442" y="348"/>
                  </a:cubicBezTo>
                  <a:lnTo>
                    <a:pt x="442" y="1009"/>
                  </a:lnTo>
                  <a:cubicBezTo>
                    <a:pt x="442" y="1324"/>
                    <a:pt x="599" y="1608"/>
                    <a:pt x="788" y="1797"/>
                  </a:cubicBezTo>
                  <a:cubicBezTo>
                    <a:pt x="442" y="2049"/>
                    <a:pt x="158" y="2364"/>
                    <a:pt x="0" y="2742"/>
                  </a:cubicBezTo>
                  <a:lnTo>
                    <a:pt x="4348" y="2742"/>
                  </a:lnTo>
                  <a:cubicBezTo>
                    <a:pt x="4159" y="2364"/>
                    <a:pt x="3876" y="2049"/>
                    <a:pt x="3561" y="1797"/>
                  </a:cubicBezTo>
                  <a:cubicBezTo>
                    <a:pt x="3813" y="1608"/>
                    <a:pt x="3907" y="1324"/>
                    <a:pt x="3907" y="1009"/>
                  </a:cubicBezTo>
                  <a:lnTo>
                    <a:pt x="3907" y="348"/>
                  </a:lnTo>
                  <a:cubicBezTo>
                    <a:pt x="3907" y="123"/>
                    <a:pt x="3736" y="5"/>
                    <a:pt x="3568" y="5"/>
                  </a:cubicBezTo>
                  <a:cubicBezTo>
                    <a:pt x="3405" y="5"/>
                    <a:pt x="3245" y="115"/>
                    <a:pt x="3245" y="348"/>
                  </a:cubicBezTo>
                  <a:lnTo>
                    <a:pt x="3245" y="1009"/>
                  </a:lnTo>
                  <a:cubicBezTo>
                    <a:pt x="3245" y="1230"/>
                    <a:pt x="3088" y="1387"/>
                    <a:pt x="2899" y="1387"/>
                  </a:cubicBezTo>
                  <a:lnTo>
                    <a:pt x="1513" y="1387"/>
                  </a:lnTo>
                  <a:cubicBezTo>
                    <a:pt x="1324" y="1387"/>
                    <a:pt x="1166" y="1230"/>
                    <a:pt x="1166" y="1009"/>
                  </a:cubicBezTo>
                  <a:lnTo>
                    <a:pt x="1166" y="348"/>
                  </a:lnTo>
                  <a:cubicBezTo>
                    <a:pt x="1166" y="159"/>
                    <a:pt x="1009" y="1"/>
                    <a:pt x="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6"/>
            <p:cNvSpPr/>
            <p:nvPr/>
          </p:nvSpPr>
          <p:spPr>
            <a:xfrm>
              <a:off x="-5814775" y="3702500"/>
              <a:ext cx="140225" cy="222950"/>
            </a:xfrm>
            <a:custGeom>
              <a:avLst/>
              <a:gdLst/>
              <a:ahLst/>
              <a:cxnLst/>
              <a:rect l="l" t="t" r="r" b="b"/>
              <a:pathLst>
                <a:path w="5609" h="8918" extrusionOk="0">
                  <a:moveTo>
                    <a:pt x="5092" y="1"/>
                  </a:moveTo>
                  <a:cubicBezTo>
                    <a:pt x="4964" y="1"/>
                    <a:pt x="4837" y="72"/>
                    <a:pt x="4789" y="241"/>
                  </a:cubicBezTo>
                  <a:lnTo>
                    <a:pt x="4443" y="1344"/>
                  </a:lnTo>
                  <a:cubicBezTo>
                    <a:pt x="4285" y="1785"/>
                    <a:pt x="3907" y="2068"/>
                    <a:pt x="3466" y="2068"/>
                  </a:cubicBezTo>
                  <a:lnTo>
                    <a:pt x="2710" y="2068"/>
                  </a:lnTo>
                  <a:lnTo>
                    <a:pt x="2710" y="1722"/>
                  </a:lnTo>
                  <a:cubicBezTo>
                    <a:pt x="2710" y="1155"/>
                    <a:pt x="2237" y="682"/>
                    <a:pt x="1702" y="682"/>
                  </a:cubicBezTo>
                  <a:lnTo>
                    <a:pt x="0" y="682"/>
                  </a:lnTo>
                  <a:lnTo>
                    <a:pt x="0" y="8873"/>
                  </a:lnTo>
                  <a:cubicBezTo>
                    <a:pt x="1198" y="8747"/>
                    <a:pt x="2174" y="7928"/>
                    <a:pt x="2552" y="6857"/>
                  </a:cubicBezTo>
                  <a:lnTo>
                    <a:pt x="3466" y="6857"/>
                  </a:lnTo>
                  <a:cubicBezTo>
                    <a:pt x="3907" y="6857"/>
                    <a:pt x="4285" y="7140"/>
                    <a:pt x="4443" y="7582"/>
                  </a:cubicBezTo>
                  <a:lnTo>
                    <a:pt x="4789" y="8684"/>
                  </a:lnTo>
                  <a:cubicBezTo>
                    <a:pt x="4848" y="8850"/>
                    <a:pt x="4974" y="8918"/>
                    <a:pt x="5100" y="8918"/>
                  </a:cubicBezTo>
                  <a:cubicBezTo>
                    <a:pt x="5309" y="8918"/>
                    <a:pt x="5518" y="8731"/>
                    <a:pt x="5419" y="8495"/>
                  </a:cubicBezTo>
                  <a:lnTo>
                    <a:pt x="5041" y="7298"/>
                  </a:lnTo>
                  <a:cubicBezTo>
                    <a:pt x="4789" y="6573"/>
                    <a:pt x="4159" y="6101"/>
                    <a:pt x="3434" y="6101"/>
                  </a:cubicBezTo>
                  <a:lnTo>
                    <a:pt x="2678" y="6101"/>
                  </a:lnTo>
                  <a:cubicBezTo>
                    <a:pt x="2678" y="6006"/>
                    <a:pt x="2710" y="5880"/>
                    <a:pt x="2710" y="5754"/>
                  </a:cubicBezTo>
                  <a:lnTo>
                    <a:pt x="2710" y="4778"/>
                  </a:lnTo>
                  <a:lnTo>
                    <a:pt x="5136" y="4778"/>
                  </a:lnTo>
                  <a:cubicBezTo>
                    <a:pt x="5545" y="4778"/>
                    <a:pt x="5608" y="4116"/>
                    <a:pt x="5136" y="4116"/>
                  </a:cubicBezTo>
                  <a:lnTo>
                    <a:pt x="2710" y="4116"/>
                  </a:lnTo>
                  <a:lnTo>
                    <a:pt x="2710" y="2730"/>
                  </a:lnTo>
                  <a:lnTo>
                    <a:pt x="3466" y="2730"/>
                  </a:lnTo>
                  <a:cubicBezTo>
                    <a:pt x="4222" y="2730"/>
                    <a:pt x="4852" y="2257"/>
                    <a:pt x="5073" y="1564"/>
                  </a:cubicBezTo>
                  <a:lnTo>
                    <a:pt x="5419" y="461"/>
                  </a:lnTo>
                  <a:cubicBezTo>
                    <a:pt x="5517" y="189"/>
                    <a:pt x="5301" y="1"/>
                    <a:pt x="5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2" name="Google Shape;8852;p76"/>
          <p:cNvGrpSpPr/>
          <p:nvPr/>
        </p:nvGrpSpPr>
        <p:grpSpPr>
          <a:xfrm>
            <a:off x="1958351" y="2755694"/>
            <a:ext cx="395865" cy="421927"/>
            <a:chOff x="-5971525" y="3990475"/>
            <a:chExt cx="274925" cy="293025"/>
          </a:xfrm>
        </p:grpSpPr>
        <p:sp>
          <p:nvSpPr>
            <p:cNvPr id="8853" name="Google Shape;8853;p76"/>
            <p:cNvSpPr/>
            <p:nvPr/>
          </p:nvSpPr>
          <p:spPr>
            <a:xfrm>
              <a:off x="-5851000" y="4061375"/>
              <a:ext cx="102400" cy="33875"/>
            </a:xfrm>
            <a:custGeom>
              <a:avLst/>
              <a:gdLst/>
              <a:ahLst/>
              <a:cxnLst/>
              <a:rect l="l" t="t" r="r" b="b"/>
              <a:pathLst>
                <a:path w="4096" h="1355" extrusionOk="0">
                  <a:moveTo>
                    <a:pt x="0" y="0"/>
                  </a:moveTo>
                  <a:lnTo>
                    <a:pt x="0" y="1355"/>
                  </a:lnTo>
                  <a:lnTo>
                    <a:pt x="4096" y="1355"/>
                  </a:ln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4" name="Google Shape;8854;p76"/>
            <p:cNvSpPr/>
            <p:nvPr/>
          </p:nvSpPr>
          <p:spPr>
            <a:xfrm>
              <a:off x="-5971525" y="3990475"/>
              <a:ext cx="69350" cy="275700"/>
            </a:xfrm>
            <a:custGeom>
              <a:avLst/>
              <a:gdLst/>
              <a:ahLst/>
              <a:cxnLst/>
              <a:rect l="l" t="t" r="r" b="b"/>
              <a:pathLst>
                <a:path w="2774" h="11028" extrusionOk="0">
                  <a:moveTo>
                    <a:pt x="1041" y="1"/>
                  </a:moveTo>
                  <a:lnTo>
                    <a:pt x="1041" y="32"/>
                  </a:lnTo>
                  <a:cubicBezTo>
                    <a:pt x="473" y="32"/>
                    <a:pt x="1" y="505"/>
                    <a:pt x="1" y="1072"/>
                  </a:cubicBezTo>
                  <a:lnTo>
                    <a:pt x="1" y="9988"/>
                  </a:lnTo>
                  <a:cubicBezTo>
                    <a:pt x="1" y="10555"/>
                    <a:pt x="473" y="11027"/>
                    <a:pt x="1041" y="11027"/>
                  </a:cubicBezTo>
                  <a:lnTo>
                    <a:pt x="2395" y="11027"/>
                  </a:lnTo>
                  <a:cubicBezTo>
                    <a:pt x="2521" y="11027"/>
                    <a:pt x="2647" y="10996"/>
                    <a:pt x="2773" y="10933"/>
                  </a:cubicBezTo>
                  <a:lnTo>
                    <a:pt x="2773" y="64"/>
                  </a:lnTo>
                  <a:cubicBezTo>
                    <a:pt x="2647" y="32"/>
                    <a:pt x="252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76"/>
            <p:cNvSpPr/>
            <p:nvPr/>
          </p:nvSpPr>
          <p:spPr>
            <a:xfrm>
              <a:off x="-5851000" y="4214950"/>
              <a:ext cx="103200" cy="68550"/>
            </a:xfrm>
            <a:custGeom>
              <a:avLst/>
              <a:gdLst/>
              <a:ahLst/>
              <a:cxnLst/>
              <a:rect l="l" t="t" r="r" b="b"/>
              <a:pathLst>
                <a:path w="4128" h="2742" extrusionOk="0">
                  <a:moveTo>
                    <a:pt x="3056" y="694"/>
                  </a:moveTo>
                  <a:cubicBezTo>
                    <a:pt x="3277" y="694"/>
                    <a:pt x="3434" y="851"/>
                    <a:pt x="3434" y="1072"/>
                  </a:cubicBezTo>
                  <a:cubicBezTo>
                    <a:pt x="3434" y="1261"/>
                    <a:pt x="3277" y="1418"/>
                    <a:pt x="3056" y="1418"/>
                  </a:cubicBezTo>
                  <a:lnTo>
                    <a:pt x="1008" y="1418"/>
                  </a:lnTo>
                  <a:cubicBezTo>
                    <a:pt x="819" y="1418"/>
                    <a:pt x="662" y="1261"/>
                    <a:pt x="662" y="1072"/>
                  </a:cubicBezTo>
                  <a:cubicBezTo>
                    <a:pt x="662" y="851"/>
                    <a:pt x="819" y="694"/>
                    <a:pt x="1008" y="694"/>
                  </a:cubicBezTo>
                  <a:close/>
                  <a:moveTo>
                    <a:pt x="32" y="1"/>
                  </a:moveTo>
                  <a:lnTo>
                    <a:pt x="32" y="2395"/>
                  </a:lnTo>
                  <a:lnTo>
                    <a:pt x="0" y="2395"/>
                  </a:lnTo>
                  <a:cubicBezTo>
                    <a:pt x="0" y="2584"/>
                    <a:pt x="158" y="2741"/>
                    <a:pt x="347" y="2741"/>
                  </a:cubicBezTo>
                  <a:lnTo>
                    <a:pt x="3781" y="2741"/>
                  </a:lnTo>
                  <a:cubicBezTo>
                    <a:pt x="3970" y="2741"/>
                    <a:pt x="4127" y="2584"/>
                    <a:pt x="4127" y="2395"/>
                  </a:cubicBezTo>
                  <a:lnTo>
                    <a:pt x="41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76"/>
            <p:cNvSpPr/>
            <p:nvPr/>
          </p:nvSpPr>
          <p:spPr>
            <a:xfrm>
              <a:off x="-5885675" y="4010175"/>
              <a:ext cx="189075" cy="239450"/>
            </a:xfrm>
            <a:custGeom>
              <a:avLst/>
              <a:gdLst/>
              <a:ahLst/>
              <a:cxnLst/>
              <a:rect l="l" t="t" r="r" b="b"/>
              <a:pathLst>
                <a:path w="7563" h="9578" extrusionOk="0">
                  <a:moveTo>
                    <a:pt x="5829" y="1323"/>
                  </a:moveTo>
                  <a:cubicBezTo>
                    <a:pt x="6018" y="1323"/>
                    <a:pt x="6176" y="1481"/>
                    <a:pt x="6176" y="1702"/>
                  </a:cubicBezTo>
                  <a:lnTo>
                    <a:pt x="6176" y="3749"/>
                  </a:lnTo>
                  <a:cubicBezTo>
                    <a:pt x="6176" y="3938"/>
                    <a:pt x="6018" y="4096"/>
                    <a:pt x="5829" y="4096"/>
                  </a:cubicBezTo>
                  <a:lnTo>
                    <a:pt x="1009" y="4096"/>
                  </a:lnTo>
                  <a:cubicBezTo>
                    <a:pt x="820" y="4096"/>
                    <a:pt x="663" y="3938"/>
                    <a:pt x="663" y="3749"/>
                  </a:cubicBezTo>
                  <a:lnTo>
                    <a:pt x="663" y="1702"/>
                  </a:lnTo>
                  <a:cubicBezTo>
                    <a:pt x="663" y="1481"/>
                    <a:pt x="820" y="1323"/>
                    <a:pt x="1009" y="1323"/>
                  </a:cubicBezTo>
                  <a:close/>
                  <a:moveTo>
                    <a:pt x="1734" y="4789"/>
                  </a:moveTo>
                  <a:cubicBezTo>
                    <a:pt x="2175" y="4789"/>
                    <a:pt x="2175" y="5482"/>
                    <a:pt x="1734" y="5482"/>
                  </a:cubicBezTo>
                  <a:lnTo>
                    <a:pt x="1072" y="5482"/>
                  </a:lnTo>
                  <a:cubicBezTo>
                    <a:pt x="631" y="5482"/>
                    <a:pt x="600" y="4789"/>
                    <a:pt x="1072" y="4789"/>
                  </a:cubicBezTo>
                  <a:close/>
                  <a:moveTo>
                    <a:pt x="3782" y="4758"/>
                  </a:moveTo>
                  <a:cubicBezTo>
                    <a:pt x="4223" y="4789"/>
                    <a:pt x="4223" y="5482"/>
                    <a:pt x="3782" y="5482"/>
                  </a:cubicBezTo>
                  <a:lnTo>
                    <a:pt x="3120" y="5482"/>
                  </a:lnTo>
                  <a:cubicBezTo>
                    <a:pt x="2899" y="5482"/>
                    <a:pt x="2742" y="5325"/>
                    <a:pt x="2742" y="5104"/>
                  </a:cubicBezTo>
                  <a:cubicBezTo>
                    <a:pt x="2742" y="4915"/>
                    <a:pt x="2899" y="4758"/>
                    <a:pt x="3120" y="4758"/>
                  </a:cubicBezTo>
                  <a:close/>
                  <a:moveTo>
                    <a:pt x="5829" y="4789"/>
                  </a:moveTo>
                  <a:cubicBezTo>
                    <a:pt x="6270" y="4789"/>
                    <a:pt x="6302" y="5482"/>
                    <a:pt x="5829" y="5482"/>
                  </a:cubicBezTo>
                  <a:lnTo>
                    <a:pt x="5168" y="5482"/>
                  </a:lnTo>
                  <a:cubicBezTo>
                    <a:pt x="4727" y="5482"/>
                    <a:pt x="4695" y="4789"/>
                    <a:pt x="5168" y="4789"/>
                  </a:cubicBezTo>
                  <a:close/>
                  <a:moveTo>
                    <a:pt x="1762" y="6174"/>
                  </a:moveTo>
                  <a:cubicBezTo>
                    <a:pt x="2175" y="6174"/>
                    <a:pt x="2165" y="6837"/>
                    <a:pt x="1734" y="6837"/>
                  </a:cubicBezTo>
                  <a:lnTo>
                    <a:pt x="1072" y="6837"/>
                  </a:lnTo>
                  <a:cubicBezTo>
                    <a:pt x="631" y="6837"/>
                    <a:pt x="600" y="6175"/>
                    <a:pt x="1072" y="6175"/>
                  </a:cubicBezTo>
                  <a:lnTo>
                    <a:pt x="1734" y="6175"/>
                  </a:lnTo>
                  <a:cubicBezTo>
                    <a:pt x="1744" y="6175"/>
                    <a:pt x="1753" y="6174"/>
                    <a:pt x="1762" y="6174"/>
                  </a:cubicBezTo>
                  <a:close/>
                  <a:moveTo>
                    <a:pt x="3782" y="6144"/>
                  </a:moveTo>
                  <a:cubicBezTo>
                    <a:pt x="4223" y="6144"/>
                    <a:pt x="4223" y="6837"/>
                    <a:pt x="3782" y="6837"/>
                  </a:cubicBezTo>
                  <a:lnTo>
                    <a:pt x="3120" y="6837"/>
                  </a:lnTo>
                  <a:cubicBezTo>
                    <a:pt x="2899" y="6837"/>
                    <a:pt x="2742" y="6679"/>
                    <a:pt x="2742" y="6490"/>
                  </a:cubicBezTo>
                  <a:cubicBezTo>
                    <a:pt x="2742" y="6301"/>
                    <a:pt x="2899" y="6144"/>
                    <a:pt x="3120" y="6144"/>
                  </a:cubicBezTo>
                  <a:close/>
                  <a:moveTo>
                    <a:pt x="5858" y="6174"/>
                  </a:moveTo>
                  <a:cubicBezTo>
                    <a:pt x="6272" y="6174"/>
                    <a:pt x="6291" y="6837"/>
                    <a:pt x="5829" y="6837"/>
                  </a:cubicBezTo>
                  <a:lnTo>
                    <a:pt x="5168" y="6837"/>
                  </a:lnTo>
                  <a:cubicBezTo>
                    <a:pt x="4727" y="6837"/>
                    <a:pt x="4695" y="6175"/>
                    <a:pt x="5168" y="6175"/>
                  </a:cubicBezTo>
                  <a:lnTo>
                    <a:pt x="5829" y="6175"/>
                  </a:lnTo>
                  <a:cubicBezTo>
                    <a:pt x="5839" y="6175"/>
                    <a:pt x="5849" y="6174"/>
                    <a:pt x="5858" y="6174"/>
                  </a:cubicBezTo>
                  <a:close/>
                  <a:moveTo>
                    <a:pt x="1" y="0"/>
                  </a:moveTo>
                  <a:lnTo>
                    <a:pt x="1" y="9578"/>
                  </a:lnTo>
                  <a:lnTo>
                    <a:pt x="663" y="9578"/>
                  </a:lnTo>
                  <a:lnTo>
                    <a:pt x="663" y="7876"/>
                  </a:lnTo>
                  <a:cubicBezTo>
                    <a:pt x="663" y="7687"/>
                    <a:pt x="820" y="7530"/>
                    <a:pt x="1009" y="7530"/>
                  </a:cubicBezTo>
                  <a:lnTo>
                    <a:pt x="5829" y="7530"/>
                  </a:lnTo>
                  <a:cubicBezTo>
                    <a:pt x="6018" y="7530"/>
                    <a:pt x="6176" y="7687"/>
                    <a:pt x="6176" y="7876"/>
                  </a:cubicBezTo>
                  <a:lnTo>
                    <a:pt x="6176" y="9578"/>
                  </a:lnTo>
                  <a:lnTo>
                    <a:pt x="6522" y="9578"/>
                  </a:lnTo>
                  <a:cubicBezTo>
                    <a:pt x="7090" y="9578"/>
                    <a:pt x="7562" y="9105"/>
                    <a:pt x="7562" y="8538"/>
                  </a:cubicBezTo>
                  <a:lnTo>
                    <a:pt x="7562" y="1008"/>
                  </a:lnTo>
                  <a:cubicBezTo>
                    <a:pt x="7531" y="473"/>
                    <a:pt x="7090" y="0"/>
                    <a:pt x="64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76"/>
          <p:cNvGrpSpPr/>
          <p:nvPr/>
        </p:nvGrpSpPr>
        <p:grpSpPr>
          <a:xfrm>
            <a:off x="4631558" y="1689798"/>
            <a:ext cx="420775" cy="418507"/>
            <a:chOff x="-4118225" y="3253275"/>
            <a:chExt cx="292225" cy="290650"/>
          </a:xfrm>
        </p:grpSpPr>
        <p:sp>
          <p:nvSpPr>
            <p:cNvPr id="8858" name="Google Shape;8858;p76"/>
            <p:cNvSpPr/>
            <p:nvPr/>
          </p:nvSpPr>
          <p:spPr>
            <a:xfrm>
              <a:off x="-4118225" y="3287125"/>
              <a:ext cx="256725" cy="256800"/>
            </a:xfrm>
            <a:custGeom>
              <a:avLst/>
              <a:gdLst/>
              <a:ahLst/>
              <a:cxnLst/>
              <a:rect l="l" t="t" r="r" b="b"/>
              <a:pathLst>
                <a:path w="10269" h="10272" extrusionOk="0">
                  <a:moveTo>
                    <a:pt x="5104" y="1"/>
                  </a:moveTo>
                  <a:cubicBezTo>
                    <a:pt x="2268" y="1"/>
                    <a:pt x="0" y="2301"/>
                    <a:pt x="0" y="5136"/>
                  </a:cubicBezTo>
                  <a:cubicBezTo>
                    <a:pt x="0" y="7972"/>
                    <a:pt x="2268" y="10271"/>
                    <a:pt x="5104" y="10271"/>
                  </a:cubicBezTo>
                  <a:cubicBezTo>
                    <a:pt x="7939" y="10271"/>
                    <a:pt x="10239" y="8003"/>
                    <a:pt x="10239" y="5168"/>
                  </a:cubicBezTo>
                  <a:cubicBezTo>
                    <a:pt x="10268" y="4993"/>
                    <a:pt x="10108" y="4818"/>
                    <a:pt x="9910" y="4818"/>
                  </a:cubicBezTo>
                  <a:cubicBezTo>
                    <a:pt x="9894" y="4818"/>
                    <a:pt x="9877" y="4819"/>
                    <a:pt x="9861" y="4821"/>
                  </a:cubicBezTo>
                  <a:lnTo>
                    <a:pt x="5797" y="4821"/>
                  </a:lnTo>
                  <a:cubicBezTo>
                    <a:pt x="5639" y="4821"/>
                    <a:pt x="5450" y="4695"/>
                    <a:pt x="5450" y="4506"/>
                  </a:cubicBezTo>
                  <a:lnTo>
                    <a:pt x="5450" y="347"/>
                  </a:lnTo>
                  <a:cubicBezTo>
                    <a:pt x="5450" y="158"/>
                    <a:pt x="5324" y="1"/>
                    <a:pt x="5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76"/>
            <p:cNvSpPr/>
            <p:nvPr/>
          </p:nvSpPr>
          <p:spPr>
            <a:xfrm>
              <a:off x="-3963850" y="3253275"/>
              <a:ext cx="137850" cy="137850"/>
            </a:xfrm>
            <a:custGeom>
              <a:avLst/>
              <a:gdLst/>
              <a:ahLst/>
              <a:cxnLst/>
              <a:rect l="l" t="t" r="r" b="b"/>
              <a:pathLst>
                <a:path w="5514" h="5514" extrusionOk="0">
                  <a:moveTo>
                    <a:pt x="347" y="0"/>
                  </a:moveTo>
                  <a:cubicBezTo>
                    <a:pt x="158" y="0"/>
                    <a:pt x="0" y="158"/>
                    <a:pt x="0" y="347"/>
                  </a:cubicBezTo>
                  <a:lnTo>
                    <a:pt x="0" y="5135"/>
                  </a:lnTo>
                  <a:cubicBezTo>
                    <a:pt x="0" y="5356"/>
                    <a:pt x="158" y="5514"/>
                    <a:pt x="347" y="5514"/>
                  </a:cubicBezTo>
                  <a:lnTo>
                    <a:pt x="5167" y="5514"/>
                  </a:lnTo>
                  <a:cubicBezTo>
                    <a:pt x="5356" y="5514"/>
                    <a:pt x="5513" y="5356"/>
                    <a:pt x="5513" y="5135"/>
                  </a:cubicBezTo>
                  <a:cubicBezTo>
                    <a:pt x="5513" y="2269"/>
                    <a:pt x="318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0" name="Google Shape;8860;p76"/>
          <p:cNvGrpSpPr/>
          <p:nvPr/>
        </p:nvGrpSpPr>
        <p:grpSpPr>
          <a:xfrm>
            <a:off x="4682008" y="2204922"/>
            <a:ext cx="319874" cy="420199"/>
            <a:chOff x="-4082800" y="3612425"/>
            <a:chExt cx="222150" cy="291825"/>
          </a:xfrm>
        </p:grpSpPr>
        <p:sp>
          <p:nvSpPr>
            <p:cNvPr id="8861" name="Google Shape;8861;p76"/>
            <p:cNvSpPr/>
            <p:nvPr/>
          </p:nvSpPr>
          <p:spPr>
            <a:xfrm>
              <a:off x="-4027650" y="3663625"/>
              <a:ext cx="112650" cy="119725"/>
            </a:xfrm>
            <a:custGeom>
              <a:avLst/>
              <a:gdLst/>
              <a:ahLst/>
              <a:cxnLst/>
              <a:rect l="l" t="t" r="r" b="b"/>
              <a:pathLst>
                <a:path w="4506" h="4789" extrusionOk="0">
                  <a:moveTo>
                    <a:pt x="2237" y="1355"/>
                  </a:moveTo>
                  <a:cubicBezTo>
                    <a:pt x="2773" y="1355"/>
                    <a:pt x="3245" y="1827"/>
                    <a:pt x="3245" y="2395"/>
                  </a:cubicBezTo>
                  <a:cubicBezTo>
                    <a:pt x="3308" y="2930"/>
                    <a:pt x="2836" y="3434"/>
                    <a:pt x="2237" y="3434"/>
                  </a:cubicBezTo>
                  <a:cubicBezTo>
                    <a:pt x="1670" y="3434"/>
                    <a:pt x="1197" y="2962"/>
                    <a:pt x="1197" y="2395"/>
                  </a:cubicBezTo>
                  <a:cubicBezTo>
                    <a:pt x="1197" y="1859"/>
                    <a:pt x="1670" y="1355"/>
                    <a:pt x="2237" y="1355"/>
                  </a:cubicBezTo>
                  <a:close/>
                  <a:moveTo>
                    <a:pt x="1922" y="0"/>
                  </a:moveTo>
                  <a:lnTo>
                    <a:pt x="1922" y="473"/>
                  </a:lnTo>
                  <a:cubicBezTo>
                    <a:pt x="1922" y="630"/>
                    <a:pt x="1827" y="725"/>
                    <a:pt x="1670" y="788"/>
                  </a:cubicBezTo>
                  <a:cubicBezTo>
                    <a:pt x="1481" y="851"/>
                    <a:pt x="1292" y="945"/>
                    <a:pt x="1134" y="1103"/>
                  </a:cubicBezTo>
                  <a:cubicBezTo>
                    <a:pt x="1055" y="1143"/>
                    <a:pt x="962" y="1183"/>
                    <a:pt x="873" y="1183"/>
                  </a:cubicBezTo>
                  <a:cubicBezTo>
                    <a:pt x="822" y="1183"/>
                    <a:pt x="771" y="1169"/>
                    <a:pt x="725" y="1134"/>
                  </a:cubicBezTo>
                  <a:lnTo>
                    <a:pt x="347" y="914"/>
                  </a:lnTo>
                  <a:lnTo>
                    <a:pt x="0" y="1481"/>
                  </a:lnTo>
                  <a:lnTo>
                    <a:pt x="378" y="1733"/>
                  </a:lnTo>
                  <a:cubicBezTo>
                    <a:pt x="504" y="1796"/>
                    <a:pt x="599" y="1922"/>
                    <a:pt x="536" y="2079"/>
                  </a:cubicBezTo>
                  <a:cubicBezTo>
                    <a:pt x="504" y="2332"/>
                    <a:pt x="504" y="2489"/>
                    <a:pt x="536" y="2710"/>
                  </a:cubicBezTo>
                  <a:cubicBezTo>
                    <a:pt x="599" y="2867"/>
                    <a:pt x="504" y="2993"/>
                    <a:pt x="378" y="3056"/>
                  </a:cubicBezTo>
                  <a:lnTo>
                    <a:pt x="0" y="3308"/>
                  </a:lnTo>
                  <a:lnTo>
                    <a:pt x="347" y="3907"/>
                  </a:lnTo>
                  <a:lnTo>
                    <a:pt x="725" y="3655"/>
                  </a:lnTo>
                  <a:cubicBezTo>
                    <a:pt x="773" y="3631"/>
                    <a:pt x="826" y="3620"/>
                    <a:pt x="879" y="3620"/>
                  </a:cubicBezTo>
                  <a:cubicBezTo>
                    <a:pt x="967" y="3620"/>
                    <a:pt x="1056" y="3647"/>
                    <a:pt x="1134" y="3686"/>
                  </a:cubicBezTo>
                  <a:cubicBezTo>
                    <a:pt x="1292" y="3812"/>
                    <a:pt x="1481" y="3938"/>
                    <a:pt x="1670" y="4001"/>
                  </a:cubicBezTo>
                  <a:cubicBezTo>
                    <a:pt x="1796" y="4064"/>
                    <a:pt x="1922" y="4222"/>
                    <a:pt x="1922" y="4316"/>
                  </a:cubicBezTo>
                  <a:lnTo>
                    <a:pt x="1922" y="4789"/>
                  </a:lnTo>
                  <a:lnTo>
                    <a:pt x="2584" y="4789"/>
                  </a:lnTo>
                  <a:lnTo>
                    <a:pt x="2584" y="4316"/>
                  </a:lnTo>
                  <a:cubicBezTo>
                    <a:pt x="2584" y="4159"/>
                    <a:pt x="2678" y="4064"/>
                    <a:pt x="2836" y="4001"/>
                  </a:cubicBezTo>
                  <a:cubicBezTo>
                    <a:pt x="3025" y="3938"/>
                    <a:pt x="3182" y="3844"/>
                    <a:pt x="3371" y="3686"/>
                  </a:cubicBezTo>
                  <a:cubicBezTo>
                    <a:pt x="3449" y="3647"/>
                    <a:pt x="3539" y="3620"/>
                    <a:pt x="3626" y="3620"/>
                  </a:cubicBezTo>
                  <a:cubicBezTo>
                    <a:pt x="3680" y="3620"/>
                    <a:pt x="3733" y="3631"/>
                    <a:pt x="3781" y="3655"/>
                  </a:cubicBezTo>
                  <a:lnTo>
                    <a:pt x="4159" y="3907"/>
                  </a:lnTo>
                  <a:lnTo>
                    <a:pt x="4505" y="3308"/>
                  </a:lnTo>
                  <a:lnTo>
                    <a:pt x="4127" y="3056"/>
                  </a:lnTo>
                  <a:cubicBezTo>
                    <a:pt x="4001" y="2993"/>
                    <a:pt x="3938" y="2867"/>
                    <a:pt x="3970" y="2710"/>
                  </a:cubicBezTo>
                  <a:cubicBezTo>
                    <a:pt x="4001" y="2489"/>
                    <a:pt x="4001" y="2332"/>
                    <a:pt x="3970" y="2079"/>
                  </a:cubicBezTo>
                  <a:cubicBezTo>
                    <a:pt x="3938" y="1922"/>
                    <a:pt x="4001" y="1796"/>
                    <a:pt x="4127" y="1733"/>
                  </a:cubicBezTo>
                  <a:lnTo>
                    <a:pt x="4505" y="1481"/>
                  </a:lnTo>
                  <a:lnTo>
                    <a:pt x="4159" y="914"/>
                  </a:lnTo>
                  <a:lnTo>
                    <a:pt x="3781" y="1134"/>
                  </a:lnTo>
                  <a:cubicBezTo>
                    <a:pt x="3734" y="1169"/>
                    <a:pt x="3684" y="1183"/>
                    <a:pt x="3632" y="1183"/>
                  </a:cubicBezTo>
                  <a:cubicBezTo>
                    <a:pt x="3543" y="1183"/>
                    <a:pt x="3451" y="1143"/>
                    <a:pt x="3371" y="1103"/>
                  </a:cubicBezTo>
                  <a:cubicBezTo>
                    <a:pt x="3214" y="977"/>
                    <a:pt x="3025" y="851"/>
                    <a:pt x="2836" y="788"/>
                  </a:cubicBezTo>
                  <a:cubicBezTo>
                    <a:pt x="2710" y="725"/>
                    <a:pt x="2584" y="567"/>
                    <a:pt x="2584" y="473"/>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2" name="Google Shape;8862;p76"/>
            <p:cNvSpPr/>
            <p:nvPr/>
          </p:nvSpPr>
          <p:spPr>
            <a:xfrm>
              <a:off x="-4082800" y="3612425"/>
              <a:ext cx="222150" cy="291825"/>
            </a:xfrm>
            <a:custGeom>
              <a:avLst/>
              <a:gdLst/>
              <a:ahLst/>
              <a:cxnLst/>
              <a:rect l="l" t="t" r="r" b="b"/>
              <a:pathLst>
                <a:path w="8886" h="11673" extrusionOk="0">
                  <a:moveTo>
                    <a:pt x="5168" y="1324"/>
                  </a:moveTo>
                  <a:cubicBezTo>
                    <a:pt x="5357" y="1324"/>
                    <a:pt x="5514" y="1481"/>
                    <a:pt x="5514" y="1702"/>
                  </a:cubicBezTo>
                  <a:lnTo>
                    <a:pt x="5514" y="2269"/>
                  </a:lnTo>
                  <a:cubicBezTo>
                    <a:pt x="5609" y="2332"/>
                    <a:pt x="5735" y="2395"/>
                    <a:pt x="5829" y="2489"/>
                  </a:cubicBezTo>
                  <a:lnTo>
                    <a:pt x="6333" y="2206"/>
                  </a:lnTo>
                  <a:cubicBezTo>
                    <a:pt x="6396" y="2174"/>
                    <a:pt x="6491" y="2174"/>
                    <a:pt x="6617" y="2174"/>
                  </a:cubicBezTo>
                  <a:cubicBezTo>
                    <a:pt x="6680" y="2206"/>
                    <a:pt x="6774" y="2237"/>
                    <a:pt x="6806" y="2300"/>
                  </a:cubicBezTo>
                  <a:lnTo>
                    <a:pt x="7467" y="3497"/>
                  </a:lnTo>
                  <a:cubicBezTo>
                    <a:pt x="7562" y="3655"/>
                    <a:pt x="7530" y="3844"/>
                    <a:pt x="7341" y="3970"/>
                  </a:cubicBezTo>
                  <a:lnTo>
                    <a:pt x="6837" y="4254"/>
                  </a:lnTo>
                  <a:cubicBezTo>
                    <a:pt x="6869" y="4380"/>
                    <a:pt x="6869" y="4474"/>
                    <a:pt x="6837" y="4632"/>
                  </a:cubicBezTo>
                  <a:lnTo>
                    <a:pt x="7341" y="4915"/>
                  </a:lnTo>
                  <a:cubicBezTo>
                    <a:pt x="7499" y="4978"/>
                    <a:pt x="7593" y="5230"/>
                    <a:pt x="7467" y="5388"/>
                  </a:cubicBezTo>
                  <a:lnTo>
                    <a:pt x="6806" y="6553"/>
                  </a:lnTo>
                  <a:cubicBezTo>
                    <a:pt x="6774" y="6648"/>
                    <a:pt x="6680" y="6679"/>
                    <a:pt x="6617" y="6711"/>
                  </a:cubicBezTo>
                  <a:cubicBezTo>
                    <a:pt x="6588" y="6730"/>
                    <a:pt x="6555" y="6738"/>
                    <a:pt x="6523" y="6738"/>
                  </a:cubicBezTo>
                  <a:cubicBezTo>
                    <a:pt x="6450" y="6738"/>
                    <a:pt x="6377" y="6701"/>
                    <a:pt x="6333" y="6679"/>
                  </a:cubicBezTo>
                  <a:lnTo>
                    <a:pt x="5829" y="6396"/>
                  </a:lnTo>
                  <a:cubicBezTo>
                    <a:pt x="5703" y="6490"/>
                    <a:pt x="5609" y="6522"/>
                    <a:pt x="5514" y="6616"/>
                  </a:cubicBezTo>
                  <a:lnTo>
                    <a:pt x="5514" y="7183"/>
                  </a:lnTo>
                  <a:cubicBezTo>
                    <a:pt x="5514" y="7404"/>
                    <a:pt x="5357" y="7562"/>
                    <a:pt x="5168" y="7562"/>
                  </a:cubicBezTo>
                  <a:lnTo>
                    <a:pt x="3781" y="7562"/>
                  </a:lnTo>
                  <a:cubicBezTo>
                    <a:pt x="3592" y="7562"/>
                    <a:pt x="3435" y="7404"/>
                    <a:pt x="3435" y="7183"/>
                  </a:cubicBezTo>
                  <a:lnTo>
                    <a:pt x="3435" y="6616"/>
                  </a:lnTo>
                  <a:cubicBezTo>
                    <a:pt x="3309" y="6553"/>
                    <a:pt x="3183" y="6490"/>
                    <a:pt x="3120" y="6396"/>
                  </a:cubicBezTo>
                  <a:lnTo>
                    <a:pt x="2584" y="6679"/>
                  </a:lnTo>
                  <a:cubicBezTo>
                    <a:pt x="2521" y="6711"/>
                    <a:pt x="2427" y="6711"/>
                    <a:pt x="2332" y="6711"/>
                  </a:cubicBezTo>
                  <a:cubicBezTo>
                    <a:pt x="2238" y="6679"/>
                    <a:pt x="2175" y="6648"/>
                    <a:pt x="2112" y="6553"/>
                  </a:cubicBezTo>
                  <a:lnTo>
                    <a:pt x="1450" y="5388"/>
                  </a:lnTo>
                  <a:cubicBezTo>
                    <a:pt x="1387" y="5230"/>
                    <a:pt x="1419" y="5041"/>
                    <a:pt x="1576" y="4915"/>
                  </a:cubicBezTo>
                  <a:lnTo>
                    <a:pt x="2080" y="4632"/>
                  </a:lnTo>
                  <a:lnTo>
                    <a:pt x="2080" y="4443"/>
                  </a:lnTo>
                  <a:lnTo>
                    <a:pt x="2080" y="4254"/>
                  </a:lnTo>
                  <a:lnTo>
                    <a:pt x="1576" y="3970"/>
                  </a:lnTo>
                  <a:cubicBezTo>
                    <a:pt x="1419" y="3907"/>
                    <a:pt x="1324" y="3655"/>
                    <a:pt x="1450" y="3497"/>
                  </a:cubicBezTo>
                  <a:lnTo>
                    <a:pt x="2112" y="2332"/>
                  </a:lnTo>
                  <a:cubicBezTo>
                    <a:pt x="2175" y="2237"/>
                    <a:pt x="2238" y="2206"/>
                    <a:pt x="2332" y="2174"/>
                  </a:cubicBezTo>
                  <a:cubicBezTo>
                    <a:pt x="2352" y="2155"/>
                    <a:pt x="2377" y="2147"/>
                    <a:pt x="2405" y="2147"/>
                  </a:cubicBezTo>
                  <a:cubicBezTo>
                    <a:pt x="2467" y="2147"/>
                    <a:pt x="2541" y="2184"/>
                    <a:pt x="2584" y="2206"/>
                  </a:cubicBezTo>
                  <a:lnTo>
                    <a:pt x="3120" y="2489"/>
                  </a:lnTo>
                  <a:cubicBezTo>
                    <a:pt x="3214" y="2395"/>
                    <a:pt x="3309" y="2363"/>
                    <a:pt x="3435" y="2269"/>
                  </a:cubicBezTo>
                  <a:lnTo>
                    <a:pt x="3435" y="1702"/>
                  </a:lnTo>
                  <a:cubicBezTo>
                    <a:pt x="3435" y="1481"/>
                    <a:pt x="3592" y="1324"/>
                    <a:pt x="3781" y="1324"/>
                  </a:cubicBezTo>
                  <a:close/>
                  <a:moveTo>
                    <a:pt x="4443" y="0"/>
                  </a:moveTo>
                  <a:cubicBezTo>
                    <a:pt x="1986" y="0"/>
                    <a:pt x="1" y="2017"/>
                    <a:pt x="1" y="4443"/>
                  </a:cubicBezTo>
                  <a:cubicBezTo>
                    <a:pt x="1" y="5419"/>
                    <a:pt x="316" y="6333"/>
                    <a:pt x="851" y="7120"/>
                  </a:cubicBezTo>
                  <a:lnTo>
                    <a:pt x="4159" y="11531"/>
                  </a:lnTo>
                  <a:cubicBezTo>
                    <a:pt x="4222" y="11626"/>
                    <a:pt x="4325" y="11673"/>
                    <a:pt x="4431" y="11673"/>
                  </a:cubicBezTo>
                  <a:cubicBezTo>
                    <a:pt x="4538" y="11673"/>
                    <a:pt x="4648" y="11626"/>
                    <a:pt x="4727" y="11531"/>
                  </a:cubicBezTo>
                  <a:lnTo>
                    <a:pt x="8066" y="6994"/>
                  </a:lnTo>
                  <a:cubicBezTo>
                    <a:pt x="8602" y="6270"/>
                    <a:pt x="8885" y="5356"/>
                    <a:pt x="8885" y="4443"/>
                  </a:cubicBezTo>
                  <a:cubicBezTo>
                    <a:pt x="8885" y="2017"/>
                    <a:pt x="69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76"/>
            <p:cNvSpPr/>
            <p:nvPr/>
          </p:nvSpPr>
          <p:spPr>
            <a:xfrm>
              <a:off x="-3980400" y="3714800"/>
              <a:ext cx="17350" cy="17375"/>
            </a:xfrm>
            <a:custGeom>
              <a:avLst/>
              <a:gdLst/>
              <a:ahLst/>
              <a:cxnLst/>
              <a:rect l="l" t="t" r="r" b="b"/>
              <a:pathLst>
                <a:path w="694" h="695" extrusionOk="0">
                  <a:moveTo>
                    <a:pt x="347" y="1"/>
                  </a:moveTo>
                  <a:cubicBezTo>
                    <a:pt x="158" y="1"/>
                    <a:pt x="0" y="159"/>
                    <a:pt x="0" y="348"/>
                  </a:cubicBezTo>
                  <a:cubicBezTo>
                    <a:pt x="0" y="537"/>
                    <a:pt x="158" y="694"/>
                    <a:pt x="347" y="694"/>
                  </a:cubicBezTo>
                  <a:cubicBezTo>
                    <a:pt x="536" y="694"/>
                    <a:pt x="694" y="537"/>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4" name="Google Shape;8864;p76"/>
          <p:cNvGrpSpPr/>
          <p:nvPr/>
        </p:nvGrpSpPr>
        <p:grpSpPr>
          <a:xfrm>
            <a:off x="4643456" y="2769876"/>
            <a:ext cx="420775" cy="393561"/>
            <a:chOff x="-4118225" y="3990475"/>
            <a:chExt cx="292225" cy="273325"/>
          </a:xfrm>
        </p:grpSpPr>
        <p:sp>
          <p:nvSpPr>
            <p:cNvPr id="8865" name="Google Shape;8865;p76"/>
            <p:cNvSpPr/>
            <p:nvPr/>
          </p:nvSpPr>
          <p:spPr>
            <a:xfrm>
              <a:off x="-3963850" y="4040100"/>
              <a:ext cx="51200" cy="51225"/>
            </a:xfrm>
            <a:custGeom>
              <a:avLst/>
              <a:gdLst/>
              <a:ahLst/>
              <a:cxnLst/>
              <a:rect l="l" t="t" r="r" b="b"/>
              <a:pathLst>
                <a:path w="2048" h="2049" extrusionOk="0">
                  <a:moveTo>
                    <a:pt x="1008" y="0"/>
                  </a:moveTo>
                  <a:cubicBezTo>
                    <a:pt x="473" y="0"/>
                    <a:pt x="0" y="473"/>
                    <a:pt x="0" y="1040"/>
                  </a:cubicBezTo>
                  <a:cubicBezTo>
                    <a:pt x="0" y="1607"/>
                    <a:pt x="473"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6"/>
            <p:cNvSpPr/>
            <p:nvPr/>
          </p:nvSpPr>
          <p:spPr>
            <a:xfrm>
              <a:off x="-4015050" y="3990475"/>
              <a:ext cx="153600" cy="153625"/>
            </a:xfrm>
            <a:custGeom>
              <a:avLst/>
              <a:gdLst/>
              <a:ahLst/>
              <a:cxnLst/>
              <a:rect l="l" t="t" r="r" b="b"/>
              <a:pathLst>
                <a:path w="6144" h="6145" extrusionOk="0">
                  <a:moveTo>
                    <a:pt x="3056" y="1324"/>
                  </a:moveTo>
                  <a:cubicBezTo>
                    <a:pt x="4001" y="1324"/>
                    <a:pt x="4757" y="2080"/>
                    <a:pt x="4757" y="3025"/>
                  </a:cubicBezTo>
                  <a:cubicBezTo>
                    <a:pt x="4757" y="3970"/>
                    <a:pt x="4033" y="4726"/>
                    <a:pt x="3056" y="4726"/>
                  </a:cubicBezTo>
                  <a:cubicBezTo>
                    <a:pt x="2111" y="4726"/>
                    <a:pt x="1386" y="3970"/>
                    <a:pt x="1386" y="3025"/>
                  </a:cubicBezTo>
                  <a:cubicBezTo>
                    <a:pt x="1386" y="2080"/>
                    <a:pt x="2111" y="1324"/>
                    <a:pt x="3056" y="1324"/>
                  </a:cubicBezTo>
                  <a:close/>
                  <a:moveTo>
                    <a:pt x="3056" y="1"/>
                  </a:moveTo>
                  <a:cubicBezTo>
                    <a:pt x="1386" y="1"/>
                    <a:pt x="0" y="1355"/>
                    <a:pt x="0" y="3057"/>
                  </a:cubicBezTo>
                  <a:cubicBezTo>
                    <a:pt x="0" y="4758"/>
                    <a:pt x="1323" y="6144"/>
                    <a:pt x="3056" y="6144"/>
                  </a:cubicBezTo>
                  <a:cubicBezTo>
                    <a:pt x="4757" y="6144"/>
                    <a:pt x="6144" y="4758"/>
                    <a:pt x="6144" y="3057"/>
                  </a:cubicBezTo>
                  <a:cubicBezTo>
                    <a:pt x="6144" y="1355"/>
                    <a:pt x="4757" y="1"/>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6"/>
            <p:cNvSpPr/>
            <p:nvPr/>
          </p:nvSpPr>
          <p:spPr>
            <a:xfrm>
              <a:off x="-4118225" y="4144075"/>
              <a:ext cx="33875" cy="119725"/>
            </a:xfrm>
            <a:custGeom>
              <a:avLst/>
              <a:gdLst/>
              <a:ahLst/>
              <a:cxnLst/>
              <a:rect l="l" t="t" r="r" b="b"/>
              <a:pathLst>
                <a:path w="1355" h="4789" extrusionOk="0">
                  <a:moveTo>
                    <a:pt x="347" y="0"/>
                  </a:moveTo>
                  <a:cubicBezTo>
                    <a:pt x="158" y="0"/>
                    <a:pt x="0" y="158"/>
                    <a:pt x="0" y="347"/>
                  </a:cubicBezTo>
                  <a:lnTo>
                    <a:pt x="0" y="4442"/>
                  </a:lnTo>
                  <a:cubicBezTo>
                    <a:pt x="0" y="4631"/>
                    <a:pt x="158" y="4789"/>
                    <a:pt x="347" y="4789"/>
                  </a:cubicBezTo>
                  <a:lnTo>
                    <a:pt x="1008" y="4789"/>
                  </a:lnTo>
                  <a:cubicBezTo>
                    <a:pt x="1134" y="4789"/>
                    <a:pt x="1260" y="4757"/>
                    <a:pt x="1355" y="4726"/>
                  </a:cubicBezTo>
                  <a:lnTo>
                    <a:pt x="1355" y="63"/>
                  </a:lnTo>
                  <a:cubicBezTo>
                    <a:pt x="1260" y="32"/>
                    <a:pt x="1134"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6"/>
            <p:cNvSpPr/>
            <p:nvPr/>
          </p:nvSpPr>
          <p:spPr>
            <a:xfrm>
              <a:off x="-4067050" y="4143750"/>
              <a:ext cx="241050" cy="120050"/>
            </a:xfrm>
            <a:custGeom>
              <a:avLst/>
              <a:gdLst/>
              <a:ahLst/>
              <a:cxnLst/>
              <a:rect l="l" t="t" r="r" b="b"/>
              <a:pathLst>
                <a:path w="9642" h="4802" extrusionOk="0">
                  <a:moveTo>
                    <a:pt x="1750" y="1"/>
                  </a:moveTo>
                  <a:cubicBezTo>
                    <a:pt x="1124" y="1"/>
                    <a:pt x="537" y="197"/>
                    <a:pt x="1" y="549"/>
                  </a:cubicBezTo>
                  <a:lnTo>
                    <a:pt x="1" y="4550"/>
                  </a:lnTo>
                  <a:cubicBezTo>
                    <a:pt x="410" y="4707"/>
                    <a:pt x="883" y="4802"/>
                    <a:pt x="1356" y="4802"/>
                  </a:cubicBezTo>
                  <a:lnTo>
                    <a:pt x="5294" y="4802"/>
                  </a:lnTo>
                  <a:cubicBezTo>
                    <a:pt x="5735" y="4802"/>
                    <a:pt x="6144" y="4644"/>
                    <a:pt x="6459" y="4392"/>
                  </a:cubicBezTo>
                  <a:cubicBezTo>
                    <a:pt x="6459" y="4392"/>
                    <a:pt x="8507" y="2502"/>
                    <a:pt x="9169" y="1872"/>
                  </a:cubicBezTo>
                  <a:cubicBezTo>
                    <a:pt x="9169" y="1872"/>
                    <a:pt x="9547" y="1399"/>
                    <a:pt x="9547" y="1021"/>
                  </a:cubicBezTo>
                  <a:cubicBezTo>
                    <a:pt x="9641" y="454"/>
                    <a:pt x="9169" y="13"/>
                    <a:pt x="8602" y="13"/>
                  </a:cubicBezTo>
                  <a:cubicBezTo>
                    <a:pt x="8413" y="13"/>
                    <a:pt x="7751" y="202"/>
                    <a:pt x="6711" y="1777"/>
                  </a:cubicBezTo>
                  <a:cubicBezTo>
                    <a:pt x="6333" y="2376"/>
                    <a:pt x="5766" y="2754"/>
                    <a:pt x="5199" y="2754"/>
                  </a:cubicBezTo>
                  <a:lnTo>
                    <a:pt x="2710" y="2754"/>
                  </a:lnTo>
                  <a:cubicBezTo>
                    <a:pt x="2584" y="2754"/>
                    <a:pt x="2458" y="2849"/>
                    <a:pt x="2395" y="2975"/>
                  </a:cubicBezTo>
                  <a:cubicBezTo>
                    <a:pt x="2333" y="3099"/>
                    <a:pt x="2223" y="3152"/>
                    <a:pt x="2110" y="3152"/>
                  </a:cubicBezTo>
                  <a:cubicBezTo>
                    <a:pt x="1880" y="3152"/>
                    <a:pt x="1638" y="2934"/>
                    <a:pt x="1765" y="2660"/>
                  </a:cubicBezTo>
                  <a:cubicBezTo>
                    <a:pt x="1923" y="2344"/>
                    <a:pt x="2238" y="2092"/>
                    <a:pt x="2616" y="2092"/>
                  </a:cubicBezTo>
                  <a:lnTo>
                    <a:pt x="5231" y="2092"/>
                  </a:lnTo>
                  <a:cubicBezTo>
                    <a:pt x="6081" y="2061"/>
                    <a:pt x="6081" y="706"/>
                    <a:pt x="5136" y="706"/>
                  </a:cubicBezTo>
                  <a:lnTo>
                    <a:pt x="3844" y="706"/>
                  </a:lnTo>
                  <a:cubicBezTo>
                    <a:pt x="3116" y="220"/>
                    <a:pt x="2412" y="1"/>
                    <a:pt x="1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9" name="Google Shape;8869;p76"/>
          <p:cNvGrpSpPr/>
          <p:nvPr/>
        </p:nvGrpSpPr>
        <p:grpSpPr>
          <a:xfrm>
            <a:off x="7354110" y="1688087"/>
            <a:ext cx="394713" cy="421927"/>
            <a:chOff x="-2312225" y="3238300"/>
            <a:chExt cx="274125" cy="293025"/>
          </a:xfrm>
        </p:grpSpPr>
        <p:sp>
          <p:nvSpPr>
            <p:cNvPr id="8870" name="Google Shape;8870;p76"/>
            <p:cNvSpPr/>
            <p:nvPr/>
          </p:nvSpPr>
          <p:spPr>
            <a:xfrm>
              <a:off x="-2241325" y="3289500"/>
              <a:ext cx="203225" cy="241825"/>
            </a:xfrm>
            <a:custGeom>
              <a:avLst/>
              <a:gdLst/>
              <a:ahLst/>
              <a:cxnLst/>
              <a:rect l="l" t="t" r="r" b="b"/>
              <a:pathLst>
                <a:path w="8129" h="9673" extrusionOk="0">
                  <a:moveTo>
                    <a:pt x="2458" y="0"/>
                  </a:moveTo>
                  <a:cubicBezTo>
                    <a:pt x="2174" y="0"/>
                    <a:pt x="1954" y="221"/>
                    <a:pt x="1954" y="504"/>
                  </a:cubicBezTo>
                  <a:lnTo>
                    <a:pt x="1954" y="2836"/>
                  </a:lnTo>
                  <a:lnTo>
                    <a:pt x="1954" y="5167"/>
                  </a:lnTo>
                  <a:lnTo>
                    <a:pt x="914" y="4128"/>
                  </a:lnTo>
                  <a:cubicBezTo>
                    <a:pt x="820" y="4033"/>
                    <a:pt x="693" y="3986"/>
                    <a:pt x="567" y="3986"/>
                  </a:cubicBezTo>
                  <a:cubicBezTo>
                    <a:pt x="441" y="3986"/>
                    <a:pt x="315" y="4033"/>
                    <a:pt x="221" y="4128"/>
                  </a:cubicBezTo>
                  <a:cubicBezTo>
                    <a:pt x="0" y="4317"/>
                    <a:pt x="0" y="4632"/>
                    <a:pt x="221" y="4852"/>
                  </a:cubicBezTo>
                  <a:lnTo>
                    <a:pt x="2678" y="7310"/>
                  </a:lnTo>
                  <a:lnTo>
                    <a:pt x="2678" y="8664"/>
                  </a:lnTo>
                  <a:cubicBezTo>
                    <a:pt x="2678" y="9200"/>
                    <a:pt x="3151" y="9672"/>
                    <a:pt x="3718" y="9672"/>
                  </a:cubicBezTo>
                  <a:lnTo>
                    <a:pt x="6459" y="9672"/>
                  </a:lnTo>
                  <a:cubicBezTo>
                    <a:pt x="7026" y="9672"/>
                    <a:pt x="7499" y="9200"/>
                    <a:pt x="7499" y="8664"/>
                  </a:cubicBezTo>
                  <a:lnTo>
                    <a:pt x="7499" y="8066"/>
                  </a:lnTo>
                  <a:cubicBezTo>
                    <a:pt x="7688" y="7656"/>
                    <a:pt x="7845" y="7278"/>
                    <a:pt x="7940" y="6837"/>
                  </a:cubicBezTo>
                  <a:cubicBezTo>
                    <a:pt x="8034" y="6396"/>
                    <a:pt x="8129" y="5986"/>
                    <a:pt x="8129" y="5514"/>
                  </a:cubicBezTo>
                  <a:lnTo>
                    <a:pt x="8129" y="3308"/>
                  </a:lnTo>
                  <a:cubicBezTo>
                    <a:pt x="8129" y="3025"/>
                    <a:pt x="7877" y="2773"/>
                    <a:pt x="7625" y="2773"/>
                  </a:cubicBezTo>
                  <a:cubicBezTo>
                    <a:pt x="7341" y="2773"/>
                    <a:pt x="7089" y="3025"/>
                    <a:pt x="7089" y="3308"/>
                  </a:cubicBezTo>
                  <a:lnTo>
                    <a:pt x="7089" y="3812"/>
                  </a:lnTo>
                  <a:cubicBezTo>
                    <a:pt x="7089" y="4002"/>
                    <a:pt x="6931" y="4159"/>
                    <a:pt x="6742" y="4159"/>
                  </a:cubicBezTo>
                  <a:cubicBezTo>
                    <a:pt x="6553" y="4159"/>
                    <a:pt x="6396" y="4002"/>
                    <a:pt x="6396" y="3812"/>
                  </a:cubicBezTo>
                  <a:lnTo>
                    <a:pt x="6396" y="2615"/>
                  </a:lnTo>
                  <a:cubicBezTo>
                    <a:pt x="6396" y="2363"/>
                    <a:pt x="6144" y="2111"/>
                    <a:pt x="5892" y="2111"/>
                  </a:cubicBezTo>
                  <a:cubicBezTo>
                    <a:pt x="5608" y="2111"/>
                    <a:pt x="5356" y="2363"/>
                    <a:pt x="5356" y="2615"/>
                  </a:cubicBezTo>
                  <a:cubicBezTo>
                    <a:pt x="5357" y="2615"/>
                    <a:pt x="5358" y="2615"/>
                    <a:pt x="5359" y="2615"/>
                  </a:cubicBezTo>
                  <a:cubicBezTo>
                    <a:pt x="5418" y="2615"/>
                    <a:pt x="5419" y="3769"/>
                    <a:pt x="5419" y="3781"/>
                  </a:cubicBezTo>
                  <a:lnTo>
                    <a:pt x="5419" y="3781"/>
                  </a:lnTo>
                  <a:cubicBezTo>
                    <a:pt x="5419" y="3970"/>
                    <a:pt x="5262" y="4128"/>
                    <a:pt x="5041" y="4128"/>
                  </a:cubicBezTo>
                  <a:cubicBezTo>
                    <a:pt x="4852" y="4128"/>
                    <a:pt x="4695" y="3970"/>
                    <a:pt x="4695" y="3781"/>
                  </a:cubicBezTo>
                  <a:lnTo>
                    <a:pt x="4695" y="2584"/>
                  </a:lnTo>
                  <a:cubicBezTo>
                    <a:pt x="4695" y="2332"/>
                    <a:pt x="4474" y="2080"/>
                    <a:pt x="4191" y="2080"/>
                  </a:cubicBezTo>
                  <a:cubicBezTo>
                    <a:pt x="3907" y="2080"/>
                    <a:pt x="3686" y="2332"/>
                    <a:pt x="3686" y="2584"/>
                  </a:cubicBezTo>
                  <a:lnTo>
                    <a:pt x="3686" y="3781"/>
                  </a:lnTo>
                  <a:cubicBezTo>
                    <a:pt x="3686" y="3970"/>
                    <a:pt x="3529" y="4128"/>
                    <a:pt x="3308" y="4128"/>
                  </a:cubicBezTo>
                  <a:cubicBezTo>
                    <a:pt x="3119" y="4128"/>
                    <a:pt x="2962" y="3970"/>
                    <a:pt x="2962" y="3781"/>
                  </a:cubicBezTo>
                  <a:lnTo>
                    <a:pt x="2962" y="504"/>
                  </a:lnTo>
                  <a:cubicBezTo>
                    <a:pt x="2962" y="221"/>
                    <a:pt x="2741"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6"/>
            <p:cNvSpPr/>
            <p:nvPr/>
          </p:nvSpPr>
          <p:spPr>
            <a:xfrm>
              <a:off x="-2312225" y="3238300"/>
              <a:ext cx="241825" cy="241050"/>
            </a:xfrm>
            <a:custGeom>
              <a:avLst/>
              <a:gdLst/>
              <a:ahLst/>
              <a:cxnLst/>
              <a:rect l="l" t="t" r="r" b="b"/>
              <a:pathLst>
                <a:path w="9673" h="9642" extrusionOk="0">
                  <a:moveTo>
                    <a:pt x="379" y="1"/>
                  </a:moveTo>
                  <a:cubicBezTo>
                    <a:pt x="158" y="1"/>
                    <a:pt x="1" y="158"/>
                    <a:pt x="1" y="347"/>
                  </a:cubicBezTo>
                  <a:lnTo>
                    <a:pt x="1" y="1733"/>
                  </a:lnTo>
                  <a:cubicBezTo>
                    <a:pt x="1" y="1922"/>
                    <a:pt x="158" y="2080"/>
                    <a:pt x="379" y="2080"/>
                  </a:cubicBezTo>
                  <a:lnTo>
                    <a:pt x="726" y="2080"/>
                  </a:lnTo>
                  <a:lnTo>
                    <a:pt x="726" y="7562"/>
                  </a:lnTo>
                  <a:lnTo>
                    <a:pt x="379" y="7562"/>
                  </a:lnTo>
                  <a:cubicBezTo>
                    <a:pt x="158" y="7562"/>
                    <a:pt x="1" y="7719"/>
                    <a:pt x="1" y="7908"/>
                  </a:cubicBezTo>
                  <a:lnTo>
                    <a:pt x="1" y="9294"/>
                  </a:lnTo>
                  <a:cubicBezTo>
                    <a:pt x="1" y="9484"/>
                    <a:pt x="158" y="9641"/>
                    <a:pt x="379" y="9641"/>
                  </a:cubicBezTo>
                  <a:lnTo>
                    <a:pt x="1734" y="9641"/>
                  </a:lnTo>
                  <a:cubicBezTo>
                    <a:pt x="1954" y="9641"/>
                    <a:pt x="2112" y="9484"/>
                    <a:pt x="2112" y="9294"/>
                  </a:cubicBezTo>
                  <a:lnTo>
                    <a:pt x="2112" y="8916"/>
                  </a:lnTo>
                  <a:lnTo>
                    <a:pt x="4160" y="8916"/>
                  </a:lnTo>
                  <a:lnTo>
                    <a:pt x="3435" y="8223"/>
                  </a:lnTo>
                  <a:lnTo>
                    <a:pt x="2112" y="8223"/>
                  </a:lnTo>
                  <a:lnTo>
                    <a:pt x="2112" y="7877"/>
                  </a:lnTo>
                  <a:cubicBezTo>
                    <a:pt x="2112" y="7688"/>
                    <a:pt x="1954" y="7530"/>
                    <a:pt x="1734" y="7530"/>
                  </a:cubicBezTo>
                  <a:lnTo>
                    <a:pt x="1387" y="7530"/>
                  </a:lnTo>
                  <a:lnTo>
                    <a:pt x="1387" y="2080"/>
                  </a:lnTo>
                  <a:lnTo>
                    <a:pt x="1734" y="2080"/>
                  </a:lnTo>
                  <a:cubicBezTo>
                    <a:pt x="1954" y="2080"/>
                    <a:pt x="2112" y="1922"/>
                    <a:pt x="2112" y="1733"/>
                  </a:cubicBezTo>
                  <a:lnTo>
                    <a:pt x="2112" y="1387"/>
                  </a:lnTo>
                  <a:lnTo>
                    <a:pt x="7562" y="1387"/>
                  </a:lnTo>
                  <a:lnTo>
                    <a:pt x="7562" y="1733"/>
                  </a:lnTo>
                  <a:cubicBezTo>
                    <a:pt x="7562" y="1922"/>
                    <a:pt x="7720" y="2080"/>
                    <a:pt x="7940" y="2080"/>
                  </a:cubicBezTo>
                  <a:lnTo>
                    <a:pt x="8287" y="2080"/>
                  </a:lnTo>
                  <a:lnTo>
                    <a:pt x="8287" y="3592"/>
                  </a:lnTo>
                  <a:cubicBezTo>
                    <a:pt x="8444" y="3498"/>
                    <a:pt x="8602" y="3466"/>
                    <a:pt x="8791" y="3466"/>
                  </a:cubicBezTo>
                  <a:cubicBezTo>
                    <a:pt x="8885" y="3466"/>
                    <a:pt x="8917" y="3466"/>
                    <a:pt x="8948" y="3498"/>
                  </a:cubicBezTo>
                  <a:lnTo>
                    <a:pt x="8948" y="2080"/>
                  </a:lnTo>
                  <a:lnTo>
                    <a:pt x="9326" y="2080"/>
                  </a:lnTo>
                  <a:cubicBezTo>
                    <a:pt x="9515" y="2080"/>
                    <a:pt x="9673" y="1922"/>
                    <a:pt x="9673" y="1733"/>
                  </a:cubicBezTo>
                  <a:lnTo>
                    <a:pt x="9673" y="347"/>
                  </a:lnTo>
                  <a:cubicBezTo>
                    <a:pt x="9673" y="158"/>
                    <a:pt x="9515" y="1"/>
                    <a:pt x="9326" y="1"/>
                  </a:cubicBezTo>
                  <a:lnTo>
                    <a:pt x="7940" y="1"/>
                  </a:lnTo>
                  <a:cubicBezTo>
                    <a:pt x="7751" y="1"/>
                    <a:pt x="7562" y="158"/>
                    <a:pt x="7562" y="347"/>
                  </a:cubicBezTo>
                  <a:lnTo>
                    <a:pt x="7562" y="694"/>
                  </a:lnTo>
                  <a:lnTo>
                    <a:pt x="2112" y="694"/>
                  </a:lnTo>
                  <a:lnTo>
                    <a:pt x="2112" y="347"/>
                  </a:lnTo>
                  <a:cubicBezTo>
                    <a:pt x="2112" y="158"/>
                    <a:pt x="1954"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2" name="Google Shape;8872;p76"/>
          <p:cNvGrpSpPr/>
          <p:nvPr/>
        </p:nvGrpSpPr>
        <p:grpSpPr>
          <a:xfrm>
            <a:off x="7341062" y="2153586"/>
            <a:ext cx="420811" cy="522864"/>
            <a:chOff x="-2310650" y="3525775"/>
            <a:chExt cx="292250" cy="363125"/>
          </a:xfrm>
        </p:grpSpPr>
        <p:sp>
          <p:nvSpPr>
            <p:cNvPr id="8873" name="Google Shape;8873;p76"/>
            <p:cNvSpPr/>
            <p:nvPr/>
          </p:nvSpPr>
          <p:spPr>
            <a:xfrm>
              <a:off x="-2053075" y="3648650"/>
              <a:ext cx="34675" cy="233950"/>
            </a:xfrm>
            <a:custGeom>
              <a:avLst/>
              <a:gdLst/>
              <a:ahLst/>
              <a:cxnLst/>
              <a:rect l="l" t="t" r="r" b="b"/>
              <a:pathLst>
                <a:path w="1387" h="9358" extrusionOk="0">
                  <a:moveTo>
                    <a:pt x="0" y="1"/>
                  </a:moveTo>
                  <a:lnTo>
                    <a:pt x="0" y="8286"/>
                  </a:lnTo>
                  <a:cubicBezTo>
                    <a:pt x="0" y="8664"/>
                    <a:pt x="158" y="9011"/>
                    <a:pt x="441" y="9263"/>
                  </a:cubicBezTo>
                  <a:cubicBezTo>
                    <a:pt x="504" y="9326"/>
                    <a:pt x="591" y="9358"/>
                    <a:pt x="677" y="9358"/>
                  </a:cubicBezTo>
                  <a:cubicBezTo>
                    <a:pt x="764" y="9358"/>
                    <a:pt x="851" y="9326"/>
                    <a:pt x="914" y="9263"/>
                  </a:cubicBezTo>
                  <a:cubicBezTo>
                    <a:pt x="1197" y="9011"/>
                    <a:pt x="1355" y="8664"/>
                    <a:pt x="1355" y="8286"/>
                  </a:cubicBezTo>
                  <a:lnTo>
                    <a:pt x="1355" y="347"/>
                  </a:ln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4" name="Google Shape;8874;p76"/>
            <p:cNvSpPr/>
            <p:nvPr/>
          </p:nvSpPr>
          <p:spPr>
            <a:xfrm>
              <a:off x="-2259450" y="3751825"/>
              <a:ext cx="51225" cy="51225"/>
            </a:xfrm>
            <a:custGeom>
              <a:avLst/>
              <a:gdLst/>
              <a:ahLst/>
              <a:cxnLst/>
              <a:rect l="l" t="t" r="r" b="b"/>
              <a:pathLst>
                <a:path w="2049" h="2049" extrusionOk="0">
                  <a:moveTo>
                    <a:pt x="1" y="1"/>
                  </a:moveTo>
                  <a:lnTo>
                    <a:pt x="1" y="2049"/>
                  </a:lnTo>
                  <a:lnTo>
                    <a:pt x="2049" y="2049"/>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76"/>
            <p:cNvSpPr/>
            <p:nvPr/>
          </p:nvSpPr>
          <p:spPr>
            <a:xfrm>
              <a:off x="-2259450" y="3649450"/>
              <a:ext cx="137075" cy="51200"/>
            </a:xfrm>
            <a:custGeom>
              <a:avLst/>
              <a:gdLst/>
              <a:ahLst/>
              <a:cxnLst/>
              <a:rect l="l" t="t" r="r" b="b"/>
              <a:pathLst>
                <a:path w="5483" h="2048" extrusionOk="0">
                  <a:moveTo>
                    <a:pt x="1" y="0"/>
                  </a:moveTo>
                  <a:lnTo>
                    <a:pt x="1" y="2048"/>
                  </a:lnTo>
                  <a:lnTo>
                    <a:pt x="5483" y="2048"/>
                  </a:lnTo>
                  <a:lnTo>
                    <a:pt x="54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6" name="Google Shape;8876;p76"/>
            <p:cNvSpPr/>
            <p:nvPr/>
          </p:nvSpPr>
          <p:spPr>
            <a:xfrm>
              <a:off x="-2310650" y="3525775"/>
              <a:ext cx="252075" cy="363125"/>
            </a:xfrm>
            <a:custGeom>
              <a:avLst/>
              <a:gdLst/>
              <a:ahLst/>
              <a:cxnLst/>
              <a:rect l="l" t="t" r="r" b="b"/>
              <a:pathLst>
                <a:path w="10083" h="14525" extrusionOk="0">
                  <a:moveTo>
                    <a:pt x="7814" y="4222"/>
                  </a:moveTo>
                  <a:cubicBezTo>
                    <a:pt x="8035" y="4222"/>
                    <a:pt x="8192" y="4380"/>
                    <a:pt x="8192" y="4569"/>
                  </a:cubicBezTo>
                  <a:lnTo>
                    <a:pt x="8192" y="7310"/>
                  </a:lnTo>
                  <a:cubicBezTo>
                    <a:pt x="8192" y="7530"/>
                    <a:pt x="8035" y="7657"/>
                    <a:pt x="7814" y="7657"/>
                  </a:cubicBezTo>
                  <a:lnTo>
                    <a:pt x="1671" y="7657"/>
                  </a:lnTo>
                  <a:cubicBezTo>
                    <a:pt x="1482" y="7657"/>
                    <a:pt x="1324" y="7530"/>
                    <a:pt x="1324" y="7310"/>
                  </a:cubicBezTo>
                  <a:lnTo>
                    <a:pt x="1324" y="4569"/>
                  </a:lnTo>
                  <a:cubicBezTo>
                    <a:pt x="1324" y="4380"/>
                    <a:pt x="1482" y="4222"/>
                    <a:pt x="1671" y="4222"/>
                  </a:cubicBezTo>
                  <a:close/>
                  <a:moveTo>
                    <a:pt x="7904" y="8380"/>
                  </a:moveTo>
                  <a:cubicBezTo>
                    <a:pt x="8287" y="8380"/>
                    <a:pt x="8278" y="9043"/>
                    <a:pt x="7877" y="9043"/>
                  </a:cubicBezTo>
                  <a:lnTo>
                    <a:pt x="5829" y="9043"/>
                  </a:lnTo>
                  <a:cubicBezTo>
                    <a:pt x="5388" y="9043"/>
                    <a:pt x="5357" y="8381"/>
                    <a:pt x="5829" y="8381"/>
                  </a:cubicBezTo>
                  <a:lnTo>
                    <a:pt x="7877" y="8381"/>
                  </a:lnTo>
                  <a:cubicBezTo>
                    <a:pt x="7886" y="8380"/>
                    <a:pt x="7895" y="8380"/>
                    <a:pt x="7904" y="8380"/>
                  </a:cubicBezTo>
                  <a:close/>
                  <a:moveTo>
                    <a:pt x="7904" y="9766"/>
                  </a:moveTo>
                  <a:cubicBezTo>
                    <a:pt x="8287" y="9766"/>
                    <a:pt x="8278" y="10429"/>
                    <a:pt x="7877" y="10429"/>
                  </a:cubicBezTo>
                  <a:lnTo>
                    <a:pt x="5829" y="10429"/>
                  </a:lnTo>
                  <a:cubicBezTo>
                    <a:pt x="5388" y="10429"/>
                    <a:pt x="5357" y="9767"/>
                    <a:pt x="5829" y="9767"/>
                  </a:cubicBezTo>
                  <a:lnTo>
                    <a:pt x="7877" y="9767"/>
                  </a:lnTo>
                  <a:cubicBezTo>
                    <a:pt x="7886" y="9767"/>
                    <a:pt x="7895" y="9766"/>
                    <a:pt x="7904" y="9766"/>
                  </a:cubicBezTo>
                  <a:close/>
                  <a:moveTo>
                    <a:pt x="7877" y="11091"/>
                  </a:moveTo>
                  <a:cubicBezTo>
                    <a:pt x="8287" y="11091"/>
                    <a:pt x="8287" y="11784"/>
                    <a:pt x="7877" y="11784"/>
                  </a:cubicBezTo>
                  <a:lnTo>
                    <a:pt x="5829" y="11784"/>
                  </a:lnTo>
                  <a:cubicBezTo>
                    <a:pt x="5388" y="11784"/>
                    <a:pt x="5357" y="11091"/>
                    <a:pt x="5829" y="11091"/>
                  </a:cubicBezTo>
                  <a:close/>
                  <a:moveTo>
                    <a:pt x="4475" y="8350"/>
                  </a:moveTo>
                  <a:cubicBezTo>
                    <a:pt x="4664" y="8350"/>
                    <a:pt x="4821" y="8507"/>
                    <a:pt x="4821" y="8696"/>
                  </a:cubicBezTo>
                  <a:lnTo>
                    <a:pt x="4821" y="11469"/>
                  </a:lnTo>
                  <a:cubicBezTo>
                    <a:pt x="4821" y="11658"/>
                    <a:pt x="4664" y="11815"/>
                    <a:pt x="4475" y="11815"/>
                  </a:cubicBezTo>
                  <a:lnTo>
                    <a:pt x="1734" y="11815"/>
                  </a:lnTo>
                  <a:cubicBezTo>
                    <a:pt x="1513" y="11815"/>
                    <a:pt x="1356" y="11658"/>
                    <a:pt x="1356" y="11469"/>
                  </a:cubicBezTo>
                  <a:lnTo>
                    <a:pt x="1356" y="8696"/>
                  </a:lnTo>
                  <a:cubicBezTo>
                    <a:pt x="1356" y="8507"/>
                    <a:pt x="1513" y="8350"/>
                    <a:pt x="1734" y="8350"/>
                  </a:cubicBezTo>
                  <a:close/>
                  <a:moveTo>
                    <a:pt x="7877" y="12508"/>
                  </a:moveTo>
                  <a:cubicBezTo>
                    <a:pt x="8287" y="12508"/>
                    <a:pt x="8287" y="13170"/>
                    <a:pt x="7877" y="13170"/>
                  </a:cubicBezTo>
                  <a:lnTo>
                    <a:pt x="1734" y="13170"/>
                  </a:lnTo>
                  <a:cubicBezTo>
                    <a:pt x="1293" y="13170"/>
                    <a:pt x="1261" y="12508"/>
                    <a:pt x="1734" y="12508"/>
                  </a:cubicBezTo>
                  <a:close/>
                  <a:moveTo>
                    <a:pt x="348" y="2868"/>
                  </a:moveTo>
                  <a:cubicBezTo>
                    <a:pt x="158" y="2868"/>
                    <a:pt x="1" y="3025"/>
                    <a:pt x="1" y="3214"/>
                  </a:cubicBezTo>
                  <a:lnTo>
                    <a:pt x="1" y="12823"/>
                  </a:lnTo>
                  <a:cubicBezTo>
                    <a:pt x="1" y="13768"/>
                    <a:pt x="726" y="14525"/>
                    <a:pt x="1702" y="14525"/>
                  </a:cubicBezTo>
                  <a:lnTo>
                    <a:pt x="10083" y="14525"/>
                  </a:lnTo>
                  <a:cubicBezTo>
                    <a:pt x="9767" y="14178"/>
                    <a:pt x="9515" y="13705"/>
                    <a:pt x="9515" y="13138"/>
                  </a:cubicBezTo>
                  <a:cubicBezTo>
                    <a:pt x="9547" y="1"/>
                    <a:pt x="9547" y="6333"/>
                    <a:pt x="9547" y="3214"/>
                  </a:cubicBezTo>
                  <a:cubicBezTo>
                    <a:pt x="9547" y="3025"/>
                    <a:pt x="9389" y="2868"/>
                    <a:pt x="9200" y="2868"/>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7" name="Google Shape;8877;p76"/>
          <p:cNvGrpSpPr/>
          <p:nvPr/>
        </p:nvGrpSpPr>
        <p:grpSpPr>
          <a:xfrm>
            <a:off x="7351827" y="2756825"/>
            <a:ext cx="423079" cy="419659"/>
            <a:chOff x="-2310650" y="3958175"/>
            <a:chExt cx="293825" cy="291450"/>
          </a:xfrm>
        </p:grpSpPr>
        <p:sp>
          <p:nvSpPr>
            <p:cNvPr id="8878" name="Google Shape;8878;p76"/>
            <p:cNvSpPr/>
            <p:nvPr/>
          </p:nvSpPr>
          <p:spPr>
            <a:xfrm>
              <a:off x="-2310650" y="3958175"/>
              <a:ext cx="185925" cy="118950"/>
            </a:xfrm>
            <a:custGeom>
              <a:avLst/>
              <a:gdLst/>
              <a:ahLst/>
              <a:cxnLst/>
              <a:rect l="l" t="t" r="r" b="b"/>
              <a:pathLst>
                <a:path w="7437" h="4758" extrusionOk="0">
                  <a:moveTo>
                    <a:pt x="1009" y="1"/>
                  </a:moveTo>
                  <a:cubicBezTo>
                    <a:pt x="474" y="1"/>
                    <a:pt x="1" y="474"/>
                    <a:pt x="1" y="1009"/>
                  </a:cubicBezTo>
                  <a:lnTo>
                    <a:pt x="1" y="2395"/>
                  </a:lnTo>
                  <a:cubicBezTo>
                    <a:pt x="1" y="2931"/>
                    <a:pt x="474" y="3372"/>
                    <a:pt x="1009" y="3372"/>
                  </a:cubicBezTo>
                  <a:lnTo>
                    <a:pt x="1356" y="3372"/>
                  </a:lnTo>
                  <a:lnTo>
                    <a:pt x="1356" y="4412"/>
                  </a:lnTo>
                  <a:cubicBezTo>
                    <a:pt x="1356" y="4618"/>
                    <a:pt x="1518" y="4757"/>
                    <a:pt x="1692" y="4757"/>
                  </a:cubicBezTo>
                  <a:cubicBezTo>
                    <a:pt x="1784" y="4757"/>
                    <a:pt x="1878" y="4719"/>
                    <a:pt x="1954" y="4632"/>
                  </a:cubicBezTo>
                  <a:lnTo>
                    <a:pt x="3214" y="3372"/>
                  </a:lnTo>
                  <a:lnTo>
                    <a:pt x="3403" y="3372"/>
                  </a:lnTo>
                  <a:lnTo>
                    <a:pt x="3403" y="2364"/>
                  </a:lnTo>
                  <a:cubicBezTo>
                    <a:pt x="3403" y="1419"/>
                    <a:pt x="4160" y="663"/>
                    <a:pt x="5105" y="663"/>
                  </a:cubicBezTo>
                  <a:lnTo>
                    <a:pt x="7436" y="663"/>
                  </a:lnTo>
                  <a:cubicBezTo>
                    <a:pt x="7279" y="253"/>
                    <a:pt x="6932"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9" name="Google Shape;8879;p76"/>
            <p:cNvSpPr/>
            <p:nvPr/>
          </p:nvSpPr>
          <p:spPr>
            <a:xfrm>
              <a:off x="-2309075" y="3992050"/>
              <a:ext cx="292250" cy="257575"/>
            </a:xfrm>
            <a:custGeom>
              <a:avLst/>
              <a:gdLst/>
              <a:ahLst/>
              <a:cxnLst/>
              <a:rect l="l" t="t" r="r" b="b"/>
              <a:pathLst>
                <a:path w="11690" h="10303" extrusionOk="0">
                  <a:moveTo>
                    <a:pt x="5042" y="1"/>
                  </a:moveTo>
                  <a:cubicBezTo>
                    <a:pt x="4506" y="1"/>
                    <a:pt x="4034" y="473"/>
                    <a:pt x="4034" y="1040"/>
                  </a:cubicBezTo>
                  <a:lnTo>
                    <a:pt x="4034" y="2395"/>
                  </a:lnTo>
                  <a:cubicBezTo>
                    <a:pt x="4034" y="2962"/>
                    <a:pt x="4506" y="3435"/>
                    <a:pt x="5042" y="3435"/>
                  </a:cubicBezTo>
                  <a:lnTo>
                    <a:pt x="6964" y="3435"/>
                  </a:lnTo>
                  <a:lnTo>
                    <a:pt x="7814" y="4254"/>
                  </a:lnTo>
                  <a:cubicBezTo>
                    <a:pt x="7216" y="4537"/>
                    <a:pt x="6775" y="5136"/>
                    <a:pt x="6775" y="5829"/>
                  </a:cubicBezTo>
                  <a:cubicBezTo>
                    <a:pt x="6775" y="6270"/>
                    <a:pt x="6932" y="6680"/>
                    <a:pt x="7216" y="6932"/>
                  </a:cubicBezTo>
                  <a:cubicBezTo>
                    <a:pt x="6585" y="7089"/>
                    <a:pt x="6081" y="7499"/>
                    <a:pt x="5766" y="8034"/>
                  </a:cubicBezTo>
                  <a:cubicBezTo>
                    <a:pt x="5451" y="7499"/>
                    <a:pt x="4916" y="7089"/>
                    <a:pt x="4286" y="6932"/>
                  </a:cubicBezTo>
                  <a:cubicBezTo>
                    <a:pt x="4569" y="6617"/>
                    <a:pt x="4727" y="6270"/>
                    <a:pt x="4727" y="5829"/>
                  </a:cubicBezTo>
                  <a:cubicBezTo>
                    <a:pt x="4727" y="4884"/>
                    <a:pt x="3971" y="4159"/>
                    <a:pt x="3025" y="4159"/>
                  </a:cubicBezTo>
                  <a:cubicBezTo>
                    <a:pt x="2080" y="4159"/>
                    <a:pt x="1356" y="4884"/>
                    <a:pt x="1356" y="5829"/>
                  </a:cubicBezTo>
                  <a:cubicBezTo>
                    <a:pt x="1356" y="6270"/>
                    <a:pt x="1513" y="6680"/>
                    <a:pt x="1765" y="6932"/>
                  </a:cubicBezTo>
                  <a:cubicBezTo>
                    <a:pt x="757" y="7215"/>
                    <a:pt x="1" y="8129"/>
                    <a:pt x="1" y="9263"/>
                  </a:cubicBezTo>
                  <a:lnTo>
                    <a:pt x="1" y="9925"/>
                  </a:lnTo>
                  <a:cubicBezTo>
                    <a:pt x="1" y="10145"/>
                    <a:pt x="158" y="10303"/>
                    <a:pt x="348" y="10303"/>
                  </a:cubicBezTo>
                  <a:lnTo>
                    <a:pt x="11343" y="10303"/>
                  </a:lnTo>
                  <a:cubicBezTo>
                    <a:pt x="11532" y="10303"/>
                    <a:pt x="11689" y="10145"/>
                    <a:pt x="11689" y="9925"/>
                  </a:cubicBezTo>
                  <a:lnTo>
                    <a:pt x="11689" y="9263"/>
                  </a:lnTo>
                  <a:cubicBezTo>
                    <a:pt x="11689" y="8160"/>
                    <a:pt x="10965" y="7215"/>
                    <a:pt x="9925" y="6932"/>
                  </a:cubicBezTo>
                  <a:cubicBezTo>
                    <a:pt x="10209" y="6617"/>
                    <a:pt x="10366" y="6270"/>
                    <a:pt x="10366" y="5829"/>
                  </a:cubicBezTo>
                  <a:cubicBezTo>
                    <a:pt x="10366" y="5010"/>
                    <a:pt x="9767" y="4317"/>
                    <a:pt x="8980" y="4159"/>
                  </a:cubicBezTo>
                  <a:lnTo>
                    <a:pt x="8980" y="3435"/>
                  </a:lnTo>
                  <a:lnTo>
                    <a:pt x="10555" y="3435"/>
                  </a:lnTo>
                  <a:cubicBezTo>
                    <a:pt x="11122" y="3435"/>
                    <a:pt x="11595" y="2962"/>
                    <a:pt x="11595" y="2395"/>
                  </a:cubicBezTo>
                  <a:lnTo>
                    <a:pt x="11595" y="1040"/>
                  </a:lnTo>
                  <a:cubicBezTo>
                    <a:pt x="11595" y="473"/>
                    <a:pt x="11122" y="1"/>
                    <a:pt x="105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0" name="Google Shape;8880;p76"/>
          <p:cNvGrpSpPr/>
          <p:nvPr/>
        </p:nvGrpSpPr>
        <p:grpSpPr>
          <a:xfrm>
            <a:off x="4718688" y="3308459"/>
            <a:ext cx="424159" cy="419659"/>
            <a:chOff x="-1182750" y="3962900"/>
            <a:chExt cx="294575" cy="291450"/>
          </a:xfrm>
        </p:grpSpPr>
        <p:sp>
          <p:nvSpPr>
            <p:cNvPr id="8881" name="Google Shape;8881;p76"/>
            <p:cNvSpPr/>
            <p:nvPr/>
          </p:nvSpPr>
          <p:spPr>
            <a:xfrm>
              <a:off x="-1078000" y="40306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2" name="Google Shape;8882;p76"/>
            <p:cNvSpPr/>
            <p:nvPr/>
          </p:nvSpPr>
          <p:spPr>
            <a:xfrm>
              <a:off x="-1129200" y="40999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3" name="Google Shape;8883;p76"/>
            <p:cNvSpPr/>
            <p:nvPr/>
          </p:nvSpPr>
          <p:spPr>
            <a:xfrm>
              <a:off x="-1009475" y="40818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6"/>
            <p:cNvSpPr/>
            <p:nvPr/>
          </p:nvSpPr>
          <p:spPr>
            <a:xfrm>
              <a:off x="-1182750" y="4168475"/>
              <a:ext cx="292225" cy="34675"/>
            </a:xfrm>
            <a:custGeom>
              <a:avLst/>
              <a:gdLst/>
              <a:ahLst/>
              <a:cxnLst/>
              <a:rect l="l" t="t" r="r" b="b"/>
              <a:pathLst>
                <a:path w="11689" h="1387" extrusionOk="0">
                  <a:moveTo>
                    <a:pt x="0" y="1"/>
                  </a:moveTo>
                  <a:lnTo>
                    <a:pt x="0" y="347"/>
                  </a:lnTo>
                  <a:lnTo>
                    <a:pt x="63" y="347"/>
                  </a:lnTo>
                  <a:cubicBezTo>
                    <a:pt x="63" y="914"/>
                    <a:pt x="504" y="1387"/>
                    <a:pt x="1071" y="1387"/>
                  </a:cubicBezTo>
                  <a:lnTo>
                    <a:pt x="10680" y="1387"/>
                  </a:lnTo>
                  <a:cubicBezTo>
                    <a:pt x="11247" y="1387"/>
                    <a:pt x="11688" y="914"/>
                    <a:pt x="11688" y="347"/>
                  </a:cubicBezTo>
                  <a:lnTo>
                    <a:pt x="116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5" name="Google Shape;8885;p76"/>
            <p:cNvSpPr/>
            <p:nvPr/>
          </p:nvSpPr>
          <p:spPr>
            <a:xfrm>
              <a:off x="-1117400" y="4220475"/>
              <a:ext cx="161500" cy="33875"/>
            </a:xfrm>
            <a:custGeom>
              <a:avLst/>
              <a:gdLst/>
              <a:ahLst/>
              <a:cxnLst/>
              <a:rect l="l" t="t" r="r" b="b"/>
              <a:pathLst>
                <a:path w="6460" h="1355" extrusionOk="0">
                  <a:moveTo>
                    <a:pt x="1513" y="0"/>
                  </a:moveTo>
                  <a:lnTo>
                    <a:pt x="1356" y="693"/>
                  </a:lnTo>
                  <a:lnTo>
                    <a:pt x="474" y="693"/>
                  </a:lnTo>
                  <a:cubicBezTo>
                    <a:pt x="32" y="693"/>
                    <a:pt x="1" y="1355"/>
                    <a:pt x="474" y="1355"/>
                  </a:cubicBezTo>
                  <a:lnTo>
                    <a:pt x="5924" y="1355"/>
                  </a:lnTo>
                  <a:cubicBezTo>
                    <a:pt x="6459" y="1355"/>
                    <a:pt x="6459" y="693"/>
                    <a:pt x="5987" y="693"/>
                  </a:cubicBezTo>
                  <a:lnTo>
                    <a:pt x="5073" y="693"/>
                  </a:lnTo>
                  <a:lnTo>
                    <a:pt x="49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6" name="Google Shape;8886;p76"/>
            <p:cNvSpPr/>
            <p:nvPr/>
          </p:nvSpPr>
          <p:spPr>
            <a:xfrm>
              <a:off x="-958300" y="40141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7" name="Google Shape;8887;p76"/>
            <p:cNvSpPr/>
            <p:nvPr/>
          </p:nvSpPr>
          <p:spPr>
            <a:xfrm>
              <a:off x="-1180400" y="3962900"/>
              <a:ext cx="292225" cy="188275"/>
            </a:xfrm>
            <a:custGeom>
              <a:avLst/>
              <a:gdLst/>
              <a:ahLst/>
              <a:cxnLst/>
              <a:rect l="l" t="t" r="r" b="b"/>
              <a:pathLst>
                <a:path w="11689" h="7531" extrusionOk="0">
                  <a:moveTo>
                    <a:pt x="9232" y="1324"/>
                  </a:moveTo>
                  <a:cubicBezTo>
                    <a:pt x="9799" y="1324"/>
                    <a:pt x="10271" y="1797"/>
                    <a:pt x="10271" y="2364"/>
                  </a:cubicBezTo>
                  <a:cubicBezTo>
                    <a:pt x="10271" y="2922"/>
                    <a:pt x="9822" y="3391"/>
                    <a:pt x="9247" y="3391"/>
                  </a:cubicBezTo>
                  <a:cubicBezTo>
                    <a:pt x="9140" y="3391"/>
                    <a:pt x="9029" y="3375"/>
                    <a:pt x="8916" y="3341"/>
                  </a:cubicBezTo>
                  <a:lnTo>
                    <a:pt x="8034" y="4538"/>
                  </a:lnTo>
                  <a:cubicBezTo>
                    <a:pt x="8507" y="5199"/>
                    <a:pt x="7971" y="6144"/>
                    <a:pt x="7152" y="6144"/>
                  </a:cubicBezTo>
                  <a:cubicBezTo>
                    <a:pt x="6491" y="6144"/>
                    <a:pt x="5987" y="5514"/>
                    <a:pt x="6176" y="4790"/>
                  </a:cubicBezTo>
                  <a:lnTo>
                    <a:pt x="4978" y="3908"/>
                  </a:lnTo>
                  <a:cubicBezTo>
                    <a:pt x="4839" y="4007"/>
                    <a:pt x="4661" y="4069"/>
                    <a:pt x="4470" y="4069"/>
                  </a:cubicBezTo>
                  <a:cubicBezTo>
                    <a:pt x="4359" y="4069"/>
                    <a:pt x="4243" y="4048"/>
                    <a:pt x="4128" y="4002"/>
                  </a:cubicBezTo>
                  <a:lnTo>
                    <a:pt x="3214" y="5199"/>
                  </a:lnTo>
                  <a:cubicBezTo>
                    <a:pt x="3340" y="5357"/>
                    <a:pt x="3372" y="5546"/>
                    <a:pt x="3372" y="5735"/>
                  </a:cubicBezTo>
                  <a:cubicBezTo>
                    <a:pt x="3372" y="6302"/>
                    <a:pt x="2899" y="6775"/>
                    <a:pt x="2363" y="6775"/>
                  </a:cubicBezTo>
                  <a:cubicBezTo>
                    <a:pt x="1796" y="6775"/>
                    <a:pt x="1324" y="6302"/>
                    <a:pt x="1324" y="5735"/>
                  </a:cubicBezTo>
                  <a:cubicBezTo>
                    <a:pt x="1324" y="5199"/>
                    <a:pt x="1796" y="4727"/>
                    <a:pt x="2363" y="4727"/>
                  </a:cubicBezTo>
                  <a:cubicBezTo>
                    <a:pt x="2489" y="4727"/>
                    <a:pt x="2552" y="4758"/>
                    <a:pt x="2678" y="4758"/>
                  </a:cubicBezTo>
                  <a:lnTo>
                    <a:pt x="3592" y="3593"/>
                  </a:lnTo>
                  <a:cubicBezTo>
                    <a:pt x="3120" y="2899"/>
                    <a:pt x="3624" y="1954"/>
                    <a:pt x="4443" y="1954"/>
                  </a:cubicBezTo>
                  <a:cubicBezTo>
                    <a:pt x="5104" y="1954"/>
                    <a:pt x="5640" y="2584"/>
                    <a:pt x="5419" y="3309"/>
                  </a:cubicBezTo>
                  <a:lnTo>
                    <a:pt x="6617" y="4223"/>
                  </a:lnTo>
                  <a:cubicBezTo>
                    <a:pt x="6766" y="4116"/>
                    <a:pt x="6959" y="4038"/>
                    <a:pt x="7165" y="4038"/>
                  </a:cubicBezTo>
                  <a:cubicBezTo>
                    <a:pt x="7264" y="4038"/>
                    <a:pt x="7365" y="4056"/>
                    <a:pt x="7467" y="4097"/>
                  </a:cubicBezTo>
                  <a:lnTo>
                    <a:pt x="8381" y="2899"/>
                  </a:lnTo>
                  <a:cubicBezTo>
                    <a:pt x="8255" y="2742"/>
                    <a:pt x="8223" y="2553"/>
                    <a:pt x="8223" y="2364"/>
                  </a:cubicBezTo>
                  <a:cubicBezTo>
                    <a:pt x="8223" y="1797"/>
                    <a:pt x="8696" y="1324"/>
                    <a:pt x="9232" y="1324"/>
                  </a:cubicBezTo>
                  <a:close/>
                  <a:moveTo>
                    <a:pt x="1009" y="1"/>
                  </a:moveTo>
                  <a:cubicBezTo>
                    <a:pt x="473" y="1"/>
                    <a:pt x="1" y="474"/>
                    <a:pt x="1" y="1009"/>
                  </a:cubicBezTo>
                  <a:lnTo>
                    <a:pt x="1" y="7531"/>
                  </a:lnTo>
                  <a:lnTo>
                    <a:pt x="11689" y="7531"/>
                  </a:lnTo>
                  <a:lnTo>
                    <a:pt x="11689" y="1009"/>
                  </a:lnTo>
                  <a:cubicBezTo>
                    <a:pt x="11657" y="411"/>
                    <a:pt x="11185" y="1"/>
                    <a:pt x="10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8" name="Google Shape;8888;p76"/>
          <p:cNvGrpSpPr/>
          <p:nvPr/>
        </p:nvGrpSpPr>
        <p:grpSpPr>
          <a:xfrm>
            <a:off x="2471824" y="1689223"/>
            <a:ext cx="424195" cy="419659"/>
            <a:chOff x="-5611575" y="3272950"/>
            <a:chExt cx="294600" cy="291450"/>
          </a:xfrm>
        </p:grpSpPr>
        <p:sp>
          <p:nvSpPr>
            <p:cNvPr id="8889" name="Google Shape;8889;p76"/>
            <p:cNvSpPr/>
            <p:nvPr/>
          </p:nvSpPr>
          <p:spPr>
            <a:xfrm>
              <a:off x="-5594250" y="3273750"/>
              <a:ext cx="85875" cy="84300"/>
            </a:xfrm>
            <a:custGeom>
              <a:avLst/>
              <a:gdLst/>
              <a:ahLst/>
              <a:cxnLst/>
              <a:rect l="l" t="t" r="r" b="b"/>
              <a:pathLst>
                <a:path w="3435" h="3372" extrusionOk="0">
                  <a:moveTo>
                    <a:pt x="1734" y="0"/>
                  </a:moveTo>
                  <a:cubicBezTo>
                    <a:pt x="788" y="0"/>
                    <a:pt x="32" y="756"/>
                    <a:pt x="32" y="1702"/>
                  </a:cubicBezTo>
                  <a:cubicBezTo>
                    <a:pt x="1" y="2678"/>
                    <a:pt x="820" y="3371"/>
                    <a:pt x="1702" y="3371"/>
                  </a:cubicBezTo>
                  <a:cubicBezTo>
                    <a:pt x="2269" y="3371"/>
                    <a:pt x="2899" y="3025"/>
                    <a:pt x="3214" y="2426"/>
                  </a:cubicBezTo>
                  <a:cubicBezTo>
                    <a:pt x="3340" y="2206"/>
                    <a:pt x="3435" y="1922"/>
                    <a:pt x="3435" y="1702"/>
                  </a:cubicBezTo>
                  <a:cubicBezTo>
                    <a:pt x="3435" y="756"/>
                    <a:pt x="2679"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0" name="Google Shape;8890;p76"/>
            <p:cNvSpPr/>
            <p:nvPr/>
          </p:nvSpPr>
          <p:spPr>
            <a:xfrm>
              <a:off x="-5457200" y="3324950"/>
              <a:ext cx="67775" cy="67750"/>
            </a:xfrm>
            <a:custGeom>
              <a:avLst/>
              <a:gdLst/>
              <a:ahLst/>
              <a:cxnLst/>
              <a:rect l="l" t="t" r="r" b="b"/>
              <a:pathLst>
                <a:path w="2711" h="2710" extrusionOk="0">
                  <a:moveTo>
                    <a:pt x="1009" y="0"/>
                  </a:moveTo>
                  <a:cubicBezTo>
                    <a:pt x="410" y="158"/>
                    <a:pt x="1" y="662"/>
                    <a:pt x="1" y="1323"/>
                  </a:cubicBezTo>
                  <a:cubicBezTo>
                    <a:pt x="1" y="2079"/>
                    <a:pt x="631" y="2710"/>
                    <a:pt x="1355" y="2710"/>
                  </a:cubicBezTo>
                  <a:cubicBezTo>
                    <a:pt x="1985" y="2710"/>
                    <a:pt x="2553" y="2268"/>
                    <a:pt x="2710" y="1701"/>
                  </a:cubicBezTo>
                  <a:lnTo>
                    <a:pt x="1355" y="1701"/>
                  </a:lnTo>
                  <a:cubicBezTo>
                    <a:pt x="1166" y="1701"/>
                    <a:pt x="1009" y="1544"/>
                    <a:pt x="1009" y="1323"/>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6"/>
            <p:cNvSpPr/>
            <p:nvPr/>
          </p:nvSpPr>
          <p:spPr>
            <a:xfrm>
              <a:off x="-5415450" y="3325725"/>
              <a:ext cx="25225" cy="24450"/>
            </a:xfrm>
            <a:custGeom>
              <a:avLst/>
              <a:gdLst/>
              <a:ahLst/>
              <a:cxnLst/>
              <a:rect l="l" t="t" r="r" b="b"/>
              <a:pathLst>
                <a:path w="1009" h="978" extrusionOk="0">
                  <a:moveTo>
                    <a:pt x="0" y="1"/>
                  </a:moveTo>
                  <a:lnTo>
                    <a:pt x="0" y="977"/>
                  </a:lnTo>
                  <a:lnTo>
                    <a:pt x="1009" y="977"/>
                  </a:lnTo>
                  <a:cubicBezTo>
                    <a:pt x="883" y="473"/>
                    <a:pt x="473"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76"/>
            <p:cNvSpPr/>
            <p:nvPr/>
          </p:nvSpPr>
          <p:spPr>
            <a:xfrm>
              <a:off x="-5611575" y="3359600"/>
              <a:ext cx="118950" cy="204800"/>
            </a:xfrm>
            <a:custGeom>
              <a:avLst/>
              <a:gdLst/>
              <a:ahLst/>
              <a:cxnLst/>
              <a:rect l="l" t="t" r="r" b="b"/>
              <a:pathLst>
                <a:path w="4758" h="8192" extrusionOk="0">
                  <a:moveTo>
                    <a:pt x="694" y="0"/>
                  </a:moveTo>
                  <a:cubicBezTo>
                    <a:pt x="253" y="410"/>
                    <a:pt x="1" y="1008"/>
                    <a:pt x="1" y="1670"/>
                  </a:cubicBezTo>
                  <a:lnTo>
                    <a:pt x="1" y="3718"/>
                  </a:lnTo>
                  <a:cubicBezTo>
                    <a:pt x="1" y="4159"/>
                    <a:pt x="253" y="4569"/>
                    <a:pt x="662" y="4726"/>
                  </a:cubicBezTo>
                  <a:lnTo>
                    <a:pt x="662" y="7152"/>
                  </a:lnTo>
                  <a:cubicBezTo>
                    <a:pt x="662" y="7687"/>
                    <a:pt x="1135" y="8192"/>
                    <a:pt x="1670" y="8192"/>
                  </a:cubicBezTo>
                  <a:lnTo>
                    <a:pt x="3057" y="8192"/>
                  </a:lnTo>
                  <a:cubicBezTo>
                    <a:pt x="3624" y="8192"/>
                    <a:pt x="4096" y="7719"/>
                    <a:pt x="4096" y="7152"/>
                  </a:cubicBezTo>
                  <a:lnTo>
                    <a:pt x="4096" y="4726"/>
                  </a:lnTo>
                  <a:cubicBezTo>
                    <a:pt x="4474" y="4569"/>
                    <a:pt x="4758" y="4190"/>
                    <a:pt x="4758" y="3718"/>
                  </a:cubicBezTo>
                  <a:lnTo>
                    <a:pt x="4758" y="1670"/>
                  </a:lnTo>
                  <a:cubicBezTo>
                    <a:pt x="4758" y="1008"/>
                    <a:pt x="4474" y="410"/>
                    <a:pt x="4033" y="0"/>
                  </a:cubicBezTo>
                  <a:cubicBezTo>
                    <a:pt x="3718" y="347"/>
                    <a:pt x="3246" y="567"/>
                    <a:pt x="2742" y="662"/>
                  </a:cubicBezTo>
                  <a:lnTo>
                    <a:pt x="2742" y="2395"/>
                  </a:lnTo>
                  <a:cubicBezTo>
                    <a:pt x="2742" y="2584"/>
                    <a:pt x="2584" y="2741"/>
                    <a:pt x="2395" y="2741"/>
                  </a:cubicBezTo>
                  <a:cubicBezTo>
                    <a:pt x="2175" y="2741"/>
                    <a:pt x="2017" y="2584"/>
                    <a:pt x="2017" y="2395"/>
                  </a:cubicBezTo>
                  <a:lnTo>
                    <a:pt x="2017" y="662"/>
                  </a:lnTo>
                  <a:cubicBezTo>
                    <a:pt x="1513" y="567"/>
                    <a:pt x="1040" y="347"/>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76"/>
            <p:cNvSpPr/>
            <p:nvPr/>
          </p:nvSpPr>
          <p:spPr>
            <a:xfrm>
              <a:off x="-5510750" y="3272950"/>
              <a:ext cx="193775" cy="187475"/>
            </a:xfrm>
            <a:custGeom>
              <a:avLst/>
              <a:gdLst/>
              <a:ahLst/>
              <a:cxnLst/>
              <a:rect l="l" t="t" r="r" b="b"/>
              <a:pathLst>
                <a:path w="7751" h="7499" extrusionOk="0">
                  <a:moveTo>
                    <a:pt x="3497" y="1355"/>
                  </a:moveTo>
                  <a:cubicBezTo>
                    <a:pt x="4663" y="1355"/>
                    <a:pt x="5577" y="2269"/>
                    <a:pt x="5577" y="3403"/>
                  </a:cubicBezTo>
                  <a:cubicBezTo>
                    <a:pt x="5577" y="4569"/>
                    <a:pt x="4600" y="5451"/>
                    <a:pt x="3497" y="5451"/>
                  </a:cubicBezTo>
                  <a:cubicBezTo>
                    <a:pt x="2363" y="5451"/>
                    <a:pt x="1450" y="4569"/>
                    <a:pt x="1450" y="3403"/>
                  </a:cubicBezTo>
                  <a:cubicBezTo>
                    <a:pt x="1450" y="2269"/>
                    <a:pt x="2363" y="1355"/>
                    <a:pt x="3497" y="1355"/>
                  </a:cubicBezTo>
                  <a:close/>
                  <a:moveTo>
                    <a:pt x="0" y="1"/>
                  </a:moveTo>
                  <a:cubicBezTo>
                    <a:pt x="441" y="410"/>
                    <a:pt x="725" y="1009"/>
                    <a:pt x="725" y="1671"/>
                  </a:cubicBezTo>
                  <a:cubicBezTo>
                    <a:pt x="725" y="2112"/>
                    <a:pt x="599" y="2521"/>
                    <a:pt x="410" y="2868"/>
                  </a:cubicBezTo>
                  <a:cubicBezTo>
                    <a:pt x="1040" y="3403"/>
                    <a:pt x="1387" y="4191"/>
                    <a:pt x="1387" y="5105"/>
                  </a:cubicBezTo>
                  <a:lnTo>
                    <a:pt x="1387" y="7152"/>
                  </a:lnTo>
                  <a:cubicBezTo>
                    <a:pt x="1387" y="7278"/>
                    <a:pt x="1387" y="7404"/>
                    <a:pt x="1355" y="7499"/>
                  </a:cubicBezTo>
                  <a:lnTo>
                    <a:pt x="5829" y="7499"/>
                  </a:lnTo>
                  <a:cubicBezTo>
                    <a:pt x="6396" y="7499"/>
                    <a:pt x="6900" y="7026"/>
                    <a:pt x="6900" y="6491"/>
                  </a:cubicBezTo>
                  <a:lnTo>
                    <a:pt x="6900" y="694"/>
                  </a:lnTo>
                  <a:lnTo>
                    <a:pt x="7246" y="694"/>
                  </a:lnTo>
                  <a:cubicBezTo>
                    <a:pt x="7751" y="694"/>
                    <a:pt x="7751" y="1"/>
                    <a:pt x="72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4" name="Google Shape;8894;p76"/>
          <p:cNvGrpSpPr/>
          <p:nvPr/>
        </p:nvGrpSpPr>
        <p:grpSpPr>
          <a:xfrm>
            <a:off x="2471824" y="2205770"/>
            <a:ext cx="424195" cy="418507"/>
            <a:chOff x="-5613150" y="3632900"/>
            <a:chExt cx="294600" cy="290650"/>
          </a:xfrm>
        </p:grpSpPr>
        <p:sp>
          <p:nvSpPr>
            <p:cNvPr id="8895" name="Google Shape;8895;p76"/>
            <p:cNvSpPr/>
            <p:nvPr/>
          </p:nvSpPr>
          <p:spPr>
            <a:xfrm>
              <a:off x="-5440825" y="3708275"/>
              <a:ext cx="49550" cy="41450"/>
            </a:xfrm>
            <a:custGeom>
              <a:avLst/>
              <a:gdLst/>
              <a:ahLst/>
              <a:cxnLst/>
              <a:rect l="l" t="t" r="r" b="b"/>
              <a:pathLst>
                <a:path w="1982" h="1658" extrusionOk="0">
                  <a:moveTo>
                    <a:pt x="522" y="1"/>
                  </a:moveTo>
                  <a:cubicBezTo>
                    <a:pt x="249" y="1"/>
                    <a:pt x="1" y="335"/>
                    <a:pt x="291" y="577"/>
                  </a:cubicBezTo>
                  <a:lnTo>
                    <a:pt x="1267" y="1554"/>
                  </a:lnTo>
                  <a:cubicBezTo>
                    <a:pt x="1341" y="1627"/>
                    <a:pt x="1422" y="1658"/>
                    <a:pt x="1501" y="1658"/>
                  </a:cubicBezTo>
                  <a:cubicBezTo>
                    <a:pt x="1760" y="1658"/>
                    <a:pt x="1982" y="1323"/>
                    <a:pt x="1740" y="1081"/>
                  </a:cubicBezTo>
                  <a:lnTo>
                    <a:pt x="763" y="104"/>
                  </a:lnTo>
                  <a:cubicBezTo>
                    <a:pt x="690" y="31"/>
                    <a:pt x="605" y="1"/>
                    <a:pt x="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76"/>
            <p:cNvSpPr/>
            <p:nvPr/>
          </p:nvSpPr>
          <p:spPr>
            <a:xfrm>
              <a:off x="-5613150" y="3632900"/>
              <a:ext cx="294600" cy="290650"/>
            </a:xfrm>
            <a:custGeom>
              <a:avLst/>
              <a:gdLst/>
              <a:ahLst/>
              <a:cxnLst/>
              <a:rect l="l" t="t" r="r" b="b"/>
              <a:pathLst>
                <a:path w="11784" h="11626" extrusionOk="0">
                  <a:moveTo>
                    <a:pt x="7444" y="2281"/>
                  </a:moveTo>
                  <a:cubicBezTo>
                    <a:pt x="7676" y="2281"/>
                    <a:pt x="7915" y="2370"/>
                    <a:pt x="8129" y="2584"/>
                  </a:cubicBezTo>
                  <a:lnTo>
                    <a:pt x="9106" y="3592"/>
                  </a:lnTo>
                  <a:cubicBezTo>
                    <a:pt x="9736" y="4254"/>
                    <a:pt x="9263" y="5356"/>
                    <a:pt x="8349" y="5356"/>
                  </a:cubicBezTo>
                  <a:cubicBezTo>
                    <a:pt x="8066" y="5356"/>
                    <a:pt x="7814" y="5230"/>
                    <a:pt x="7656" y="5041"/>
                  </a:cubicBezTo>
                  <a:lnTo>
                    <a:pt x="6648" y="4065"/>
                  </a:lnTo>
                  <a:cubicBezTo>
                    <a:pt x="5941" y="3333"/>
                    <a:pt x="6649" y="2281"/>
                    <a:pt x="7444" y="2281"/>
                  </a:cubicBezTo>
                  <a:close/>
                  <a:moveTo>
                    <a:pt x="5495" y="3992"/>
                  </a:moveTo>
                  <a:cubicBezTo>
                    <a:pt x="5754" y="3992"/>
                    <a:pt x="5976" y="4327"/>
                    <a:pt x="5735" y="4569"/>
                  </a:cubicBezTo>
                  <a:lnTo>
                    <a:pt x="5262" y="5041"/>
                  </a:lnTo>
                  <a:cubicBezTo>
                    <a:pt x="4978" y="5325"/>
                    <a:pt x="5262" y="5514"/>
                    <a:pt x="5483" y="5734"/>
                  </a:cubicBezTo>
                  <a:lnTo>
                    <a:pt x="6207" y="5041"/>
                  </a:lnTo>
                  <a:cubicBezTo>
                    <a:pt x="6280" y="4968"/>
                    <a:pt x="6362" y="4937"/>
                    <a:pt x="6440" y="4937"/>
                  </a:cubicBezTo>
                  <a:cubicBezTo>
                    <a:pt x="6699" y="4937"/>
                    <a:pt x="6922" y="5272"/>
                    <a:pt x="6680" y="5514"/>
                  </a:cubicBezTo>
                  <a:lnTo>
                    <a:pt x="5955" y="6207"/>
                  </a:lnTo>
                  <a:cubicBezTo>
                    <a:pt x="6132" y="6384"/>
                    <a:pt x="6294" y="6577"/>
                    <a:pt x="6462" y="6577"/>
                  </a:cubicBezTo>
                  <a:cubicBezTo>
                    <a:pt x="6533" y="6577"/>
                    <a:pt x="6605" y="6543"/>
                    <a:pt x="6680" y="6459"/>
                  </a:cubicBezTo>
                  <a:lnTo>
                    <a:pt x="7152" y="5986"/>
                  </a:lnTo>
                  <a:cubicBezTo>
                    <a:pt x="7213" y="5926"/>
                    <a:pt x="7285" y="5900"/>
                    <a:pt x="7358" y="5900"/>
                  </a:cubicBezTo>
                  <a:cubicBezTo>
                    <a:pt x="7626" y="5900"/>
                    <a:pt x="7904" y="6250"/>
                    <a:pt x="7656" y="6522"/>
                  </a:cubicBezTo>
                  <a:lnTo>
                    <a:pt x="7184" y="6995"/>
                  </a:lnTo>
                  <a:cubicBezTo>
                    <a:pt x="6963" y="7215"/>
                    <a:pt x="6743" y="7310"/>
                    <a:pt x="6459" y="7310"/>
                  </a:cubicBezTo>
                  <a:cubicBezTo>
                    <a:pt x="6176" y="7310"/>
                    <a:pt x="5924" y="7215"/>
                    <a:pt x="5766" y="6995"/>
                  </a:cubicBezTo>
                  <a:lnTo>
                    <a:pt x="4789" y="6018"/>
                  </a:lnTo>
                  <a:cubicBezTo>
                    <a:pt x="4380" y="5640"/>
                    <a:pt x="4380" y="4947"/>
                    <a:pt x="4789" y="4569"/>
                  </a:cubicBezTo>
                  <a:lnTo>
                    <a:pt x="5262" y="4096"/>
                  </a:lnTo>
                  <a:cubicBezTo>
                    <a:pt x="5335" y="4023"/>
                    <a:pt x="5417" y="3992"/>
                    <a:pt x="5495" y="3992"/>
                  </a:cubicBezTo>
                  <a:close/>
                  <a:moveTo>
                    <a:pt x="3510" y="5977"/>
                  </a:moveTo>
                  <a:cubicBezTo>
                    <a:pt x="3769" y="5977"/>
                    <a:pt x="3992" y="6312"/>
                    <a:pt x="3750" y="6553"/>
                  </a:cubicBezTo>
                  <a:lnTo>
                    <a:pt x="3277" y="7026"/>
                  </a:lnTo>
                  <a:cubicBezTo>
                    <a:pt x="3035" y="7268"/>
                    <a:pt x="3258" y="7603"/>
                    <a:pt x="3516" y="7603"/>
                  </a:cubicBezTo>
                  <a:cubicBezTo>
                    <a:pt x="3595" y="7603"/>
                    <a:pt x="3677" y="7572"/>
                    <a:pt x="3750" y="7499"/>
                  </a:cubicBezTo>
                  <a:cubicBezTo>
                    <a:pt x="3976" y="7273"/>
                    <a:pt x="4227" y="7178"/>
                    <a:pt x="4467" y="7178"/>
                  </a:cubicBezTo>
                  <a:cubicBezTo>
                    <a:pt x="5267" y="7178"/>
                    <a:pt x="5950" y="8221"/>
                    <a:pt x="5199" y="8948"/>
                  </a:cubicBezTo>
                  <a:lnTo>
                    <a:pt x="4726" y="9420"/>
                  </a:lnTo>
                  <a:cubicBezTo>
                    <a:pt x="4653" y="9494"/>
                    <a:pt x="4571" y="9524"/>
                    <a:pt x="4493" y="9524"/>
                  </a:cubicBezTo>
                  <a:cubicBezTo>
                    <a:pt x="4234" y="9524"/>
                    <a:pt x="4012" y="9190"/>
                    <a:pt x="4254" y="8948"/>
                  </a:cubicBezTo>
                  <a:lnTo>
                    <a:pt x="4726" y="8475"/>
                  </a:lnTo>
                  <a:cubicBezTo>
                    <a:pt x="4968" y="8233"/>
                    <a:pt x="4746" y="7899"/>
                    <a:pt x="4487" y="7899"/>
                  </a:cubicBezTo>
                  <a:cubicBezTo>
                    <a:pt x="4409" y="7899"/>
                    <a:pt x="4327" y="7929"/>
                    <a:pt x="4254" y="8003"/>
                  </a:cubicBezTo>
                  <a:cubicBezTo>
                    <a:pt x="4035" y="8222"/>
                    <a:pt x="3787" y="8314"/>
                    <a:pt x="3547" y="8314"/>
                  </a:cubicBezTo>
                  <a:cubicBezTo>
                    <a:pt x="2754" y="8314"/>
                    <a:pt x="2054" y="7304"/>
                    <a:pt x="2805" y="6553"/>
                  </a:cubicBezTo>
                  <a:lnTo>
                    <a:pt x="3277" y="6081"/>
                  </a:lnTo>
                  <a:cubicBezTo>
                    <a:pt x="3350" y="6008"/>
                    <a:pt x="3432" y="5977"/>
                    <a:pt x="3510" y="5977"/>
                  </a:cubicBezTo>
                  <a:close/>
                  <a:moveTo>
                    <a:pt x="11390" y="0"/>
                  </a:moveTo>
                  <a:cubicBezTo>
                    <a:pt x="11303" y="0"/>
                    <a:pt x="11216" y="32"/>
                    <a:pt x="11153" y="95"/>
                  </a:cubicBezTo>
                  <a:lnTo>
                    <a:pt x="10208" y="1009"/>
                  </a:lnTo>
                  <a:cubicBezTo>
                    <a:pt x="9893" y="820"/>
                    <a:pt x="9547" y="757"/>
                    <a:pt x="9169" y="757"/>
                  </a:cubicBezTo>
                  <a:lnTo>
                    <a:pt x="6396" y="914"/>
                  </a:lnTo>
                  <a:cubicBezTo>
                    <a:pt x="5798" y="946"/>
                    <a:pt x="5230" y="1166"/>
                    <a:pt x="4821" y="1607"/>
                  </a:cubicBezTo>
                  <a:lnTo>
                    <a:pt x="410" y="6018"/>
                  </a:lnTo>
                  <a:cubicBezTo>
                    <a:pt x="1" y="6427"/>
                    <a:pt x="1" y="7089"/>
                    <a:pt x="410" y="7467"/>
                  </a:cubicBezTo>
                  <a:lnTo>
                    <a:pt x="4254" y="11342"/>
                  </a:lnTo>
                  <a:cubicBezTo>
                    <a:pt x="4459" y="11531"/>
                    <a:pt x="4726" y="11626"/>
                    <a:pt x="4990" y="11626"/>
                  </a:cubicBezTo>
                  <a:cubicBezTo>
                    <a:pt x="5254" y="11626"/>
                    <a:pt x="5514" y="11531"/>
                    <a:pt x="5703" y="11342"/>
                  </a:cubicBezTo>
                  <a:cubicBezTo>
                    <a:pt x="9704" y="7373"/>
                    <a:pt x="8854" y="8192"/>
                    <a:pt x="9956" y="7058"/>
                  </a:cubicBezTo>
                  <a:cubicBezTo>
                    <a:pt x="10492" y="6616"/>
                    <a:pt x="10807" y="5986"/>
                    <a:pt x="10838" y="5325"/>
                  </a:cubicBezTo>
                  <a:lnTo>
                    <a:pt x="10996" y="2521"/>
                  </a:lnTo>
                  <a:cubicBezTo>
                    <a:pt x="10996" y="2174"/>
                    <a:pt x="10901" y="1765"/>
                    <a:pt x="10712" y="1481"/>
                  </a:cubicBezTo>
                  <a:lnTo>
                    <a:pt x="11689" y="568"/>
                  </a:lnTo>
                  <a:cubicBezTo>
                    <a:pt x="11784" y="442"/>
                    <a:pt x="11784" y="190"/>
                    <a:pt x="11626" y="95"/>
                  </a:cubicBezTo>
                  <a:cubicBezTo>
                    <a:pt x="11563" y="32"/>
                    <a:pt x="11476" y="0"/>
                    <a:pt x="11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7" name="Google Shape;8897;p76"/>
          <p:cNvGrpSpPr/>
          <p:nvPr/>
        </p:nvGrpSpPr>
        <p:grpSpPr>
          <a:xfrm>
            <a:off x="2483722" y="2756270"/>
            <a:ext cx="424195" cy="420775"/>
            <a:chOff x="-5613150" y="3991275"/>
            <a:chExt cx="294600" cy="292225"/>
          </a:xfrm>
        </p:grpSpPr>
        <p:sp>
          <p:nvSpPr>
            <p:cNvPr id="8898" name="Google Shape;8898;p76"/>
            <p:cNvSpPr/>
            <p:nvPr/>
          </p:nvSpPr>
          <p:spPr>
            <a:xfrm>
              <a:off x="-5480050" y="4046400"/>
              <a:ext cx="27600" cy="14200"/>
            </a:xfrm>
            <a:custGeom>
              <a:avLst/>
              <a:gdLst/>
              <a:ahLst/>
              <a:cxnLst/>
              <a:rect l="l" t="t" r="r" b="b"/>
              <a:pathLst>
                <a:path w="1104" h="568" extrusionOk="0">
                  <a:moveTo>
                    <a:pt x="537" y="1"/>
                  </a:moveTo>
                  <a:lnTo>
                    <a:pt x="1" y="568"/>
                  </a:lnTo>
                  <a:lnTo>
                    <a:pt x="1104" y="568"/>
                  </a:lnTo>
                  <a:lnTo>
                    <a:pt x="5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76"/>
            <p:cNvSpPr/>
            <p:nvPr/>
          </p:nvSpPr>
          <p:spPr>
            <a:xfrm>
              <a:off x="-5531225" y="4042450"/>
              <a:ext cx="44125" cy="18150"/>
            </a:xfrm>
            <a:custGeom>
              <a:avLst/>
              <a:gdLst/>
              <a:ahLst/>
              <a:cxnLst/>
              <a:rect l="l" t="t" r="r" b="b"/>
              <a:pathLst>
                <a:path w="1765" h="726" extrusionOk="0">
                  <a:moveTo>
                    <a:pt x="693" y="1"/>
                  </a:moveTo>
                  <a:lnTo>
                    <a:pt x="0" y="726"/>
                  </a:lnTo>
                  <a:lnTo>
                    <a:pt x="1103" y="726"/>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76"/>
            <p:cNvSpPr/>
            <p:nvPr/>
          </p:nvSpPr>
          <p:spPr>
            <a:xfrm>
              <a:off x="-5443025" y="4077125"/>
              <a:ext cx="41775" cy="40975"/>
            </a:xfrm>
            <a:custGeom>
              <a:avLst/>
              <a:gdLst/>
              <a:ahLst/>
              <a:cxnLst/>
              <a:rect l="l" t="t" r="r" b="b"/>
              <a:pathLst>
                <a:path w="1671" h="1639" extrusionOk="0">
                  <a:moveTo>
                    <a:pt x="694" y="0"/>
                  </a:moveTo>
                  <a:lnTo>
                    <a:pt x="1" y="1638"/>
                  </a:lnTo>
                  <a:lnTo>
                    <a:pt x="1" y="1638"/>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76"/>
            <p:cNvSpPr/>
            <p:nvPr/>
          </p:nvSpPr>
          <p:spPr>
            <a:xfrm>
              <a:off x="-5487925" y="4077125"/>
              <a:ext cx="43350" cy="54375"/>
            </a:xfrm>
            <a:custGeom>
              <a:avLst/>
              <a:gdLst/>
              <a:ahLst/>
              <a:cxnLst/>
              <a:rect l="l" t="t" r="r" b="b"/>
              <a:pathLst>
                <a:path w="1734" h="2175" extrusionOk="0">
                  <a:moveTo>
                    <a:pt x="1" y="0"/>
                  </a:moveTo>
                  <a:lnTo>
                    <a:pt x="852" y="2174"/>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76"/>
            <p:cNvSpPr/>
            <p:nvPr/>
          </p:nvSpPr>
          <p:spPr>
            <a:xfrm>
              <a:off x="-5445375" y="4042450"/>
              <a:ext cx="44125" cy="18150"/>
            </a:xfrm>
            <a:custGeom>
              <a:avLst/>
              <a:gdLst/>
              <a:ahLst/>
              <a:cxnLst/>
              <a:rect l="l" t="t" r="r" b="b"/>
              <a:pathLst>
                <a:path w="1765" h="726" extrusionOk="0">
                  <a:moveTo>
                    <a:pt x="0" y="1"/>
                  </a:moveTo>
                  <a:lnTo>
                    <a:pt x="693" y="726"/>
                  </a:lnTo>
                  <a:lnTo>
                    <a:pt x="1764" y="726"/>
                  </a:lnTo>
                  <a:lnTo>
                    <a:pt x="11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76"/>
            <p:cNvSpPr/>
            <p:nvPr/>
          </p:nvSpPr>
          <p:spPr>
            <a:xfrm>
              <a:off x="-5531225" y="4077125"/>
              <a:ext cx="41750" cy="40975"/>
            </a:xfrm>
            <a:custGeom>
              <a:avLst/>
              <a:gdLst/>
              <a:ahLst/>
              <a:cxnLst/>
              <a:rect l="l" t="t" r="r" b="b"/>
              <a:pathLst>
                <a:path w="1670" h="1639" extrusionOk="0">
                  <a:moveTo>
                    <a:pt x="0" y="0"/>
                  </a:moveTo>
                  <a:lnTo>
                    <a:pt x="1670" y="1638"/>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76"/>
            <p:cNvSpPr/>
            <p:nvPr/>
          </p:nvSpPr>
          <p:spPr>
            <a:xfrm>
              <a:off x="-5613150" y="4198400"/>
              <a:ext cx="292225" cy="33900"/>
            </a:xfrm>
            <a:custGeom>
              <a:avLst/>
              <a:gdLst/>
              <a:ahLst/>
              <a:cxnLst/>
              <a:rect l="l" t="t" r="r" b="b"/>
              <a:pathLst>
                <a:path w="11689" h="1356" extrusionOk="0">
                  <a:moveTo>
                    <a:pt x="1" y="1"/>
                  </a:moveTo>
                  <a:lnTo>
                    <a:pt x="1" y="347"/>
                  </a:lnTo>
                  <a:lnTo>
                    <a:pt x="32" y="347"/>
                  </a:lnTo>
                  <a:cubicBezTo>
                    <a:pt x="32" y="883"/>
                    <a:pt x="505" y="1356"/>
                    <a:pt x="1072" y="1356"/>
                  </a:cubicBezTo>
                  <a:lnTo>
                    <a:pt x="10681" y="1356"/>
                  </a:lnTo>
                  <a:cubicBezTo>
                    <a:pt x="11216" y="1356"/>
                    <a:pt x="11689" y="883"/>
                    <a:pt x="11689" y="347"/>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76"/>
            <p:cNvSpPr/>
            <p:nvPr/>
          </p:nvSpPr>
          <p:spPr>
            <a:xfrm>
              <a:off x="-5610775" y="3991275"/>
              <a:ext cx="292225" cy="189050"/>
            </a:xfrm>
            <a:custGeom>
              <a:avLst/>
              <a:gdLst/>
              <a:ahLst/>
              <a:cxnLst/>
              <a:rect l="l" t="t" r="r" b="b"/>
              <a:pathLst>
                <a:path w="11689" h="7562" extrusionOk="0">
                  <a:moveTo>
                    <a:pt x="7813" y="1386"/>
                  </a:moveTo>
                  <a:cubicBezTo>
                    <a:pt x="7908" y="1386"/>
                    <a:pt x="8034" y="1418"/>
                    <a:pt x="8065" y="1512"/>
                  </a:cubicBezTo>
                  <a:cubicBezTo>
                    <a:pt x="8128" y="1575"/>
                    <a:pt x="9483" y="2867"/>
                    <a:pt x="9515" y="2993"/>
                  </a:cubicBezTo>
                  <a:cubicBezTo>
                    <a:pt x="9578" y="3088"/>
                    <a:pt x="9578" y="3214"/>
                    <a:pt x="9452" y="3340"/>
                  </a:cubicBezTo>
                  <a:lnTo>
                    <a:pt x="6018" y="6774"/>
                  </a:lnTo>
                  <a:cubicBezTo>
                    <a:pt x="5943" y="6848"/>
                    <a:pt x="5862" y="6880"/>
                    <a:pt x="5783" y="6880"/>
                  </a:cubicBezTo>
                  <a:cubicBezTo>
                    <a:pt x="5696" y="6880"/>
                    <a:pt x="5612" y="6840"/>
                    <a:pt x="5545" y="6774"/>
                  </a:cubicBezTo>
                  <a:lnTo>
                    <a:pt x="2111" y="3340"/>
                  </a:lnTo>
                  <a:cubicBezTo>
                    <a:pt x="2001" y="3230"/>
                    <a:pt x="1987" y="2976"/>
                    <a:pt x="2027" y="2976"/>
                  </a:cubicBezTo>
                  <a:cubicBezTo>
                    <a:pt x="2033" y="2976"/>
                    <a:pt x="2040" y="2981"/>
                    <a:pt x="2048" y="2993"/>
                  </a:cubicBezTo>
                  <a:cubicBezTo>
                    <a:pt x="2048" y="2962"/>
                    <a:pt x="2079" y="2930"/>
                    <a:pt x="2111" y="2867"/>
                  </a:cubicBezTo>
                  <a:lnTo>
                    <a:pt x="3497" y="1512"/>
                  </a:lnTo>
                  <a:cubicBezTo>
                    <a:pt x="3560" y="1418"/>
                    <a:pt x="3655" y="1386"/>
                    <a:pt x="3718" y="1386"/>
                  </a:cubicBezTo>
                  <a:close/>
                  <a:moveTo>
                    <a:pt x="1008" y="0"/>
                  </a:moveTo>
                  <a:cubicBezTo>
                    <a:pt x="473" y="0"/>
                    <a:pt x="0" y="473"/>
                    <a:pt x="0" y="1040"/>
                  </a:cubicBezTo>
                  <a:lnTo>
                    <a:pt x="0" y="7561"/>
                  </a:lnTo>
                  <a:lnTo>
                    <a:pt x="11689" y="7561"/>
                  </a:lnTo>
                  <a:lnTo>
                    <a:pt x="11689" y="1040"/>
                  </a:lnTo>
                  <a:cubicBezTo>
                    <a:pt x="11657" y="473"/>
                    <a:pt x="11184" y="0"/>
                    <a:pt x="10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76"/>
            <p:cNvSpPr/>
            <p:nvPr/>
          </p:nvSpPr>
          <p:spPr>
            <a:xfrm>
              <a:off x="-5546975" y="4250400"/>
              <a:ext cx="160700" cy="33100"/>
            </a:xfrm>
            <a:custGeom>
              <a:avLst/>
              <a:gdLst/>
              <a:ahLst/>
              <a:cxnLst/>
              <a:rect l="l" t="t" r="r" b="b"/>
              <a:pathLst>
                <a:path w="6428" h="1324" extrusionOk="0">
                  <a:moveTo>
                    <a:pt x="1544" y="0"/>
                  </a:moveTo>
                  <a:lnTo>
                    <a:pt x="1386" y="662"/>
                  </a:lnTo>
                  <a:lnTo>
                    <a:pt x="473" y="662"/>
                  </a:lnTo>
                  <a:cubicBezTo>
                    <a:pt x="32" y="662"/>
                    <a:pt x="0" y="1323"/>
                    <a:pt x="473" y="1323"/>
                  </a:cubicBezTo>
                  <a:lnTo>
                    <a:pt x="5955" y="1323"/>
                  </a:lnTo>
                  <a:cubicBezTo>
                    <a:pt x="6427" y="1323"/>
                    <a:pt x="6427" y="662"/>
                    <a:pt x="5986" y="662"/>
                  </a:cubicBezTo>
                  <a:lnTo>
                    <a:pt x="5072" y="662"/>
                  </a:ln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07" name="Google Shape;8907;p76"/>
          <p:cNvGrpSpPr/>
          <p:nvPr/>
        </p:nvGrpSpPr>
        <p:grpSpPr>
          <a:xfrm>
            <a:off x="5155210" y="1689438"/>
            <a:ext cx="434634" cy="419227"/>
            <a:chOff x="-3768700" y="3253275"/>
            <a:chExt cx="301850" cy="291150"/>
          </a:xfrm>
        </p:grpSpPr>
        <p:sp>
          <p:nvSpPr>
            <p:cNvPr id="8908" name="Google Shape;8908;p76"/>
            <p:cNvSpPr/>
            <p:nvPr/>
          </p:nvSpPr>
          <p:spPr>
            <a:xfrm>
              <a:off x="-3603925" y="3355650"/>
              <a:ext cx="69350" cy="33900"/>
            </a:xfrm>
            <a:custGeom>
              <a:avLst/>
              <a:gdLst/>
              <a:ahLst/>
              <a:cxnLst/>
              <a:rect l="l" t="t" r="r" b="b"/>
              <a:pathLst>
                <a:path w="2774" h="1356" extrusionOk="0">
                  <a:moveTo>
                    <a:pt x="1040" y="1"/>
                  </a:moveTo>
                  <a:cubicBezTo>
                    <a:pt x="505" y="1"/>
                    <a:pt x="1" y="473"/>
                    <a:pt x="1" y="1009"/>
                  </a:cubicBezTo>
                  <a:lnTo>
                    <a:pt x="1" y="1356"/>
                  </a:lnTo>
                  <a:lnTo>
                    <a:pt x="2773" y="1356"/>
                  </a:lnTo>
                  <a:lnTo>
                    <a:pt x="2773" y="1009"/>
                  </a:lnTo>
                  <a:cubicBezTo>
                    <a:pt x="2742" y="473"/>
                    <a:pt x="2269" y="1"/>
                    <a:pt x="17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76"/>
            <p:cNvSpPr/>
            <p:nvPr/>
          </p:nvSpPr>
          <p:spPr>
            <a:xfrm>
              <a:off x="-3586600" y="3305250"/>
              <a:ext cx="33125" cy="33100"/>
            </a:xfrm>
            <a:custGeom>
              <a:avLst/>
              <a:gdLst/>
              <a:ahLst/>
              <a:cxnLst/>
              <a:rect l="l" t="t" r="r" b="b"/>
              <a:pathLst>
                <a:path w="1325" h="1324" extrusionOk="0">
                  <a:moveTo>
                    <a:pt x="663" y="0"/>
                  </a:moveTo>
                  <a:cubicBezTo>
                    <a:pt x="253" y="0"/>
                    <a:pt x="1" y="316"/>
                    <a:pt x="1" y="662"/>
                  </a:cubicBezTo>
                  <a:cubicBezTo>
                    <a:pt x="1" y="1009"/>
                    <a:pt x="316" y="1324"/>
                    <a:pt x="663" y="1324"/>
                  </a:cubicBezTo>
                  <a:cubicBezTo>
                    <a:pt x="1041" y="1324"/>
                    <a:pt x="1324" y="1009"/>
                    <a:pt x="1324" y="662"/>
                  </a:cubicBezTo>
                  <a:cubicBezTo>
                    <a:pt x="1324" y="284"/>
                    <a:pt x="1009" y="0"/>
                    <a:pt x="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76"/>
            <p:cNvSpPr/>
            <p:nvPr/>
          </p:nvSpPr>
          <p:spPr>
            <a:xfrm>
              <a:off x="-3768700" y="3253275"/>
              <a:ext cx="301850" cy="291150"/>
            </a:xfrm>
            <a:custGeom>
              <a:avLst/>
              <a:gdLst/>
              <a:ahLst/>
              <a:cxnLst/>
              <a:rect l="l" t="t" r="r" b="b"/>
              <a:pathLst>
                <a:path w="12074" h="11646" extrusionOk="0">
                  <a:moveTo>
                    <a:pt x="7947" y="1323"/>
                  </a:moveTo>
                  <a:cubicBezTo>
                    <a:pt x="8703" y="1323"/>
                    <a:pt x="9333" y="1953"/>
                    <a:pt x="9333" y="2710"/>
                  </a:cubicBezTo>
                  <a:cubicBezTo>
                    <a:pt x="9333" y="3025"/>
                    <a:pt x="9207" y="3340"/>
                    <a:pt x="9018" y="3560"/>
                  </a:cubicBezTo>
                  <a:cubicBezTo>
                    <a:pt x="9585" y="3844"/>
                    <a:pt x="9994" y="4442"/>
                    <a:pt x="9994" y="5104"/>
                  </a:cubicBezTo>
                  <a:lnTo>
                    <a:pt x="9994" y="5766"/>
                  </a:lnTo>
                  <a:lnTo>
                    <a:pt x="10026" y="5766"/>
                  </a:lnTo>
                  <a:cubicBezTo>
                    <a:pt x="10026" y="5955"/>
                    <a:pt x="9868" y="6112"/>
                    <a:pt x="9679" y="6112"/>
                  </a:cubicBezTo>
                  <a:lnTo>
                    <a:pt x="6245" y="6112"/>
                  </a:lnTo>
                  <a:cubicBezTo>
                    <a:pt x="6056" y="6112"/>
                    <a:pt x="5899" y="5955"/>
                    <a:pt x="5899" y="5766"/>
                  </a:cubicBezTo>
                  <a:lnTo>
                    <a:pt x="5899" y="5104"/>
                  </a:lnTo>
                  <a:cubicBezTo>
                    <a:pt x="5899" y="4442"/>
                    <a:pt x="6308" y="3844"/>
                    <a:pt x="6875" y="3560"/>
                  </a:cubicBezTo>
                  <a:cubicBezTo>
                    <a:pt x="6686" y="3340"/>
                    <a:pt x="6560" y="3056"/>
                    <a:pt x="6560" y="2710"/>
                  </a:cubicBezTo>
                  <a:cubicBezTo>
                    <a:pt x="6560" y="1953"/>
                    <a:pt x="7190" y="1323"/>
                    <a:pt x="7947" y="1323"/>
                  </a:cubicBezTo>
                  <a:close/>
                  <a:moveTo>
                    <a:pt x="7947" y="0"/>
                  </a:moveTo>
                  <a:cubicBezTo>
                    <a:pt x="5647" y="0"/>
                    <a:pt x="3851" y="1827"/>
                    <a:pt x="3851" y="4096"/>
                  </a:cubicBezTo>
                  <a:cubicBezTo>
                    <a:pt x="3851" y="5104"/>
                    <a:pt x="4197" y="6018"/>
                    <a:pt x="4828" y="6711"/>
                  </a:cubicBezTo>
                  <a:lnTo>
                    <a:pt x="4134" y="7435"/>
                  </a:lnTo>
                  <a:cubicBezTo>
                    <a:pt x="3981" y="7364"/>
                    <a:pt x="3823" y="7329"/>
                    <a:pt x="3669" y="7329"/>
                  </a:cubicBezTo>
                  <a:cubicBezTo>
                    <a:pt x="3412" y="7329"/>
                    <a:pt x="3166" y="7427"/>
                    <a:pt x="2969" y="7624"/>
                  </a:cubicBezTo>
                  <a:lnTo>
                    <a:pt x="732" y="9861"/>
                  </a:lnTo>
                  <a:cubicBezTo>
                    <a:pt x="0" y="10593"/>
                    <a:pt x="722" y="11645"/>
                    <a:pt x="1509" y="11645"/>
                  </a:cubicBezTo>
                  <a:cubicBezTo>
                    <a:pt x="1739" y="11645"/>
                    <a:pt x="1975" y="11555"/>
                    <a:pt x="2181" y="11342"/>
                  </a:cubicBezTo>
                  <a:lnTo>
                    <a:pt x="4449" y="9074"/>
                  </a:lnTo>
                  <a:cubicBezTo>
                    <a:pt x="4765" y="8759"/>
                    <a:pt x="4796" y="8286"/>
                    <a:pt x="4638" y="7939"/>
                  </a:cubicBezTo>
                  <a:lnTo>
                    <a:pt x="5332" y="7246"/>
                  </a:lnTo>
                  <a:cubicBezTo>
                    <a:pt x="6056" y="7813"/>
                    <a:pt x="7001" y="8223"/>
                    <a:pt x="7978" y="8223"/>
                  </a:cubicBezTo>
                  <a:cubicBezTo>
                    <a:pt x="10278" y="8223"/>
                    <a:pt x="12074" y="6364"/>
                    <a:pt x="12074" y="4127"/>
                  </a:cubicBezTo>
                  <a:cubicBezTo>
                    <a:pt x="12074" y="1796"/>
                    <a:pt x="10215" y="0"/>
                    <a:pt x="7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1" name="Google Shape;8911;p76"/>
          <p:cNvGrpSpPr/>
          <p:nvPr/>
        </p:nvGrpSpPr>
        <p:grpSpPr>
          <a:xfrm>
            <a:off x="5159293" y="2217090"/>
            <a:ext cx="426462" cy="395865"/>
            <a:chOff x="-3808700" y="3628950"/>
            <a:chExt cx="296175" cy="274925"/>
          </a:xfrm>
        </p:grpSpPr>
        <p:sp>
          <p:nvSpPr>
            <p:cNvPr id="8912" name="Google Shape;8912;p76"/>
            <p:cNvSpPr/>
            <p:nvPr/>
          </p:nvSpPr>
          <p:spPr>
            <a:xfrm>
              <a:off x="-3665972" y="3680950"/>
              <a:ext cx="51200" cy="51225"/>
            </a:xfrm>
            <a:custGeom>
              <a:avLst/>
              <a:gdLst/>
              <a:ahLst/>
              <a:cxnLst/>
              <a:rect l="l" t="t" r="r" b="b"/>
              <a:pathLst>
                <a:path w="2048" h="2049" extrusionOk="0">
                  <a:moveTo>
                    <a:pt x="1008" y="0"/>
                  </a:moveTo>
                  <a:cubicBezTo>
                    <a:pt x="441" y="0"/>
                    <a:pt x="0" y="473"/>
                    <a:pt x="0" y="1040"/>
                  </a:cubicBezTo>
                  <a:cubicBezTo>
                    <a:pt x="0" y="1607"/>
                    <a:pt x="441"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3" name="Google Shape;8913;p76"/>
            <p:cNvSpPr/>
            <p:nvPr/>
          </p:nvSpPr>
          <p:spPr>
            <a:xfrm>
              <a:off x="-3808700" y="3664400"/>
              <a:ext cx="296175" cy="239475"/>
            </a:xfrm>
            <a:custGeom>
              <a:avLst/>
              <a:gdLst/>
              <a:ahLst/>
              <a:cxnLst/>
              <a:rect l="l" t="t" r="r" b="b"/>
              <a:pathLst>
                <a:path w="11847" h="9579" extrusionOk="0">
                  <a:moveTo>
                    <a:pt x="3970" y="8223"/>
                  </a:moveTo>
                  <a:cubicBezTo>
                    <a:pt x="4159" y="8223"/>
                    <a:pt x="4316" y="8381"/>
                    <a:pt x="4316" y="8570"/>
                  </a:cubicBezTo>
                  <a:cubicBezTo>
                    <a:pt x="4316" y="8791"/>
                    <a:pt x="4159" y="8948"/>
                    <a:pt x="3970" y="8948"/>
                  </a:cubicBezTo>
                  <a:cubicBezTo>
                    <a:pt x="3781" y="8948"/>
                    <a:pt x="3623" y="8791"/>
                    <a:pt x="3623" y="8570"/>
                  </a:cubicBezTo>
                  <a:cubicBezTo>
                    <a:pt x="3623" y="8349"/>
                    <a:pt x="3781" y="8223"/>
                    <a:pt x="3970" y="8223"/>
                  </a:cubicBezTo>
                  <a:close/>
                  <a:moveTo>
                    <a:pt x="8727" y="8223"/>
                  </a:moveTo>
                  <a:cubicBezTo>
                    <a:pt x="8916" y="8223"/>
                    <a:pt x="9074" y="8381"/>
                    <a:pt x="9074" y="8570"/>
                  </a:cubicBezTo>
                  <a:cubicBezTo>
                    <a:pt x="9074" y="8791"/>
                    <a:pt x="8916" y="8948"/>
                    <a:pt x="8727" y="8948"/>
                  </a:cubicBezTo>
                  <a:cubicBezTo>
                    <a:pt x="8538" y="8948"/>
                    <a:pt x="8381" y="8791"/>
                    <a:pt x="8381" y="8570"/>
                  </a:cubicBezTo>
                  <a:cubicBezTo>
                    <a:pt x="8412" y="8349"/>
                    <a:pt x="8538" y="8223"/>
                    <a:pt x="8727" y="8223"/>
                  </a:cubicBezTo>
                  <a:close/>
                  <a:moveTo>
                    <a:pt x="473" y="1"/>
                  </a:moveTo>
                  <a:cubicBezTo>
                    <a:pt x="32" y="1"/>
                    <a:pt x="0" y="662"/>
                    <a:pt x="473" y="662"/>
                  </a:cubicBezTo>
                  <a:lnTo>
                    <a:pt x="819" y="662"/>
                  </a:lnTo>
                  <a:cubicBezTo>
                    <a:pt x="977" y="662"/>
                    <a:pt x="1134" y="788"/>
                    <a:pt x="1166" y="946"/>
                  </a:cubicBezTo>
                  <a:lnTo>
                    <a:pt x="2143" y="6428"/>
                  </a:lnTo>
                  <a:cubicBezTo>
                    <a:pt x="1481" y="7058"/>
                    <a:pt x="1922" y="8192"/>
                    <a:pt x="2867" y="8192"/>
                  </a:cubicBezTo>
                  <a:lnTo>
                    <a:pt x="2930" y="8192"/>
                  </a:lnTo>
                  <a:cubicBezTo>
                    <a:pt x="2899" y="8318"/>
                    <a:pt x="2867" y="8412"/>
                    <a:pt x="2867" y="8538"/>
                  </a:cubicBezTo>
                  <a:cubicBezTo>
                    <a:pt x="2867" y="9106"/>
                    <a:pt x="3340" y="9578"/>
                    <a:pt x="3875" y="9578"/>
                  </a:cubicBezTo>
                  <a:cubicBezTo>
                    <a:pt x="4442" y="9578"/>
                    <a:pt x="4915" y="9106"/>
                    <a:pt x="4915" y="8538"/>
                  </a:cubicBezTo>
                  <a:cubicBezTo>
                    <a:pt x="4915" y="8412"/>
                    <a:pt x="4884" y="8318"/>
                    <a:pt x="4821" y="8192"/>
                  </a:cubicBezTo>
                  <a:lnTo>
                    <a:pt x="7719" y="8192"/>
                  </a:lnTo>
                  <a:cubicBezTo>
                    <a:pt x="7656" y="8318"/>
                    <a:pt x="7624" y="8412"/>
                    <a:pt x="7624" y="8538"/>
                  </a:cubicBezTo>
                  <a:cubicBezTo>
                    <a:pt x="7624" y="9106"/>
                    <a:pt x="8097" y="9578"/>
                    <a:pt x="8664" y="9578"/>
                  </a:cubicBezTo>
                  <a:cubicBezTo>
                    <a:pt x="9200" y="9578"/>
                    <a:pt x="9672" y="9106"/>
                    <a:pt x="9672" y="8538"/>
                  </a:cubicBezTo>
                  <a:cubicBezTo>
                    <a:pt x="9672" y="8412"/>
                    <a:pt x="9641" y="8318"/>
                    <a:pt x="9609" y="8192"/>
                  </a:cubicBezTo>
                  <a:lnTo>
                    <a:pt x="9987" y="8192"/>
                  </a:lnTo>
                  <a:cubicBezTo>
                    <a:pt x="10176" y="8192"/>
                    <a:pt x="10334" y="8034"/>
                    <a:pt x="10334" y="7845"/>
                  </a:cubicBezTo>
                  <a:cubicBezTo>
                    <a:pt x="10334" y="7625"/>
                    <a:pt x="10176" y="7467"/>
                    <a:pt x="9987" y="7467"/>
                  </a:cubicBezTo>
                  <a:lnTo>
                    <a:pt x="2773" y="7467"/>
                  </a:lnTo>
                  <a:cubicBezTo>
                    <a:pt x="2759" y="7470"/>
                    <a:pt x="2746" y="7471"/>
                    <a:pt x="2733" y="7471"/>
                  </a:cubicBezTo>
                  <a:cubicBezTo>
                    <a:pt x="2459" y="7471"/>
                    <a:pt x="2477" y="6837"/>
                    <a:pt x="2899" y="6837"/>
                  </a:cubicBezTo>
                  <a:lnTo>
                    <a:pt x="10145" y="6837"/>
                  </a:lnTo>
                  <a:cubicBezTo>
                    <a:pt x="10302" y="6837"/>
                    <a:pt x="10428" y="6774"/>
                    <a:pt x="10460" y="6617"/>
                  </a:cubicBezTo>
                  <a:lnTo>
                    <a:pt x="11815" y="2553"/>
                  </a:lnTo>
                  <a:cubicBezTo>
                    <a:pt x="11846" y="2427"/>
                    <a:pt x="11815" y="2332"/>
                    <a:pt x="11752" y="2238"/>
                  </a:cubicBezTo>
                  <a:cubicBezTo>
                    <a:pt x="11657" y="2080"/>
                    <a:pt x="11500" y="2048"/>
                    <a:pt x="10775" y="2048"/>
                  </a:cubicBezTo>
                  <a:lnTo>
                    <a:pt x="10491" y="2048"/>
                  </a:lnTo>
                  <a:lnTo>
                    <a:pt x="10491" y="2395"/>
                  </a:lnTo>
                  <a:cubicBezTo>
                    <a:pt x="10491" y="2584"/>
                    <a:pt x="10334" y="2742"/>
                    <a:pt x="10145" y="2742"/>
                  </a:cubicBezTo>
                  <a:lnTo>
                    <a:pt x="9641" y="2742"/>
                  </a:lnTo>
                  <a:cubicBezTo>
                    <a:pt x="9609" y="2868"/>
                    <a:pt x="9546" y="2962"/>
                    <a:pt x="9515" y="3057"/>
                  </a:cubicBezTo>
                  <a:lnTo>
                    <a:pt x="9861" y="3435"/>
                  </a:lnTo>
                  <a:cubicBezTo>
                    <a:pt x="9987" y="3529"/>
                    <a:pt x="9987" y="3781"/>
                    <a:pt x="9861" y="3907"/>
                  </a:cubicBezTo>
                  <a:lnTo>
                    <a:pt x="8885" y="4884"/>
                  </a:lnTo>
                  <a:cubicBezTo>
                    <a:pt x="8822" y="4947"/>
                    <a:pt x="8735" y="4978"/>
                    <a:pt x="8648" y="4978"/>
                  </a:cubicBezTo>
                  <a:cubicBezTo>
                    <a:pt x="8562" y="4978"/>
                    <a:pt x="8475" y="4947"/>
                    <a:pt x="8412" y="4884"/>
                  </a:cubicBezTo>
                  <a:lnTo>
                    <a:pt x="8066" y="4537"/>
                  </a:lnTo>
                  <a:cubicBezTo>
                    <a:pt x="7971" y="4569"/>
                    <a:pt x="7877" y="4600"/>
                    <a:pt x="7751" y="4632"/>
                  </a:cubicBezTo>
                  <a:lnTo>
                    <a:pt x="7751" y="5167"/>
                  </a:lnTo>
                  <a:cubicBezTo>
                    <a:pt x="7751" y="5356"/>
                    <a:pt x="7593" y="5514"/>
                    <a:pt x="7404" y="5514"/>
                  </a:cubicBezTo>
                  <a:lnTo>
                    <a:pt x="5986" y="5514"/>
                  </a:lnTo>
                  <a:cubicBezTo>
                    <a:pt x="5766" y="5514"/>
                    <a:pt x="5608" y="5356"/>
                    <a:pt x="5608" y="5167"/>
                  </a:cubicBezTo>
                  <a:lnTo>
                    <a:pt x="5608" y="4632"/>
                  </a:lnTo>
                  <a:cubicBezTo>
                    <a:pt x="5514" y="4600"/>
                    <a:pt x="5419" y="4569"/>
                    <a:pt x="5293" y="4537"/>
                  </a:cubicBezTo>
                  <a:lnTo>
                    <a:pt x="4947" y="4884"/>
                  </a:lnTo>
                  <a:cubicBezTo>
                    <a:pt x="4884" y="4947"/>
                    <a:pt x="4797" y="4978"/>
                    <a:pt x="4710" y="4978"/>
                  </a:cubicBezTo>
                  <a:cubicBezTo>
                    <a:pt x="4624" y="4978"/>
                    <a:pt x="4537" y="4947"/>
                    <a:pt x="4474" y="4884"/>
                  </a:cubicBezTo>
                  <a:lnTo>
                    <a:pt x="3497" y="3907"/>
                  </a:lnTo>
                  <a:cubicBezTo>
                    <a:pt x="3371" y="3781"/>
                    <a:pt x="3371" y="3529"/>
                    <a:pt x="3497" y="3435"/>
                  </a:cubicBezTo>
                  <a:lnTo>
                    <a:pt x="3844" y="3057"/>
                  </a:lnTo>
                  <a:cubicBezTo>
                    <a:pt x="3812" y="2994"/>
                    <a:pt x="3781" y="2868"/>
                    <a:pt x="3718" y="2742"/>
                  </a:cubicBezTo>
                  <a:lnTo>
                    <a:pt x="3214" y="2742"/>
                  </a:lnTo>
                  <a:cubicBezTo>
                    <a:pt x="3025" y="2742"/>
                    <a:pt x="2867" y="2584"/>
                    <a:pt x="2867" y="2395"/>
                  </a:cubicBezTo>
                  <a:lnTo>
                    <a:pt x="2867" y="2048"/>
                  </a:lnTo>
                  <a:lnTo>
                    <a:pt x="2080" y="2048"/>
                  </a:lnTo>
                  <a:lnTo>
                    <a:pt x="1828" y="820"/>
                  </a:lnTo>
                  <a:cubicBezTo>
                    <a:pt x="1765" y="347"/>
                    <a:pt x="1324"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4" name="Google Shape;8914;p76"/>
            <p:cNvSpPr/>
            <p:nvPr/>
          </p:nvSpPr>
          <p:spPr>
            <a:xfrm>
              <a:off x="-3718359" y="3628950"/>
              <a:ext cx="155975" cy="156775"/>
            </a:xfrm>
            <a:custGeom>
              <a:avLst/>
              <a:gdLst/>
              <a:ahLst/>
              <a:cxnLst/>
              <a:rect l="l" t="t" r="r" b="b"/>
              <a:pathLst>
                <a:path w="6239" h="6271" extrusionOk="0">
                  <a:moveTo>
                    <a:pt x="3056" y="1419"/>
                  </a:moveTo>
                  <a:cubicBezTo>
                    <a:pt x="4001" y="1419"/>
                    <a:pt x="4758" y="2175"/>
                    <a:pt x="4758" y="3120"/>
                  </a:cubicBezTo>
                  <a:cubicBezTo>
                    <a:pt x="4758" y="4065"/>
                    <a:pt x="4001" y="4821"/>
                    <a:pt x="3056" y="4821"/>
                  </a:cubicBezTo>
                  <a:cubicBezTo>
                    <a:pt x="2111" y="4821"/>
                    <a:pt x="1355" y="4065"/>
                    <a:pt x="1355" y="3120"/>
                  </a:cubicBezTo>
                  <a:cubicBezTo>
                    <a:pt x="1355" y="2175"/>
                    <a:pt x="2111" y="1419"/>
                    <a:pt x="3056" y="1419"/>
                  </a:cubicBezTo>
                  <a:close/>
                  <a:moveTo>
                    <a:pt x="2773" y="1"/>
                  </a:moveTo>
                  <a:lnTo>
                    <a:pt x="2773" y="442"/>
                  </a:lnTo>
                  <a:cubicBezTo>
                    <a:pt x="2773" y="600"/>
                    <a:pt x="2678" y="726"/>
                    <a:pt x="2521" y="757"/>
                  </a:cubicBezTo>
                  <a:cubicBezTo>
                    <a:pt x="2300" y="789"/>
                    <a:pt x="2080" y="915"/>
                    <a:pt x="1891" y="1041"/>
                  </a:cubicBezTo>
                  <a:cubicBezTo>
                    <a:pt x="1846" y="1063"/>
                    <a:pt x="1793" y="1073"/>
                    <a:pt x="1739" y="1073"/>
                  </a:cubicBezTo>
                  <a:cubicBezTo>
                    <a:pt x="1639" y="1073"/>
                    <a:pt x="1531" y="1039"/>
                    <a:pt x="1450" y="978"/>
                  </a:cubicBezTo>
                  <a:lnTo>
                    <a:pt x="1135" y="663"/>
                  </a:lnTo>
                  <a:lnTo>
                    <a:pt x="662" y="1135"/>
                  </a:lnTo>
                  <a:lnTo>
                    <a:pt x="977" y="1450"/>
                  </a:lnTo>
                  <a:cubicBezTo>
                    <a:pt x="1103" y="1576"/>
                    <a:pt x="1103" y="1734"/>
                    <a:pt x="1009" y="1891"/>
                  </a:cubicBezTo>
                  <a:cubicBezTo>
                    <a:pt x="883" y="2080"/>
                    <a:pt x="819" y="2301"/>
                    <a:pt x="725" y="2521"/>
                  </a:cubicBezTo>
                  <a:cubicBezTo>
                    <a:pt x="693" y="2679"/>
                    <a:pt x="599" y="2805"/>
                    <a:pt x="410" y="2805"/>
                  </a:cubicBezTo>
                  <a:lnTo>
                    <a:pt x="0" y="2805"/>
                  </a:lnTo>
                  <a:lnTo>
                    <a:pt x="0" y="3466"/>
                  </a:lnTo>
                  <a:lnTo>
                    <a:pt x="410" y="3466"/>
                  </a:lnTo>
                  <a:cubicBezTo>
                    <a:pt x="567" y="3466"/>
                    <a:pt x="693" y="3593"/>
                    <a:pt x="725" y="3750"/>
                  </a:cubicBezTo>
                  <a:cubicBezTo>
                    <a:pt x="788" y="3939"/>
                    <a:pt x="883" y="4191"/>
                    <a:pt x="1009" y="4380"/>
                  </a:cubicBezTo>
                  <a:cubicBezTo>
                    <a:pt x="1103" y="4506"/>
                    <a:pt x="1040" y="4695"/>
                    <a:pt x="977" y="4821"/>
                  </a:cubicBezTo>
                  <a:lnTo>
                    <a:pt x="662" y="5136"/>
                  </a:lnTo>
                  <a:lnTo>
                    <a:pt x="1135" y="5609"/>
                  </a:lnTo>
                  <a:lnTo>
                    <a:pt x="1450" y="5294"/>
                  </a:lnTo>
                  <a:cubicBezTo>
                    <a:pt x="1523" y="5220"/>
                    <a:pt x="1608" y="5189"/>
                    <a:pt x="1697" y="5189"/>
                  </a:cubicBezTo>
                  <a:cubicBezTo>
                    <a:pt x="1760" y="5189"/>
                    <a:pt x="1825" y="5205"/>
                    <a:pt x="1891" y="5231"/>
                  </a:cubicBezTo>
                  <a:cubicBezTo>
                    <a:pt x="2080" y="5357"/>
                    <a:pt x="2269" y="5451"/>
                    <a:pt x="2521" y="5514"/>
                  </a:cubicBezTo>
                  <a:cubicBezTo>
                    <a:pt x="2678" y="5546"/>
                    <a:pt x="2773" y="5672"/>
                    <a:pt x="2773" y="5829"/>
                  </a:cubicBezTo>
                  <a:lnTo>
                    <a:pt x="2773" y="6270"/>
                  </a:lnTo>
                  <a:lnTo>
                    <a:pt x="3466" y="6270"/>
                  </a:lnTo>
                  <a:lnTo>
                    <a:pt x="3466" y="5829"/>
                  </a:lnTo>
                  <a:cubicBezTo>
                    <a:pt x="3466" y="5672"/>
                    <a:pt x="3560" y="5546"/>
                    <a:pt x="3718" y="5514"/>
                  </a:cubicBezTo>
                  <a:cubicBezTo>
                    <a:pt x="3938" y="5483"/>
                    <a:pt x="4159" y="5357"/>
                    <a:pt x="4348" y="5231"/>
                  </a:cubicBezTo>
                  <a:cubicBezTo>
                    <a:pt x="4393" y="5208"/>
                    <a:pt x="4445" y="5198"/>
                    <a:pt x="4500" y="5198"/>
                  </a:cubicBezTo>
                  <a:cubicBezTo>
                    <a:pt x="4600" y="5198"/>
                    <a:pt x="4708" y="5233"/>
                    <a:pt x="4789" y="5294"/>
                  </a:cubicBezTo>
                  <a:lnTo>
                    <a:pt x="5104" y="5609"/>
                  </a:lnTo>
                  <a:lnTo>
                    <a:pt x="5577" y="5136"/>
                  </a:lnTo>
                  <a:lnTo>
                    <a:pt x="5262" y="4821"/>
                  </a:lnTo>
                  <a:cubicBezTo>
                    <a:pt x="5136" y="4695"/>
                    <a:pt x="5136" y="4538"/>
                    <a:pt x="5230" y="4380"/>
                  </a:cubicBezTo>
                  <a:cubicBezTo>
                    <a:pt x="5356" y="4191"/>
                    <a:pt x="5419" y="3971"/>
                    <a:pt x="5514" y="3750"/>
                  </a:cubicBezTo>
                  <a:cubicBezTo>
                    <a:pt x="5545" y="3593"/>
                    <a:pt x="5671" y="3466"/>
                    <a:pt x="5829" y="3466"/>
                  </a:cubicBezTo>
                  <a:lnTo>
                    <a:pt x="6238" y="3466"/>
                  </a:lnTo>
                  <a:lnTo>
                    <a:pt x="6238" y="2805"/>
                  </a:lnTo>
                  <a:lnTo>
                    <a:pt x="5829" y="2805"/>
                  </a:lnTo>
                  <a:cubicBezTo>
                    <a:pt x="5671" y="2805"/>
                    <a:pt x="5545" y="2679"/>
                    <a:pt x="5514" y="2521"/>
                  </a:cubicBezTo>
                  <a:cubicBezTo>
                    <a:pt x="5451" y="2332"/>
                    <a:pt x="5356" y="2080"/>
                    <a:pt x="5230" y="1891"/>
                  </a:cubicBezTo>
                  <a:cubicBezTo>
                    <a:pt x="5136" y="1765"/>
                    <a:pt x="5199" y="1576"/>
                    <a:pt x="5262" y="1450"/>
                  </a:cubicBezTo>
                  <a:lnTo>
                    <a:pt x="5577" y="1135"/>
                  </a:lnTo>
                  <a:lnTo>
                    <a:pt x="5104" y="663"/>
                  </a:lnTo>
                  <a:lnTo>
                    <a:pt x="4789" y="978"/>
                  </a:lnTo>
                  <a:cubicBezTo>
                    <a:pt x="4715" y="1051"/>
                    <a:pt x="4641" y="1082"/>
                    <a:pt x="4555" y="1082"/>
                  </a:cubicBezTo>
                  <a:cubicBezTo>
                    <a:pt x="4494" y="1082"/>
                    <a:pt x="4426" y="1067"/>
                    <a:pt x="4348" y="1041"/>
                  </a:cubicBezTo>
                  <a:cubicBezTo>
                    <a:pt x="4159" y="915"/>
                    <a:pt x="3970" y="820"/>
                    <a:pt x="3718" y="757"/>
                  </a:cubicBezTo>
                  <a:cubicBezTo>
                    <a:pt x="3560" y="726"/>
                    <a:pt x="3466" y="600"/>
                    <a:pt x="3466" y="442"/>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5" name="Google Shape;8915;p76"/>
          <p:cNvGrpSpPr/>
          <p:nvPr/>
        </p:nvGrpSpPr>
        <p:grpSpPr>
          <a:xfrm>
            <a:off x="5224504" y="2756412"/>
            <a:ext cx="419443" cy="420487"/>
            <a:chOff x="-3771675" y="3971775"/>
            <a:chExt cx="291300" cy="292025"/>
          </a:xfrm>
        </p:grpSpPr>
        <p:sp>
          <p:nvSpPr>
            <p:cNvPr id="8916" name="Google Shape;8916;p76"/>
            <p:cNvSpPr/>
            <p:nvPr/>
          </p:nvSpPr>
          <p:spPr>
            <a:xfrm>
              <a:off x="-3770100" y="3971775"/>
              <a:ext cx="218975" cy="66775"/>
            </a:xfrm>
            <a:custGeom>
              <a:avLst/>
              <a:gdLst/>
              <a:ahLst/>
              <a:cxnLst/>
              <a:rect l="l" t="t" r="r" b="b"/>
              <a:pathLst>
                <a:path w="8759" h="2671" extrusionOk="0">
                  <a:moveTo>
                    <a:pt x="4391" y="0"/>
                  </a:moveTo>
                  <a:cubicBezTo>
                    <a:pt x="2410" y="0"/>
                    <a:pt x="426" y="449"/>
                    <a:pt x="0" y="1347"/>
                  </a:cubicBezTo>
                  <a:cubicBezTo>
                    <a:pt x="426" y="2229"/>
                    <a:pt x="2410" y="2670"/>
                    <a:pt x="4391" y="2670"/>
                  </a:cubicBezTo>
                  <a:cubicBezTo>
                    <a:pt x="6372" y="2670"/>
                    <a:pt x="8349" y="2229"/>
                    <a:pt x="8759" y="1347"/>
                  </a:cubicBezTo>
                  <a:cubicBezTo>
                    <a:pt x="8349" y="449"/>
                    <a:pt x="6372" y="0"/>
                    <a:pt x="4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76"/>
            <p:cNvSpPr/>
            <p:nvPr/>
          </p:nvSpPr>
          <p:spPr>
            <a:xfrm>
              <a:off x="-3771675" y="4030650"/>
              <a:ext cx="222125" cy="78000"/>
            </a:xfrm>
            <a:custGeom>
              <a:avLst/>
              <a:gdLst/>
              <a:ahLst/>
              <a:cxnLst/>
              <a:rect l="l" t="t" r="r" b="b"/>
              <a:pathLst>
                <a:path w="8885" h="3120" extrusionOk="0">
                  <a:moveTo>
                    <a:pt x="0" y="0"/>
                  </a:moveTo>
                  <a:lnTo>
                    <a:pt x="0" y="1418"/>
                  </a:lnTo>
                  <a:cubicBezTo>
                    <a:pt x="0" y="2521"/>
                    <a:pt x="2048" y="3088"/>
                    <a:pt x="4127" y="3119"/>
                  </a:cubicBezTo>
                  <a:cubicBezTo>
                    <a:pt x="4915" y="1891"/>
                    <a:pt x="6301" y="1103"/>
                    <a:pt x="7877" y="1103"/>
                  </a:cubicBezTo>
                  <a:cubicBezTo>
                    <a:pt x="8223" y="1103"/>
                    <a:pt x="8570" y="1135"/>
                    <a:pt x="8885" y="1229"/>
                  </a:cubicBezTo>
                  <a:lnTo>
                    <a:pt x="8885" y="0"/>
                  </a:lnTo>
                  <a:cubicBezTo>
                    <a:pt x="7908" y="788"/>
                    <a:pt x="6112" y="1072"/>
                    <a:pt x="4443" y="1072"/>
                  </a:cubicBezTo>
                  <a:cubicBezTo>
                    <a:pt x="2804" y="1072"/>
                    <a:pt x="977" y="75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76"/>
            <p:cNvSpPr/>
            <p:nvPr/>
          </p:nvSpPr>
          <p:spPr>
            <a:xfrm>
              <a:off x="-3669425" y="4074750"/>
              <a:ext cx="189050" cy="189050"/>
            </a:xfrm>
            <a:custGeom>
              <a:avLst/>
              <a:gdLst/>
              <a:ahLst/>
              <a:cxnLst/>
              <a:rect l="l" t="t" r="r" b="b"/>
              <a:pathLst>
                <a:path w="7562" h="7562" extrusionOk="0">
                  <a:moveTo>
                    <a:pt x="5501" y="2732"/>
                  </a:moveTo>
                  <a:cubicBezTo>
                    <a:pt x="5748" y="2732"/>
                    <a:pt x="6008" y="3067"/>
                    <a:pt x="5766" y="3309"/>
                  </a:cubicBezTo>
                  <a:lnTo>
                    <a:pt x="3718" y="5356"/>
                  </a:lnTo>
                  <a:cubicBezTo>
                    <a:pt x="3655" y="5420"/>
                    <a:pt x="3568" y="5451"/>
                    <a:pt x="3482" y="5451"/>
                  </a:cubicBezTo>
                  <a:cubicBezTo>
                    <a:pt x="3395" y="5451"/>
                    <a:pt x="3308" y="5420"/>
                    <a:pt x="3245" y="5356"/>
                  </a:cubicBezTo>
                  <a:lnTo>
                    <a:pt x="1859" y="4002"/>
                  </a:lnTo>
                  <a:cubicBezTo>
                    <a:pt x="1617" y="3760"/>
                    <a:pt x="1840" y="3425"/>
                    <a:pt x="2099" y="3425"/>
                  </a:cubicBezTo>
                  <a:cubicBezTo>
                    <a:pt x="2177" y="3425"/>
                    <a:pt x="2259" y="3456"/>
                    <a:pt x="2332" y="3529"/>
                  </a:cubicBezTo>
                  <a:lnTo>
                    <a:pt x="3466" y="4663"/>
                  </a:lnTo>
                  <a:lnTo>
                    <a:pt x="5293" y="2836"/>
                  </a:lnTo>
                  <a:cubicBezTo>
                    <a:pt x="5352" y="2763"/>
                    <a:pt x="5426" y="2732"/>
                    <a:pt x="5501" y="2732"/>
                  </a:cubicBezTo>
                  <a:close/>
                  <a:moveTo>
                    <a:pt x="3781" y="1"/>
                  </a:moveTo>
                  <a:cubicBezTo>
                    <a:pt x="1702" y="1"/>
                    <a:pt x="0" y="1702"/>
                    <a:pt x="0" y="3781"/>
                  </a:cubicBezTo>
                  <a:cubicBezTo>
                    <a:pt x="0" y="5892"/>
                    <a:pt x="1702" y="7562"/>
                    <a:pt x="3781" y="7562"/>
                  </a:cubicBezTo>
                  <a:cubicBezTo>
                    <a:pt x="5860" y="7562"/>
                    <a:pt x="7562" y="5892"/>
                    <a:pt x="7562" y="3781"/>
                  </a:cubicBezTo>
                  <a:cubicBezTo>
                    <a:pt x="7562" y="1702"/>
                    <a:pt x="5860"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76"/>
            <p:cNvSpPr/>
            <p:nvPr/>
          </p:nvSpPr>
          <p:spPr>
            <a:xfrm>
              <a:off x="-3771675" y="4099950"/>
              <a:ext cx="94525" cy="76425"/>
            </a:xfrm>
            <a:custGeom>
              <a:avLst/>
              <a:gdLst/>
              <a:ahLst/>
              <a:cxnLst/>
              <a:rect l="l" t="t" r="r" b="b"/>
              <a:pathLst>
                <a:path w="3781" h="3057" extrusionOk="0">
                  <a:moveTo>
                    <a:pt x="0" y="1"/>
                  </a:moveTo>
                  <a:lnTo>
                    <a:pt x="0" y="1419"/>
                  </a:lnTo>
                  <a:cubicBezTo>
                    <a:pt x="0" y="2364"/>
                    <a:pt x="1607" y="2899"/>
                    <a:pt x="3434" y="3057"/>
                  </a:cubicBezTo>
                  <a:cubicBezTo>
                    <a:pt x="3371" y="2364"/>
                    <a:pt x="3497" y="1671"/>
                    <a:pt x="3781" y="1040"/>
                  </a:cubicBezTo>
                  <a:cubicBezTo>
                    <a:pt x="2332" y="977"/>
                    <a:pt x="819" y="66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76"/>
            <p:cNvSpPr/>
            <p:nvPr/>
          </p:nvSpPr>
          <p:spPr>
            <a:xfrm>
              <a:off x="-3771675" y="4167700"/>
              <a:ext cx="135500" cy="95325"/>
            </a:xfrm>
            <a:custGeom>
              <a:avLst/>
              <a:gdLst/>
              <a:ahLst/>
              <a:cxnLst/>
              <a:rect l="l" t="t" r="r" b="b"/>
              <a:pathLst>
                <a:path w="5420" h="3813" extrusionOk="0">
                  <a:moveTo>
                    <a:pt x="0" y="0"/>
                  </a:moveTo>
                  <a:lnTo>
                    <a:pt x="0" y="2111"/>
                  </a:lnTo>
                  <a:cubicBezTo>
                    <a:pt x="0" y="3277"/>
                    <a:pt x="2237" y="3812"/>
                    <a:pt x="4443" y="3812"/>
                  </a:cubicBezTo>
                  <a:cubicBezTo>
                    <a:pt x="4789" y="3812"/>
                    <a:pt x="5104" y="3812"/>
                    <a:pt x="5419" y="3781"/>
                  </a:cubicBezTo>
                  <a:cubicBezTo>
                    <a:pt x="4474" y="3151"/>
                    <a:pt x="3781" y="2206"/>
                    <a:pt x="3529" y="1071"/>
                  </a:cubicBezTo>
                  <a:cubicBezTo>
                    <a:pt x="2174" y="977"/>
                    <a:pt x="788" y="66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1" name="Google Shape;8921;p76"/>
          <p:cNvGrpSpPr/>
          <p:nvPr/>
        </p:nvGrpSpPr>
        <p:grpSpPr>
          <a:xfrm>
            <a:off x="7885948" y="1716461"/>
            <a:ext cx="420271" cy="320774"/>
            <a:chOff x="-1951475" y="3273100"/>
            <a:chExt cx="291875" cy="222775"/>
          </a:xfrm>
        </p:grpSpPr>
        <p:sp>
          <p:nvSpPr>
            <p:cNvPr id="8922" name="Google Shape;8922;p76"/>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76"/>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76"/>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5" name="Google Shape;8925;p76"/>
          <p:cNvGrpSpPr/>
          <p:nvPr/>
        </p:nvGrpSpPr>
        <p:grpSpPr>
          <a:xfrm>
            <a:off x="7883429" y="2205191"/>
            <a:ext cx="425310" cy="419659"/>
            <a:chOff x="-1951475" y="3597450"/>
            <a:chExt cx="295375" cy="291450"/>
          </a:xfrm>
        </p:grpSpPr>
        <p:sp>
          <p:nvSpPr>
            <p:cNvPr id="8926" name="Google Shape;8926;p76"/>
            <p:cNvSpPr/>
            <p:nvPr/>
          </p:nvSpPr>
          <p:spPr>
            <a:xfrm>
              <a:off x="-1951475" y="3597450"/>
              <a:ext cx="170925" cy="34675"/>
            </a:xfrm>
            <a:custGeom>
              <a:avLst/>
              <a:gdLst/>
              <a:ahLst/>
              <a:cxnLst/>
              <a:rect l="l" t="t" r="r" b="b"/>
              <a:pathLst>
                <a:path w="6837" h="1387" extrusionOk="0">
                  <a:moveTo>
                    <a:pt x="1008" y="1"/>
                  </a:moveTo>
                  <a:cubicBezTo>
                    <a:pt x="473" y="1"/>
                    <a:pt x="0" y="473"/>
                    <a:pt x="0" y="1040"/>
                  </a:cubicBezTo>
                  <a:lnTo>
                    <a:pt x="0" y="1387"/>
                  </a:lnTo>
                  <a:lnTo>
                    <a:pt x="6837" y="1387"/>
                  </a:lnTo>
                  <a:lnTo>
                    <a:pt x="6837" y="1040"/>
                  </a:lnTo>
                  <a:cubicBezTo>
                    <a:pt x="6837" y="473"/>
                    <a:pt x="636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76"/>
            <p:cNvSpPr/>
            <p:nvPr/>
          </p:nvSpPr>
          <p:spPr>
            <a:xfrm>
              <a:off x="-1949900" y="3648650"/>
              <a:ext cx="171725" cy="173300"/>
            </a:xfrm>
            <a:custGeom>
              <a:avLst/>
              <a:gdLst/>
              <a:ahLst/>
              <a:cxnLst/>
              <a:rect l="l" t="t" r="r" b="b"/>
              <a:pathLst>
                <a:path w="6869" h="6932" extrusionOk="0">
                  <a:moveTo>
                    <a:pt x="0" y="1"/>
                  </a:moveTo>
                  <a:lnTo>
                    <a:pt x="0" y="6932"/>
                  </a:lnTo>
                  <a:lnTo>
                    <a:pt x="2426" y="6932"/>
                  </a:lnTo>
                  <a:cubicBezTo>
                    <a:pt x="2521" y="6585"/>
                    <a:pt x="2836" y="6333"/>
                    <a:pt x="3245" y="6270"/>
                  </a:cubicBezTo>
                  <a:lnTo>
                    <a:pt x="1166" y="4191"/>
                  </a:lnTo>
                  <a:cubicBezTo>
                    <a:pt x="693" y="3718"/>
                    <a:pt x="693" y="2962"/>
                    <a:pt x="1166" y="2489"/>
                  </a:cubicBezTo>
                  <a:cubicBezTo>
                    <a:pt x="1386" y="2237"/>
                    <a:pt x="1670" y="2143"/>
                    <a:pt x="2017" y="2143"/>
                  </a:cubicBezTo>
                  <a:cubicBezTo>
                    <a:pt x="2363" y="2143"/>
                    <a:pt x="2647" y="2237"/>
                    <a:pt x="2899" y="2489"/>
                  </a:cubicBezTo>
                  <a:lnTo>
                    <a:pt x="3560" y="3151"/>
                  </a:lnTo>
                  <a:cubicBezTo>
                    <a:pt x="3592" y="2994"/>
                    <a:pt x="3718" y="2836"/>
                    <a:pt x="3844" y="2710"/>
                  </a:cubicBezTo>
                  <a:cubicBezTo>
                    <a:pt x="4064" y="2489"/>
                    <a:pt x="4348" y="2363"/>
                    <a:pt x="4694" y="2363"/>
                  </a:cubicBezTo>
                  <a:cubicBezTo>
                    <a:pt x="4694" y="2048"/>
                    <a:pt x="4820" y="1733"/>
                    <a:pt x="5041" y="1513"/>
                  </a:cubicBezTo>
                  <a:cubicBezTo>
                    <a:pt x="5293" y="1261"/>
                    <a:pt x="5577" y="1135"/>
                    <a:pt x="5923" y="1135"/>
                  </a:cubicBezTo>
                  <a:cubicBezTo>
                    <a:pt x="6112" y="1135"/>
                    <a:pt x="6301" y="1198"/>
                    <a:pt x="6459" y="1261"/>
                  </a:cubicBezTo>
                  <a:cubicBezTo>
                    <a:pt x="6522" y="1072"/>
                    <a:pt x="6616" y="914"/>
                    <a:pt x="6774" y="757"/>
                  </a:cubicBezTo>
                  <a:lnTo>
                    <a:pt x="6868" y="662"/>
                  </a:lnTo>
                  <a:lnTo>
                    <a:pt x="6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76"/>
            <p:cNvSpPr/>
            <p:nvPr/>
          </p:nvSpPr>
          <p:spPr>
            <a:xfrm>
              <a:off x="-1951475" y="3838475"/>
              <a:ext cx="170925" cy="50425"/>
            </a:xfrm>
            <a:custGeom>
              <a:avLst/>
              <a:gdLst/>
              <a:ahLst/>
              <a:cxnLst/>
              <a:rect l="l" t="t" r="r" b="b"/>
              <a:pathLst>
                <a:path w="6837" h="2017" extrusionOk="0">
                  <a:moveTo>
                    <a:pt x="0" y="0"/>
                  </a:moveTo>
                  <a:lnTo>
                    <a:pt x="0" y="1008"/>
                  </a:lnTo>
                  <a:cubicBezTo>
                    <a:pt x="0" y="1544"/>
                    <a:pt x="473" y="2017"/>
                    <a:pt x="1008" y="2017"/>
                  </a:cubicBezTo>
                  <a:lnTo>
                    <a:pt x="5829" y="2017"/>
                  </a:lnTo>
                  <a:cubicBezTo>
                    <a:pt x="6333" y="2017"/>
                    <a:pt x="6774" y="1670"/>
                    <a:pt x="6837" y="1166"/>
                  </a:cubicBezTo>
                  <a:lnTo>
                    <a:pt x="6679" y="1071"/>
                  </a:lnTo>
                  <a:lnTo>
                    <a:pt x="3466" y="1071"/>
                  </a:lnTo>
                  <a:cubicBezTo>
                    <a:pt x="2867" y="1071"/>
                    <a:pt x="2363" y="599"/>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76"/>
            <p:cNvSpPr/>
            <p:nvPr/>
          </p:nvSpPr>
          <p:spPr>
            <a:xfrm>
              <a:off x="-1912900" y="3675825"/>
              <a:ext cx="256800" cy="202825"/>
            </a:xfrm>
            <a:custGeom>
              <a:avLst/>
              <a:gdLst/>
              <a:ahLst/>
              <a:cxnLst/>
              <a:rect l="l" t="t" r="r" b="b"/>
              <a:pathLst>
                <a:path w="10272" h="8113" extrusionOk="0">
                  <a:moveTo>
                    <a:pt x="6085" y="0"/>
                  </a:moveTo>
                  <a:cubicBezTo>
                    <a:pt x="5955" y="0"/>
                    <a:pt x="5829" y="48"/>
                    <a:pt x="5735" y="142"/>
                  </a:cubicBezTo>
                  <a:cubicBezTo>
                    <a:pt x="5546" y="331"/>
                    <a:pt x="5546" y="646"/>
                    <a:pt x="5735" y="835"/>
                  </a:cubicBezTo>
                  <a:lnTo>
                    <a:pt x="6081" y="1213"/>
                  </a:lnTo>
                  <a:cubicBezTo>
                    <a:pt x="6207" y="1308"/>
                    <a:pt x="6207" y="1560"/>
                    <a:pt x="6081" y="1655"/>
                  </a:cubicBezTo>
                  <a:cubicBezTo>
                    <a:pt x="6034" y="1718"/>
                    <a:pt x="5948" y="1749"/>
                    <a:pt x="5857" y="1749"/>
                  </a:cubicBezTo>
                  <a:cubicBezTo>
                    <a:pt x="5766" y="1749"/>
                    <a:pt x="5672" y="1718"/>
                    <a:pt x="5609" y="1655"/>
                  </a:cubicBezTo>
                  <a:lnTo>
                    <a:pt x="4758" y="804"/>
                  </a:lnTo>
                  <a:cubicBezTo>
                    <a:pt x="4664" y="709"/>
                    <a:pt x="4538" y="662"/>
                    <a:pt x="4408" y="662"/>
                  </a:cubicBezTo>
                  <a:cubicBezTo>
                    <a:pt x="4278" y="662"/>
                    <a:pt x="4144" y="709"/>
                    <a:pt x="4034" y="804"/>
                  </a:cubicBezTo>
                  <a:cubicBezTo>
                    <a:pt x="3845" y="993"/>
                    <a:pt x="3845" y="1308"/>
                    <a:pt x="4034" y="1528"/>
                  </a:cubicBezTo>
                  <a:cubicBezTo>
                    <a:pt x="4034" y="1655"/>
                    <a:pt x="4884" y="2505"/>
                    <a:pt x="4821" y="2505"/>
                  </a:cubicBezTo>
                  <a:cubicBezTo>
                    <a:pt x="4947" y="2631"/>
                    <a:pt x="4947" y="2852"/>
                    <a:pt x="4821" y="2978"/>
                  </a:cubicBezTo>
                  <a:cubicBezTo>
                    <a:pt x="4774" y="3041"/>
                    <a:pt x="4687" y="3072"/>
                    <a:pt x="4601" y="3072"/>
                  </a:cubicBezTo>
                  <a:cubicBezTo>
                    <a:pt x="4514" y="3072"/>
                    <a:pt x="4427" y="3041"/>
                    <a:pt x="4380" y="2978"/>
                  </a:cubicBezTo>
                  <a:lnTo>
                    <a:pt x="3498" y="2096"/>
                  </a:lnTo>
                  <a:cubicBezTo>
                    <a:pt x="3403" y="2001"/>
                    <a:pt x="3277" y="1954"/>
                    <a:pt x="3151" y="1954"/>
                  </a:cubicBezTo>
                  <a:cubicBezTo>
                    <a:pt x="3025" y="1954"/>
                    <a:pt x="2899" y="2001"/>
                    <a:pt x="2805" y="2096"/>
                  </a:cubicBezTo>
                  <a:cubicBezTo>
                    <a:pt x="2584" y="2316"/>
                    <a:pt x="2584" y="2631"/>
                    <a:pt x="2805" y="2820"/>
                  </a:cubicBezTo>
                  <a:lnTo>
                    <a:pt x="3656" y="3671"/>
                  </a:lnTo>
                  <a:cubicBezTo>
                    <a:pt x="3782" y="3797"/>
                    <a:pt x="3782" y="4017"/>
                    <a:pt x="3656" y="4143"/>
                  </a:cubicBezTo>
                  <a:cubicBezTo>
                    <a:pt x="3593" y="4206"/>
                    <a:pt x="3506" y="4238"/>
                    <a:pt x="3419" y="4238"/>
                  </a:cubicBezTo>
                  <a:cubicBezTo>
                    <a:pt x="3333" y="4238"/>
                    <a:pt x="3246" y="4206"/>
                    <a:pt x="3183" y="4143"/>
                  </a:cubicBezTo>
                  <a:lnTo>
                    <a:pt x="883" y="1875"/>
                  </a:lnTo>
                  <a:cubicBezTo>
                    <a:pt x="789" y="1765"/>
                    <a:pt x="663" y="1710"/>
                    <a:pt x="537" y="1710"/>
                  </a:cubicBezTo>
                  <a:cubicBezTo>
                    <a:pt x="411" y="1710"/>
                    <a:pt x="284" y="1765"/>
                    <a:pt x="190" y="1875"/>
                  </a:cubicBezTo>
                  <a:cubicBezTo>
                    <a:pt x="1" y="2064"/>
                    <a:pt x="1" y="2379"/>
                    <a:pt x="190" y="2568"/>
                  </a:cubicBezTo>
                  <a:lnTo>
                    <a:pt x="1797" y="4206"/>
                  </a:lnTo>
                  <a:lnTo>
                    <a:pt x="3403" y="5845"/>
                  </a:lnTo>
                  <a:lnTo>
                    <a:pt x="1954" y="5845"/>
                  </a:lnTo>
                  <a:cubicBezTo>
                    <a:pt x="1671" y="5845"/>
                    <a:pt x="1450" y="6097"/>
                    <a:pt x="1450" y="6349"/>
                  </a:cubicBezTo>
                  <a:cubicBezTo>
                    <a:pt x="1450" y="6632"/>
                    <a:pt x="1671" y="6884"/>
                    <a:pt x="1954" y="6884"/>
                  </a:cubicBezTo>
                  <a:lnTo>
                    <a:pt x="5451" y="6884"/>
                  </a:lnTo>
                  <a:cubicBezTo>
                    <a:pt x="5514" y="6916"/>
                    <a:pt x="6491" y="7829"/>
                    <a:pt x="6491" y="7829"/>
                  </a:cubicBezTo>
                  <a:cubicBezTo>
                    <a:pt x="6680" y="8018"/>
                    <a:pt x="6948" y="8113"/>
                    <a:pt x="7216" y="8113"/>
                  </a:cubicBezTo>
                  <a:cubicBezTo>
                    <a:pt x="7483" y="8113"/>
                    <a:pt x="7751" y="8018"/>
                    <a:pt x="7940" y="7829"/>
                  </a:cubicBezTo>
                  <a:lnTo>
                    <a:pt x="9862" y="5876"/>
                  </a:lnTo>
                  <a:cubicBezTo>
                    <a:pt x="10272" y="5498"/>
                    <a:pt x="10272" y="4836"/>
                    <a:pt x="9862" y="4427"/>
                  </a:cubicBezTo>
                  <a:lnTo>
                    <a:pt x="9452" y="3986"/>
                  </a:lnTo>
                  <a:cubicBezTo>
                    <a:pt x="9326" y="3608"/>
                    <a:pt x="9043" y="3198"/>
                    <a:pt x="8822" y="2820"/>
                  </a:cubicBezTo>
                  <a:cubicBezTo>
                    <a:pt x="8570" y="2411"/>
                    <a:pt x="8350" y="2064"/>
                    <a:pt x="8035" y="1718"/>
                  </a:cubicBezTo>
                  <a:lnTo>
                    <a:pt x="6459" y="142"/>
                  </a:lnTo>
                  <a:cubicBezTo>
                    <a:pt x="6349" y="48"/>
                    <a:pt x="6215" y="0"/>
                    <a:pt x="60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0" name="Google Shape;8930;p76"/>
          <p:cNvGrpSpPr/>
          <p:nvPr/>
        </p:nvGrpSpPr>
        <p:grpSpPr>
          <a:xfrm>
            <a:off x="7885680" y="2756825"/>
            <a:ext cx="444605" cy="419659"/>
            <a:chOff x="-1960150" y="3956600"/>
            <a:chExt cx="308775" cy="291450"/>
          </a:xfrm>
        </p:grpSpPr>
        <p:sp>
          <p:nvSpPr>
            <p:cNvPr id="8931" name="Google Shape;8931;p76"/>
            <p:cNvSpPr/>
            <p:nvPr/>
          </p:nvSpPr>
          <p:spPr>
            <a:xfrm>
              <a:off x="-1960150" y="3956600"/>
              <a:ext cx="308775" cy="51275"/>
            </a:xfrm>
            <a:custGeom>
              <a:avLst/>
              <a:gdLst/>
              <a:ahLst/>
              <a:cxnLst/>
              <a:rect l="l" t="t" r="r" b="b"/>
              <a:pathLst>
                <a:path w="12351" h="2051" extrusionOk="0">
                  <a:moveTo>
                    <a:pt x="1355" y="1"/>
                  </a:moveTo>
                  <a:cubicBezTo>
                    <a:pt x="1" y="1"/>
                    <a:pt x="32" y="2049"/>
                    <a:pt x="1355" y="2049"/>
                  </a:cubicBezTo>
                  <a:lnTo>
                    <a:pt x="11027" y="2049"/>
                  </a:lnTo>
                  <a:cubicBezTo>
                    <a:pt x="11047" y="2050"/>
                    <a:pt x="11066" y="2050"/>
                    <a:pt x="11085" y="2050"/>
                  </a:cubicBezTo>
                  <a:cubicBezTo>
                    <a:pt x="12350" y="2050"/>
                    <a:pt x="12331" y="1"/>
                    <a:pt x="110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76"/>
            <p:cNvSpPr/>
            <p:nvPr/>
          </p:nvSpPr>
          <p:spPr>
            <a:xfrm>
              <a:off x="-1934950" y="4025925"/>
              <a:ext cx="256000" cy="222125"/>
            </a:xfrm>
            <a:custGeom>
              <a:avLst/>
              <a:gdLst/>
              <a:ahLst/>
              <a:cxnLst/>
              <a:rect l="l" t="t" r="r" b="b"/>
              <a:pathLst>
                <a:path w="10240" h="8885" extrusionOk="0">
                  <a:moveTo>
                    <a:pt x="8570" y="756"/>
                  </a:moveTo>
                  <a:cubicBezTo>
                    <a:pt x="8759" y="756"/>
                    <a:pt x="8917" y="914"/>
                    <a:pt x="8917" y="1103"/>
                  </a:cubicBezTo>
                  <a:lnTo>
                    <a:pt x="8917" y="1765"/>
                  </a:lnTo>
                  <a:cubicBezTo>
                    <a:pt x="8917" y="1995"/>
                    <a:pt x="8737" y="2116"/>
                    <a:pt x="8558" y="2116"/>
                  </a:cubicBezTo>
                  <a:cubicBezTo>
                    <a:pt x="8419" y="2116"/>
                    <a:pt x="8279" y="2042"/>
                    <a:pt x="8224" y="1891"/>
                  </a:cubicBezTo>
                  <a:lnTo>
                    <a:pt x="6081" y="4065"/>
                  </a:lnTo>
                  <a:cubicBezTo>
                    <a:pt x="6018" y="4112"/>
                    <a:pt x="5924" y="4135"/>
                    <a:pt x="5833" y="4135"/>
                  </a:cubicBezTo>
                  <a:cubicBezTo>
                    <a:pt x="5743" y="4135"/>
                    <a:pt x="5656" y="4112"/>
                    <a:pt x="5609" y="4065"/>
                  </a:cubicBezTo>
                  <a:lnTo>
                    <a:pt x="3781" y="2237"/>
                  </a:lnTo>
                  <a:lnTo>
                    <a:pt x="1986" y="4065"/>
                  </a:lnTo>
                  <a:cubicBezTo>
                    <a:pt x="1912" y="4138"/>
                    <a:pt x="1831" y="4168"/>
                    <a:pt x="1752" y="4168"/>
                  </a:cubicBezTo>
                  <a:cubicBezTo>
                    <a:pt x="1493" y="4168"/>
                    <a:pt x="1271" y="3834"/>
                    <a:pt x="1513" y="3592"/>
                  </a:cubicBezTo>
                  <a:lnTo>
                    <a:pt x="3561" y="1544"/>
                  </a:lnTo>
                  <a:cubicBezTo>
                    <a:pt x="3624" y="1481"/>
                    <a:pt x="3711" y="1450"/>
                    <a:pt x="3797" y="1450"/>
                  </a:cubicBezTo>
                  <a:cubicBezTo>
                    <a:pt x="3884" y="1450"/>
                    <a:pt x="3970" y="1481"/>
                    <a:pt x="4033" y="1544"/>
                  </a:cubicBezTo>
                  <a:lnTo>
                    <a:pt x="5829" y="3340"/>
                  </a:lnTo>
                  <a:lnTo>
                    <a:pt x="7783" y="1418"/>
                  </a:lnTo>
                  <a:cubicBezTo>
                    <a:pt x="7404" y="1292"/>
                    <a:pt x="7499" y="756"/>
                    <a:pt x="7877" y="756"/>
                  </a:cubicBezTo>
                  <a:close/>
                  <a:moveTo>
                    <a:pt x="5136" y="7562"/>
                  </a:moveTo>
                  <a:cubicBezTo>
                    <a:pt x="5325" y="7562"/>
                    <a:pt x="5483" y="7719"/>
                    <a:pt x="5483" y="7908"/>
                  </a:cubicBezTo>
                  <a:cubicBezTo>
                    <a:pt x="5483" y="8097"/>
                    <a:pt x="5325" y="8255"/>
                    <a:pt x="5136" y="8255"/>
                  </a:cubicBezTo>
                  <a:cubicBezTo>
                    <a:pt x="4916" y="8255"/>
                    <a:pt x="4758" y="8097"/>
                    <a:pt x="4758" y="7908"/>
                  </a:cubicBezTo>
                  <a:cubicBezTo>
                    <a:pt x="4758" y="7719"/>
                    <a:pt x="4916" y="7562"/>
                    <a:pt x="5136" y="7562"/>
                  </a:cubicBezTo>
                  <a:close/>
                  <a:moveTo>
                    <a:pt x="1" y="0"/>
                  </a:moveTo>
                  <a:lnTo>
                    <a:pt x="1" y="5167"/>
                  </a:lnTo>
                  <a:cubicBezTo>
                    <a:pt x="1" y="5703"/>
                    <a:pt x="442" y="6175"/>
                    <a:pt x="1040" y="6175"/>
                  </a:cubicBezTo>
                  <a:lnTo>
                    <a:pt x="4758" y="6175"/>
                  </a:lnTo>
                  <a:lnTo>
                    <a:pt x="4758" y="6931"/>
                  </a:lnTo>
                  <a:cubicBezTo>
                    <a:pt x="4380" y="7089"/>
                    <a:pt x="4096" y="7436"/>
                    <a:pt x="4096" y="7877"/>
                  </a:cubicBezTo>
                  <a:cubicBezTo>
                    <a:pt x="4096" y="8412"/>
                    <a:pt x="4569" y="8885"/>
                    <a:pt x="5136" y="8885"/>
                  </a:cubicBezTo>
                  <a:cubicBezTo>
                    <a:pt x="5672" y="8885"/>
                    <a:pt x="6144" y="8412"/>
                    <a:pt x="6144" y="7877"/>
                  </a:cubicBezTo>
                  <a:cubicBezTo>
                    <a:pt x="6144" y="7436"/>
                    <a:pt x="5861" y="7057"/>
                    <a:pt x="5483" y="6931"/>
                  </a:cubicBezTo>
                  <a:lnTo>
                    <a:pt x="5483" y="6175"/>
                  </a:lnTo>
                  <a:lnTo>
                    <a:pt x="9232" y="6175"/>
                  </a:lnTo>
                  <a:cubicBezTo>
                    <a:pt x="9767" y="6175"/>
                    <a:pt x="10240" y="5703"/>
                    <a:pt x="10240" y="5167"/>
                  </a:cubicBezTo>
                  <a:lnTo>
                    <a:pt x="10240" y="0"/>
                  </a:lnTo>
                  <a:cubicBezTo>
                    <a:pt x="10114" y="32"/>
                    <a:pt x="10019" y="32"/>
                    <a:pt x="9893" y="32"/>
                  </a:cubicBezTo>
                  <a:lnTo>
                    <a:pt x="347"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3" name="Google Shape;8933;p76"/>
          <p:cNvGrpSpPr/>
          <p:nvPr/>
        </p:nvGrpSpPr>
        <p:grpSpPr>
          <a:xfrm>
            <a:off x="1939718" y="3307636"/>
            <a:ext cx="420775" cy="420775"/>
            <a:chOff x="-804700" y="3226500"/>
            <a:chExt cx="292225" cy="292225"/>
          </a:xfrm>
        </p:grpSpPr>
        <p:sp>
          <p:nvSpPr>
            <p:cNvPr id="8934" name="Google Shape;8934;p76"/>
            <p:cNvSpPr/>
            <p:nvPr/>
          </p:nvSpPr>
          <p:spPr>
            <a:xfrm>
              <a:off x="-804700" y="3467500"/>
              <a:ext cx="85875" cy="51225"/>
            </a:xfrm>
            <a:custGeom>
              <a:avLst/>
              <a:gdLst/>
              <a:ahLst/>
              <a:cxnLst/>
              <a:rect l="l" t="t" r="r" b="b"/>
              <a:pathLst>
                <a:path w="3435" h="2049" extrusionOk="0">
                  <a:moveTo>
                    <a:pt x="1040" y="0"/>
                  </a:moveTo>
                  <a:cubicBezTo>
                    <a:pt x="473" y="0"/>
                    <a:pt x="0" y="473"/>
                    <a:pt x="0" y="1040"/>
                  </a:cubicBezTo>
                  <a:cubicBezTo>
                    <a:pt x="0" y="1576"/>
                    <a:pt x="473" y="2048"/>
                    <a:pt x="1040" y="2048"/>
                  </a:cubicBezTo>
                  <a:lnTo>
                    <a:pt x="2395" y="2048"/>
                  </a:lnTo>
                  <a:cubicBezTo>
                    <a:pt x="2962" y="2048"/>
                    <a:pt x="3434" y="1576"/>
                    <a:pt x="3434" y="1040"/>
                  </a:cubicBezTo>
                  <a:cubicBezTo>
                    <a:pt x="3434" y="473"/>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76"/>
            <p:cNvSpPr/>
            <p:nvPr/>
          </p:nvSpPr>
          <p:spPr>
            <a:xfrm>
              <a:off x="-710975" y="3466700"/>
              <a:ext cx="196925" cy="51225"/>
            </a:xfrm>
            <a:custGeom>
              <a:avLst/>
              <a:gdLst/>
              <a:ahLst/>
              <a:cxnLst/>
              <a:rect l="l" t="t" r="r" b="b"/>
              <a:pathLst>
                <a:path w="7877" h="2049" extrusionOk="0">
                  <a:moveTo>
                    <a:pt x="1" y="1"/>
                  </a:moveTo>
                  <a:cubicBezTo>
                    <a:pt x="221" y="253"/>
                    <a:pt x="347" y="663"/>
                    <a:pt x="347" y="1009"/>
                  </a:cubicBezTo>
                  <a:cubicBezTo>
                    <a:pt x="347" y="1419"/>
                    <a:pt x="221" y="1765"/>
                    <a:pt x="1" y="2049"/>
                  </a:cubicBezTo>
                  <a:lnTo>
                    <a:pt x="6837" y="2049"/>
                  </a:lnTo>
                  <a:cubicBezTo>
                    <a:pt x="7404" y="2049"/>
                    <a:pt x="7877" y="1576"/>
                    <a:pt x="7877" y="1009"/>
                  </a:cubicBezTo>
                  <a:cubicBezTo>
                    <a:pt x="7877" y="474"/>
                    <a:pt x="7436" y="1"/>
                    <a:pt x="68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76"/>
            <p:cNvSpPr/>
            <p:nvPr/>
          </p:nvSpPr>
          <p:spPr>
            <a:xfrm>
              <a:off x="-667650" y="3312350"/>
              <a:ext cx="18125" cy="17350"/>
            </a:xfrm>
            <a:custGeom>
              <a:avLst/>
              <a:gdLst/>
              <a:ahLst/>
              <a:cxnLst/>
              <a:rect l="l" t="t" r="r" b="b"/>
              <a:pathLst>
                <a:path w="725" h="694" extrusionOk="0">
                  <a:moveTo>
                    <a:pt x="347" y="0"/>
                  </a:moveTo>
                  <a:cubicBezTo>
                    <a:pt x="158" y="0"/>
                    <a:pt x="0" y="158"/>
                    <a:pt x="0" y="347"/>
                  </a:cubicBezTo>
                  <a:cubicBezTo>
                    <a:pt x="0" y="567"/>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76"/>
            <p:cNvSpPr/>
            <p:nvPr/>
          </p:nvSpPr>
          <p:spPr>
            <a:xfrm>
              <a:off x="-683400" y="3347775"/>
              <a:ext cx="48050" cy="16575"/>
            </a:xfrm>
            <a:custGeom>
              <a:avLst/>
              <a:gdLst/>
              <a:ahLst/>
              <a:cxnLst/>
              <a:rect l="l" t="t" r="r" b="b"/>
              <a:pathLst>
                <a:path w="1922" h="663" extrusionOk="0">
                  <a:moveTo>
                    <a:pt x="977" y="1"/>
                  </a:moveTo>
                  <a:cubicBezTo>
                    <a:pt x="567" y="1"/>
                    <a:pt x="158" y="253"/>
                    <a:pt x="0" y="662"/>
                  </a:cubicBezTo>
                  <a:lnTo>
                    <a:pt x="1922" y="662"/>
                  </a:lnTo>
                  <a:cubicBezTo>
                    <a:pt x="1796" y="253"/>
                    <a:pt x="1418" y="1"/>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8" name="Google Shape;8938;p76"/>
            <p:cNvSpPr/>
            <p:nvPr/>
          </p:nvSpPr>
          <p:spPr>
            <a:xfrm>
              <a:off x="-735400" y="3261925"/>
              <a:ext cx="153625" cy="187875"/>
            </a:xfrm>
            <a:custGeom>
              <a:avLst/>
              <a:gdLst/>
              <a:ahLst/>
              <a:cxnLst/>
              <a:rect l="l" t="t" r="r" b="b"/>
              <a:pathLst>
                <a:path w="6145" h="7515" extrusionOk="0">
                  <a:moveTo>
                    <a:pt x="3025" y="1324"/>
                  </a:moveTo>
                  <a:cubicBezTo>
                    <a:pt x="3561" y="1324"/>
                    <a:pt x="4034" y="1796"/>
                    <a:pt x="4034" y="2364"/>
                  </a:cubicBezTo>
                  <a:cubicBezTo>
                    <a:pt x="4034" y="2553"/>
                    <a:pt x="3970" y="2742"/>
                    <a:pt x="3844" y="2962"/>
                  </a:cubicBezTo>
                  <a:cubicBezTo>
                    <a:pt x="4349" y="3277"/>
                    <a:pt x="4727" y="3781"/>
                    <a:pt x="4727" y="4443"/>
                  </a:cubicBezTo>
                  <a:cubicBezTo>
                    <a:pt x="4758" y="4632"/>
                    <a:pt x="4601" y="4789"/>
                    <a:pt x="4443" y="4789"/>
                  </a:cubicBezTo>
                  <a:lnTo>
                    <a:pt x="1671" y="4789"/>
                  </a:lnTo>
                  <a:cubicBezTo>
                    <a:pt x="1482" y="4789"/>
                    <a:pt x="1324" y="4632"/>
                    <a:pt x="1324" y="4443"/>
                  </a:cubicBezTo>
                  <a:cubicBezTo>
                    <a:pt x="1324" y="3813"/>
                    <a:pt x="1671" y="3277"/>
                    <a:pt x="2206" y="2962"/>
                  </a:cubicBezTo>
                  <a:cubicBezTo>
                    <a:pt x="2080" y="2805"/>
                    <a:pt x="1986" y="2584"/>
                    <a:pt x="1986" y="2364"/>
                  </a:cubicBezTo>
                  <a:cubicBezTo>
                    <a:pt x="1986" y="1796"/>
                    <a:pt x="2458" y="1324"/>
                    <a:pt x="3025" y="1324"/>
                  </a:cubicBezTo>
                  <a:close/>
                  <a:moveTo>
                    <a:pt x="1009" y="1"/>
                  </a:moveTo>
                  <a:cubicBezTo>
                    <a:pt x="473" y="1"/>
                    <a:pt x="1" y="473"/>
                    <a:pt x="1" y="1009"/>
                  </a:cubicBezTo>
                  <a:lnTo>
                    <a:pt x="1" y="5105"/>
                  </a:lnTo>
                  <a:cubicBezTo>
                    <a:pt x="1" y="5672"/>
                    <a:pt x="473" y="6144"/>
                    <a:pt x="1009" y="6144"/>
                  </a:cubicBezTo>
                  <a:lnTo>
                    <a:pt x="1954" y="6144"/>
                  </a:lnTo>
                  <a:lnTo>
                    <a:pt x="2773" y="7373"/>
                  </a:lnTo>
                  <a:cubicBezTo>
                    <a:pt x="2836" y="7467"/>
                    <a:pt x="2947" y="7515"/>
                    <a:pt x="3057" y="7515"/>
                  </a:cubicBezTo>
                  <a:cubicBezTo>
                    <a:pt x="3167" y="7515"/>
                    <a:pt x="3277" y="7467"/>
                    <a:pt x="3340" y="7373"/>
                  </a:cubicBezTo>
                  <a:lnTo>
                    <a:pt x="4160" y="6144"/>
                  </a:lnTo>
                  <a:lnTo>
                    <a:pt x="5105" y="6144"/>
                  </a:lnTo>
                  <a:cubicBezTo>
                    <a:pt x="5672" y="6144"/>
                    <a:pt x="6144" y="5672"/>
                    <a:pt x="6144" y="5105"/>
                  </a:cubicBezTo>
                  <a:lnTo>
                    <a:pt x="6144" y="1009"/>
                  </a:lnTo>
                  <a:cubicBezTo>
                    <a:pt x="6144" y="473"/>
                    <a:pt x="5672" y="1"/>
                    <a:pt x="5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9" name="Google Shape;8939;p76"/>
            <p:cNvSpPr/>
            <p:nvPr/>
          </p:nvSpPr>
          <p:spPr>
            <a:xfrm>
              <a:off x="-804700" y="3226500"/>
              <a:ext cx="118175" cy="170925"/>
            </a:xfrm>
            <a:custGeom>
              <a:avLst/>
              <a:gdLst/>
              <a:ahLst/>
              <a:cxnLst/>
              <a:rect l="l" t="t" r="r" b="b"/>
              <a:pathLst>
                <a:path w="4727" h="6837" extrusionOk="0">
                  <a:moveTo>
                    <a:pt x="1040" y="0"/>
                  </a:moveTo>
                  <a:cubicBezTo>
                    <a:pt x="473" y="0"/>
                    <a:pt x="0" y="473"/>
                    <a:pt x="0" y="1008"/>
                  </a:cubicBezTo>
                  <a:lnTo>
                    <a:pt x="0" y="4442"/>
                  </a:lnTo>
                  <a:cubicBezTo>
                    <a:pt x="0" y="5009"/>
                    <a:pt x="473" y="5450"/>
                    <a:pt x="1040" y="5450"/>
                  </a:cubicBezTo>
                  <a:cubicBezTo>
                    <a:pt x="1040" y="5450"/>
                    <a:pt x="1198" y="5986"/>
                    <a:pt x="1387" y="6490"/>
                  </a:cubicBezTo>
                  <a:cubicBezTo>
                    <a:pt x="1481" y="6679"/>
                    <a:pt x="1544" y="6837"/>
                    <a:pt x="1733" y="6837"/>
                  </a:cubicBezTo>
                  <a:cubicBezTo>
                    <a:pt x="1891" y="6837"/>
                    <a:pt x="1985" y="6774"/>
                    <a:pt x="2111" y="6648"/>
                  </a:cubicBezTo>
                  <a:lnTo>
                    <a:pt x="2111" y="6522"/>
                  </a:lnTo>
                  <a:lnTo>
                    <a:pt x="2111" y="2426"/>
                  </a:lnTo>
                  <a:cubicBezTo>
                    <a:pt x="2111" y="1481"/>
                    <a:pt x="2836" y="725"/>
                    <a:pt x="3781" y="725"/>
                  </a:cubicBezTo>
                  <a:lnTo>
                    <a:pt x="4726" y="725"/>
                  </a:lnTo>
                  <a:cubicBezTo>
                    <a:pt x="4569" y="284"/>
                    <a:pt x="4222"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76"/>
            <p:cNvSpPr/>
            <p:nvPr/>
          </p:nvSpPr>
          <p:spPr>
            <a:xfrm>
              <a:off x="-630625" y="3226500"/>
              <a:ext cx="118150" cy="170950"/>
            </a:xfrm>
            <a:custGeom>
              <a:avLst/>
              <a:gdLst/>
              <a:ahLst/>
              <a:cxnLst/>
              <a:rect l="l" t="t" r="r" b="b"/>
              <a:pathLst>
                <a:path w="4726" h="6838" extrusionOk="0">
                  <a:moveTo>
                    <a:pt x="945" y="0"/>
                  </a:moveTo>
                  <a:cubicBezTo>
                    <a:pt x="536" y="0"/>
                    <a:pt x="126" y="284"/>
                    <a:pt x="0" y="662"/>
                  </a:cubicBezTo>
                  <a:lnTo>
                    <a:pt x="945" y="662"/>
                  </a:lnTo>
                  <a:cubicBezTo>
                    <a:pt x="1890" y="662"/>
                    <a:pt x="2646" y="1418"/>
                    <a:pt x="2646" y="2363"/>
                  </a:cubicBezTo>
                  <a:lnTo>
                    <a:pt x="2646" y="6490"/>
                  </a:lnTo>
                  <a:lnTo>
                    <a:pt x="2646" y="6616"/>
                  </a:lnTo>
                  <a:cubicBezTo>
                    <a:pt x="2766" y="6736"/>
                    <a:pt x="2868" y="6838"/>
                    <a:pt x="2993" y="6838"/>
                  </a:cubicBezTo>
                  <a:cubicBezTo>
                    <a:pt x="3032" y="6838"/>
                    <a:pt x="3074" y="6828"/>
                    <a:pt x="3119" y="6805"/>
                  </a:cubicBezTo>
                  <a:cubicBezTo>
                    <a:pt x="3245" y="6774"/>
                    <a:pt x="3277" y="6616"/>
                    <a:pt x="3308" y="6490"/>
                  </a:cubicBezTo>
                  <a:cubicBezTo>
                    <a:pt x="3497" y="6017"/>
                    <a:pt x="3686" y="5482"/>
                    <a:pt x="3686" y="5482"/>
                  </a:cubicBezTo>
                  <a:cubicBezTo>
                    <a:pt x="4222" y="5482"/>
                    <a:pt x="4694" y="5009"/>
                    <a:pt x="4694" y="4442"/>
                  </a:cubicBezTo>
                  <a:lnTo>
                    <a:pt x="4694" y="1008"/>
                  </a:lnTo>
                  <a:cubicBezTo>
                    <a:pt x="4726" y="473"/>
                    <a:pt x="4253"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1" name="Google Shape;8941;p76"/>
          <p:cNvGrpSpPr/>
          <p:nvPr/>
        </p:nvGrpSpPr>
        <p:grpSpPr>
          <a:xfrm>
            <a:off x="3019809" y="1688647"/>
            <a:ext cx="420775" cy="420811"/>
            <a:chOff x="-5251625" y="3272950"/>
            <a:chExt cx="292225" cy="292250"/>
          </a:xfrm>
        </p:grpSpPr>
        <p:sp>
          <p:nvSpPr>
            <p:cNvPr id="8942" name="Google Shape;8942;p76"/>
            <p:cNvSpPr/>
            <p:nvPr/>
          </p:nvSpPr>
          <p:spPr>
            <a:xfrm>
              <a:off x="-5156325" y="3462775"/>
              <a:ext cx="33900" cy="33100"/>
            </a:xfrm>
            <a:custGeom>
              <a:avLst/>
              <a:gdLst/>
              <a:ahLst/>
              <a:cxnLst/>
              <a:rect l="l" t="t" r="r" b="b"/>
              <a:pathLst>
                <a:path w="1356" h="1324" extrusionOk="0">
                  <a:moveTo>
                    <a:pt x="662" y="0"/>
                  </a:moveTo>
                  <a:cubicBezTo>
                    <a:pt x="284" y="0"/>
                    <a:pt x="1" y="315"/>
                    <a:pt x="1" y="662"/>
                  </a:cubicBezTo>
                  <a:cubicBezTo>
                    <a:pt x="1" y="1072"/>
                    <a:pt x="316" y="1324"/>
                    <a:pt x="662" y="1324"/>
                  </a:cubicBezTo>
                  <a:cubicBezTo>
                    <a:pt x="1072" y="1324"/>
                    <a:pt x="1355" y="1009"/>
                    <a:pt x="1355" y="662"/>
                  </a:cubicBezTo>
                  <a:cubicBezTo>
                    <a:pt x="1355" y="284"/>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3" name="Google Shape;8943;p76"/>
            <p:cNvSpPr/>
            <p:nvPr/>
          </p:nvSpPr>
          <p:spPr>
            <a:xfrm>
              <a:off x="-5251625" y="3272950"/>
              <a:ext cx="292225" cy="292250"/>
            </a:xfrm>
            <a:custGeom>
              <a:avLst/>
              <a:gdLst/>
              <a:ahLst/>
              <a:cxnLst/>
              <a:rect l="l" t="t" r="r" b="b"/>
              <a:pathLst>
                <a:path w="11689" h="11690" extrusionOk="0">
                  <a:moveTo>
                    <a:pt x="3699" y="2764"/>
                  </a:moveTo>
                  <a:cubicBezTo>
                    <a:pt x="3958" y="2764"/>
                    <a:pt x="4180" y="3098"/>
                    <a:pt x="3939" y="3340"/>
                  </a:cubicBezTo>
                  <a:lnTo>
                    <a:pt x="3497" y="3781"/>
                  </a:lnTo>
                  <a:lnTo>
                    <a:pt x="3939" y="4191"/>
                  </a:lnTo>
                  <a:cubicBezTo>
                    <a:pt x="4180" y="4433"/>
                    <a:pt x="3958" y="4767"/>
                    <a:pt x="3699" y="4767"/>
                  </a:cubicBezTo>
                  <a:cubicBezTo>
                    <a:pt x="3621" y="4767"/>
                    <a:pt x="3539" y="4737"/>
                    <a:pt x="3466" y="4664"/>
                  </a:cubicBezTo>
                  <a:lnTo>
                    <a:pt x="3025" y="4222"/>
                  </a:lnTo>
                  <a:lnTo>
                    <a:pt x="2584" y="4664"/>
                  </a:lnTo>
                  <a:cubicBezTo>
                    <a:pt x="2515" y="4756"/>
                    <a:pt x="2432" y="4794"/>
                    <a:pt x="2352" y="4794"/>
                  </a:cubicBezTo>
                  <a:cubicBezTo>
                    <a:pt x="2103" y="4794"/>
                    <a:pt x="1873" y="4429"/>
                    <a:pt x="2111" y="4191"/>
                  </a:cubicBezTo>
                  <a:lnTo>
                    <a:pt x="2552" y="3781"/>
                  </a:lnTo>
                  <a:lnTo>
                    <a:pt x="2111" y="3340"/>
                  </a:lnTo>
                  <a:cubicBezTo>
                    <a:pt x="1869" y="3098"/>
                    <a:pt x="2092" y="2764"/>
                    <a:pt x="2351" y="2764"/>
                  </a:cubicBezTo>
                  <a:cubicBezTo>
                    <a:pt x="2429" y="2764"/>
                    <a:pt x="2511" y="2795"/>
                    <a:pt x="2584" y="2868"/>
                  </a:cubicBezTo>
                  <a:lnTo>
                    <a:pt x="3025" y="3309"/>
                  </a:lnTo>
                  <a:lnTo>
                    <a:pt x="3466" y="2868"/>
                  </a:lnTo>
                  <a:cubicBezTo>
                    <a:pt x="3539" y="2795"/>
                    <a:pt x="3621" y="2764"/>
                    <a:pt x="3699" y="2764"/>
                  </a:cubicBezTo>
                  <a:close/>
                  <a:moveTo>
                    <a:pt x="8583" y="6922"/>
                  </a:moveTo>
                  <a:cubicBezTo>
                    <a:pt x="8841" y="6922"/>
                    <a:pt x="9064" y="7257"/>
                    <a:pt x="8822" y="7499"/>
                  </a:cubicBezTo>
                  <a:lnTo>
                    <a:pt x="8381" y="7940"/>
                  </a:lnTo>
                  <a:lnTo>
                    <a:pt x="8822" y="8381"/>
                  </a:lnTo>
                  <a:cubicBezTo>
                    <a:pt x="9064" y="8623"/>
                    <a:pt x="8841" y="8958"/>
                    <a:pt x="8583" y="8958"/>
                  </a:cubicBezTo>
                  <a:cubicBezTo>
                    <a:pt x="8504" y="8958"/>
                    <a:pt x="8422" y="8927"/>
                    <a:pt x="8349" y="8854"/>
                  </a:cubicBezTo>
                  <a:lnTo>
                    <a:pt x="7908" y="8413"/>
                  </a:lnTo>
                  <a:lnTo>
                    <a:pt x="7467" y="8854"/>
                  </a:lnTo>
                  <a:cubicBezTo>
                    <a:pt x="7394" y="8927"/>
                    <a:pt x="7312" y="8958"/>
                    <a:pt x="7234" y="8958"/>
                  </a:cubicBezTo>
                  <a:cubicBezTo>
                    <a:pt x="6975" y="8958"/>
                    <a:pt x="6753" y="8623"/>
                    <a:pt x="6995" y="8381"/>
                  </a:cubicBezTo>
                  <a:lnTo>
                    <a:pt x="7436" y="7940"/>
                  </a:lnTo>
                  <a:lnTo>
                    <a:pt x="6995" y="7499"/>
                  </a:lnTo>
                  <a:cubicBezTo>
                    <a:pt x="6753" y="7257"/>
                    <a:pt x="6975" y="6922"/>
                    <a:pt x="7234" y="6922"/>
                  </a:cubicBezTo>
                  <a:cubicBezTo>
                    <a:pt x="7312" y="6922"/>
                    <a:pt x="7394" y="6953"/>
                    <a:pt x="7467" y="7026"/>
                  </a:cubicBezTo>
                  <a:lnTo>
                    <a:pt x="7908" y="7467"/>
                  </a:lnTo>
                  <a:lnTo>
                    <a:pt x="8349" y="7026"/>
                  </a:lnTo>
                  <a:cubicBezTo>
                    <a:pt x="8422" y="6953"/>
                    <a:pt x="8504" y="6922"/>
                    <a:pt x="8583" y="6922"/>
                  </a:cubicBezTo>
                  <a:close/>
                  <a:moveTo>
                    <a:pt x="7895" y="2732"/>
                  </a:moveTo>
                  <a:cubicBezTo>
                    <a:pt x="7974" y="2732"/>
                    <a:pt x="8055" y="2763"/>
                    <a:pt x="8129" y="2836"/>
                  </a:cubicBezTo>
                  <a:lnTo>
                    <a:pt x="8790" y="3498"/>
                  </a:lnTo>
                  <a:cubicBezTo>
                    <a:pt x="8916" y="3624"/>
                    <a:pt x="8916" y="3844"/>
                    <a:pt x="8790" y="3970"/>
                  </a:cubicBezTo>
                  <a:lnTo>
                    <a:pt x="8129" y="4632"/>
                  </a:lnTo>
                  <a:cubicBezTo>
                    <a:pt x="8055" y="4705"/>
                    <a:pt x="7974" y="4736"/>
                    <a:pt x="7895" y="4736"/>
                  </a:cubicBezTo>
                  <a:cubicBezTo>
                    <a:pt x="7637" y="4736"/>
                    <a:pt x="7414" y="4401"/>
                    <a:pt x="7656" y="4159"/>
                  </a:cubicBezTo>
                  <a:lnTo>
                    <a:pt x="7719" y="4096"/>
                  </a:lnTo>
                  <a:lnTo>
                    <a:pt x="7719" y="4096"/>
                  </a:lnTo>
                  <a:cubicBezTo>
                    <a:pt x="6175" y="4159"/>
                    <a:pt x="4978" y="5388"/>
                    <a:pt x="4852" y="6932"/>
                  </a:cubicBezTo>
                  <a:cubicBezTo>
                    <a:pt x="5451" y="7089"/>
                    <a:pt x="5829" y="7593"/>
                    <a:pt x="5829" y="8224"/>
                  </a:cubicBezTo>
                  <a:cubicBezTo>
                    <a:pt x="5829" y="9011"/>
                    <a:pt x="5230" y="9641"/>
                    <a:pt x="4474" y="9641"/>
                  </a:cubicBezTo>
                  <a:cubicBezTo>
                    <a:pt x="3750" y="9641"/>
                    <a:pt x="3119" y="9011"/>
                    <a:pt x="3119" y="8255"/>
                  </a:cubicBezTo>
                  <a:cubicBezTo>
                    <a:pt x="3119" y="7625"/>
                    <a:pt x="3529" y="7089"/>
                    <a:pt x="4128" y="6932"/>
                  </a:cubicBezTo>
                  <a:cubicBezTo>
                    <a:pt x="4285" y="5042"/>
                    <a:pt x="5829" y="3498"/>
                    <a:pt x="7751" y="3403"/>
                  </a:cubicBezTo>
                  <a:lnTo>
                    <a:pt x="7656" y="3309"/>
                  </a:lnTo>
                  <a:cubicBezTo>
                    <a:pt x="7414" y="3067"/>
                    <a:pt x="7637" y="2732"/>
                    <a:pt x="7895" y="2732"/>
                  </a:cubicBezTo>
                  <a:close/>
                  <a:moveTo>
                    <a:pt x="5829" y="1"/>
                  </a:moveTo>
                  <a:cubicBezTo>
                    <a:pt x="2647" y="1"/>
                    <a:pt x="0" y="2584"/>
                    <a:pt x="0" y="5829"/>
                  </a:cubicBezTo>
                  <a:cubicBezTo>
                    <a:pt x="0" y="9011"/>
                    <a:pt x="2615" y="11689"/>
                    <a:pt x="5829" y="11689"/>
                  </a:cubicBezTo>
                  <a:cubicBezTo>
                    <a:pt x="9011" y="11689"/>
                    <a:pt x="11689" y="9043"/>
                    <a:pt x="11689" y="5829"/>
                  </a:cubicBezTo>
                  <a:cubicBezTo>
                    <a:pt x="11657" y="5357"/>
                    <a:pt x="11563" y="4884"/>
                    <a:pt x="11500" y="4443"/>
                  </a:cubicBezTo>
                  <a:cubicBezTo>
                    <a:pt x="11248" y="4884"/>
                    <a:pt x="10838" y="5136"/>
                    <a:pt x="10303" y="5136"/>
                  </a:cubicBezTo>
                  <a:cubicBezTo>
                    <a:pt x="9578" y="5136"/>
                    <a:pt x="8948" y="4506"/>
                    <a:pt x="8948" y="3781"/>
                  </a:cubicBezTo>
                  <a:cubicBezTo>
                    <a:pt x="8948" y="3025"/>
                    <a:pt x="9578" y="2395"/>
                    <a:pt x="10303" y="2395"/>
                  </a:cubicBezTo>
                  <a:cubicBezTo>
                    <a:pt x="10397" y="2395"/>
                    <a:pt x="10523" y="2395"/>
                    <a:pt x="10586" y="2427"/>
                  </a:cubicBezTo>
                  <a:cubicBezTo>
                    <a:pt x="9483" y="883"/>
                    <a:pt x="7719"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76"/>
            <p:cNvSpPr/>
            <p:nvPr/>
          </p:nvSpPr>
          <p:spPr>
            <a:xfrm>
              <a:off x="-5011400" y="3350150"/>
              <a:ext cx="33900" cy="33875"/>
            </a:xfrm>
            <a:custGeom>
              <a:avLst/>
              <a:gdLst/>
              <a:ahLst/>
              <a:cxnLst/>
              <a:rect l="l" t="t" r="r" b="b"/>
              <a:pathLst>
                <a:path w="1356" h="1355" extrusionOk="0">
                  <a:moveTo>
                    <a:pt x="662" y="0"/>
                  </a:moveTo>
                  <a:cubicBezTo>
                    <a:pt x="315" y="0"/>
                    <a:pt x="0" y="284"/>
                    <a:pt x="0" y="693"/>
                  </a:cubicBezTo>
                  <a:cubicBezTo>
                    <a:pt x="0" y="1071"/>
                    <a:pt x="315" y="1355"/>
                    <a:pt x="662" y="1355"/>
                  </a:cubicBezTo>
                  <a:cubicBezTo>
                    <a:pt x="1072" y="1355"/>
                    <a:pt x="1355" y="1040"/>
                    <a:pt x="1355" y="693"/>
                  </a:cubicBezTo>
                  <a:cubicBezTo>
                    <a:pt x="1355"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5" name="Google Shape;8945;p76"/>
          <p:cNvGrpSpPr/>
          <p:nvPr/>
        </p:nvGrpSpPr>
        <p:grpSpPr>
          <a:xfrm>
            <a:off x="3016407" y="2204348"/>
            <a:ext cx="427578" cy="421351"/>
            <a:chOff x="-5254775" y="3631325"/>
            <a:chExt cx="296950" cy="292625"/>
          </a:xfrm>
        </p:grpSpPr>
        <p:sp>
          <p:nvSpPr>
            <p:cNvPr id="8946" name="Google Shape;8946;p76"/>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7" name="Google Shape;8947;p76"/>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8" name="Google Shape;8948;p76"/>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9" name="Google Shape;8949;p76"/>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0" name="Google Shape;8950;p76"/>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1" name="Google Shape;8951;p76"/>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76"/>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3" name="Google Shape;8953;p76"/>
          <p:cNvGrpSpPr/>
          <p:nvPr/>
        </p:nvGrpSpPr>
        <p:grpSpPr>
          <a:xfrm>
            <a:off x="3032265" y="2756270"/>
            <a:ext cx="419659" cy="420775"/>
            <a:chOff x="-5251625" y="3991275"/>
            <a:chExt cx="291450" cy="292225"/>
          </a:xfrm>
        </p:grpSpPr>
        <p:sp>
          <p:nvSpPr>
            <p:cNvPr id="8954" name="Google Shape;8954;p76"/>
            <p:cNvSpPr/>
            <p:nvPr/>
          </p:nvSpPr>
          <p:spPr>
            <a:xfrm>
              <a:off x="-5179950" y="4198400"/>
              <a:ext cx="145725" cy="85100"/>
            </a:xfrm>
            <a:custGeom>
              <a:avLst/>
              <a:gdLst/>
              <a:ahLst/>
              <a:cxnLst/>
              <a:rect l="l" t="t" r="r" b="b"/>
              <a:pathLst>
                <a:path w="5829" h="3404" extrusionOk="0">
                  <a:moveTo>
                    <a:pt x="0" y="1"/>
                  </a:moveTo>
                  <a:lnTo>
                    <a:pt x="504" y="3151"/>
                  </a:lnTo>
                  <a:cubicBezTo>
                    <a:pt x="567" y="3309"/>
                    <a:pt x="662" y="3403"/>
                    <a:pt x="883" y="3403"/>
                  </a:cubicBezTo>
                  <a:lnTo>
                    <a:pt x="4978" y="3403"/>
                  </a:lnTo>
                  <a:cubicBezTo>
                    <a:pt x="5136" y="3403"/>
                    <a:pt x="5293" y="3309"/>
                    <a:pt x="5325" y="3151"/>
                  </a:cubicBez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76"/>
            <p:cNvSpPr/>
            <p:nvPr/>
          </p:nvSpPr>
          <p:spPr>
            <a:xfrm>
              <a:off x="-5203575" y="4129100"/>
              <a:ext cx="196925" cy="51225"/>
            </a:xfrm>
            <a:custGeom>
              <a:avLst/>
              <a:gdLst/>
              <a:ahLst/>
              <a:cxnLst/>
              <a:rect l="l" t="t" r="r" b="b"/>
              <a:pathLst>
                <a:path w="7877" h="2049" extrusionOk="0">
                  <a:moveTo>
                    <a:pt x="1229" y="1"/>
                  </a:moveTo>
                  <a:cubicBezTo>
                    <a:pt x="504" y="1"/>
                    <a:pt x="0" y="662"/>
                    <a:pt x="284" y="1387"/>
                  </a:cubicBezTo>
                  <a:cubicBezTo>
                    <a:pt x="284" y="1702"/>
                    <a:pt x="567" y="1922"/>
                    <a:pt x="882" y="2017"/>
                  </a:cubicBezTo>
                  <a:cubicBezTo>
                    <a:pt x="945" y="2048"/>
                    <a:pt x="1071" y="2048"/>
                    <a:pt x="1197" y="2048"/>
                  </a:cubicBezTo>
                  <a:lnTo>
                    <a:pt x="6648" y="2048"/>
                  </a:lnTo>
                  <a:cubicBezTo>
                    <a:pt x="6774" y="2048"/>
                    <a:pt x="6868" y="2017"/>
                    <a:pt x="6963" y="2017"/>
                  </a:cubicBezTo>
                  <a:cubicBezTo>
                    <a:pt x="7278" y="1922"/>
                    <a:pt x="7530" y="1702"/>
                    <a:pt x="7656" y="1387"/>
                  </a:cubicBezTo>
                  <a:cubicBezTo>
                    <a:pt x="7876" y="662"/>
                    <a:pt x="7372"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6" name="Google Shape;8956;p76"/>
            <p:cNvSpPr/>
            <p:nvPr/>
          </p:nvSpPr>
          <p:spPr>
            <a:xfrm>
              <a:off x="-5251625" y="3991275"/>
              <a:ext cx="291450" cy="172500"/>
            </a:xfrm>
            <a:custGeom>
              <a:avLst/>
              <a:gdLst/>
              <a:ahLst/>
              <a:cxnLst/>
              <a:rect l="l" t="t" r="r" b="b"/>
              <a:pathLst>
                <a:path w="11658" h="6900" extrusionOk="0">
                  <a:moveTo>
                    <a:pt x="1009" y="0"/>
                  </a:moveTo>
                  <a:cubicBezTo>
                    <a:pt x="473" y="0"/>
                    <a:pt x="0" y="473"/>
                    <a:pt x="0" y="1040"/>
                  </a:cubicBezTo>
                  <a:lnTo>
                    <a:pt x="0" y="5829"/>
                  </a:lnTo>
                  <a:cubicBezTo>
                    <a:pt x="0" y="6396"/>
                    <a:pt x="473" y="6900"/>
                    <a:pt x="1009" y="6900"/>
                  </a:cubicBezTo>
                  <a:lnTo>
                    <a:pt x="1418" y="6900"/>
                  </a:lnTo>
                  <a:cubicBezTo>
                    <a:pt x="1387" y="6774"/>
                    <a:pt x="1387" y="6648"/>
                    <a:pt x="1387" y="6553"/>
                  </a:cubicBezTo>
                  <a:cubicBezTo>
                    <a:pt x="1387" y="5608"/>
                    <a:pt x="2111" y="4852"/>
                    <a:pt x="3056" y="4852"/>
                  </a:cubicBezTo>
                  <a:lnTo>
                    <a:pt x="3781" y="4852"/>
                  </a:lnTo>
                  <a:cubicBezTo>
                    <a:pt x="3907" y="4285"/>
                    <a:pt x="4254" y="3875"/>
                    <a:pt x="4726" y="3623"/>
                  </a:cubicBezTo>
                  <a:cubicBezTo>
                    <a:pt x="4537" y="3371"/>
                    <a:pt x="4411" y="3119"/>
                    <a:pt x="4411" y="2773"/>
                  </a:cubicBezTo>
                  <a:cubicBezTo>
                    <a:pt x="4411" y="2016"/>
                    <a:pt x="5041" y="1386"/>
                    <a:pt x="5797" y="1386"/>
                  </a:cubicBezTo>
                  <a:cubicBezTo>
                    <a:pt x="6522" y="1386"/>
                    <a:pt x="7152" y="2016"/>
                    <a:pt x="7152" y="2773"/>
                  </a:cubicBezTo>
                  <a:cubicBezTo>
                    <a:pt x="7152" y="3088"/>
                    <a:pt x="7058" y="3403"/>
                    <a:pt x="6837" y="3623"/>
                  </a:cubicBezTo>
                  <a:cubicBezTo>
                    <a:pt x="7310" y="3875"/>
                    <a:pt x="7688" y="4285"/>
                    <a:pt x="7782" y="4852"/>
                  </a:cubicBezTo>
                  <a:lnTo>
                    <a:pt x="8507" y="4852"/>
                  </a:lnTo>
                  <a:cubicBezTo>
                    <a:pt x="9452" y="4852"/>
                    <a:pt x="10208" y="5608"/>
                    <a:pt x="10208" y="6553"/>
                  </a:cubicBezTo>
                  <a:cubicBezTo>
                    <a:pt x="10208" y="6648"/>
                    <a:pt x="10208" y="6774"/>
                    <a:pt x="10145" y="6900"/>
                  </a:cubicBezTo>
                  <a:lnTo>
                    <a:pt x="10586" y="6900"/>
                  </a:lnTo>
                  <a:cubicBezTo>
                    <a:pt x="11153" y="6900"/>
                    <a:pt x="11626" y="6427"/>
                    <a:pt x="11626" y="5829"/>
                  </a:cubicBezTo>
                  <a:lnTo>
                    <a:pt x="11626" y="1040"/>
                  </a:lnTo>
                  <a:cubicBezTo>
                    <a:pt x="11657" y="473"/>
                    <a:pt x="11185"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7" name="Google Shape;8957;p76"/>
            <p:cNvSpPr/>
            <p:nvPr/>
          </p:nvSpPr>
          <p:spPr>
            <a:xfrm>
              <a:off x="-5139775" y="4096025"/>
              <a:ext cx="65400" cy="17350"/>
            </a:xfrm>
            <a:custGeom>
              <a:avLst/>
              <a:gdLst/>
              <a:ahLst/>
              <a:cxnLst/>
              <a:rect l="l" t="t" r="r" b="b"/>
              <a:pathLst>
                <a:path w="2616" h="694" extrusionOk="0">
                  <a:moveTo>
                    <a:pt x="1008" y="0"/>
                  </a:moveTo>
                  <a:cubicBezTo>
                    <a:pt x="567" y="0"/>
                    <a:pt x="158" y="315"/>
                    <a:pt x="0" y="693"/>
                  </a:cubicBezTo>
                  <a:lnTo>
                    <a:pt x="2615" y="693"/>
                  </a:lnTo>
                  <a:cubicBezTo>
                    <a:pt x="2489" y="252"/>
                    <a:pt x="2111"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76"/>
            <p:cNvSpPr/>
            <p:nvPr/>
          </p:nvSpPr>
          <p:spPr>
            <a:xfrm>
              <a:off x="-5122450" y="4044825"/>
              <a:ext cx="33100" cy="33100"/>
            </a:xfrm>
            <a:custGeom>
              <a:avLst/>
              <a:gdLst/>
              <a:ahLst/>
              <a:cxnLst/>
              <a:rect l="l" t="t" r="r" b="b"/>
              <a:pathLst>
                <a:path w="1324" h="1324" extrusionOk="0">
                  <a:moveTo>
                    <a:pt x="662" y="0"/>
                  </a:moveTo>
                  <a:cubicBezTo>
                    <a:pt x="252" y="0"/>
                    <a:pt x="0" y="316"/>
                    <a:pt x="0" y="662"/>
                  </a:cubicBezTo>
                  <a:cubicBezTo>
                    <a:pt x="0" y="1009"/>
                    <a:pt x="315" y="1324"/>
                    <a:pt x="662" y="1324"/>
                  </a:cubicBezTo>
                  <a:cubicBezTo>
                    <a:pt x="1008" y="1324"/>
                    <a:pt x="1323" y="1009"/>
                    <a:pt x="1323" y="662"/>
                  </a:cubicBezTo>
                  <a:cubicBezTo>
                    <a:pt x="1323" y="253"/>
                    <a:pt x="1008"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9" name="Google Shape;8959;p76"/>
          <p:cNvGrpSpPr/>
          <p:nvPr/>
        </p:nvGrpSpPr>
        <p:grpSpPr>
          <a:xfrm>
            <a:off x="5772848" y="1689240"/>
            <a:ext cx="319874" cy="419623"/>
            <a:chOff x="-3365275" y="3253275"/>
            <a:chExt cx="222150" cy="291425"/>
          </a:xfrm>
        </p:grpSpPr>
        <p:sp>
          <p:nvSpPr>
            <p:cNvPr id="8960" name="Google Shape;8960;p76"/>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76"/>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76"/>
          <p:cNvGrpSpPr/>
          <p:nvPr/>
        </p:nvGrpSpPr>
        <p:grpSpPr>
          <a:xfrm>
            <a:off x="5746786" y="2204058"/>
            <a:ext cx="371998" cy="421927"/>
            <a:chOff x="-3383375" y="3611625"/>
            <a:chExt cx="258350" cy="293025"/>
          </a:xfrm>
        </p:grpSpPr>
        <p:sp>
          <p:nvSpPr>
            <p:cNvPr id="8963" name="Google Shape;8963;p76"/>
            <p:cNvSpPr/>
            <p:nvPr/>
          </p:nvSpPr>
          <p:spPr>
            <a:xfrm>
              <a:off x="-3383375" y="3611625"/>
              <a:ext cx="258350" cy="85175"/>
            </a:xfrm>
            <a:custGeom>
              <a:avLst/>
              <a:gdLst/>
              <a:ahLst/>
              <a:cxnLst/>
              <a:rect l="l" t="t" r="r" b="b"/>
              <a:pathLst>
                <a:path w="10334" h="3407" extrusionOk="0">
                  <a:moveTo>
                    <a:pt x="6049" y="694"/>
                  </a:moveTo>
                  <a:cubicBezTo>
                    <a:pt x="6207" y="694"/>
                    <a:pt x="6301" y="757"/>
                    <a:pt x="6364" y="946"/>
                  </a:cubicBezTo>
                  <a:lnTo>
                    <a:pt x="6522" y="1356"/>
                  </a:lnTo>
                  <a:lnTo>
                    <a:pt x="3781" y="1356"/>
                  </a:lnTo>
                  <a:lnTo>
                    <a:pt x="4001" y="946"/>
                  </a:lnTo>
                  <a:cubicBezTo>
                    <a:pt x="4033" y="788"/>
                    <a:pt x="4190" y="694"/>
                    <a:pt x="4316" y="694"/>
                  </a:cubicBezTo>
                  <a:close/>
                  <a:moveTo>
                    <a:pt x="4316" y="1"/>
                  </a:moveTo>
                  <a:cubicBezTo>
                    <a:pt x="3875" y="1"/>
                    <a:pt x="3466" y="253"/>
                    <a:pt x="3308" y="694"/>
                  </a:cubicBezTo>
                  <a:lnTo>
                    <a:pt x="3088" y="1356"/>
                  </a:lnTo>
                  <a:lnTo>
                    <a:pt x="1040" y="1356"/>
                  </a:lnTo>
                  <a:cubicBezTo>
                    <a:pt x="473" y="1356"/>
                    <a:pt x="0" y="1828"/>
                    <a:pt x="0" y="2395"/>
                  </a:cubicBezTo>
                  <a:lnTo>
                    <a:pt x="0" y="3057"/>
                  </a:lnTo>
                  <a:cubicBezTo>
                    <a:pt x="0" y="3370"/>
                    <a:pt x="221" y="3407"/>
                    <a:pt x="480" y="3407"/>
                  </a:cubicBezTo>
                  <a:cubicBezTo>
                    <a:pt x="560" y="3407"/>
                    <a:pt x="643" y="3403"/>
                    <a:pt x="725" y="3403"/>
                  </a:cubicBezTo>
                  <a:lnTo>
                    <a:pt x="9924" y="3403"/>
                  </a:lnTo>
                  <a:cubicBezTo>
                    <a:pt x="10145" y="3403"/>
                    <a:pt x="10302" y="3246"/>
                    <a:pt x="10302" y="3057"/>
                  </a:cubicBezTo>
                  <a:lnTo>
                    <a:pt x="10302" y="2395"/>
                  </a:lnTo>
                  <a:cubicBezTo>
                    <a:pt x="10334" y="1828"/>
                    <a:pt x="9861" y="1356"/>
                    <a:pt x="9294" y="1356"/>
                  </a:cubicBezTo>
                  <a:lnTo>
                    <a:pt x="7246" y="1356"/>
                  </a:lnTo>
                  <a:lnTo>
                    <a:pt x="7026" y="694"/>
                  </a:lnTo>
                  <a:cubicBezTo>
                    <a:pt x="6868" y="253"/>
                    <a:pt x="6522" y="1"/>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76"/>
            <p:cNvSpPr/>
            <p:nvPr/>
          </p:nvSpPr>
          <p:spPr>
            <a:xfrm>
              <a:off x="-3362900" y="3716375"/>
              <a:ext cx="218200" cy="188275"/>
            </a:xfrm>
            <a:custGeom>
              <a:avLst/>
              <a:gdLst/>
              <a:ahLst/>
              <a:cxnLst/>
              <a:rect l="l" t="t" r="r" b="b"/>
              <a:pathLst>
                <a:path w="8728" h="7531" extrusionOk="0">
                  <a:moveTo>
                    <a:pt x="2324" y="666"/>
                  </a:moveTo>
                  <a:cubicBezTo>
                    <a:pt x="2487" y="666"/>
                    <a:pt x="2647" y="777"/>
                    <a:pt x="2647" y="1009"/>
                  </a:cubicBezTo>
                  <a:lnTo>
                    <a:pt x="2647" y="5798"/>
                  </a:lnTo>
                  <a:cubicBezTo>
                    <a:pt x="2647" y="6022"/>
                    <a:pt x="2476" y="6141"/>
                    <a:pt x="2307" y="6141"/>
                  </a:cubicBezTo>
                  <a:cubicBezTo>
                    <a:pt x="2145" y="6141"/>
                    <a:pt x="1985" y="6030"/>
                    <a:pt x="1985" y="5798"/>
                  </a:cubicBezTo>
                  <a:lnTo>
                    <a:pt x="1985" y="1009"/>
                  </a:lnTo>
                  <a:cubicBezTo>
                    <a:pt x="1985" y="785"/>
                    <a:pt x="2156" y="666"/>
                    <a:pt x="2324" y="666"/>
                  </a:cubicBezTo>
                  <a:close/>
                  <a:moveTo>
                    <a:pt x="4372" y="666"/>
                  </a:moveTo>
                  <a:cubicBezTo>
                    <a:pt x="4535" y="666"/>
                    <a:pt x="4695" y="777"/>
                    <a:pt x="4695" y="1009"/>
                  </a:cubicBezTo>
                  <a:lnTo>
                    <a:pt x="4695" y="5798"/>
                  </a:lnTo>
                  <a:cubicBezTo>
                    <a:pt x="4695" y="6022"/>
                    <a:pt x="4523" y="6141"/>
                    <a:pt x="4355" y="6141"/>
                  </a:cubicBezTo>
                  <a:cubicBezTo>
                    <a:pt x="4193" y="6141"/>
                    <a:pt x="4033" y="6030"/>
                    <a:pt x="4033" y="5798"/>
                  </a:cubicBezTo>
                  <a:lnTo>
                    <a:pt x="4033" y="1009"/>
                  </a:lnTo>
                  <a:cubicBezTo>
                    <a:pt x="4033" y="785"/>
                    <a:pt x="4204" y="666"/>
                    <a:pt x="4372" y="666"/>
                  </a:cubicBezTo>
                  <a:close/>
                  <a:moveTo>
                    <a:pt x="6427" y="631"/>
                  </a:moveTo>
                  <a:cubicBezTo>
                    <a:pt x="6648" y="631"/>
                    <a:pt x="6805" y="789"/>
                    <a:pt x="6805" y="1009"/>
                  </a:cubicBezTo>
                  <a:lnTo>
                    <a:pt x="6805" y="5798"/>
                  </a:lnTo>
                  <a:cubicBezTo>
                    <a:pt x="6805" y="6022"/>
                    <a:pt x="6626" y="6141"/>
                    <a:pt x="6450" y="6141"/>
                  </a:cubicBezTo>
                  <a:cubicBezTo>
                    <a:pt x="6280" y="6141"/>
                    <a:pt x="6112" y="6030"/>
                    <a:pt x="6112" y="5798"/>
                  </a:cubicBezTo>
                  <a:lnTo>
                    <a:pt x="6112" y="1009"/>
                  </a:lnTo>
                  <a:lnTo>
                    <a:pt x="6081" y="1009"/>
                  </a:lnTo>
                  <a:cubicBezTo>
                    <a:pt x="6081" y="789"/>
                    <a:pt x="6238" y="631"/>
                    <a:pt x="6427" y="631"/>
                  </a:cubicBezTo>
                  <a:close/>
                  <a:moveTo>
                    <a:pt x="0" y="1"/>
                  </a:moveTo>
                  <a:lnTo>
                    <a:pt x="536" y="6585"/>
                  </a:lnTo>
                  <a:cubicBezTo>
                    <a:pt x="567" y="7121"/>
                    <a:pt x="1008" y="7531"/>
                    <a:pt x="1576" y="7531"/>
                  </a:cubicBezTo>
                  <a:lnTo>
                    <a:pt x="7152" y="7531"/>
                  </a:lnTo>
                  <a:cubicBezTo>
                    <a:pt x="7688" y="7531"/>
                    <a:pt x="8129" y="7121"/>
                    <a:pt x="8192" y="6585"/>
                  </a:cubicBezTo>
                  <a:lnTo>
                    <a:pt x="87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5" name="Google Shape;8965;p76"/>
          <p:cNvGrpSpPr/>
          <p:nvPr/>
        </p:nvGrpSpPr>
        <p:grpSpPr>
          <a:xfrm>
            <a:off x="5809135" y="2756826"/>
            <a:ext cx="271097" cy="419659"/>
            <a:chOff x="-3347950" y="3971575"/>
            <a:chExt cx="188275" cy="291450"/>
          </a:xfrm>
        </p:grpSpPr>
        <p:sp>
          <p:nvSpPr>
            <p:cNvPr id="8966" name="Google Shape;8966;p76"/>
            <p:cNvSpPr/>
            <p:nvPr/>
          </p:nvSpPr>
          <p:spPr>
            <a:xfrm>
              <a:off x="-3246325" y="4032225"/>
              <a:ext cx="29950" cy="42550"/>
            </a:xfrm>
            <a:custGeom>
              <a:avLst/>
              <a:gdLst/>
              <a:ahLst/>
              <a:cxnLst/>
              <a:rect l="l" t="t" r="r" b="b"/>
              <a:pathLst>
                <a:path w="1198" h="1702" extrusionOk="0">
                  <a:moveTo>
                    <a:pt x="347" y="0"/>
                  </a:moveTo>
                  <a:lnTo>
                    <a:pt x="0" y="536"/>
                  </a:lnTo>
                  <a:lnTo>
                    <a:pt x="599" y="1702"/>
                  </a:lnTo>
                  <a:lnTo>
                    <a:pt x="1197" y="1702"/>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76"/>
            <p:cNvSpPr/>
            <p:nvPr/>
          </p:nvSpPr>
          <p:spPr>
            <a:xfrm>
              <a:off x="-3291225" y="4034575"/>
              <a:ext cx="40975" cy="40200"/>
            </a:xfrm>
            <a:custGeom>
              <a:avLst/>
              <a:gdLst/>
              <a:ahLst/>
              <a:cxnLst/>
              <a:rect l="l" t="t" r="r" b="b"/>
              <a:pathLst>
                <a:path w="1639" h="1608" extrusionOk="0">
                  <a:moveTo>
                    <a:pt x="819" y="1"/>
                  </a:moveTo>
                  <a:lnTo>
                    <a:pt x="0" y="1608"/>
                  </a:lnTo>
                  <a:lnTo>
                    <a:pt x="1639" y="1608"/>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8" name="Google Shape;8968;p76"/>
            <p:cNvSpPr/>
            <p:nvPr/>
          </p:nvSpPr>
          <p:spPr>
            <a:xfrm>
              <a:off x="-3347950" y="3971575"/>
              <a:ext cx="188275" cy="291450"/>
            </a:xfrm>
            <a:custGeom>
              <a:avLst/>
              <a:gdLst/>
              <a:ahLst/>
              <a:cxnLst/>
              <a:rect l="l" t="t" r="r" b="b"/>
              <a:pathLst>
                <a:path w="7531" h="11658" extrusionOk="0">
                  <a:moveTo>
                    <a:pt x="4491" y="1351"/>
                  </a:moveTo>
                  <a:cubicBezTo>
                    <a:pt x="4609" y="1351"/>
                    <a:pt x="4725" y="1414"/>
                    <a:pt x="4790" y="1544"/>
                  </a:cubicBezTo>
                  <a:lnTo>
                    <a:pt x="6144" y="4285"/>
                  </a:lnTo>
                  <a:cubicBezTo>
                    <a:pt x="6239" y="4569"/>
                    <a:pt x="6081" y="4821"/>
                    <a:pt x="5829" y="4821"/>
                  </a:cubicBezTo>
                  <a:lnTo>
                    <a:pt x="1702" y="4821"/>
                  </a:lnTo>
                  <a:cubicBezTo>
                    <a:pt x="1482" y="4821"/>
                    <a:pt x="1261" y="4537"/>
                    <a:pt x="1387" y="4285"/>
                  </a:cubicBezTo>
                  <a:lnTo>
                    <a:pt x="2773" y="1544"/>
                  </a:lnTo>
                  <a:cubicBezTo>
                    <a:pt x="2836" y="1418"/>
                    <a:pt x="2962" y="1355"/>
                    <a:pt x="3088" y="1355"/>
                  </a:cubicBezTo>
                  <a:cubicBezTo>
                    <a:pt x="3214" y="1355"/>
                    <a:pt x="3340" y="1418"/>
                    <a:pt x="3403" y="1544"/>
                  </a:cubicBezTo>
                  <a:lnTo>
                    <a:pt x="3719" y="2174"/>
                  </a:lnTo>
                  <a:lnTo>
                    <a:pt x="4191" y="1513"/>
                  </a:lnTo>
                  <a:cubicBezTo>
                    <a:pt x="4267" y="1406"/>
                    <a:pt x="4380" y="1351"/>
                    <a:pt x="4491" y="1351"/>
                  </a:cubicBezTo>
                  <a:close/>
                  <a:moveTo>
                    <a:pt x="5136" y="5514"/>
                  </a:moveTo>
                  <a:cubicBezTo>
                    <a:pt x="5609" y="5514"/>
                    <a:pt x="5609" y="6175"/>
                    <a:pt x="5136" y="6175"/>
                  </a:cubicBezTo>
                  <a:lnTo>
                    <a:pt x="2364" y="6175"/>
                  </a:lnTo>
                  <a:cubicBezTo>
                    <a:pt x="1954" y="6175"/>
                    <a:pt x="1891" y="5514"/>
                    <a:pt x="2364" y="5514"/>
                  </a:cubicBezTo>
                  <a:close/>
                  <a:moveTo>
                    <a:pt x="5136" y="6869"/>
                  </a:moveTo>
                  <a:cubicBezTo>
                    <a:pt x="5609" y="6900"/>
                    <a:pt x="5609" y="7562"/>
                    <a:pt x="5136" y="7562"/>
                  </a:cubicBezTo>
                  <a:lnTo>
                    <a:pt x="2364" y="7562"/>
                  </a:lnTo>
                  <a:cubicBezTo>
                    <a:pt x="2175" y="7562"/>
                    <a:pt x="2017" y="7404"/>
                    <a:pt x="2017" y="7215"/>
                  </a:cubicBezTo>
                  <a:cubicBezTo>
                    <a:pt x="2017" y="7026"/>
                    <a:pt x="2175" y="6869"/>
                    <a:pt x="2364" y="6869"/>
                  </a:cubicBezTo>
                  <a:close/>
                  <a:moveTo>
                    <a:pt x="4790" y="8948"/>
                  </a:moveTo>
                  <a:lnTo>
                    <a:pt x="4790" y="10996"/>
                  </a:lnTo>
                  <a:lnTo>
                    <a:pt x="2742" y="10996"/>
                  </a:lnTo>
                  <a:lnTo>
                    <a:pt x="2742" y="8948"/>
                  </a:lnTo>
                  <a:close/>
                  <a:moveTo>
                    <a:pt x="1041" y="1"/>
                  </a:moveTo>
                  <a:cubicBezTo>
                    <a:pt x="505" y="1"/>
                    <a:pt x="1" y="473"/>
                    <a:pt x="1" y="1040"/>
                  </a:cubicBezTo>
                  <a:lnTo>
                    <a:pt x="1" y="7908"/>
                  </a:lnTo>
                  <a:cubicBezTo>
                    <a:pt x="1" y="8475"/>
                    <a:pt x="473" y="8948"/>
                    <a:pt x="1041" y="8948"/>
                  </a:cubicBezTo>
                  <a:lnTo>
                    <a:pt x="2080" y="8948"/>
                  </a:lnTo>
                  <a:lnTo>
                    <a:pt x="2080" y="10996"/>
                  </a:lnTo>
                  <a:lnTo>
                    <a:pt x="1041" y="10996"/>
                  </a:lnTo>
                  <a:cubicBezTo>
                    <a:pt x="600" y="10996"/>
                    <a:pt x="568" y="11657"/>
                    <a:pt x="1041" y="11657"/>
                  </a:cubicBezTo>
                  <a:lnTo>
                    <a:pt x="6522" y="11657"/>
                  </a:lnTo>
                  <a:cubicBezTo>
                    <a:pt x="6711" y="11657"/>
                    <a:pt x="6869" y="11500"/>
                    <a:pt x="6869" y="11311"/>
                  </a:cubicBezTo>
                  <a:cubicBezTo>
                    <a:pt x="6869" y="11122"/>
                    <a:pt x="6711" y="10964"/>
                    <a:pt x="6522" y="10964"/>
                  </a:cubicBezTo>
                  <a:lnTo>
                    <a:pt x="5483" y="10964"/>
                  </a:lnTo>
                  <a:lnTo>
                    <a:pt x="5483" y="8916"/>
                  </a:lnTo>
                  <a:lnTo>
                    <a:pt x="6522" y="8916"/>
                  </a:lnTo>
                  <a:cubicBezTo>
                    <a:pt x="7058" y="8916"/>
                    <a:pt x="7531" y="8444"/>
                    <a:pt x="7531" y="7877"/>
                  </a:cubicBezTo>
                  <a:lnTo>
                    <a:pt x="7531" y="977"/>
                  </a:lnTo>
                  <a:cubicBezTo>
                    <a:pt x="7531" y="442"/>
                    <a:pt x="7058"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9" name="Google Shape;8969;p76"/>
          <p:cNvGrpSpPr/>
          <p:nvPr/>
        </p:nvGrpSpPr>
        <p:grpSpPr>
          <a:xfrm>
            <a:off x="858994" y="3307061"/>
            <a:ext cx="371998" cy="421927"/>
            <a:chOff x="-1575775" y="3238300"/>
            <a:chExt cx="258350" cy="293025"/>
          </a:xfrm>
        </p:grpSpPr>
        <p:sp>
          <p:nvSpPr>
            <p:cNvPr id="8970" name="Google Shape;8970;p76"/>
            <p:cNvSpPr/>
            <p:nvPr/>
          </p:nvSpPr>
          <p:spPr>
            <a:xfrm>
              <a:off x="-1489150" y="3306825"/>
              <a:ext cx="85875" cy="33100"/>
            </a:xfrm>
            <a:custGeom>
              <a:avLst/>
              <a:gdLst/>
              <a:ahLst/>
              <a:cxnLst/>
              <a:rect l="l" t="t" r="r" b="b"/>
              <a:pathLst>
                <a:path w="3435" h="1324" extrusionOk="0">
                  <a:moveTo>
                    <a:pt x="1" y="0"/>
                  </a:moveTo>
                  <a:lnTo>
                    <a:pt x="1702" y="1324"/>
                  </a:ln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76"/>
            <p:cNvSpPr/>
            <p:nvPr/>
          </p:nvSpPr>
          <p:spPr>
            <a:xfrm>
              <a:off x="-1506475" y="3316275"/>
              <a:ext cx="46500" cy="67750"/>
            </a:xfrm>
            <a:custGeom>
              <a:avLst/>
              <a:gdLst/>
              <a:ahLst/>
              <a:cxnLst/>
              <a:rect l="l" t="t" r="r" b="b"/>
              <a:pathLst>
                <a:path w="1860" h="2710" extrusionOk="0">
                  <a:moveTo>
                    <a:pt x="1" y="1"/>
                  </a:moveTo>
                  <a:lnTo>
                    <a:pt x="1" y="2710"/>
                  </a:lnTo>
                  <a:lnTo>
                    <a:pt x="1859" y="1324"/>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76"/>
            <p:cNvSpPr/>
            <p:nvPr/>
          </p:nvSpPr>
          <p:spPr>
            <a:xfrm>
              <a:off x="-1575775" y="3238300"/>
              <a:ext cx="258350" cy="293025"/>
            </a:xfrm>
            <a:custGeom>
              <a:avLst/>
              <a:gdLst/>
              <a:ahLst/>
              <a:cxnLst/>
              <a:rect l="l" t="t" r="r" b="b"/>
              <a:pathLst>
                <a:path w="10334" h="11721" extrusionOk="0">
                  <a:moveTo>
                    <a:pt x="1418" y="694"/>
                  </a:moveTo>
                  <a:lnTo>
                    <a:pt x="1418" y="1387"/>
                  </a:lnTo>
                  <a:lnTo>
                    <a:pt x="756" y="1387"/>
                  </a:lnTo>
                  <a:lnTo>
                    <a:pt x="756" y="694"/>
                  </a:lnTo>
                  <a:close/>
                  <a:moveTo>
                    <a:pt x="9609" y="694"/>
                  </a:moveTo>
                  <a:lnTo>
                    <a:pt x="9609" y="1387"/>
                  </a:lnTo>
                  <a:lnTo>
                    <a:pt x="8947" y="1387"/>
                  </a:lnTo>
                  <a:lnTo>
                    <a:pt x="8947" y="694"/>
                  </a:lnTo>
                  <a:close/>
                  <a:moveTo>
                    <a:pt x="8002" y="2080"/>
                  </a:moveTo>
                  <a:cubicBezTo>
                    <a:pt x="8160" y="2080"/>
                    <a:pt x="8286" y="2206"/>
                    <a:pt x="8317" y="2395"/>
                  </a:cubicBezTo>
                  <a:lnTo>
                    <a:pt x="8317" y="2426"/>
                  </a:lnTo>
                  <a:lnTo>
                    <a:pt x="8317" y="6522"/>
                  </a:lnTo>
                  <a:lnTo>
                    <a:pt x="8254" y="6522"/>
                  </a:lnTo>
                  <a:cubicBezTo>
                    <a:pt x="8191" y="6774"/>
                    <a:pt x="8034" y="6900"/>
                    <a:pt x="7876" y="6900"/>
                  </a:cubicBezTo>
                  <a:lnTo>
                    <a:pt x="2457" y="6900"/>
                  </a:lnTo>
                  <a:cubicBezTo>
                    <a:pt x="2300" y="6900"/>
                    <a:pt x="2142" y="6774"/>
                    <a:pt x="2142" y="6554"/>
                  </a:cubicBezTo>
                  <a:lnTo>
                    <a:pt x="2142" y="6522"/>
                  </a:lnTo>
                  <a:lnTo>
                    <a:pt x="2142" y="2426"/>
                  </a:lnTo>
                  <a:cubicBezTo>
                    <a:pt x="2142" y="2269"/>
                    <a:pt x="2300" y="2080"/>
                    <a:pt x="2489" y="2080"/>
                  </a:cubicBezTo>
                  <a:close/>
                  <a:moveTo>
                    <a:pt x="7215" y="7562"/>
                  </a:moveTo>
                  <a:cubicBezTo>
                    <a:pt x="7687" y="7562"/>
                    <a:pt x="7687" y="8223"/>
                    <a:pt x="7215" y="8223"/>
                  </a:cubicBezTo>
                  <a:lnTo>
                    <a:pt x="3119" y="8223"/>
                  </a:lnTo>
                  <a:cubicBezTo>
                    <a:pt x="2678" y="8223"/>
                    <a:pt x="2646" y="7562"/>
                    <a:pt x="3119" y="7562"/>
                  </a:cubicBezTo>
                  <a:close/>
                  <a:moveTo>
                    <a:pt x="7215" y="8979"/>
                  </a:moveTo>
                  <a:cubicBezTo>
                    <a:pt x="7687" y="8979"/>
                    <a:pt x="7687" y="9641"/>
                    <a:pt x="7215" y="9641"/>
                  </a:cubicBezTo>
                  <a:lnTo>
                    <a:pt x="3119" y="9641"/>
                  </a:lnTo>
                  <a:cubicBezTo>
                    <a:pt x="2678" y="9641"/>
                    <a:pt x="2646" y="8979"/>
                    <a:pt x="3119" y="8979"/>
                  </a:cubicBezTo>
                  <a:close/>
                  <a:moveTo>
                    <a:pt x="1418" y="10366"/>
                  </a:moveTo>
                  <a:lnTo>
                    <a:pt x="1418" y="11027"/>
                  </a:lnTo>
                  <a:lnTo>
                    <a:pt x="756" y="11027"/>
                  </a:lnTo>
                  <a:lnTo>
                    <a:pt x="756" y="10366"/>
                  </a:lnTo>
                  <a:close/>
                  <a:moveTo>
                    <a:pt x="9609" y="10366"/>
                  </a:moveTo>
                  <a:lnTo>
                    <a:pt x="9609" y="11027"/>
                  </a:lnTo>
                  <a:lnTo>
                    <a:pt x="8947" y="11027"/>
                  </a:lnTo>
                  <a:lnTo>
                    <a:pt x="8947" y="10366"/>
                  </a:lnTo>
                  <a:close/>
                  <a:moveTo>
                    <a:pt x="378" y="1"/>
                  </a:moveTo>
                  <a:cubicBezTo>
                    <a:pt x="158" y="1"/>
                    <a:pt x="0" y="158"/>
                    <a:pt x="0" y="347"/>
                  </a:cubicBezTo>
                  <a:lnTo>
                    <a:pt x="0" y="1733"/>
                  </a:lnTo>
                  <a:cubicBezTo>
                    <a:pt x="0" y="1922"/>
                    <a:pt x="158" y="2080"/>
                    <a:pt x="378" y="2080"/>
                  </a:cubicBezTo>
                  <a:lnTo>
                    <a:pt x="725" y="2080"/>
                  </a:lnTo>
                  <a:lnTo>
                    <a:pt x="725" y="9641"/>
                  </a:lnTo>
                  <a:lnTo>
                    <a:pt x="378" y="9641"/>
                  </a:lnTo>
                  <a:cubicBezTo>
                    <a:pt x="158" y="9641"/>
                    <a:pt x="0" y="9799"/>
                    <a:pt x="0" y="9988"/>
                  </a:cubicBezTo>
                  <a:lnTo>
                    <a:pt x="0" y="11374"/>
                  </a:lnTo>
                  <a:cubicBezTo>
                    <a:pt x="0" y="11563"/>
                    <a:pt x="158" y="11720"/>
                    <a:pt x="378" y="11720"/>
                  </a:cubicBezTo>
                  <a:lnTo>
                    <a:pt x="1733" y="11720"/>
                  </a:lnTo>
                  <a:cubicBezTo>
                    <a:pt x="1953" y="11720"/>
                    <a:pt x="2111" y="11563"/>
                    <a:pt x="2111" y="11374"/>
                  </a:cubicBezTo>
                  <a:lnTo>
                    <a:pt x="2111" y="11027"/>
                  </a:lnTo>
                  <a:lnTo>
                    <a:pt x="8254" y="11027"/>
                  </a:lnTo>
                  <a:lnTo>
                    <a:pt x="8254" y="11374"/>
                  </a:lnTo>
                  <a:cubicBezTo>
                    <a:pt x="8254" y="11563"/>
                    <a:pt x="8412" y="11720"/>
                    <a:pt x="8601" y="11720"/>
                  </a:cubicBezTo>
                  <a:lnTo>
                    <a:pt x="9987" y="11720"/>
                  </a:lnTo>
                  <a:cubicBezTo>
                    <a:pt x="10176" y="11720"/>
                    <a:pt x="10334" y="11563"/>
                    <a:pt x="10334" y="11374"/>
                  </a:cubicBezTo>
                  <a:lnTo>
                    <a:pt x="10334" y="9988"/>
                  </a:lnTo>
                  <a:cubicBezTo>
                    <a:pt x="10334" y="9799"/>
                    <a:pt x="10176" y="9641"/>
                    <a:pt x="9987" y="9641"/>
                  </a:cubicBezTo>
                  <a:lnTo>
                    <a:pt x="9609" y="9641"/>
                  </a:lnTo>
                  <a:lnTo>
                    <a:pt x="9609" y="2080"/>
                  </a:lnTo>
                  <a:lnTo>
                    <a:pt x="9987" y="2080"/>
                  </a:lnTo>
                  <a:cubicBezTo>
                    <a:pt x="10176" y="2080"/>
                    <a:pt x="10334" y="1922"/>
                    <a:pt x="10334" y="1733"/>
                  </a:cubicBezTo>
                  <a:lnTo>
                    <a:pt x="10334" y="347"/>
                  </a:lnTo>
                  <a:cubicBezTo>
                    <a:pt x="10334" y="158"/>
                    <a:pt x="10176" y="1"/>
                    <a:pt x="9987" y="1"/>
                  </a:cubicBezTo>
                  <a:lnTo>
                    <a:pt x="8601" y="1"/>
                  </a:lnTo>
                  <a:cubicBezTo>
                    <a:pt x="8412" y="1"/>
                    <a:pt x="8254" y="158"/>
                    <a:pt x="8254" y="347"/>
                  </a:cubicBezTo>
                  <a:lnTo>
                    <a:pt x="8254" y="694"/>
                  </a:lnTo>
                  <a:lnTo>
                    <a:pt x="2111" y="694"/>
                  </a:lnTo>
                  <a:lnTo>
                    <a:pt x="2111" y="347"/>
                  </a:lnTo>
                  <a:cubicBezTo>
                    <a:pt x="2111" y="158"/>
                    <a:pt x="1953"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76"/>
            <p:cNvSpPr/>
            <p:nvPr/>
          </p:nvSpPr>
          <p:spPr>
            <a:xfrm>
              <a:off x="-1489150" y="3360375"/>
              <a:ext cx="85875" cy="32325"/>
            </a:xfrm>
            <a:custGeom>
              <a:avLst/>
              <a:gdLst/>
              <a:ahLst/>
              <a:cxnLst/>
              <a:rect l="l" t="t" r="r" b="b"/>
              <a:pathLst>
                <a:path w="3435" h="1293" extrusionOk="0">
                  <a:moveTo>
                    <a:pt x="1702" y="1"/>
                  </a:moveTo>
                  <a:lnTo>
                    <a:pt x="1" y="1293"/>
                  </a:lnTo>
                  <a:lnTo>
                    <a:pt x="3435" y="1293"/>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4" name="Google Shape;8974;p76"/>
            <p:cNvSpPr/>
            <p:nvPr/>
          </p:nvSpPr>
          <p:spPr>
            <a:xfrm>
              <a:off x="-1431650" y="3316275"/>
              <a:ext cx="44925" cy="67750"/>
            </a:xfrm>
            <a:custGeom>
              <a:avLst/>
              <a:gdLst/>
              <a:ahLst/>
              <a:cxnLst/>
              <a:rect l="l" t="t" r="r" b="b"/>
              <a:pathLst>
                <a:path w="1797" h="2710" extrusionOk="0">
                  <a:moveTo>
                    <a:pt x="1796" y="1"/>
                  </a:moveTo>
                  <a:lnTo>
                    <a:pt x="0" y="1324"/>
                  </a:lnTo>
                  <a:lnTo>
                    <a:pt x="1796" y="2710"/>
                  </a:ln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5" name="Google Shape;8975;p76"/>
          <p:cNvGrpSpPr/>
          <p:nvPr/>
        </p:nvGrpSpPr>
        <p:grpSpPr>
          <a:xfrm>
            <a:off x="2503892" y="3309051"/>
            <a:ext cx="423079" cy="424159"/>
            <a:chOff x="-1591550" y="3597475"/>
            <a:chExt cx="293825" cy="294575"/>
          </a:xfrm>
        </p:grpSpPr>
        <p:sp>
          <p:nvSpPr>
            <p:cNvPr id="8976" name="Google Shape;8976;p76"/>
            <p:cNvSpPr/>
            <p:nvPr/>
          </p:nvSpPr>
          <p:spPr>
            <a:xfrm>
              <a:off x="-1509625" y="3597475"/>
              <a:ext cx="211900" cy="207150"/>
            </a:xfrm>
            <a:custGeom>
              <a:avLst/>
              <a:gdLst/>
              <a:ahLst/>
              <a:cxnLst/>
              <a:rect l="l" t="t" r="r" b="b"/>
              <a:pathLst>
                <a:path w="8476" h="8286" extrusionOk="0">
                  <a:moveTo>
                    <a:pt x="6105" y="1"/>
                  </a:moveTo>
                  <a:cubicBezTo>
                    <a:pt x="6014" y="1"/>
                    <a:pt x="5916" y="39"/>
                    <a:pt x="5829" y="126"/>
                  </a:cubicBezTo>
                  <a:lnTo>
                    <a:pt x="3781" y="2205"/>
                  </a:lnTo>
                  <a:cubicBezTo>
                    <a:pt x="3718" y="2268"/>
                    <a:pt x="3655" y="2363"/>
                    <a:pt x="3655" y="2426"/>
                  </a:cubicBezTo>
                  <a:lnTo>
                    <a:pt x="3655" y="4253"/>
                  </a:lnTo>
                  <a:lnTo>
                    <a:pt x="1544" y="6332"/>
                  </a:lnTo>
                  <a:cubicBezTo>
                    <a:pt x="1400" y="6270"/>
                    <a:pt x="1256" y="6242"/>
                    <a:pt x="1119" y="6242"/>
                  </a:cubicBezTo>
                  <a:cubicBezTo>
                    <a:pt x="835" y="6242"/>
                    <a:pt x="580" y="6362"/>
                    <a:pt x="410" y="6553"/>
                  </a:cubicBezTo>
                  <a:cubicBezTo>
                    <a:pt x="0" y="6931"/>
                    <a:pt x="0" y="7592"/>
                    <a:pt x="410" y="8002"/>
                  </a:cubicBezTo>
                  <a:cubicBezTo>
                    <a:pt x="599" y="8191"/>
                    <a:pt x="859" y="8286"/>
                    <a:pt x="1123" y="8286"/>
                  </a:cubicBezTo>
                  <a:cubicBezTo>
                    <a:pt x="1387" y="8286"/>
                    <a:pt x="1655" y="8191"/>
                    <a:pt x="1859" y="8002"/>
                  </a:cubicBezTo>
                  <a:cubicBezTo>
                    <a:pt x="2174" y="7687"/>
                    <a:pt x="2206" y="7214"/>
                    <a:pt x="2048" y="6868"/>
                  </a:cubicBezTo>
                  <a:lnTo>
                    <a:pt x="4128" y="4757"/>
                  </a:lnTo>
                  <a:lnTo>
                    <a:pt x="5955" y="4757"/>
                  </a:lnTo>
                  <a:cubicBezTo>
                    <a:pt x="6018" y="4757"/>
                    <a:pt x="6144" y="4725"/>
                    <a:pt x="6175" y="4662"/>
                  </a:cubicBezTo>
                  <a:lnTo>
                    <a:pt x="8286" y="2552"/>
                  </a:lnTo>
                  <a:cubicBezTo>
                    <a:pt x="8475" y="2331"/>
                    <a:pt x="8349" y="1985"/>
                    <a:pt x="8034" y="1985"/>
                  </a:cubicBezTo>
                  <a:lnTo>
                    <a:pt x="6428" y="1985"/>
                  </a:lnTo>
                  <a:lnTo>
                    <a:pt x="6428" y="346"/>
                  </a:lnTo>
                  <a:cubicBezTo>
                    <a:pt x="6428" y="140"/>
                    <a:pt x="6278" y="1"/>
                    <a:pt x="6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76"/>
            <p:cNvSpPr/>
            <p:nvPr/>
          </p:nvSpPr>
          <p:spPr>
            <a:xfrm>
              <a:off x="-1541125" y="3719125"/>
              <a:ext cx="120525" cy="118275"/>
            </a:xfrm>
            <a:custGeom>
              <a:avLst/>
              <a:gdLst/>
              <a:ahLst/>
              <a:cxnLst/>
              <a:rect l="l" t="t" r="r" b="b"/>
              <a:pathLst>
                <a:path w="4821" h="4731" extrusionOk="0">
                  <a:moveTo>
                    <a:pt x="2340" y="1"/>
                  </a:moveTo>
                  <a:cubicBezTo>
                    <a:pt x="1722" y="1"/>
                    <a:pt x="1163" y="241"/>
                    <a:pt x="725" y="679"/>
                  </a:cubicBezTo>
                  <a:cubicBezTo>
                    <a:pt x="284" y="1120"/>
                    <a:pt x="0" y="1750"/>
                    <a:pt x="0" y="2380"/>
                  </a:cubicBezTo>
                  <a:cubicBezTo>
                    <a:pt x="0" y="3943"/>
                    <a:pt x="1211" y="4731"/>
                    <a:pt x="2420" y="4731"/>
                  </a:cubicBezTo>
                  <a:cubicBezTo>
                    <a:pt x="3622" y="4731"/>
                    <a:pt x="4821" y="3951"/>
                    <a:pt x="4821" y="2380"/>
                  </a:cubicBezTo>
                  <a:cubicBezTo>
                    <a:pt x="4821" y="2096"/>
                    <a:pt x="4758" y="1844"/>
                    <a:pt x="4663" y="1592"/>
                  </a:cubicBezTo>
                  <a:lnTo>
                    <a:pt x="4096" y="2159"/>
                  </a:lnTo>
                  <a:cubicBezTo>
                    <a:pt x="4253" y="3199"/>
                    <a:pt x="3434" y="4081"/>
                    <a:pt x="2395" y="4081"/>
                  </a:cubicBezTo>
                  <a:cubicBezTo>
                    <a:pt x="882" y="4081"/>
                    <a:pt x="126" y="2222"/>
                    <a:pt x="1197" y="1151"/>
                  </a:cubicBezTo>
                  <a:cubicBezTo>
                    <a:pt x="1522" y="827"/>
                    <a:pt x="1984" y="665"/>
                    <a:pt x="2428" y="665"/>
                  </a:cubicBezTo>
                  <a:cubicBezTo>
                    <a:pt x="2501" y="665"/>
                    <a:pt x="2575" y="670"/>
                    <a:pt x="2647" y="679"/>
                  </a:cubicBezTo>
                  <a:lnTo>
                    <a:pt x="3182" y="143"/>
                  </a:lnTo>
                  <a:cubicBezTo>
                    <a:pt x="2894" y="47"/>
                    <a:pt x="2611" y="1"/>
                    <a:pt x="2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76"/>
            <p:cNvSpPr/>
            <p:nvPr/>
          </p:nvSpPr>
          <p:spPr>
            <a:xfrm>
              <a:off x="-1591550" y="3668825"/>
              <a:ext cx="222925" cy="223225"/>
            </a:xfrm>
            <a:custGeom>
              <a:avLst/>
              <a:gdLst/>
              <a:ahLst/>
              <a:cxnLst/>
              <a:rect l="l" t="t" r="r" b="b"/>
              <a:pathLst>
                <a:path w="8917" h="8929" extrusionOk="0">
                  <a:moveTo>
                    <a:pt x="4475" y="1"/>
                  </a:moveTo>
                  <a:cubicBezTo>
                    <a:pt x="3329" y="1"/>
                    <a:pt x="2187" y="454"/>
                    <a:pt x="1324" y="1336"/>
                  </a:cubicBezTo>
                  <a:cubicBezTo>
                    <a:pt x="474" y="2155"/>
                    <a:pt x="1" y="3289"/>
                    <a:pt x="1" y="4486"/>
                  </a:cubicBezTo>
                  <a:cubicBezTo>
                    <a:pt x="1" y="6912"/>
                    <a:pt x="2017" y="8929"/>
                    <a:pt x="4475" y="8929"/>
                  </a:cubicBezTo>
                  <a:cubicBezTo>
                    <a:pt x="6901" y="8929"/>
                    <a:pt x="8917" y="6912"/>
                    <a:pt x="8917" y="4486"/>
                  </a:cubicBezTo>
                  <a:cubicBezTo>
                    <a:pt x="8917" y="3604"/>
                    <a:pt x="8696" y="2817"/>
                    <a:pt x="8255" y="2124"/>
                  </a:cubicBezTo>
                  <a:cubicBezTo>
                    <a:pt x="8098" y="2218"/>
                    <a:pt x="7342" y="2943"/>
                    <a:pt x="7184" y="3100"/>
                  </a:cubicBezTo>
                  <a:cubicBezTo>
                    <a:pt x="8161" y="5148"/>
                    <a:pt x="6680" y="7511"/>
                    <a:pt x="4412" y="7511"/>
                  </a:cubicBezTo>
                  <a:cubicBezTo>
                    <a:pt x="1702" y="7511"/>
                    <a:pt x="316" y="4203"/>
                    <a:pt x="2269" y="2281"/>
                  </a:cubicBezTo>
                  <a:cubicBezTo>
                    <a:pt x="2869" y="1681"/>
                    <a:pt x="3659" y="1373"/>
                    <a:pt x="4447" y="1373"/>
                  </a:cubicBezTo>
                  <a:cubicBezTo>
                    <a:pt x="4900" y="1373"/>
                    <a:pt x="5352" y="1475"/>
                    <a:pt x="5766" y="1682"/>
                  </a:cubicBezTo>
                  <a:cubicBezTo>
                    <a:pt x="5924" y="1525"/>
                    <a:pt x="6617" y="800"/>
                    <a:pt x="6838" y="706"/>
                  </a:cubicBezTo>
                  <a:cubicBezTo>
                    <a:pt x="6115" y="233"/>
                    <a:pt x="5294" y="1"/>
                    <a:pt x="44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9" name="Google Shape;8979;p76"/>
          <p:cNvGrpSpPr/>
          <p:nvPr/>
        </p:nvGrpSpPr>
        <p:grpSpPr>
          <a:xfrm>
            <a:off x="4153362" y="3318663"/>
            <a:ext cx="421927" cy="399248"/>
            <a:chOff x="-1592325" y="3957400"/>
            <a:chExt cx="293025" cy="277275"/>
          </a:xfrm>
        </p:grpSpPr>
        <p:sp>
          <p:nvSpPr>
            <p:cNvPr id="8980" name="Google Shape;8980;p76"/>
            <p:cNvSpPr/>
            <p:nvPr/>
          </p:nvSpPr>
          <p:spPr>
            <a:xfrm>
              <a:off x="-1591550" y="3957400"/>
              <a:ext cx="292250" cy="68550"/>
            </a:xfrm>
            <a:custGeom>
              <a:avLst/>
              <a:gdLst/>
              <a:ahLst/>
              <a:cxnLst/>
              <a:rect l="l" t="t" r="r" b="b"/>
              <a:pathLst>
                <a:path w="11690" h="2742" extrusionOk="0">
                  <a:moveTo>
                    <a:pt x="9894" y="1355"/>
                  </a:moveTo>
                  <a:cubicBezTo>
                    <a:pt x="10335" y="1355"/>
                    <a:pt x="10366" y="2017"/>
                    <a:pt x="9894" y="2017"/>
                  </a:cubicBezTo>
                  <a:lnTo>
                    <a:pt x="5798" y="2017"/>
                  </a:lnTo>
                  <a:cubicBezTo>
                    <a:pt x="5778" y="2019"/>
                    <a:pt x="5759" y="2021"/>
                    <a:pt x="5741" y="2021"/>
                  </a:cubicBezTo>
                  <a:cubicBezTo>
                    <a:pt x="5326" y="2021"/>
                    <a:pt x="5345" y="1355"/>
                    <a:pt x="5798" y="1355"/>
                  </a:cubicBezTo>
                  <a:close/>
                  <a:moveTo>
                    <a:pt x="1671" y="1355"/>
                  </a:moveTo>
                  <a:cubicBezTo>
                    <a:pt x="1860" y="1355"/>
                    <a:pt x="2017" y="1513"/>
                    <a:pt x="2017" y="1702"/>
                  </a:cubicBezTo>
                  <a:cubicBezTo>
                    <a:pt x="2017" y="1891"/>
                    <a:pt x="1860" y="2048"/>
                    <a:pt x="1671" y="2048"/>
                  </a:cubicBezTo>
                  <a:cubicBezTo>
                    <a:pt x="1482" y="2048"/>
                    <a:pt x="1324" y="1891"/>
                    <a:pt x="1324" y="1702"/>
                  </a:cubicBezTo>
                  <a:cubicBezTo>
                    <a:pt x="1356" y="1513"/>
                    <a:pt x="1513" y="1355"/>
                    <a:pt x="1671" y="1355"/>
                  </a:cubicBezTo>
                  <a:close/>
                  <a:moveTo>
                    <a:pt x="3057" y="1355"/>
                  </a:moveTo>
                  <a:cubicBezTo>
                    <a:pt x="3246" y="1355"/>
                    <a:pt x="3404" y="1513"/>
                    <a:pt x="3404" y="1702"/>
                  </a:cubicBezTo>
                  <a:cubicBezTo>
                    <a:pt x="3404" y="1891"/>
                    <a:pt x="3246" y="2048"/>
                    <a:pt x="3057" y="2048"/>
                  </a:cubicBezTo>
                  <a:cubicBezTo>
                    <a:pt x="2836" y="2048"/>
                    <a:pt x="2679" y="1891"/>
                    <a:pt x="2679" y="1702"/>
                  </a:cubicBezTo>
                  <a:cubicBezTo>
                    <a:pt x="2679" y="1513"/>
                    <a:pt x="2836" y="1355"/>
                    <a:pt x="3057" y="1355"/>
                  </a:cubicBezTo>
                  <a:close/>
                  <a:moveTo>
                    <a:pt x="4412" y="1355"/>
                  </a:moveTo>
                  <a:cubicBezTo>
                    <a:pt x="4632" y="1355"/>
                    <a:pt x="4790" y="1513"/>
                    <a:pt x="4790" y="1702"/>
                  </a:cubicBezTo>
                  <a:cubicBezTo>
                    <a:pt x="4790" y="1891"/>
                    <a:pt x="4632" y="2048"/>
                    <a:pt x="4412" y="2048"/>
                  </a:cubicBezTo>
                  <a:cubicBezTo>
                    <a:pt x="4223" y="2048"/>
                    <a:pt x="4065" y="1891"/>
                    <a:pt x="4065" y="1702"/>
                  </a:cubicBezTo>
                  <a:cubicBezTo>
                    <a:pt x="4065" y="1513"/>
                    <a:pt x="4223" y="1355"/>
                    <a:pt x="4412" y="1355"/>
                  </a:cubicBezTo>
                  <a:close/>
                  <a:moveTo>
                    <a:pt x="1041" y="0"/>
                  </a:moveTo>
                  <a:cubicBezTo>
                    <a:pt x="474" y="0"/>
                    <a:pt x="1" y="473"/>
                    <a:pt x="1" y="1040"/>
                  </a:cubicBezTo>
                  <a:lnTo>
                    <a:pt x="1" y="2741"/>
                  </a:lnTo>
                  <a:lnTo>
                    <a:pt x="11689" y="2741"/>
                  </a:lnTo>
                  <a:lnTo>
                    <a:pt x="11689" y="1040"/>
                  </a:lnTo>
                  <a:cubicBezTo>
                    <a:pt x="11689" y="505"/>
                    <a:pt x="11154"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1" name="Google Shape;8981;p76"/>
            <p:cNvSpPr/>
            <p:nvPr/>
          </p:nvSpPr>
          <p:spPr>
            <a:xfrm>
              <a:off x="-1592325" y="4043250"/>
              <a:ext cx="291450" cy="171725"/>
            </a:xfrm>
            <a:custGeom>
              <a:avLst/>
              <a:gdLst/>
              <a:ahLst/>
              <a:cxnLst/>
              <a:rect l="l" t="t" r="r" b="b"/>
              <a:pathLst>
                <a:path w="11658" h="6869" extrusionOk="0">
                  <a:moveTo>
                    <a:pt x="0" y="0"/>
                  </a:moveTo>
                  <a:lnTo>
                    <a:pt x="0" y="5829"/>
                  </a:lnTo>
                  <a:cubicBezTo>
                    <a:pt x="0" y="6396"/>
                    <a:pt x="473" y="6869"/>
                    <a:pt x="1040" y="6869"/>
                  </a:cubicBezTo>
                  <a:lnTo>
                    <a:pt x="2867" y="6869"/>
                  </a:lnTo>
                  <a:lnTo>
                    <a:pt x="2647" y="6616"/>
                  </a:lnTo>
                  <a:cubicBezTo>
                    <a:pt x="2521" y="6522"/>
                    <a:pt x="2521" y="6270"/>
                    <a:pt x="2647" y="6144"/>
                  </a:cubicBezTo>
                  <a:lnTo>
                    <a:pt x="2993" y="5797"/>
                  </a:lnTo>
                  <a:cubicBezTo>
                    <a:pt x="2962" y="5734"/>
                    <a:pt x="2930" y="5608"/>
                    <a:pt x="2867" y="5482"/>
                  </a:cubicBezTo>
                  <a:lnTo>
                    <a:pt x="2363" y="5482"/>
                  </a:lnTo>
                  <a:cubicBezTo>
                    <a:pt x="2174" y="5482"/>
                    <a:pt x="2017" y="5325"/>
                    <a:pt x="2017" y="5136"/>
                  </a:cubicBezTo>
                  <a:lnTo>
                    <a:pt x="2017" y="3750"/>
                  </a:lnTo>
                  <a:cubicBezTo>
                    <a:pt x="2017" y="3561"/>
                    <a:pt x="2174" y="3403"/>
                    <a:pt x="2363" y="3403"/>
                  </a:cubicBezTo>
                  <a:lnTo>
                    <a:pt x="2867" y="3403"/>
                  </a:lnTo>
                  <a:cubicBezTo>
                    <a:pt x="2930" y="3277"/>
                    <a:pt x="2962" y="3214"/>
                    <a:pt x="2993" y="3088"/>
                  </a:cubicBezTo>
                  <a:lnTo>
                    <a:pt x="2647" y="2741"/>
                  </a:lnTo>
                  <a:cubicBezTo>
                    <a:pt x="2521" y="2615"/>
                    <a:pt x="2521" y="2363"/>
                    <a:pt x="2647" y="2269"/>
                  </a:cubicBezTo>
                  <a:lnTo>
                    <a:pt x="3624" y="1261"/>
                  </a:lnTo>
                  <a:cubicBezTo>
                    <a:pt x="3687" y="1213"/>
                    <a:pt x="3773" y="1190"/>
                    <a:pt x="3860" y="1190"/>
                  </a:cubicBezTo>
                  <a:cubicBezTo>
                    <a:pt x="3946" y="1190"/>
                    <a:pt x="4033" y="1213"/>
                    <a:pt x="4096" y="1261"/>
                  </a:cubicBezTo>
                  <a:lnTo>
                    <a:pt x="4443" y="1639"/>
                  </a:lnTo>
                  <a:cubicBezTo>
                    <a:pt x="4537" y="1576"/>
                    <a:pt x="4663" y="1544"/>
                    <a:pt x="4758" y="1513"/>
                  </a:cubicBezTo>
                  <a:lnTo>
                    <a:pt x="4758" y="1009"/>
                  </a:lnTo>
                  <a:cubicBezTo>
                    <a:pt x="4758" y="788"/>
                    <a:pt x="4915" y="631"/>
                    <a:pt x="5136" y="631"/>
                  </a:cubicBezTo>
                  <a:lnTo>
                    <a:pt x="6490" y="631"/>
                  </a:lnTo>
                  <a:cubicBezTo>
                    <a:pt x="6711" y="631"/>
                    <a:pt x="6869" y="788"/>
                    <a:pt x="6869" y="1009"/>
                  </a:cubicBezTo>
                  <a:lnTo>
                    <a:pt x="6869" y="1513"/>
                  </a:lnTo>
                  <a:cubicBezTo>
                    <a:pt x="6963" y="1544"/>
                    <a:pt x="7058" y="1576"/>
                    <a:pt x="7184" y="1639"/>
                  </a:cubicBezTo>
                  <a:lnTo>
                    <a:pt x="7530" y="1261"/>
                  </a:lnTo>
                  <a:cubicBezTo>
                    <a:pt x="7593" y="1213"/>
                    <a:pt x="7680" y="1190"/>
                    <a:pt x="7766" y="1190"/>
                  </a:cubicBezTo>
                  <a:cubicBezTo>
                    <a:pt x="7853" y="1190"/>
                    <a:pt x="7940" y="1213"/>
                    <a:pt x="8003" y="1261"/>
                  </a:cubicBezTo>
                  <a:lnTo>
                    <a:pt x="8979" y="2269"/>
                  </a:lnTo>
                  <a:cubicBezTo>
                    <a:pt x="9105" y="2363"/>
                    <a:pt x="9105" y="2615"/>
                    <a:pt x="8979" y="2741"/>
                  </a:cubicBezTo>
                  <a:lnTo>
                    <a:pt x="8633" y="3088"/>
                  </a:lnTo>
                  <a:cubicBezTo>
                    <a:pt x="8664" y="3151"/>
                    <a:pt x="8696" y="3277"/>
                    <a:pt x="8759" y="3403"/>
                  </a:cubicBezTo>
                  <a:lnTo>
                    <a:pt x="9263" y="3403"/>
                  </a:lnTo>
                  <a:cubicBezTo>
                    <a:pt x="9452" y="3403"/>
                    <a:pt x="9609" y="3561"/>
                    <a:pt x="9609" y="3750"/>
                  </a:cubicBezTo>
                  <a:lnTo>
                    <a:pt x="9609" y="5136"/>
                  </a:lnTo>
                  <a:cubicBezTo>
                    <a:pt x="9609" y="5325"/>
                    <a:pt x="9452" y="5482"/>
                    <a:pt x="9263" y="5482"/>
                  </a:cubicBezTo>
                  <a:lnTo>
                    <a:pt x="8759" y="5482"/>
                  </a:lnTo>
                  <a:cubicBezTo>
                    <a:pt x="8727" y="5608"/>
                    <a:pt x="8664" y="5671"/>
                    <a:pt x="8633" y="5797"/>
                  </a:cubicBezTo>
                  <a:lnTo>
                    <a:pt x="8979" y="6144"/>
                  </a:lnTo>
                  <a:cubicBezTo>
                    <a:pt x="9105" y="6270"/>
                    <a:pt x="9105" y="6522"/>
                    <a:pt x="8979" y="6616"/>
                  </a:cubicBezTo>
                  <a:lnTo>
                    <a:pt x="8759" y="6869"/>
                  </a:lnTo>
                  <a:lnTo>
                    <a:pt x="10586" y="6869"/>
                  </a:lnTo>
                  <a:cubicBezTo>
                    <a:pt x="11153" y="6869"/>
                    <a:pt x="11657" y="6396"/>
                    <a:pt x="11657" y="5829"/>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76"/>
            <p:cNvSpPr/>
            <p:nvPr/>
          </p:nvSpPr>
          <p:spPr>
            <a:xfrm>
              <a:off x="-1471825" y="4129100"/>
              <a:ext cx="51225" cy="51225"/>
            </a:xfrm>
            <a:custGeom>
              <a:avLst/>
              <a:gdLst/>
              <a:ahLst/>
              <a:cxnLst/>
              <a:rect l="l" t="t" r="r" b="b"/>
              <a:pathLst>
                <a:path w="2049" h="2049" extrusionOk="0">
                  <a:moveTo>
                    <a:pt x="1009" y="1"/>
                  </a:moveTo>
                  <a:cubicBezTo>
                    <a:pt x="442" y="1"/>
                    <a:pt x="1" y="473"/>
                    <a:pt x="1" y="1009"/>
                  </a:cubicBezTo>
                  <a:cubicBezTo>
                    <a:pt x="1" y="1576"/>
                    <a:pt x="442" y="2048"/>
                    <a:pt x="1009" y="2048"/>
                  </a:cubicBezTo>
                  <a:cubicBezTo>
                    <a:pt x="1576" y="2048"/>
                    <a:pt x="2049" y="1576"/>
                    <a:pt x="2049" y="1009"/>
                  </a:cubicBez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76"/>
            <p:cNvSpPr/>
            <p:nvPr/>
          </p:nvSpPr>
          <p:spPr>
            <a:xfrm>
              <a:off x="-1526175" y="4077900"/>
              <a:ext cx="156775" cy="156775"/>
            </a:xfrm>
            <a:custGeom>
              <a:avLst/>
              <a:gdLst/>
              <a:ahLst/>
              <a:cxnLst/>
              <a:rect l="l" t="t" r="r" b="b"/>
              <a:pathLst>
                <a:path w="6271" h="6271" extrusionOk="0">
                  <a:moveTo>
                    <a:pt x="3183" y="1418"/>
                  </a:moveTo>
                  <a:cubicBezTo>
                    <a:pt x="4128" y="1418"/>
                    <a:pt x="4884" y="2175"/>
                    <a:pt x="4884" y="3120"/>
                  </a:cubicBezTo>
                  <a:cubicBezTo>
                    <a:pt x="4884" y="4033"/>
                    <a:pt x="4128" y="4821"/>
                    <a:pt x="3183" y="4821"/>
                  </a:cubicBezTo>
                  <a:cubicBezTo>
                    <a:pt x="2238" y="4821"/>
                    <a:pt x="1482" y="4065"/>
                    <a:pt x="1482" y="3120"/>
                  </a:cubicBezTo>
                  <a:cubicBezTo>
                    <a:pt x="1482" y="2175"/>
                    <a:pt x="2238" y="1418"/>
                    <a:pt x="3183" y="1418"/>
                  </a:cubicBezTo>
                  <a:close/>
                  <a:moveTo>
                    <a:pt x="2805" y="1"/>
                  </a:moveTo>
                  <a:lnTo>
                    <a:pt x="2805" y="442"/>
                  </a:lnTo>
                  <a:cubicBezTo>
                    <a:pt x="2805" y="599"/>
                    <a:pt x="2679" y="725"/>
                    <a:pt x="2521" y="757"/>
                  </a:cubicBezTo>
                  <a:cubicBezTo>
                    <a:pt x="2332" y="788"/>
                    <a:pt x="2080" y="914"/>
                    <a:pt x="1891" y="1040"/>
                  </a:cubicBezTo>
                  <a:cubicBezTo>
                    <a:pt x="1847" y="1063"/>
                    <a:pt x="1794" y="1073"/>
                    <a:pt x="1739" y="1073"/>
                  </a:cubicBezTo>
                  <a:cubicBezTo>
                    <a:pt x="1639" y="1073"/>
                    <a:pt x="1531" y="1038"/>
                    <a:pt x="1450" y="977"/>
                  </a:cubicBezTo>
                  <a:lnTo>
                    <a:pt x="1135" y="662"/>
                  </a:lnTo>
                  <a:lnTo>
                    <a:pt x="662" y="1135"/>
                  </a:lnTo>
                  <a:lnTo>
                    <a:pt x="978" y="1450"/>
                  </a:lnTo>
                  <a:cubicBezTo>
                    <a:pt x="1104" y="1576"/>
                    <a:pt x="1104" y="1733"/>
                    <a:pt x="1041" y="1891"/>
                  </a:cubicBezTo>
                  <a:cubicBezTo>
                    <a:pt x="915" y="2080"/>
                    <a:pt x="820" y="2301"/>
                    <a:pt x="757" y="2521"/>
                  </a:cubicBezTo>
                  <a:cubicBezTo>
                    <a:pt x="726" y="2679"/>
                    <a:pt x="599" y="2805"/>
                    <a:pt x="442" y="2805"/>
                  </a:cubicBezTo>
                  <a:lnTo>
                    <a:pt x="1" y="2805"/>
                  </a:lnTo>
                  <a:lnTo>
                    <a:pt x="1" y="3466"/>
                  </a:lnTo>
                  <a:lnTo>
                    <a:pt x="442" y="3466"/>
                  </a:lnTo>
                  <a:cubicBezTo>
                    <a:pt x="599" y="3466"/>
                    <a:pt x="726" y="3592"/>
                    <a:pt x="757" y="3750"/>
                  </a:cubicBezTo>
                  <a:cubicBezTo>
                    <a:pt x="789" y="3939"/>
                    <a:pt x="915" y="4191"/>
                    <a:pt x="1041" y="4380"/>
                  </a:cubicBezTo>
                  <a:cubicBezTo>
                    <a:pt x="1104" y="4506"/>
                    <a:pt x="1072" y="4695"/>
                    <a:pt x="978" y="4821"/>
                  </a:cubicBezTo>
                  <a:lnTo>
                    <a:pt x="662" y="5136"/>
                  </a:lnTo>
                  <a:lnTo>
                    <a:pt x="1135" y="5609"/>
                  </a:lnTo>
                  <a:lnTo>
                    <a:pt x="1450" y="5294"/>
                  </a:lnTo>
                  <a:cubicBezTo>
                    <a:pt x="1524" y="5220"/>
                    <a:pt x="1609" y="5189"/>
                    <a:pt x="1698" y="5189"/>
                  </a:cubicBezTo>
                  <a:cubicBezTo>
                    <a:pt x="1761" y="5189"/>
                    <a:pt x="1826" y="5204"/>
                    <a:pt x="1891" y="5230"/>
                  </a:cubicBezTo>
                  <a:cubicBezTo>
                    <a:pt x="2080" y="5357"/>
                    <a:pt x="2301" y="5451"/>
                    <a:pt x="2521" y="5514"/>
                  </a:cubicBezTo>
                  <a:cubicBezTo>
                    <a:pt x="2679" y="5546"/>
                    <a:pt x="2805" y="5672"/>
                    <a:pt x="2805" y="5829"/>
                  </a:cubicBezTo>
                  <a:lnTo>
                    <a:pt x="2805" y="6270"/>
                  </a:lnTo>
                  <a:lnTo>
                    <a:pt x="3466" y="6270"/>
                  </a:lnTo>
                  <a:lnTo>
                    <a:pt x="3466" y="5829"/>
                  </a:lnTo>
                  <a:cubicBezTo>
                    <a:pt x="3466" y="5672"/>
                    <a:pt x="3592" y="5546"/>
                    <a:pt x="3750" y="5514"/>
                  </a:cubicBezTo>
                  <a:cubicBezTo>
                    <a:pt x="3939" y="5483"/>
                    <a:pt x="4160" y="5357"/>
                    <a:pt x="4380" y="5230"/>
                  </a:cubicBezTo>
                  <a:cubicBezTo>
                    <a:pt x="4414" y="5208"/>
                    <a:pt x="4463" y="5198"/>
                    <a:pt x="4517" y="5198"/>
                  </a:cubicBezTo>
                  <a:cubicBezTo>
                    <a:pt x="4615" y="5198"/>
                    <a:pt x="4729" y="5232"/>
                    <a:pt x="4790" y="5294"/>
                  </a:cubicBezTo>
                  <a:lnTo>
                    <a:pt x="5105" y="5609"/>
                  </a:lnTo>
                  <a:lnTo>
                    <a:pt x="5577" y="5136"/>
                  </a:lnTo>
                  <a:lnTo>
                    <a:pt x="5262" y="4821"/>
                  </a:lnTo>
                  <a:cubicBezTo>
                    <a:pt x="5168" y="4695"/>
                    <a:pt x="5168" y="4537"/>
                    <a:pt x="5231" y="4380"/>
                  </a:cubicBezTo>
                  <a:cubicBezTo>
                    <a:pt x="5357" y="4191"/>
                    <a:pt x="5420" y="3970"/>
                    <a:pt x="5514" y="3750"/>
                  </a:cubicBezTo>
                  <a:cubicBezTo>
                    <a:pt x="5546" y="3592"/>
                    <a:pt x="5672" y="3466"/>
                    <a:pt x="5829" y="3466"/>
                  </a:cubicBezTo>
                  <a:lnTo>
                    <a:pt x="6270" y="3466"/>
                  </a:lnTo>
                  <a:lnTo>
                    <a:pt x="6270" y="2773"/>
                  </a:lnTo>
                  <a:lnTo>
                    <a:pt x="5829" y="2773"/>
                  </a:lnTo>
                  <a:cubicBezTo>
                    <a:pt x="5672" y="2773"/>
                    <a:pt x="5546" y="2647"/>
                    <a:pt x="5514" y="2490"/>
                  </a:cubicBezTo>
                  <a:cubicBezTo>
                    <a:pt x="5483" y="2301"/>
                    <a:pt x="5357" y="2049"/>
                    <a:pt x="5231" y="1859"/>
                  </a:cubicBezTo>
                  <a:cubicBezTo>
                    <a:pt x="5168" y="1733"/>
                    <a:pt x="5199" y="1544"/>
                    <a:pt x="5262" y="1418"/>
                  </a:cubicBezTo>
                  <a:lnTo>
                    <a:pt x="5577" y="1103"/>
                  </a:lnTo>
                  <a:lnTo>
                    <a:pt x="5105" y="631"/>
                  </a:lnTo>
                  <a:lnTo>
                    <a:pt x="4790" y="946"/>
                  </a:lnTo>
                  <a:cubicBezTo>
                    <a:pt x="4739" y="1013"/>
                    <a:pt x="4670" y="1045"/>
                    <a:pt x="4593" y="1045"/>
                  </a:cubicBezTo>
                  <a:cubicBezTo>
                    <a:pt x="4526" y="1045"/>
                    <a:pt x="4453" y="1021"/>
                    <a:pt x="4380" y="977"/>
                  </a:cubicBezTo>
                  <a:cubicBezTo>
                    <a:pt x="4160" y="883"/>
                    <a:pt x="3971" y="788"/>
                    <a:pt x="3750" y="725"/>
                  </a:cubicBezTo>
                  <a:cubicBezTo>
                    <a:pt x="3592" y="662"/>
                    <a:pt x="3466" y="568"/>
                    <a:pt x="3466" y="4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4" name="Google Shape;8984;p76"/>
          <p:cNvGrpSpPr/>
          <p:nvPr/>
        </p:nvGrpSpPr>
        <p:grpSpPr>
          <a:xfrm>
            <a:off x="3640232" y="3310744"/>
            <a:ext cx="369730" cy="420775"/>
            <a:chOff x="-778700" y="3612425"/>
            <a:chExt cx="256775" cy="292225"/>
          </a:xfrm>
        </p:grpSpPr>
        <p:sp>
          <p:nvSpPr>
            <p:cNvPr id="8985" name="Google Shape;8985;p76"/>
            <p:cNvSpPr/>
            <p:nvPr/>
          </p:nvSpPr>
          <p:spPr>
            <a:xfrm>
              <a:off x="-692850" y="36990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6" name="Google Shape;8986;p76"/>
            <p:cNvSpPr/>
            <p:nvPr/>
          </p:nvSpPr>
          <p:spPr>
            <a:xfrm>
              <a:off x="-777925" y="3612425"/>
              <a:ext cx="204800" cy="34675"/>
            </a:xfrm>
            <a:custGeom>
              <a:avLst/>
              <a:gdLst/>
              <a:ahLst/>
              <a:cxnLst/>
              <a:rect l="l" t="t" r="r" b="b"/>
              <a:pathLst>
                <a:path w="8192" h="1387" extrusionOk="0">
                  <a:moveTo>
                    <a:pt x="1009" y="0"/>
                  </a:moveTo>
                  <a:cubicBezTo>
                    <a:pt x="473" y="0"/>
                    <a:pt x="1" y="473"/>
                    <a:pt x="1" y="1009"/>
                  </a:cubicBezTo>
                  <a:lnTo>
                    <a:pt x="1" y="1387"/>
                  </a:lnTo>
                  <a:lnTo>
                    <a:pt x="8192" y="1387"/>
                  </a:lnTo>
                  <a:lnTo>
                    <a:pt x="8192" y="1009"/>
                  </a:lnTo>
                  <a:cubicBezTo>
                    <a:pt x="8192" y="473"/>
                    <a:pt x="7719" y="0"/>
                    <a:pt x="71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7" name="Google Shape;8987;p76"/>
            <p:cNvSpPr/>
            <p:nvPr/>
          </p:nvSpPr>
          <p:spPr>
            <a:xfrm>
              <a:off x="-727525" y="3699050"/>
              <a:ext cx="17375" cy="17350"/>
            </a:xfrm>
            <a:custGeom>
              <a:avLst/>
              <a:gdLst/>
              <a:ahLst/>
              <a:cxnLst/>
              <a:rect l="l" t="t" r="r" b="b"/>
              <a:pathLst>
                <a:path w="695"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8" name="Google Shape;8988;p76"/>
            <p:cNvSpPr/>
            <p:nvPr/>
          </p:nvSpPr>
          <p:spPr>
            <a:xfrm>
              <a:off x="-778700" y="3664400"/>
              <a:ext cx="205575" cy="102425"/>
            </a:xfrm>
            <a:custGeom>
              <a:avLst/>
              <a:gdLst/>
              <a:ahLst/>
              <a:cxnLst/>
              <a:rect l="l" t="t" r="r" b="b"/>
              <a:pathLst>
                <a:path w="8223" h="4097" extrusionOk="0">
                  <a:moveTo>
                    <a:pt x="3781" y="694"/>
                  </a:moveTo>
                  <a:cubicBezTo>
                    <a:pt x="4316" y="694"/>
                    <a:pt x="4789" y="1166"/>
                    <a:pt x="4789" y="1733"/>
                  </a:cubicBezTo>
                  <a:cubicBezTo>
                    <a:pt x="4789" y="2301"/>
                    <a:pt x="4316" y="2773"/>
                    <a:pt x="3781" y="2773"/>
                  </a:cubicBezTo>
                  <a:cubicBezTo>
                    <a:pt x="3497" y="2773"/>
                    <a:pt x="3245" y="2647"/>
                    <a:pt x="3088" y="2490"/>
                  </a:cubicBezTo>
                  <a:cubicBezTo>
                    <a:pt x="2899" y="2647"/>
                    <a:pt x="2678" y="2773"/>
                    <a:pt x="2426" y="2773"/>
                  </a:cubicBezTo>
                  <a:cubicBezTo>
                    <a:pt x="1890" y="2773"/>
                    <a:pt x="1418" y="2301"/>
                    <a:pt x="1418" y="1733"/>
                  </a:cubicBezTo>
                  <a:cubicBezTo>
                    <a:pt x="1418" y="1198"/>
                    <a:pt x="1890" y="694"/>
                    <a:pt x="2426" y="694"/>
                  </a:cubicBezTo>
                  <a:cubicBezTo>
                    <a:pt x="2710" y="694"/>
                    <a:pt x="2930" y="820"/>
                    <a:pt x="3088" y="977"/>
                  </a:cubicBezTo>
                  <a:cubicBezTo>
                    <a:pt x="3308" y="820"/>
                    <a:pt x="3529" y="694"/>
                    <a:pt x="3781" y="694"/>
                  </a:cubicBezTo>
                  <a:close/>
                  <a:moveTo>
                    <a:pt x="0" y="1"/>
                  </a:moveTo>
                  <a:lnTo>
                    <a:pt x="0" y="3088"/>
                  </a:lnTo>
                  <a:cubicBezTo>
                    <a:pt x="0" y="3624"/>
                    <a:pt x="473" y="4096"/>
                    <a:pt x="1008" y="4096"/>
                  </a:cubicBezTo>
                  <a:lnTo>
                    <a:pt x="6837" y="4096"/>
                  </a:lnTo>
                  <a:lnTo>
                    <a:pt x="6837" y="3498"/>
                  </a:lnTo>
                  <a:lnTo>
                    <a:pt x="5766" y="2458"/>
                  </a:lnTo>
                  <a:cubicBezTo>
                    <a:pt x="5034" y="1726"/>
                    <a:pt x="5756" y="674"/>
                    <a:pt x="6558" y="674"/>
                  </a:cubicBezTo>
                  <a:cubicBezTo>
                    <a:pt x="6792" y="674"/>
                    <a:pt x="7033" y="764"/>
                    <a:pt x="7246" y="977"/>
                  </a:cubicBezTo>
                  <a:lnTo>
                    <a:pt x="8223" y="1985"/>
                  </a:lnTo>
                  <a:lnTo>
                    <a:pt x="82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76"/>
            <p:cNvSpPr/>
            <p:nvPr/>
          </p:nvSpPr>
          <p:spPr>
            <a:xfrm>
              <a:off x="-659775" y="3835325"/>
              <a:ext cx="137850" cy="69325"/>
            </a:xfrm>
            <a:custGeom>
              <a:avLst/>
              <a:gdLst/>
              <a:ahLst/>
              <a:cxnLst/>
              <a:rect l="l" t="t" r="r" b="b"/>
              <a:pathLst>
                <a:path w="5514" h="2773" extrusionOk="0">
                  <a:moveTo>
                    <a:pt x="1733" y="693"/>
                  </a:moveTo>
                  <a:cubicBezTo>
                    <a:pt x="1922" y="693"/>
                    <a:pt x="2080" y="851"/>
                    <a:pt x="2080" y="1040"/>
                  </a:cubicBezTo>
                  <a:cubicBezTo>
                    <a:pt x="2080" y="1229"/>
                    <a:pt x="1922" y="1386"/>
                    <a:pt x="1733" y="1386"/>
                  </a:cubicBezTo>
                  <a:cubicBezTo>
                    <a:pt x="1544" y="1386"/>
                    <a:pt x="1387" y="1229"/>
                    <a:pt x="1387" y="1040"/>
                  </a:cubicBezTo>
                  <a:cubicBezTo>
                    <a:pt x="1387" y="851"/>
                    <a:pt x="1544" y="693"/>
                    <a:pt x="1733" y="693"/>
                  </a:cubicBezTo>
                  <a:close/>
                  <a:moveTo>
                    <a:pt x="63" y="0"/>
                  </a:moveTo>
                  <a:cubicBezTo>
                    <a:pt x="32" y="126"/>
                    <a:pt x="0" y="252"/>
                    <a:pt x="0" y="378"/>
                  </a:cubicBezTo>
                  <a:lnTo>
                    <a:pt x="0" y="2426"/>
                  </a:lnTo>
                  <a:cubicBezTo>
                    <a:pt x="0" y="2615"/>
                    <a:pt x="158" y="2773"/>
                    <a:pt x="347" y="2773"/>
                  </a:cubicBezTo>
                  <a:lnTo>
                    <a:pt x="5167" y="2773"/>
                  </a:lnTo>
                  <a:cubicBezTo>
                    <a:pt x="5356" y="2773"/>
                    <a:pt x="5514" y="2615"/>
                    <a:pt x="5514" y="2426"/>
                  </a:cubicBezTo>
                  <a:lnTo>
                    <a:pt x="5514" y="378"/>
                  </a:lnTo>
                  <a:cubicBezTo>
                    <a:pt x="5514" y="252"/>
                    <a:pt x="5482" y="126"/>
                    <a:pt x="54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0" name="Google Shape;8990;p76"/>
            <p:cNvSpPr/>
            <p:nvPr/>
          </p:nvSpPr>
          <p:spPr>
            <a:xfrm>
              <a:off x="-658200" y="3669925"/>
              <a:ext cx="136275" cy="148875"/>
            </a:xfrm>
            <a:custGeom>
              <a:avLst/>
              <a:gdLst/>
              <a:ahLst/>
              <a:cxnLst/>
              <a:rect l="l" t="t" r="r" b="b"/>
              <a:pathLst>
                <a:path w="5451" h="5955" extrusionOk="0">
                  <a:moveTo>
                    <a:pt x="4064" y="0"/>
                  </a:moveTo>
                  <a:lnTo>
                    <a:pt x="4064" y="2615"/>
                  </a:lnTo>
                  <a:cubicBezTo>
                    <a:pt x="4064" y="2829"/>
                    <a:pt x="3905" y="2970"/>
                    <a:pt x="3734" y="2970"/>
                  </a:cubicBezTo>
                  <a:cubicBezTo>
                    <a:pt x="3652" y="2970"/>
                    <a:pt x="3568" y="2938"/>
                    <a:pt x="3497" y="2867"/>
                  </a:cubicBezTo>
                  <a:lnTo>
                    <a:pt x="1922" y="1292"/>
                  </a:lnTo>
                  <a:cubicBezTo>
                    <a:pt x="1858" y="1228"/>
                    <a:pt x="1780" y="1201"/>
                    <a:pt x="1701" y="1201"/>
                  </a:cubicBezTo>
                  <a:cubicBezTo>
                    <a:pt x="1429" y="1201"/>
                    <a:pt x="1150" y="1520"/>
                    <a:pt x="1418" y="1764"/>
                  </a:cubicBezTo>
                  <a:lnTo>
                    <a:pt x="2615" y="2930"/>
                  </a:lnTo>
                  <a:cubicBezTo>
                    <a:pt x="2710" y="3025"/>
                    <a:pt x="2741" y="3088"/>
                    <a:pt x="2741" y="3182"/>
                  </a:cubicBezTo>
                  <a:lnTo>
                    <a:pt x="2741" y="3970"/>
                  </a:lnTo>
                  <a:cubicBezTo>
                    <a:pt x="2741" y="4222"/>
                    <a:pt x="2804" y="4505"/>
                    <a:pt x="2930" y="4789"/>
                  </a:cubicBezTo>
                  <a:cubicBezTo>
                    <a:pt x="3052" y="5074"/>
                    <a:pt x="2833" y="5280"/>
                    <a:pt x="2611" y="5280"/>
                  </a:cubicBezTo>
                  <a:cubicBezTo>
                    <a:pt x="2490" y="5280"/>
                    <a:pt x="2367" y="5218"/>
                    <a:pt x="2300" y="5072"/>
                  </a:cubicBezTo>
                  <a:cubicBezTo>
                    <a:pt x="2206" y="4915"/>
                    <a:pt x="2174" y="4757"/>
                    <a:pt x="2143" y="4600"/>
                  </a:cubicBezTo>
                  <a:lnTo>
                    <a:pt x="0" y="4600"/>
                  </a:lnTo>
                  <a:lnTo>
                    <a:pt x="0" y="4631"/>
                  </a:lnTo>
                  <a:cubicBezTo>
                    <a:pt x="0" y="5104"/>
                    <a:pt x="126" y="5545"/>
                    <a:pt x="378" y="5923"/>
                  </a:cubicBezTo>
                  <a:lnTo>
                    <a:pt x="5104" y="5923"/>
                  </a:lnTo>
                  <a:lnTo>
                    <a:pt x="5104" y="5955"/>
                  </a:lnTo>
                  <a:cubicBezTo>
                    <a:pt x="5325" y="5577"/>
                    <a:pt x="5451" y="5104"/>
                    <a:pt x="5451" y="4663"/>
                  </a:cubicBezTo>
                  <a:lnTo>
                    <a:pt x="5451" y="2111"/>
                  </a:lnTo>
                  <a:cubicBezTo>
                    <a:pt x="5451" y="1638"/>
                    <a:pt x="5262" y="1197"/>
                    <a:pt x="4947" y="882"/>
                  </a:cubicBezTo>
                  <a:lnTo>
                    <a:pt x="4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1" name="Google Shape;8991;p76"/>
          <p:cNvGrpSpPr/>
          <p:nvPr/>
        </p:nvGrpSpPr>
        <p:grpSpPr>
          <a:xfrm>
            <a:off x="6111733" y="3828305"/>
            <a:ext cx="340731" cy="387641"/>
            <a:chOff x="7728464" y="1561258"/>
            <a:chExt cx="349719" cy="397866"/>
          </a:xfrm>
        </p:grpSpPr>
        <p:sp>
          <p:nvSpPr>
            <p:cNvPr id="8992" name="Google Shape;8992;p76"/>
            <p:cNvSpPr/>
            <p:nvPr/>
          </p:nvSpPr>
          <p:spPr>
            <a:xfrm>
              <a:off x="7891642" y="1678585"/>
              <a:ext cx="23354" cy="23333"/>
            </a:xfrm>
            <a:custGeom>
              <a:avLst/>
              <a:gdLst/>
              <a:ahLst/>
              <a:cxnLst/>
              <a:rect l="l" t="t" r="r" b="b"/>
              <a:pathLst>
                <a:path w="1119" h="1118" extrusionOk="0">
                  <a:moveTo>
                    <a:pt x="0" y="1"/>
                  </a:moveTo>
                  <a:lnTo>
                    <a:pt x="0" y="1117"/>
                  </a:lnTo>
                  <a:lnTo>
                    <a:pt x="1118" y="1117"/>
                  </a:lnTo>
                  <a:lnTo>
                    <a:pt x="11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3" name="Google Shape;8993;p76"/>
            <p:cNvSpPr/>
            <p:nvPr/>
          </p:nvSpPr>
          <p:spPr>
            <a:xfrm>
              <a:off x="7728464" y="1561258"/>
              <a:ext cx="349719" cy="397866"/>
            </a:xfrm>
            <a:custGeom>
              <a:avLst/>
              <a:gdLst/>
              <a:ahLst/>
              <a:cxnLst/>
              <a:rect l="l" t="t" r="r" b="b"/>
              <a:pathLst>
                <a:path w="16757" h="19064" extrusionOk="0">
                  <a:moveTo>
                    <a:pt x="9496" y="2830"/>
                  </a:moveTo>
                  <a:cubicBezTo>
                    <a:pt x="9804" y="2830"/>
                    <a:pt x="10054" y="3079"/>
                    <a:pt x="10054" y="3389"/>
                  </a:cubicBezTo>
                  <a:lnTo>
                    <a:pt x="10054" y="4505"/>
                  </a:lnTo>
                  <a:lnTo>
                    <a:pt x="11172" y="4505"/>
                  </a:lnTo>
                  <a:cubicBezTo>
                    <a:pt x="11480" y="4505"/>
                    <a:pt x="11729" y="4756"/>
                    <a:pt x="11729" y="5064"/>
                  </a:cubicBezTo>
                  <a:cubicBezTo>
                    <a:pt x="11729" y="5373"/>
                    <a:pt x="11480" y="5623"/>
                    <a:pt x="11172" y="5623"/>
                  </a:cubicBezTo>
                  <a:lnTo>
                    <a:pt x="10054" y="5623"/>
                  </a:lnTo>
                  <a:lnTo>
                    <a:pt x="10054" y="6739"/>
                  </a:lnTo>
                  <a:lnTo>
                    <a:pt x="11172" y="6739"/>
                  </a:lnTo>
                  <a:cubicBezTo>
                    <a:pt x="11480" y="6739"/>
                    <a:pt x="11729" y="6990"/>
                    <a:pt x="11729" y="7298"/>
                  </a:cubicBezTo>
                  <a:cubicBezTo>
                    <a:pt x="11729" y="7608"/>
                    <a:pt x="11480" y="7857"/>
                    <a:pt x="11172" y="7857"/>
                  </a:cubicBezTo>
                  <a:lnTo>
                    <a:pt x="10054" y="7857"/>
                  </a:lnTo>
                  <a:lnTo>
                    <a:pt x="10054" y="8973"/>
                  </a:lnTo>
                  <a:cubicBezTo>
                    <a:pt x="10054" y="9283"/>
                    <a:pt x="9804" y="9532"/>
                    <a:pt x="9495" y="9532"/>
                  </a:cubicBezTo>
                  <a:cubicBezTo>
                    <a:pt x="9187" y="9532"/>
                    <a:pt x="8936" y="9283"/>
                    <a:pt x="8936" y="8973"/>
                  </a:cubicBezTo>
                  <a:lnTo>
                    <a:pt x="8936" y="7857"/>
                  </a:lnTo>
                  <a:lnTo>
                    <a:pt x="7819" y="7857"/>
                  </a:lnTo>
                  <a:lnTo>
                    <a:pt x="7819" y="8973"/>
                  </a:lnTo>
                  <a:cubicBezTo>
                    <a:pt x="7819" y="9283"/>
                    <a:pt x="7570" y="9532"/>
                    <a:pt x="7260" y="9532"/>
                  </a:cubicBezTo>
                  <a:cubicBezTo>
                    <a:pt x="6953" y="9532"/>
                    <a:pt x="6701" y="9283"/>
                    <a:pt x="6701" y="8973"/>
                  </a:cubicBezTo>
                  <a:lnTo>
                    <a:pt x="6701" y="7857"/>
                  </a:lnTo>
                  <a:lnTo>
                    <a:pt x="5585" y="7857"/>
                  </a:lnTo>
                  <a:cubicBezTo>
                    <a:pt x="5276" y="7857"/>
                    <a:pt x="5026" y="7608"/>
                    <a:pt x="5026" y="7298"/>
                  </a:cubicBezTo>
                  <a:cubicBezTo>
                    <a:pt x="5026" y="6990"/>
                    <a:pt x="5276" y="6739"/>
                    <a:pt x="5585" y="6739"/>
                  </a:cubicBezTo>
                  <a:lnTo>
                    <a:pt x="6701" y="6739"/>
                  </a:lnTo>
                  <a:lnTo>
                    <a:pt x="6701" y="5623"/>
                  </a:lnTo>
                  <a:lnTo>
                    <a:pt x="5585" y="5623"/>
                  </a:lnTo>
                  <a:cubicBezTo>
                    <a:pt x="5277" y="5623"/>
                    <a:pt x="5028" y="5373"/>
                    <a:pt x="5028" y="5064"/>
                  </a:cubicBezTo>
                  <a:cubicBezTo>
                    <a:pt x="5028" y="4756"/>
                    <a:pt x="5277" y="4505"/>
                    <a:pt x="5585" y="4505"/>
                  </a:cubicBezTo>
                  <a:lnTo>
                    <a:pt x="6703" y="4505"/>
                  </a:lnTo>
                  <a:lnTo>
                    <a:pt x="6703" y="3389"/>
                  </a:lnTo>
                  <a:cubicBezTo>
                    <a:pt x="6703" y="3079"/>
                    <a:pt x="6953" y="2830"/>
                    <a:pt x="7262" y="2830"/>
                  </a:cubicBezTo>
                  <a:cubicBezTo>
                    <a:pt x="7570" y="2830"/>
                    <a:pt x="7819" y="3079"/>
                    <a:pt x="7819" y="3389"/>
                  </a:cubicBezTo>
                  <a:lnTo>
                    <a:pt x="7819" y="4505"/>
                  </a:lnTo>
                  <a:lnTo>
                    <a:pt x="8937" y="4505"/>
                  </a:lnTo>
                  <a:lnTo>
                    <a:pt x="8937" y="3389"/>
                  </a:lnTo>
                  <a:cubicBezTo>
                    <a:pt x="8937" y="3079"/>
                    <a:pt x="9187" y="2830"/>
                    <a:pt x="9496" y="2830"/>
                  </a:cubicBezTo>
                  <a:close/>
                  <a:moveTo>
                    <a:pt x="12845" y="10091"/>
                  </a:moveTo>
                  <a:cubicBezTo>
                    <a:pt x="12952" y="10091"/>
                    <a:pt x="13060" y="10121"/>
                    <a:pt x="13157" y="10185"/>
                  </a:cubicBezTo>
                  <a:cubicBezTo>
                    <a:pt x="13413" y="10357"/>
                    <a:pt x="13482" y="10702"/>
                    <a:pt x="13310" y="10960"/>
                  </a:cubicBezTo>
                  <a:cubicBezTo>
                    <a:pt x="12210" y="12612"/>
                    <a:pt x="10365" y="13599"/>
                    <a:pt x="8378" y="13599"/>
                  </a:cubicBezTo>
                  <a:cubicBezTo>
                    <a:pt x="6392" y="13599"/>
                    <a:pt x="4547" y="12612"/>
                    <a:pt x="3445" y="10960"/>
                  </a:cubicBezTo>
                  <a:cubicBezTo>
                    <a:pt x="3275" y="10702"/>
                    <a:pt x="3344" y="10355"/>
                    <a:pt x="3600" y="10185"/>
                  </a:cubicBezTo>
                  <a:cubicBezTo>
                    <a:pt x="3696" y="10121"/>
                    <a:pt x="3804" y="10091"/>
                    <a:pt x="3910" y="10091"/>
                  </a:cubicBezTo>
                  <a:cubicBezTo>
                    <a:pt x="4090" y="10091"/>
                    <a:pt x="4267" y="10178"/>
                    <a:pt x="4375" y="10339"/>
                  </a:cubicBezTo>
                  <a:cubicBezTo>
                    <a:pt x="5269" y="11682"/>
                    <a:pt x="6765" y="12481"/>
                    <a:pt x="8378" y="12481"/>
                  </a:cubicBezTo>
                  <a:cubicBezTo>
                    <a:pt x="9990" y="12481"/>
                    <a:pt x="11487" y="11682"/>
                    <a:pt x="12382" y="10339"/>
                  </a:cubicBezTo>
                  <a:cubicBezTo>
                    <a:pt x="12488" y="10178"/>
                    <a:pt x="12665" y="10091"/>
                    <a:pt x="12845" y="10091"/>
                  </a:cubicBezTo>
                  <a:close/>
                  <a:moveTo>
                    <a:pt x="2794" y="1"/>
                  </a:moveTo>
                  <a:cubicBezTo>
                    <a:pt x="1253" y="1"/>
                    <a:pt x="0" y="1291"/>
                    <a:pt x="0" y="2830"/>
                  </a:cubicBezTo>
                  <a:lnTo>
                    <a:pt x="0" y="14001"/>
                  </a:lnTo>
                  <a:cubicBezTo>
                    <a:pt x="0" y="15540"/>
                    <a:pt x="1253" y="16792"/>
                    <a:pt x="2794" y="16792"/>
                  </a:cubicBezTo>
                  <a:lnTo>
                    <a:pt x="5912" y="16792"/>
                  </a:lnTo>
                  <a:lnTo>
                    <a:pt x="7984" y="18901"/>
                  </a:lnTo>
                  <a:cubicBezTo>
                    <a:pt x="8092" y="19009"/>
                    <a:pt x="8235" y="19064"/>
                    <a:pt x="8378" y="19064"/>
                  </a:cubicBezTo>
                  <a:cubicBezTo>
                    <a:pt x="8522" y="19064"/>
                    <a:pt x="8665" y="19009"/>
                    <a:pt x="8773" y="18901"/>
                  </a:cubicBezTo>
                  <a:lnTo>
                    <a:pt x="10844" y="16792"/>
                  </a:lnTo>
                  <a:lnTo>
                    <a:pt x="13963" y="16792"/>
                  </a:lnTo>
                  <a:cubicBezTo>
                    <a:pt x="15504" y="16792"/>
                    <a:pt x="16756" y="15540"/>
                    <a:pt x="16756" y="14001"/>
                  </a:cubicBezTo>
                  <a:lnTo>
                    <a:pt x="16756" y="2830"/>
                  </a:lnTo>
                  <a:cubicBezTo>
                    <a:pt x="16756" y="1291"/>
                    <a:pt x="15504" y="1"/>
                    <a:pt x="13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4" name="Google Shape;8994;p76"/>
          <p:cNvGrpSpPr/>
          <p:nvPr/>
        </p:nvGrpSpPr>
        <p:grpSpPr>
          <a:xfrm>
            <a:off x="4034702" y="3828305"/>
            <a:ext cx="387681" cy="387641"/>
            <a:chOff x="5611350" y="1561258"/>
            <a:chExt cx="397907" cy="397866"/>
          </a:xfrm>
        </p:grpSpPr>
        <p:sp>
          <p:nvSpPr>
            <p:cNvPr id="8995" name="Google Shape;8995;p76"/>
            <p:cNvSpPr/>
            <p:nvPr/>
          </p:nvSpPr>
          <p:spPr>
            <a:xfrm>
              <a:off x="5713589" y="1812337"/>
              <a:ext cx="38443" cy="39653"/>
            </a:xfrm>
            <a:custGeom>
              <a:avLst/>
              <a:gdLst/>
              <a:ahLst/>
              <a:cxnLst/>
              <a:rect l="l" t="t" r="r" b="b"/>
              <a:pathLst>
                <a:path w="1842" h="1900" extrusionOk="0">
                  <a:moveTo>
                    <a:pt x="1842" y="1"/>
                  </a:moveTo>
                  <a:lnTo>
                    <a:pt x="630" y="486"/>
                  </a:lnTo>
                  <a:cubicBezTo>
                    <a:pt x="81" y="705"/>
                    <a:pt x="0" y="1450"/>
                    <a:pt x="490" y="1782"/>
                  </a:cubicBezTo>
                  <a:cubicBezTo>
                    <a:pt x="608" y="1862"/>
                    <a:pt x="755" y="1900"/>
                    <a:pt x="908" y="1900"/>
                  </a:cubicBezTo>
                  <a:cubicBezTo>
                    <a:pt x="1349" y="1900"/>
                    <a:pt x="1842" y="1590"/>
                    <a:pt x="1842" y="1092"/>
                  </a:cubicBezTo>
                  <a:lnTo>
                    <a:pt x="18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6" name="Google Shape;8996;p76"/>
            <p:cNvSpPr/>
            <p:nvPr/>
          </p:nvSpPr>
          <p:spPr>
            <a:xfrm>
              <a:off x="5830124" y="1789047"/>
              <a:ext cx="38505" cy="39653"/>
            </a:xfrm>
            <a:custGeom>
              <a:avLst/>
              <a:gdLst/>
              <a:ahLst/>
              <a:cxnLst/>
              <a:rect l="l" t="t" r="r" b="b"/>
              <a:pathLst>
                <a:path w="1845" h="1900" extrusionOk="0">
                  <a:moveTo>
                    <a:pt x="1844" y="1"/>
                  </a:moveTo>
                  <a:lnTo>
                    <a:pt x="631" y="485"/>
                  </a:lnTo>
                  <a:cubicBezTo>
                    <a:pt x="82" y="705"/>
                    <a:pt x="1" y="1450"/>
                    <a:pt x="491" y="1782"/>
                  </a:cubicBezTo>
                  <a:cubicBezTo>
                    <a:pt x="608" y="1862"/>
                    <a:pt x="755" y="1899"/>
                    <a:pt x="908" y="1899"/>
                  </a:cubicBezTo>
                  <a:cubicBezTo>
                    <a:pt x="1349" y="1899"/>
                    <a:pt x="1844" y="1588"/>
                    <a:pt x="1844" y="1090"/>
                  </a:cubicBezTo>
                  <a:lnTo>
                    <a:pt x="18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7" name="Google Shape;8997;p76"/>
            <p:cNvSpPr/>
            <p:nvPr/>
          </p:nvSpPr>
          <p:spPr>
            <a:xfrm>
              <a:off x="5611350" y="1561258"/>
              <a:ext cx="397907" cy="397866"/>
            </a:xfrm>
            <a:custGeom>
              <a:avLst/>
              <a:gdLst/>
              <a:ahLst/>
              <a:cxnLst/>
              <a:rect l="l" t="t" r="r" b="b"/>
              <a:pathLst>
                <a:path w="19066" h="19064" extrusionOk="0">
                  <a:moveTo>
                    <a:pt x="12883" y="3949"/>
                  </a:moveTo>
                  <a:cubicBezTo>
                    <a:pt x="13013" y="3949"/>
                    <a:pt x="13138" y="3991"/>
                    <a:pt x="13238" y="4073"/>
                  </a:cubicBezTo>
                  <a:cubicBezTo>
                    <a:pt x="13369" y="4179"/>
                    <a:pt x="13443" y="4339"/>
                    <a:pt x="13443" y="4505"/>
                  </a:cubicBezTo>
                  <a:lnTo>
                    <a:pt x="13443" y="12005"/>
                  </a:lnTo>
                  <a:cubicBezTo>
                    <a:pt x="13443" y="13161"/>
                    <a:pt x="12421" y="13941"/>
                    <a:pt x="11388" y="13941"/>
                  </a:cubicBezTo>
                  <a:cubicBezTo>
                    <a:pt x="10369" y="13941"/>
                    <a:pt x="9534" y="13113"/>
                    <a:pt x="9534" y="12085"/>
                  </a:cubicBezTo>
                  <a:cubicBezTo>
                    <a:pt x="9534" y="11323"/>
                    <a:pt x="9990" y="10647"/>
                    <a:pt x="10700" y="10364"/>
                  </a:cubicBezTo>
                  <a:lnTo>
                    <a:pt x="12327" y="9713"/>
                  </a:lnTo>
                  <a:lnTo>
                    <a:pt x="12327" y="7420"/>
                  </a:lnTo>
                  <a:lnTo>
                    <a:pt x="7859" y="8315"/>
                  </a:lnTo>
                  <a:lnTo>
                    <a:pt x="7859" y="13123"/>
                  </a:lnTo>
                  <a:cubicBezTo>
                    <a:pt x="7859" y="14277"/>
                    <a:pt x="6834" y="15057"/>
                    <a:pt x="5803" y="15057"/>
                  </a:cubicBezTo>
                  <a:cubicBezTo>
                    <a:pt x="4784" y="15057"/>
                    <a:pt x="3949" y="14229"/>
                    <a:pt x="3949" y="13203"/>
                  </a:cubicBezTo>
                  <a:cubicBezTo>
                    <a:pt x="3949" y="12439"/>
                    <a:pt x="4406" y="11763"/>
                    <a:pt x="5115" y="11480"/>
                  </a:cubicBezTo>
                  <a:lnTo>
                    <a:pt x="6741" y="10829"/>
                  </a:lnTo>
                  <a:lnTo>
                    <a:pt x="6741" y="5623"/>
                  </a:lnTo>
                  <a:cubicBezTo>
                    <a:pt x="6741" y="5356"/>
                    <a:pt x="6930" y="5128"/>
                    <a:pt x="7190" y="5074"/>
                  </a:cubicBezTo>
                  <a:lnTo>
                    <a:pt x="12775" y="3958"/>
                  </a:lnTo>
                  <a:cubicBezTo>
                    <a:pt x="12811" y="3952"/>
                    <a:pt x="12847" y="3949"/>
                    <a:pt x="12883" y="3949"/>
                  </a:cubicBezTo>
                  <a:close/>
                  <a:moveTo>
                    <a:pt x="9534" y="1"/>
                  </a:moveTo>
                  <a:cubicBezTo>
                    <a:pt x="4298" y="1"/>
                    <a:pt x="1" y="4296"/>
                    <a:pt x="1" y="9532"/>
                  </a:cubicBezTo>
                  <a:cubicBezTo>
                    <a:pt x="1" y="14769"/>
                    <a:pt x="4298"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8" name="Google Shape;8998;p76"/>
            <p:cNvSpPr/>
            <p:nvPr/>
          </p:nvSpPr>
          <p:spPr>
            <a:xfrm>
              <a:off x="5775341" y="1669507"/>
              <a:ext cx="93247" cy="41531"/>
            </a:xfrm>
            <a:custGeom>
              <a:avLst/>
              <a:gdLst/>
              <a:ahLst/>
              <a:cxnLst/>
              <a:rect l="l" t="t" r="r" b="b"/>
              <a:pathLst>
                <a:path w="4468" h="1990" extrusionOk="0">
                  <a:moveTo>
                    <a:pt x="4467" y="1"/>
                  </a:moveTo>
                  <a:lnTo>
                    <a:pt x="1" y="894"/>
                  </a:lnTo>
                  <a:lnTo>
                    <a:pt x="1" y="1989"/>
                  </a:lnTo>
                  <a:lnTo>
                    <a:pt x="4467" y="1096"/>
                  </a:lnTo>
                  <a:lnTo>
                    <a:pt x="4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9" name="Google Shape;8999;p76"/>
          <p:cNvGrpSpPr/>
          <p:nvPr/>
        </p:nvGrpSpPr>
        <p:grpSpPr>
          <a:xfrm>
            <a:off x="4553987" y="3925571"/>
            <a:ext cx="387610" cy="193109"/>
            <a:chOff x="6140660" y="1661097"/>
            <a:chExt cx="397835" cy="198202"/>
          </a:xfrm>
        </p:grpSpPr>
        <p:sp>
          <p:nvSpPr>
            <p:cNvPr id="9000" name="Google Shape;9000;p76"/>
            <p:cNvSpPr/>
            <p:nvPr/>
          </p:nvSpPr>
          <p:spPr>
            <a:xfrm>
              <a:off x="6281298" y="1707719"/>
              <a:ext cx="58290" cy="151579"/>
            </a:xfrm>
            <a:custGeom>
              <a:avLst/>
              <a:gdLst/>
              <a:ahLst/>
              <a:cxnLst/>
              <a:rect l="l" t="t" r="r" b="b"/>
              <a:pathLst>
                <a:path w="2793" h="7263" extrusionOk="0">
                  <a:moveTo>
                    <a:pt x="1397" y="1"/>
                  </a:moveTo>
                  <a:cubicBezTo>
                    <a:pt x="627" y="1"/>
                    <a:pt x="1" y="627"/>
                    <a:pt x="1" y="1398"/>
                  </a:cubicBezTo>
                  <a:lnTo>
                    <a:pt x="1" y="5865"/>
                  </a:lnTo>
                  <a:cubicBezTo>
                    <a:pt x="1" y="6636"/>
                    <a:pt x="627" y="7262"/>
                    <a:pt x="1397" y="7262"/>
                  </a:cubicBezTo>
                  <a:cubicBezTo>
                    <a:pt x="2166" y="7262"/>
                    <a:pt x="2792" y="6634"/>
                    <a:pt x="2792" y="5865"/>
                  </a:cubicBezTo>
                  <a:lnTo>
                    <a:pt x="2792" y="1398"/>
                  </a:lnTo>
                  <a:cubicBezTo>
                    <a:pt x="2792" y="627"/>
                    <a:pt x="2166" y="1"/>
                    <a:pt x="1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1" name="Google Shape;9001;p76"/>
            <p:cNvSpPr/>
            <p:nvPr/>
          </p:nvSpPr>
          <p:spPr>
            <a:xfrm>
              <a:off x="6480225" y="1742675"/>
              <a:ext cx="58269" cy="58332"/>
            </a:xfrm>
            <a:custGeom>
              <a:avLst/>
              <a:gdLst/>
              <a:ahLst/>
              <a:cxnLst/>
              <a:rect l="l" t="t" r="r" b="b"/>
              <a:pathLst>
                <a:path w="2792" h="2795" extrusionOk="0">
                  <a:moveTo>
                    <a:pt x="1396" y="1"/>
                  </a:moveTo>
                  <a:cubicBezTo>
                    <a:pt x="627" y="1"/>
                    <a:pt x="0" y="629"/>
                    <a:pt x="0" y="1398"/>
                  </a:cubicBezTo>
                  <a:cubicBezTo>
                    <a:pt x="0" y="2168"/>
                    <a:pt x="627" y="2794"/>
                    <a:pt x="1396" y="2794"/>
                  </a:cubicBezTo>
                  <a:cubicBezTo>
                    <a:pt x="2167" y="2794"/>
                    <a:pt x="2792" y="2168"/>
                    <a:pt x="2792" y="1398"/>
                  </a:cubicBezTo>
                  <a:cubicBezTo>
                    <a:pt x="2792" y="629"/>
                    <a:pt x="2167" y="1"/>
                    <a:pt x="1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76"/>
            <p:cNvSpPr/>
            <p:nvPr/>
          </p:nvSpPr>
          <p:spPr>
            <a:xfrm>
              <a:off x="6352004" y="1661097"/>
              <a:ext cx="129206" cy="198202"/>
            </a:xfrm>
            <a:custGeom>
              <a:avLst/>
              <a:gdLst/>
              <a:ahLst/>
              <a:cxnLst/>
              <a:rect l="l" t="t" r="r" b="b"/>
              <a:pathLst>
                <a:path w="6191" h="9497" extrusionOk="0">
                  <a:moveTo>
                    <a:pt x="1396" y="0"/>
                  </a:moveTo>
                  <a:cubicBezTo>
                    <a:pt x="627" y="0"/>
                    <a:pt x="1" y="628"/>
                    <a:pt x="1" y="1398"/>
                  </a:cubicBezTo>
                  <a:lnTo>
                    <a:pt x="1" y="8099"/>
                  </a:lnTo>
                  <a:cubicBezTo>
                    <a:pt x="1" y="8870"/>
                    <a:pt x="627" y="9496"/>
                    <a:pt x="1396" y="9496"/>
                  </a:cubicBezTo>
                  <a:cubicBezTo>
                    <a:pt x="2168" y="9496"/>
                    <a:pt x="2792" y="8868"/>
                    <a:pt x="2792" y="8099"/>
                  </a:cubicBezTo>
                  <a:lnTo>
                    <a:pt x="2792" y="7683"/>
                  </a:lnTo>
                  <a:lnTo>
                    <a:pt x="3586" y="8874"/>
                  </a:lnTo>
                  <a:cubicBezTo>
                    <a:pt x="3845" y="9263"/>
                    <a:pt x="4280" y="9496"/>
                    <a:pt x="4749" y="9496"/>
                  </a:cubicBezTo>
                  <a:cubicBezTo>
                    <a:pt x="5025" y="9496"/>
                    <a:pt x="5293" y="9415"/>
                    <a:pt x="5522" y="9261"/>
                  </a:cubicBezTo>
                  <a:cubicBezTo>
                    <a:pt x="5833" y="9054"/>
                    <a:pt x="6044" y="8739"/>
                    <a:pt x="6118" y="8373"/>
                  </a:cubicBezTo>
                  <a:cubicBezTo>
                    <a:pt x="6190" y="8007"/>
                    <a:pt x="6116" y="7635"/>
                    <a:pt x="5909" y="7324"/>
                  </a:cubicBezTo>
                  <a:lnTo>
                    <a:pt x="4535" y="5261"/>
                  </a:lnTo>
                  <a:lnTo>
                    <a:pt x="5177" y="4619"/>
                  </a:lnTo>
                  <a:cubicBezTo>
                    <a:pt x="5722" y="4074"/>
                    <a:pt x="5722" y="3188"/>
                    <a:pt x="5177" y="2643"/>
                  </a:cubicBezTo>
                  <a:cubicBezTo>
                    <a:pt x="4904" y="2372"/>
                    <a:pt x="4547" y="2236"/>
                    <a:pt x="4190" y="2236"/>
                  </a:cubicBezTo>
                  <a:cubicBezTo>
                    <a:pt x="3832" y="2236"/>
                    <a:pt x="3475" y="2372"/>
                    <a:pt x="3203" y="2643"/>
                  </a:cubicBezTo>
                  <a:lnTo>
                    <a:pt x="2792" y="3054"/>
                  </a:lnTo>
                  <a:lnTo>
                    <a:pt x="2792" y="1398"/>
                  </a:lnTo>
                  <a:cubicBezTo>
                    <a:pt x="2792" y="627"/>
                    <a:pt x="2166"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76"/>
            <p:cNvSpPr/>
            <p:nvPr/>
          </p:nvSpPr>
          <p:spPr>
            <a:xfrm>
              <a:off x="6140660" y="1661097"/>
              <a:ext cx="129185" cy="198202"/>
            </a:xfrm>
            <a:custGeom>
              <a:avLst/>
              <a:gdLst/>
              <a:ahLst/>
              <a:cxnLst/>
              <a:rect l="l" t="t" r="r" b="b"/>
              <a:pathLst>
                <a:path w="6190" h="9497" extrusionOk="0">
                  <a:moveTo>
                    <a:pt x="1396" y="0"/>
                  </a:moveTo>
                  <a:cubicBezTo>
                    <a:pt x="626" y="0"/>
                    <a:pt x="0" y="628"/>
                    <a:pt x="0" y="1398"/>
                  </a:cubicBezTo>
                  <a:lnTo>
                    <a:pt x="0" y="8099"/>
                  </a:lnTo>
                  <a:cubicBezTo>
                    <a:pt x="0" y="8870"/>
                    <a:pt x="626" y="9496"/>
                    <a:pt x="1396" y="9496"/>
                  </a:cubicBezTo>
                  <a:cubicBezTo>
                    <a:pt x="2165" y="9496"/>
                    <a:pt x="2792" y="8868"/>
                    <a:pt x="2792" y="8099"/>
                  </a:cubicBezTo>
                  <a:lnTo>
                    <a:pt x="2792" y="7683"/>
                  </a:lnTo>
                  <a:lnTo>
                    <a:pt x="3586" y="8874"/>
                  </a:lnTo>
                  <a:cubicBezTo>
                    <a:pt x="3844" y="9263"/>
                    <a:pt x="4279" y="9496"/>
                    <a:pt x="4748" y="9496"/>
                  </a:cubicBezTo>
                  <a:cubicBezTo>
                    <a:pt x="5024" y="9496"/>
                    <a:pt x="5291" y="9415"/>
                    <a:pt x="5521" y="9261"/>
                  </a:cubicBezTo>
                  <a:cubicBezTo>
                    <a:pt x="5832" y="9054"/>
                    <a:pt x="6043" y="8739"/>
                    <a:pt x="6117" y="8373"/>
                  </a:cubicBezTo>
                  <a:cubicBezTo>
                    <a:pt x="6190" y="8007"/>
                    <a:pt x="6115" y="7635"/>
                    <a:pt x="5909" y="7324"/>
                  </a:cubicBezTo>
                  <a:lnTo>
                    <a:pt x="4534" y="5261"/>
                  </a:lnTo>
                  <a:lnTo>
                    <a:pt x="5176" y="4619"/>
                  </a:lnTo>
                  <a:cubicBezTo>
                    <a:pt x="5721" y="4074"/>
                    <a:pt x="5721" y="3188"/>
                    <a:pt x="5176" y="2643"/>
                  </a:cubicBezTo>
                  <a:cubicBezTo>
                    <a:pt x="4904" y="2372"/>
                    <a:pt x="4546" y="2236"/>
                    <a:pt x="4188" y="2236"/>
                  </a:cubicBezTo>
                  <a:cubicBezTo>
                    <a:pt x="3831" y="2236"/>
                    <a:pt x="3473" y="2372"/>
                    <a:pt x="3202" y="2643"/>
                  </a:cubicBezTo>
                  <a:lnTo>
                    <a:pt x="2792" y="3054"/>
                  </a:lnTo>
                  <a:lnTo>
                    <a:pt x="2792" y="1398"/>
                  </a:lnTo>
                  <a:cubicBezTo>
                    <a:pt x="2792" y="627"/>
                    <a:pt x="2165"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4" name="Google Shape;9004;p76"/>
          <p:cNvGrpSpPr/>
          <p:nvPr/>
        </p:nvGrpSpPr>
        <p:grpSpPr>
          <a:xfrm>
            <a:off x="5073202" y="3828305"/>
            <a:ext cx="387681" cy="387641"/>
            <a:chOff x="6669907" y="1561258"/>
            <a:chExt cx="397907" cy="397866"/>
          </a:xfrm>
        </p:grpSpPr>
        <p:sp>
          <p:nvSpPr>
            <p:cNvPr id="9005" name="Google Shape;9005;p76"/>
            <p:cNvSpPr/>
            <p:nvPr/>
          </p:nvSpPr>
          <p:spPr>
            <a:xfrm>
              <a:off x="6950454" y="1655253"/>
              <a:ext cx="23312" cy="23354"/>
            </a:xfrm>
            <a:custGeom>
              <a:avLst/>
              <a:gdLst/>
              <a:ahLst/>
              <a:cxnLst/>
              <a:rect l="l" t="t" r="r" b="b"/>
              <a:pathLst>
                <a:path w="1117" h="1119" extrusionOk="0">
                  <a:moveTo>
                    <a:pt x="558" y="1"/>
                  </a:moveTo>
                  <a:cubicBezTo>
                    <a:pt x="250" y="1"/>
                    <a:pt x="0" y="252"/>
                    <a:pt x="0" y="560"/>
                  </a:cubicBezTo>
                  <a:cubicBezTo>
                    <a:pt x="0" y="868"/>
                    <a:pt x="250" y="1119"/>
                    <a:pt x="558" y="1119"/>
                  </a:cubicBezTo>
                  <a:cubicBezTo>
                    <a:pt x="867" y="1119"/>
                    <a:pt x="1117" y="868"/>
                    <a:pt x="1117" y="560"/>
                  </a:cubicBezTo>
                  <a:cubicBezTo>
                    <a:pt x="1117" y="252"/>
                    <a:pt x="867" y="1"/>
                    <a:pt x="5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76"/>
            <p:cNvSpPr/>
            <p:nvPr/>
          </p:nvSpPr>
          <p:spPr>
            <a:xfrm>
              <a:off x="6740633" y="1725228"/>
              <a:ext cx="36919" cy="39632"/>
            </a:xfrm>
            <a:custGeom>
              <a:avLst/>
              <a:gdLst/>
              <a:ahLst/>
              <a:cxnLst/>
              <a:rect l="l" t="t" r="r" b="b"/>
              <a:pathLst>
                <a:path w="1769" h="1899" extrusionOk="0">
                  <a:moveTo>
                    <a:pt x="1117" y="0"/>
                  </a:moveTo>
                  <a:cubicBezTo>
                    <a:pt x="502" y="0"/>
                    <a:pt x="1" y="501"/>
                    <a:pt x="1" y="1116"/>
                  </a:cubicBezTo>
                  <a:cubicBezTo>
                    <a:pt x="1" y="1419"/>
                    <a:pt x="135" y="1691"/>
                    <a:pt x="341" y="1898"/>
                  </a:cubicBezTo>
                  <a:cubicBezTo>
                    <a:pt x="643" y="1261"/>
                    <a:pt x="1133" y="690"/>
                    <a:pt x="1768" y="219"/>
                  </a:cubicBezTo>
                  <a:cubicBezTo>
                    <a:pt x="1581" y="83"/>
                    <a:pt x="1358" y="0"/>
                    <a:pt x="11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76"/>
            <p:cNvSpPr/>
            <p:nvPr/>
          </p:nvSpPr>
          <p:spPr>
            <a:xfrm>
              <a:off x="6763944" y="1725228"/>
              <a:ext cx="209827" cy="139892"/>
            </a:xfrm>
            <a:custGeom>
              <a:avLst/>
              <a:gdLst/>
              <a:ahLst/>
              <a:cxnLst/>
              <a:rect l="l" t="t" r="r" b="b"/>
              <a:pathLst>
                <a:path w="10054" h="6703" extrusionOk="0">
                  <a:moveTo>
                    <a:pt x="2793" y="1116"/>
                  </a:moveTo>
                  <a:cubicBezTo>
                    <a:pt x="3409" y="1116"/>
                    <a:pt x="3910" y="1619"/>
                    <a:pt x="3910" y="2234"/>
                  </a:cubicBezTo>
                  <a:cubicBezTo>
                    <a:pt x="3910" y="2850"/>
                    <a:pt x="3409" y="3351"/>
                    <a:pt x="2793" y="3351"/>
                  </a:cubicBezTo>
                  <a:cubicBezTo>
                    <a:pt x="2178" y="3351"/>
                    <a:pt x="1675" y="2850"/>
                    <a:pt x="1675" y="2234"/>
                  </a:cubicBezTo>
                  <a:cubicBezTo>
                    <a:pt x="1675" y="1619"/>
                    <a:pt x="2178" y="1116"/>
                    <a:pt x="2793" y="1116"/>
                  </a:cubicBezTo>
                  <a:close/>
                  <a:moveTo>
                    <a:pt x="7262" y="1116"/>
                  </a:moveTo>
                  <a:cubicBezTo>
                    <a:pt x="7878" y="1116"/>
                    <a:pt x="8378" y="1619"/>
                    <a:pt x="8378" y="2234"/>
                  </a:cubicBezTo>
                  <a:cubicBezTo>
                    <a:pt x="8378" y="2850"/>
                    <a:pt x="7878" y="3351"/>
                    <a:pt x="7262" y="3351"/>
                  </a:cubicBezTo>
                  <a:cubicBezTo>
                    <a:pt x="6645" y="3351"/>
                    <a:pt x="6144" y="2850"/>
                    <a:pt x="6144" y="2234"/>
                  </a:cubicBezTo>
                  <a:cubicBezTo>
                    <a:pt x="6144" y="1619"/>
                    <a:pt x="6645" y="1116"/>
                    <a:pt x="7262" y="1116"/>
                  </a:cubicBezTo>
                  <a:close/>
                  <a:moveTo>
                    <a:pt x="7261" y="4469"/>
                  </a:moveTo>
                  <a:cubicBezTo>
                    <a:pt x="7466" y="4469"/>
                    <a:pt x="7663" y="4581"/>
                    <a:pt x="7761" y="4776"/>
                  </a:cubicBezTo>
                  <a:cubicBezTo>
                    <a:pt x="7899" y="5052"/>
                    <a:pt x="7787" y="5389"/>
                    <a:pt x="7511" y="5527"/>
                  </a:cubicBezTo>
                  <a:cubicBezTo>
                    <a:pt x="6733" y="5916"/>
                    <a:pt x="5880" y="6109"/>
                    <a:pt x="5028" y="6109"/>
                  </a:cubicBezTo>
                  <a:cubicBezTo>
                    <a:pt x="4173" y="6109"/>
                    <a:pt x="3321" y="5916"/>
                    <a:pt x="2544" y="5527"/>
                  </a:cubicBezTo>
                  <a:cubicBezTo>
                    <a:pt x="2268" y="5389"/>
                    <a:pt x="2155" y="5052"/>
                    <a:pt x="2293" y="4776"/>
                  </a:cubicBezTo>
                  <a:cubicBezTo>
                    <a:pt x="2391" y="4581"/>
                    <a:pt x="2589" y="4469"/>
                    <a:pt x="2794" y="4469"/>
                  </a:cubicBezTo>
                  <a:cubicBezTo>
                    <a:pt x="2878" y="4469"/>
                    <a:pt x="2963" y="4487"/>
                    <a:pt x="3043" y="4527"/>
                  </a:cubicBezTo>
                  <a:cubicBezTo>
                    <a:pt x="3664" y="4838"/>
                    <a:pt x="4345" y="4994"/>
                    <a:pt x="5027" y="4994"/>
                  </a:cubicBezTo>
                  <a:cubicBezTo>
                    <a:pt x="5708" y="4994"/>
                    <a:pt x="6390" y="4838"/>
                    <a:pt x="7011" y="4527"/>
                  </a:cubicBezTo>
                  <a:cubicBezTo>
                    <a:pt x="7092" y="4487"/>
                    <a:pt x="7177" y="4469"/>
                    <a:pt x="7261" y="4469"/>
                  </a:cubicBezTo>
                  <a:close/>
                  <a:moveTo>
                    <a:pt x="5028" y="0"/>
                  </a:moveTo>
                  <a:cubicBezTo>
                    <a:pt x="2256" y="0"/>
                    <a:pt x="0" y="1504"/>
                    <a:pt x="0" y="3351"/>
                  </a:cubicBezTo>
                  <a:cubicBezTo>
                    <a:pt x="0" y="5199"/>
                    <a:pt x="2256" y="6703"/>
                    <a:pt x="5028" y="6703"/>
                  </a:cubicBezTo>
                  <a:cubicBezTo>
                    <a:pt x="7798" y="6703"/>
                    <a:pt x="10054" y="5199"/>
                    <a:pt x="10054" y="3351"/>
                  </a:cubicBezTo>
                  <a:cubicBezTo>
                    <a:pt x="10054" y="1504"/>
                    <a:pt x="7798" y="0"/>
                    <a:pt x="5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8" name="Google Shape;9008;p76"/>
            <p:cNvSpPr/>
            <p:nvPr/>
          </p:nvSpPr>
          <p:spPr>
            <a:xfrm>
              <a:off x="6669907" y="1561258"/>
              <a:ext cx="397907" cy="397866"/>
            </a:xfrm>
            <a:custGeom>
              <a:avLst/>
              <a:gdLst/>
              <a:ahLst/>
              <a:cxnLst/>
              <a:rect l="l" t="t" r="r" b="b"/>
              <a:pathLst>
                <a:path w="19066" h="19064" extrusionOk="0">
                  <a:moveTo>
                    <a:pt x="10650" y="3388"/>
                  </a:moveTo>
                  <a:cubicBezTo>
                    <a:pt x="10708" y="3388"/>
                    <a:pt x="10768" y="3398"/>
                    <a:pt x="10827" y="3417"/>
                  </a:cubicBezTo>
                  <a:lnTo>
                    <a:pt x="12686" y="4038"/>
                  </a:lnTo>
                  <a:cubicBezTo>
                    <a:pt x="12994" y="3645"/>
                    <a:pt x="13466" y="3389"/>
                    <a:pt x="14001" y="3389"/>
                  </a:cubicBezTo>
                  <a:cubicBezTo>
                    <a:pt x="14924" y="3389"/>
                    <a:pt x="15676" y="4140"/>
                    <a:pt x="15676" y="5064"/>
                  </a:cubicBezTo>
                  <a:cubicBezTo>
                    <a:pt x="15676" y="5987"/>
                    <a:pt x="14924" y="6739"/>
                    <a:pt x="14001" y="6739"/>
                  </a:cubicBezTo>
                  <a:cubicBezTo>
                    <a:pt x="13088" y="6739"/>
                    <a:pt x="12345" y="6003"/>
                    <a:pt x="12329" y="5094"/>
                  </a:cubicBezTo>
                  <a:lnTo>
                    <a:pt x="11004" y="4653"/>
                  </a:lnTo>
                  <a:lnTo>
                    <a:pt x="10294" y="6778"/>
                  </a:lnTo>
                  <a:cubicBezTo>
                    <a:pt x="11251" y="6865"/>
                    <a:pt x="12140" y="7109"/>
                    <a:pt x="12909" y="7479"/>
                  </a:cubicBezTo>
                  <a:cubicBezTo>
                    <a:pt x="13327" y="7017"/>
                    <a:pt x="13919" y="6739"/>
                    <a:pt x="14560" y="6739"/>
                  </a:cubicBezTo>
                  <a:cubicBezTo>
                    <a:pt x="15791" y="6739"/>
                    <a:pt x="16794" y="7742"/>
                    <a:pt x="16794" y="8973"/>
                  </a:cubicBezTo>
                  <a:cubicBezTo>
                    <a:pt x="16794" y="9780"/>
                    <a:pt x="16336" y="10498"/>
                    <a:pt x="15655" y="10891"/>
                  </a:cubicBezTo>
                  <a:cubicBezTo>
                    <a:pt x="15665" y="10997"/>
                    <a:pt x="15676" y="11101"/>
                    <a:pt x="15676" y="11208"/>
                  </a:cubicBezTo>
                  <a:cubicBezTo>
                    <a:pt x="15676" y="13672"/>
                    <a:pt x="12921" y="15676"/>
                    <a:pt x="9532" y="15676"/>
                  </a:cubicBezTo>
                  <a:cubicBezTo>
                    <a:pt x="6144" y="15676"/>
                    <a:pt x="3388" y="13672"/>
                    <a:pt x="3388" y="11208"/>
                  </a:cubicBezTo>
                  <a:cubicBezTo>
                    <a:pt x="3388" y="11101"/>
                    <a:pt x="3401" y="10997"/>
                    <a:pt x="3411" y="10891"/>
                  </a:cubicBezTo>
                  <a:cubicBezTo>
                    <a:pt x="2730" y="10498"/>
                    <a:pt x="2272" y="9780"/>
                    <a:pt x="2272" y="8973"/>
                  </a:cubicBezTo>
                  <a:cubicBezTo>
                    <a:pt x="2272" y="7742"/>
                    <a:pt x="3273" y="6739"/>
                    <a:pt x="4506" y="6739"/>
                  </a:cubicBezTo>
                  <a:cubicBezTo>
                    <a:pt x="5145" y="6739"/>
                    <a:pt x="5737" y="7017"/>
                    <a:pt x="6157" y="7479"/>
                  </a:cubicBezTo>
                  <a:cubicBezTo>
                    <a:pt x="7018" y="7065"/>
                    <a:pt x="8034" y="6806"/>
                    <a:pt x="9125" y="6755"/>
                  </a:cubicBezTo>
                  <a:lnTo>
                    <a:pt x="10119" y="3771"/>
                  </a:lnTo>
                  <a:cubicBezTo>
                    <a:pt x="10199" y="3537"/>
                    <a:pt x="10415" y="3388"/>
                    <a:pt x="10650" y="3388"/>
                  </a:cubicBezTo>
                  <a:close/>
                  <a:moveTo>
                    <a:pt x="9534" y="1"/>
                  </a:moveTo>
                  <a:cubicBezTo>
                    <a:pt x="4297" y="1"/>
                    <a:pt x="1" y="4296"/>
                    <a:pt x="1" y="9532"/>
                  </a:cubicBezTo>
                  <a:cubicBezTo>
                    <a:pt x="1" y="14769"/>
                    <a:pt x="4297"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9" name="Google Shape;9009;p76"/>
            <p:cNvSpPr/>
            <p:nvPr/>
          </p:nvSpPr>
          <p:spPr>
            <a:xfrm>
              <a:off x="6960158" y="1725228"/>
              <a:ext cx="36940" cy="39632"/>
            </a:xfrm>
            <a:custGeom>
              <a:avLst/>
              <a:gdLst/>
              <a:ahLst/>
              <a:cxnLst/>
              <a:rect l="l" t="t" r="r" b="b"/>
              <a:pathLst>
                <a:path w="1770" h="1899" extrusionOk="0">
                  <a:moveTo>
                    <a:pt x="652" y="0"/>
                  </a:moveTo>
                  <a:cubicBezTo>
                    <a:pt x="413" y="0"/>
                    <a:pt x="188" y="83"/>
                    <a:pt x="1" y="219"/>
                  </a:cubicBezTo>
                  <a:cubicBezTo>
                    <a:pt x="637" y="690"/>
                    <a:pt x="1127" y="1261"/>
                    <a:pt x="1428" y="1898"/>
                  </a:cubicBezTo>
                  <a:cubicBezTo>
                    <a:pt x="1635" y="1691"/>
                    <a:pt x="1770" y="1419"/>
                    <a:pt x="1770" y="1116"/>
                  </a:cubicBezTo>
                  <a:cubicBezTo>
                    <a:pt x="1770" y="501"/>
                    <a:pt x="1267" y="0"/>
                    <a:pt x="6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0" name="Google Shape;9010;p76"/>
          <p:cNvGrpSpPr/>
          <p:nvPr/>
        </p:nvGrpSpPr>
        <p:grpSpPr>
          <a:xfrm>
            <a:off x="1958433" y="3885842"/>
            <a:ext cx="387681" cy="272572"/>
            <a:chOff x="3386036" y="1746339"/>
            <a:chExt cx="397907" cy="279762"/>
          </a:xfrm>
        </p:grpSpPr>
        <p:sp>
          <p:nvSpPr>
            <p:cNvPr id="9011" name="Google Shape;9011;p76"/>
            <p:cNvSpPr/>
            <p:nvPr/>
          </p:nvSpPr>
          <p:spPr>
            <a:xfrm>
              <a:off x="3561652" y="1848954"/>
              <a:ext cx="59646" cy="74506"/>
            </a:xfrm>
            <a:custGeom>
              <a:avLst/>
              <a:gdLst/>
              <a:ahLst/>
              <a:cxnLst/>
              <a:rect l="l" t="t" r="r" b="b"/>
              <a:pathLst>
                <a:path w="2858" h="3570" extrusionOk="0">
                  <a:moveTo>
                    <a:pt x="1" y="0"/>
                  </a:moveTo>
                  <a:lnTo>
                    <a:pt x="1" y="3570"/>
                  </a:lnTo>
                  <a:lnTo>
                    <a:pt x="2858" y="1785"/>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2" name="Google Shape;9012;p76"/>
            <p:cNvSpPr/>
            <p:nvPr/>
          </p:nvSpPr>
          <p:spPr>
            <a:xfrm>
              <a:off x="3386036" y="1746339"/>
              <a:ext cx="397907" cy="279762"/>
            </a:xfrm>
            <a:custGeom>
              <a:avLst/>
              <a:gdLst/>
              <a:ahLst/>
              <a:cxnLst/>
              <a:rect l="l" t="t" r="r" b="b"/>
              <a:pathLst>
                <a:path w="19066" h="13405" extrusionOk="0">
                  <a:moveTo>
                    <a:pt x="7858" y="3351"/>
                  </a:moveTo>
                  <a:cubicBezTo>
                    <a:pt x="7961" y="3351"/>
                    <a:pt x="8064" y="3379"/>
                    <a:pt x="8154" y="3436"/>
                  </a:cubicBezTo>
                  <a:lnTo>
                    <a:pt x="12622" y="6230"/>
                  </a:lnTo>
                  <a:cubicBezTo>
                    <a:pt x="12785" y="6330"/>
                    <a:pt x="12884" y="6509"/>
                    <a:pt x="12884" y="6702"/>
                  </a:cubicBezTo>
                  <a:cubicBezTo>
                    <a:pt x="12884" y="6895"/>
                    <a:pt x="12785" y="7073"/>
                    <a:pt x="12622" y="7176"/>
                  </a:cubicBezTo>
                  <a:lnTo>
                    <a:pt x="8154" y="9968"/>
                  </a:lnTo>
                  <a:cubicBezTo>
                    <a:pt x="8063" y="10025"/>
                    <a:pt x="7961" y="10053"/>
                    <a:pt x="7859" y="10053"/>
                  </a:cubicBezTo>
                  <a:cubicBezTo>
                    <a:pt x="7765" y="10053"/>
                    <a:pt x="7671" y="10029"/>
                    <a:pt x="7588" y="9983"/>
                  </a:cubicBezTo>
                  <a:cubicBezTo>
                    <a:pt x="7409" y="9884"/>
                    <a:pt x="7299" y="9699"/>
                    <a:pt x="7299" y="9495"/>
                  </a:cubicBezTo>
                  <a:lnTo>
                    <a:pt x="7299" y="3910"/>
                  </a:lnTo>
                  <a:cubicBezTo>
                    <a:pt x="7299" y="3707"/>
                    <a:pt x="7409" y="3519"/>
                    <a:pt x="7588" y="3420"/>
                  </a:cubicBezTo>
                  <a:cubicBezTo>
                    <a:pt x="7671" y="3374"/>
                    <a:pt x="7765" y="3351"/>
                    <a:pt x="7858" y="3351"/>
                  </a:cubicBezTo>
                  <a:close/>
                  <a:moveTo>
                    <a:pt x="2794" y="1"/>
                  </a:moveTo>
                  <a:cubicBezTo>
                    <a:pt x="1255" y="1"/>
                    <a:pt x="1" y="1253"/>
                    <a:pt x="1" y="2792"/>
                  </a:cubicBezTo>
                  <a:lnTo>
                    <a:pt x="1" y="10611"/>
                  </a:lnTo>
                  <a:cubicBezTo>
                    <a:pt x="1" y="12152"/>
                    <a:pt x="1255" y="13405"/>
                    <a:pt x="2794" y="13405"/>
                  </a:cubicBezTo>
                  <a:lnTo>
                    <a:pt x="16274" y="13405"/>
                  </a:lnTo>
                  <a:cubicBezTo>
                    <a:pt x="17813" y="13405"/>
                    <a:pt x="19065" y="12152"/>
                    <a:pt x="19065" y="10611"/>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3" name="Google Shape;9013;p76"/>
          <p:cNvGrpSpPr/>
          <p:nvPr/>
        </p:nvGrpSpPr>
        <p:grpSpPr>
          <a:xfrm>
            <a:off x="2996130" y="3828288"/>
            <a:ext cx="387681" cy="387681"/>
            <a:chOff x="4417380" y="1687279"/>
            <a:chExt cx="397907" cy="397907"/>
          </a:xfrm>
        </p:grpSpPr>
        <p:sp>
          <p:nvSpPr>
            <p:cNvPr id="9014" name="Google Shape;9014;p76"/>
            <p:cNvSpPr/>
            <p:nvPr/>
          </p:nvSpPr>
          <p:spPr>
            <a:xfrm>
              <a:off x="4417380" y="1687279"/>
              <a:ext cx="397907" cy="397907"/>
            </a:xfrm>
            <a:custGeom>
              <a:avLst/>
              <a:gdLst/>
              <a:ahLst/>
              <a:cxnLst/>
              <a:rect l="l" t="t" r="r" b="b"/>
              <a:pathLst>
                <a:path w="19066" h="19066" extrusionOk="0">
                  <a:moveTo>
                    <a:pt x="9525" y="2794"/>
                  </a:moveTo>
                  <a:cubicBezTo>
                    <a:pt x="11382" y="2845"/>
                    <a:pt x="13514" y="4021"/>
                    <a:pt x="13514" y="6949"/>
                  </a:cubicBezTo>
                  <a:cubicBezTo>
                    <a:pt x="13514" y="7361"/>
                    <a:pt x="13500" y="7674"/>
                    <a:pt x="13486" y="7912"/>
                  </a:cubicBezTo>
                  <a:cubicBezTo>
                    <a:pt x="13689" y="7867"/>
                    <a:pt x="14004" y="7789"/>
                    <a:pt x="14208" y="7789"/>
                  </a:cubicBezTo>
                  <a:cubicBezTo>
                    <a:pt x="14882" y="7789"/>
                    <a:pt x="15370" y="8202"/>
                    <a:pt x="15370" y="8769"/>
                  </a:cubicBezTo>
                  <a:cubicBezTo>
                    <a:pt x="15370" y="9574"/>
                    <a:pt x="14598" y="9882"/>
                    <a:pt x="14137" y="10066"/>
                  </a:cubicBezTo>
                  <a:cubicBezTo>
                    <a:pt x="14020" y="10112"/>
                    <a:pt x="13857" y="10178"/>
                    <a:pt x="13767" y="10231"/>
                  </a:cubicBezTo>
                  <a:cubicBezTo>
                    <a:pt x="13822" y="10949"/>
                    <a:pt x="14437" y="11278"/>
                    <a:pt x="15354" y="11690"/>
                  </a:cubicBezTo>
                  <a:cubicBezTo>
                    <a:pt x="16061" y="12007"/>
                    <a:pt x="16794" y="12336"/>
                    <a:pt x="16794" y="13104"/>
                  </a:cubicBezTo>
                  <a:cubicBezTo>
                    <a:pt x="16794" y="13896"/>
                    <a:pt x="16088" y="14016"/>
                    <a:pt x="15520" y="14112"/>
                  </a:cubicBezTo>
                  <a:cubicBezTo>
                    <a:pt x="15333" y="14146"/>
                    <a:pt x="15111" y="14183"/>
                    <a:pt x="14855" y="14239"/>
                  </a:cubicBezTo>
                  <a:cubicBezTo>
                    <a:pt x="14768" y="14620"/>
                    <a:pt x="14600" y="15156"/>
                    <a:pt x="13939" y="15156"/>
                  </a:cubicBezTo>
                  <a:cubicBezTo>
                    <a:pt x="13709" y="15156"/>
                    <a:pt x="13258" y="15035"/>
                    <a:pt x="12916" y="15035"/>
                  </a:cubicBezTo>
                  <a:cubicBezTo>
                    <a:pt x="12370" y="15035"/>
                    <a:pt x="12048" y="15253"/>
                    <a:pt x="11642" y="15531"/>
                  </a:cubicBezTo>
                  <a:cubicBezTo>
                    <a:pt x="11160" y="15860"/>
                    <a:pt x="10556" y="16272"/>
                    <a:pt x="9534" y="16272"/>
                  </a:cubicBezTo>
                  <a:cubicBezTo>
                    <a:pt x="8510" y="16272"/>
                    <a:pt x="7908" y="15860"/>
                    <a:pt x="7425" y="15531"/>
                  </a:cubicBezTo>
                  <a:cubicBezTo>
                    <a:pt x="7020" y="15255"/>
                    <a:pt x="6698" y="15035"/>
                    <a:pt x="6151" y="15035"/>
                  </a:cubicBezTo>
                  <a:cubicBezTo>
                    <a:pt x="5810" y="15035"/>
                    <a:pt x="5357" y="15156"/>
                    <a:pt x="5129" y="15156"/>
                  </a:cubicBezTo>
                  <a:cubicBezTo>
                    <a:pt x="4467" y="15156"/>
                    <a:pt x="4298" y="14620"/>
                    <a:pt x="4211" y="14239"/>
                  </a:cubicBezTo>
                  <a:cubicBezTo>
                    <a:pt x="3956" y="14183"/>
                    <a:pt x="3735" y="14146"/>
                    <a:pt x="3547" y="14112"/>
                  </a:cubicBezTo>
                  <a:cubicBezTo>
                    <a:pt x="2980" y="14016"/>
                    <a:pt x="2272" y="13896"/>
                    <a:pt x="2272" y="13104"/>
                  </a:cubicBezTo>
                  <a:cubicBezTo>
                    <a:pt x="2272" y="12336"/>
                    <a:pt x="3004" y="12007"/>
                    <a:pt x="3712" y="11690"/>
                  </a:cubicBezTo>
                  <a:cubicBezTo>
                    <a:pt x="4630" y="11280"/>
                    <a:pt x="5246" y="10949"/>
                    <a:pt x="5299" y="10231"/>
                  </a:cubicBezTo>
                  <a:cubicBezTo>
                    <a:pt x="5209" y="10178"/>
                    <a:pt x="5046" y="10112"/>
                    <a:pt x="4929" y="10066"/>
                  </a:cubicBezTo>
                  <a:cubicBezTo>
                    <a:pt x="4469" y="9882"/>
                    <a:pt x="3696" y="9573"/>
                    <a:pt x="3696" y="8769"/>
                  </a:cubicBezTo>
                  <a:cubicBezTo>
                    <a:pt x="3696" y="8202"/>
                    <a:pt x="4186" y="7789"/>
                    <a:pt x="4858" y="7789"/>
                  </a:cubicBezTo>
                  <a:cubicBezTo>
                    <a:pt x="5062" y="7789"/>
                    <a:pt x="5378" y="7867"/>
                    <a:pt x="5580" y="7912"/>
                  </a:cubicBezTo>
                  <a:cubicBezTo>
                    <a:pt x="5568" y="7674"/>
                    <a:pt x="5554" y="7361"/>
                    <a:pt x="5554" y="6949"/>
                  </a:cubicBezTo>
                  <a:cubicBezTo>
                    <a:pt x="5554" y="4011"/>
                    <a:pt x="7692" y="2840"/>
                    <a:pt x="9525" y="2794"/>
                  </a:cubicBezTo>
                  <a:close/>
                  <a:moveTo>
                    <a:pt x="2794" y="1"/>
                  </a:moveTo>
                  <a:cubicBezTo>
                    <a:pt x="1255" y="1"/>
                    <a:pt x="1" y="1253"/>
                    <a:pt x="1" y="2794"/>
                  </a:cubicBezTo>
                  <a:lnTo>
                    <a:pt x="1" y="16272"/>
                  </a:lnTo>
                  <a:cubicBezTo>
                    <a:pt x="1" y="17811"/>
                    <a:pt x="1255" y="19065"/>
                    <a:pt x="2794" y="19065"/>
                  </a:cubicBezTo>
                  <a:lnTo>
                    <a:pt x="16274" y="19065"/>
                  </a:lnTo>
                  <a:cubicBezTo>
                    <a:pt x="17813" y="19065"/>
                    <a:pt x="19065" y="17811"/>
                    <a:pt x="19065" y="16272"/>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5" name="Google Shape;9015;p76"/>
            <p:cNvSpPr/>
            <p:nvPr/>
          </p:nvSpPr>
          <p:spPr>
            <a:xfrm>
              <a:off x="4492363" y="1768878"/>
              <a:ext cx="248270" cy="234704"/>
            </a:xfrm>
            <a:custGeom>
              <a:avLst/>
              <a:gdLst/>
              <a:ahLst/>
              <a:cxnLst/>
              <a:rect l="l" t="t" r="r" b="b"/>
              <a:pathLst>
                <a:path w="11896" h="11246" extrusionOk="0">
                  <a:moveTo>
                    <a:pt x="5930" y="0"/>
                  </a:moveTo>
                  <a:cubicBezTo>
                    <a:pt x="5093" y="21"/>
                    <a:pt x="3077" y="428"/>
                    <a:pt x="3077" y="3039"/>
                  </a:cubicBezTo>
                  <a:cubicBezTo>
                    <a:pt x="3077" y="3478"/>
                    <a:pt x="3094" y="3798"/>
                    <a:pt x="3107" y="4028"/>
                  </a:cubicBezTo>
                  <a:cubicBezTo>
                    <a:pt x="3142" y="4647"/>
                    <a:pt x="3077" y="5187"/>
                    <a:pt x="2410" y="5187"/>
                  </a:cubicBezTo>
                  <a:cubicBezTo>
                    <a:pt x="2173" y="5187"/>
                    <a:pt x="1840" y="5114"/>
                    <a:pt x="1608" y="5061"/>
                  </a:cubicBezTo>
                  <a:lnTo>
                    <a:pt x="1608" y="5061"/>
                  </a:lnTo>
                  <a:cubicBezTo>
                    <a:pt x="2217" y="5314"/>
                    <a:pt x="2827" y="5535"/>
                    <a:pt x="2827" y="6215"/>
                  </a:cubicBezTo>
                  <a:cubicBezTo>
                    <a:pt x="2827" y="7791"/>
                    <a:pt x="1472" y="8398"/>
                    <a:pt x="577" y="8799"/>
                  </a:cubicBezTo>
                  <a:cubicBezTo>
                    <a:pt x="400" y="8879"/>
                    <a:pt x="169" y="8981"/>
                    <a:pt x="0" y="9077"/>
                  </a:cubicBezTo>
                  <a:cubicBezTo>
                    <a:pt x="386" y="9148"/>
                    <a:pt x="526" y="9160"/>
                    <a:pt x="965" y="9263"/>
                  </a:cubicBezTo>
                  <a:cubicBezTo>
                    <a:pt x="1348" y="9355"/>
                    <a:pt x="1603" y="9620"/>
                    <a:pt x="1713" y="10103"/>
                  </a:cubicBezTo>
                  <a:cubicBezTo>
                    <a:pt x="2012" y="10046"/>
                    <a:pt x="2244" y="10007"/>
                    <a:pt x="2558" y="10007"/>
                  </a:cubicBezTo>
                  <a:cubicBezTo>
                    <a:pt x="3450" y="10007"/>
                    <a:pt x="3988" y="10373"/>
                    <a:pt x="4460" y="10697"/>
                  </a:cubicBezTo>
                  <a:cubicBezTo>
                    <a:pt x="4892" y="10991"/>
                    <a:pt x="5261" y="11244"/>
                    <a:pt x="5941" y="11246"/>
                  </a:cubicBezTo>
                  <a:cubicBezTo>
                    <a:pt x="6620" y="11244"/>
                    <a:pt x="6990" y="10991"/>
                    <a:pt x="7420" y="10697"/>
                  </a:cubicBezTo>
                  <a:cubicBezTo>
                    <a:pt x="7894" y="10373"/>
                    <a:pt x="8430" y="10007"/>
                    <a:pt x="9323" y="10007"/>
                  </a:cubicBezTo>
                  <a:cubicBezTo>
                    <a:pt x="9638" y="10007"/>
                    <a:pt x="9870" y="10044"/>
                    <a:pt x="10169" y="10103"/>
                  </a:cubicBezTo>
                  <a:cubicBezTo>
                    <a:pt x="10280" y="9616"/>
                    <a:pt x="10535" y="9355"/>
                    <a:pt x="10917" y="9263"/>
                  </a:cubicBezTo>
                  <a:cubicBezTo>
                    <a:pt x="11308" y="9171"/>
                    <a:pt x="11524" y="9140"/>
                    <a:pt x="11895" y="9075"/>
                  </a:cubicBezTo>
                  <a:cubicBezTo>
                    <a:pt x="11727" y="8988"/>
                    <a:pt x="11487" y="8880"/>
                    <a:pt x="11304" y="8799"/>
                  </a:cubicBezTo>
                  <a:cubicBezTo>
                    <a:pt x="10409" y="8398"/>
                    <a:pt x="9054" y="7791"/>
                    <a:pt x="9054" y="6215"/>
                  </a:cubicBezTo>
                  <a:cubicBezTo>
                    <a:pt x="9054" y="5541"/>
                    <a:pt x="9663" y="5312"/>
                    <a:pt x="10271" y="5061"/>
                  </a:cubicBezTo>
                  <a:lnTo>
                    <a:pt x="10271" y="5061"/>
                  </a:lnTo>
                  <a:cubicBezTo>
                    <a:pt x="9985" y="5105"/>
                    <a:pt x="9811" y="5187"/>
                    <a:pt x="9472" y="5187"/>
                  </a:cubicBezTo>
                  <a:cubicBezTo>
                    <a:pt x="8805" y="5187"/>
                    <a:pt x="8739" y="4647"/>
                    <a:pt x="8773" y="4028"/>
                  </a:cubicBezTo>
                  <a:cubicBezTo>
                    <a:pt x="8787" y="3798"/>
                    <a:pt x="8805" y="3478"/>
                    <a:pt x="8805" y="3039"/>
                  </a:cubicBezTo>
                  <a:cubicBezTo>
                    <a:pt x="8805" y="439"/>
                    <a:pt x="6795" y="25"/>
                    <a:pt x="5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6" name="Google Shape;9016;p76"/>
          <p:cNvGrpSpPr/>
          <p:nvPr/>
        </p:nvGrpSpPr>
        <p:grpSpPr>
          <a:xfrm>
            <a:off x="7942611" y="3308537"/>
            <a:ext cx="387661" cy="387661"/>
            <a:chOff x="2869999" y="1687279"/>
            <a:chExt cx="397887" cy="397887"/>
          </a:xfrm>
        </p:grpSpPr>
        <p:sp>
          <p:nvSpPr>
            <p:cNvPr id="9017" name="Google Shape;9017;p76"/>
            <p:cNvSpPr/>
            <p:nvPr/>
          </p:nvSpPr>
          <p:spPr>
            <a:xfrm>
              <a:off x="2994590" y="1833740"/>
              <a:ext cx="148657" cy="81685"/>
            </a:xfrm>
            <a:custGeom>
              <a:avLst/>
              <a:gdLst/>
              <a:ahLst/>
              <a:cxnLst/>
              <a:rect l="l" t="t" r="r" b="b"/>
              <a:pathLst>
                <a:path w="7123" h="3914" extrusionOk="0">
                  <a:moveTo>
                    <a:pt x="2491" y="0"/>
                  </a:moveTo>
                  <a:lnTo>
                    <a:pt x="1" y="3112"/>
                  </a:lnTo>
                  <a:lnTo>
                    <a:pt x="1" y="3112"/>
                  </a:lnTo>
                  <a:lnTo>
                    <a:pt x="2196" y="2015"/>
                  </a:lnTo>
                  <a:cubicBezTo>
                    <a:pt x="2275" y="1975"/>
                    <a:pt x="2360" y="1956"/>
                    <a:pt x="2445" y="1956"/>
                  </a:cubicBezTo>
                  <a:cubicBezTo>
                    <a:pt x="2590" y="1956"/>
                    <a:pt x="2733" y="2012"/>
                    <a:pt x="2840" y="2119"/>
                  </a:cubicBezTo>
                  <a:lnTo>
                    <a:pt x="4634" y="3913"/>
                  </a:lnTo>
                  <a:lnTo>
                    <a:pt x="7123" y="800"/>
                  </a:lnTo>
                  <a:lnTo>
                    <a:pt x="4929" y="1897"/>
                  </a:lnTo>
                  <a:cubicBezTo>
                    <a:pt x="4850" y="1937"/>
                    <a:pt x="4764" y="1957"/>
                    <a:pt x="4679" y="1957"/>
                  </a:cubicBezTo>
                  <a:cubicBezTo>
                    <a:pt x="4535" y="1957"/>
                    <a:pt x="4392" y="1900"/>
                    <a:pt x="4285" y="1792"/>
                  </a:cubicBezTo>
                  <a:lnTo>
                    <a:pt x="24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8" name="Google Shape;9018;p76"/>
            <p:cNvSpPr/>
            <p:nvPr/>
          </p:nvSpPr>
          <p:spPr>
            <a:xfrm>
              <a:off x="2869999" y="1687279"/>
              <a:ext cx="397887" cy="397887"/>
            </a:xfrm>
            <a:custGeom>
              <a:avLst/>
              <a:gdLst/>
              <a:ahLst/>
              <a:cxnLst/>
              <a:rect l="l" t="t" r="r" b="b"/>
              <a:pathLst>
                <a:path w="19065" h="19065" extrusionOk="0">
                  <a:moveTo>
                    <a:pt x="8420" y="5623"/>
                  </a:moveTo>
                  <a:cubicBezTo>
                    <a:pt x="8569" y="5623"/>
                    <a:pt x="8707" y="5682"/>
                    <a:pt x="8810" y="5787"/>
                  </a:cubicBezTo>
                  <a:lnTo>
                    <a:pt x="10759" y="7736"/>
                  </a:lnTo>
                  <a:lnTo>
                    <a:pt x="14867" y="5683"/>
                  </a:lnTo>
                  <a:cubicBezTo>
                    <a:pt x="14947" y="5643"/>
                    <a:pt x="15033" y="5624"/>
                    <a:pt x="15118" y="5624"/>
                  </a:cubicBezTo>
                  <a:cubicBezTo>
                    <a:pt x="15283" y="5624"/>
                    <a:pt x="15443" y="5695"/>
                    <a:pt x="15552" y="5829"/>
                  </a:cubicBezTo>
                  <a:cubicBezTo>
                    <a:pt x="15716" y="6035"/>
                    <a:pt x="15718" y="6325"/>
                    <a:pt x="15553" y="6530"/>
                  </a:cubicBezTo>
                  <a:lnTo>
                    <a:pt x="11085" y="12116"/>
                  </a:lnTo>
                  <a:cubicBezTo>
                    <a:pt x="10973" y="12256"/>
                    <a:pt x="10812" y="12324"/>
                    <a:pt x="10652" y="12324"/>
                  </a:cubicBezTo>
                  <a:cubicBezTo>
                    <a:pt x="10507" y="12324"/>
                    <a:pt x="10363" y="12269"/>
                    <a:pt x="10255" y="12161"/>
                  </a:cubicBezTo>
                  <a:lnTo>
                    <a:pt x="8306" y="10211"/>
                  </a:lnTo>
                  <a:lnTo>
                    <a:pt x="4196" y="12267"/>
                  </a:lnTo>
                  <a:cubicBezTo>
                    <a:pt x="4117" y="12306"/>
                    <a:pt x="4032" y="12325"/>
                    <a:pt x="3948" y="12325"/>
                  </a:cubicBezTo>
                  <a:cubicBezTo>
                    <a:pt x="3784" y="12325"/>
                    <a:pt x="3622" y="12253"/>
                    <a:pt x="3514" y="12118"/>
                  </a:cubicBezTo>
                  <a:cubicBezTo>
                    <a:pt x="3347" y="11913"/>
                    <a:pt x="3347" y="11623"/>
                    <a:pt x="3510" y="11418"/>
                  </a:cubicBezTo>
                  <a:lnTo>
                    <a:pt x="7979" y="5833"/>
                  </a:lnTo>
                  <a:cubicBezTo>
                    <a:pt x="8078" y="5709"/>
                    <a:pt x="8226" y="5633"/>
                    <a:pt x="8384" y="5624"/>
                  </a:cubicBezTo>
                  <a:cubicBezTo>
                    <a:pt x="8396" y="5623"/>
                    <a:pt x="8408" y="5623"/>
                    <a:pt x="8420" y="5623"/>
                  </a:cubicBezTo>
                  <a:close/>
                  <a:moveTo>
                    <a:pt x="9532" y="1"/>
                  </a:moveTo>
                  <a:cubicBezTo>
                    <a:pt x="4297" y="1"/>
                    <a:pt x="0" y="4046"/>
                    <a:pt x="0" y="8975"/>
                  </a:cubicBezTo>
                  <a:cubicBezTo>
                    <a:pt x="0" y="11616"/>
                    <a:pt x="1255" y="14085"/>
                    <a:pt x="3388" y="15787"/>
                  </a:cubicBezTo>
                  <a:lnTo>
                    <a:pt x="3388" y="18506"/>
                  </a:lnTo>
                  <a:cubicBezTo>
                    <a:pt x="3388" y="18699"/>
                    <a:pt x="3489" y="18879"/>
                    <a:pt x="3653" y="18980"/>
                  </a:cubicBezTo>
                  <a:cubicBezTo>
                    <a:pt x="3742" y="19036"/>
                    <a:pt x="3843" y="19064"/>
                    <a:pt x="3946" y="19064"/>
                  </a:cubicBezTo>
                  <a:cubicBezTo>
                    <a:pt x="4031" y="19064"/>
                    <a:pt x="4117" y="19045"/>
                    <a:pt x="4196" y="19005"/>
                  </a:cubicBezTo>
                  <a:lnTo>
                    <a:pt x="6970" y="17581"/>
                  </a:lnTo>
                  <a:cubicBezTo>
                    <a:pt x="7802" y="17799"/>
                    <a:pt x="8661" y="17910"/>
                    <a:pt x="9532" y="17910"/>
                  </a:cubicBezTo>
                  <a:cubicBezTo>
                    <a:pt x="14768" y="17910"/>
                    <a:pt x="19065" y="13901"/>
                    <a:pt x="19065" y="8975"/>
                  </a:cubicBezTo>
                  <a:cubicBezTo>
                    <a:pt x="19065" y="4046"/>
                    <a:pt x="14768"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9" name="Google Shape;9019;p76"/>
          <p:cNvGrpSpPr/>
          <p:nvPr/>
        </p:nvGrpSpPr>
        <p:grpSpPr>
          <a:xfrm>
            <a:off x="2477718" y="3828664"/>
            <a:ext cx="386807" cy="386929"/>
            <a:chOff x="3902887" y="1687655"/>
            <a:chExt cx="397010" cy="397135"/>
          </a:xfrm>
        </p:grpSpPr>
        <p:sp>
          <p:nvSpPr>
            <p:cNvPr id="9020" name="Google Shape;9020;p76"/>
            <p:cNvSpPr/>
            <p:nvPr/>
          </p:nvSpPr>
          <p:spPr>
            <a:xfrm>
              <a:off x="4023345" y="1785845"/>
              <a:ext cx="156275" cy="200269"/>
            </a:xfrm>
            <a:custGeom>
              <a:avLst/>
              <a:gdLst/>
              <a:ahLst/>
              <a:cxnLst/>
              <a:rect l="l" t="t" r="r" b="b"/>
              <a:pathLst>
                <a:path w="7488" h="9596" extrusionOk="0">
                  <a:moveTo>
                    <a:pt x="3585" y="1"/>
                  </a:moveTo>
                  <a:cubicBezTo>
                    <a:pt x="3550" y="1"/>
                    <a:pt x="36" y="31"/>
                    <a:pt x="36" y="2561"/>
                  </a:cubicBezTo>
                  <a:cubicBezTo>
                    <a:pt x="36" y="4296"/>
                    <a:pt x="1381" y="4712"/>
                    <a:pt x="3429" y="5147"/>
                  </a:cubicBezTo>
                  <a:cubicBezTo>
                    <a:pt x="4813" y="5440"/>
                    <a:pt x="6242" y="5745"/>
                    <a:pt x="6242" y="7084"/>
                  </a:cubicBezTo>
                  <a:cubicBezTo>
                    <a:pt x="6242" y="8290"/>
                    <a:pt x="4968" y="9010"/>
                    <a:pt x="3737" y="9010"/>
                  </a:cubicBezTo>
                  <a:cubicBezTo>
                    <a:pt x="2265" y="9010"/>
                    <a:pt x="1591" y="8227"/>
                    <a:pt x="1100" y="7655"/>
                  </a:cubicBezTo>
                  <a:cubicBezTo>
                    <a:pt x="793" y="7298"/>
                    <a:pt x="640" y="7140"/>
                    <a:pt x="463" y="7140"/>
                  </a:cubicBezTo>
                  <a:cubicBezTo>
                    <a:pt x="330" y="7140"/>
                    <a:pt x="1" y="7243"/>
                    <a:pt x="1" y="7485"/>
                  </a:cubicBezTo>
                  <a:cubicBezTo>
                    <a:pt x="1" y="8301"/>
                    <a:pt x="1016" y="9596"/>
                    <a:pt x="3744" y="9596"/>
                  </a:cubicBezTo>
                  <a:cubicBezTo>
                    <a:pt x="5165" y="9594"/>
                    <a:pt x="6203" y="9265"/>
                    <a:pt x="6831" y="8616"/>
                  </a:cubicBezTo>
                  <a:cubicBezTo>
                    <a:pt x="7479" y="7947"/>
                    <a:pt x="7487" y="7116"/>
                    <a:pt x="7482" y="6957"/>
                  </a:cubicBezTo>
                  <a:cubicBezTo>
                    <a:pt x="7482" y="5087"/>
                    <a:pt x="6088" y="4674"/>
                    <a:pt x="3964" y="4255"/>
                  </a:cubicBezTo>
                  <a:cubicBezTo>
                    <a:pt x="2598" y="3986"/>
                    <a:pt x="1186" y="3709"/>
                    <a:pt x="1186" y="2410"/>
                  </a:cubicBezTo>
                  <a:cubicBezTo>
                    <a:pt x="1186" y="1420"/>
                    <a:pt x="2170" y="675"/>
                    <a:pt x="3475" y="675"/>
                  </a:cubicBezTo>
                  <a:cubicBezTo>
                    <a:pt x="4868" y="675"/>
                    <a:pt x="5485" y="1305"/>
                    <a:pt x="5938" y="1766"/>
                  </a:cubicBezTo>
                  <a:cubicBezTo>
                    <a:pt x="6247" y="2081"/>
                    <a:pt x="6375" y="2191"/>
                    <a:pt x="6598" y="2191"/>
                  </a:cubicBezTo>
                  <a:cubicBezTo>
                    <a:pt x="6794" y="2191"/>
                    <a:pt x="7082" y="2072"/>
                    <a:pt x="7082" y="1818"/>
                  </a:cubicBezTo>
                  <a:cubicBezTo>
                    <a:pt x="7082" y="1381"/>
                    <a:pt x="5803" y="1"/>
                    <a:pt x="3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1" name="Google Shape;9021;p76"/>
            <p:cNvSpPr/>
            <p:nvPr/>
          </p:nvSpPr>
          <p:spPr>
            <a:xfrm>
              <a:off x="3902887" y="1687655"/>
              <a:ext cx="397010" cy="397135"/>
            </a:xfrm>
            <a:custGeom>
              <a:avLst/>
              <a:gdLst/>
              <a:ahLst/>
              <a:cxnLst/>
              <a:rect l="l" t="t" r="r" b="b"/>
              <a:pathLst>
                <a:path w="19023" h="19029" extrusionOk="0">
                  <a:moveTo>
                    <a:pt x="9357" y="3591"/>
                  </a:moveTo>
                  <a:cubicBezTo>
                    <a:pt x="11911" y="3591"/>
                    <a:pt x="13969" y="5196"/>
                    <a:pt x="13969" y="6523"/>
                  </a:cubicBezTo>
                  <a:cubicBezTo>
                    <a:pt x="13969" y="7455"/>
                    <a:pt x="13157" y="8010"/>
                    <a:pt x="12370" y="8010"/>
                  </a:cubicBezTo>
                  <a:cubicBezTo>
                    <a:pt x="11658" y="8010"/>
                    <a:pt x="11246" y="7589"/>
                    <a:pt x="10914" y="7251"/>
                  </a:cubicBezTo>
                  <a:cubicBezTo>
                    <a:pt x="10514" y="6845"/>
                    <a:pt x="10171" y="6494"/>
                    <a:pt x="9247" y="6494"/>
                  </a:cubicBezTo>
                  <a:cubicBezTo>
                    <a:pt x="8481" y="6494"/>
                    <a:pt x="8073" y="6855"/>
                    <a:pt x="8073" y="7115"/>
                  </a:cubicBezTo>
                  <a:cubicBezTo>
                    <a:pt x="8073" y="7497"/>
                    <a:pt x="9028" y="7685"/>
                    <a:pt x="9950" y="7867"/>
                  </a:cubicBezTo>
                  <a:cubicBezTo>
                    <a:pt x="11710" y="8214"/>
                    <a:pt x="14369" y="8739"/>
                    <a:pt x="14369" y="11635"/>
                  </a:cubicBezTo>
                  <a:cubicBezTo>
                    <a:pt x="14379" y="11960"/>
                    <a:pt x="14340" y="13128"/>
                    <a:pt x="13404" y="14096"/>
                  </a:cubicBezTo>
                  <a:cubicBezTo>
                    <a:pt x="12561" y="14970"/>
                    <a:pt x="11252" y="15414"/>
                    <a:pt x="9518" y="15415"/>
                  </a:cubicBezTo>
                  <a:lnTo>
                    <a:pt x="9516" y="15415"/>
                  </a:lnTo>
                  <a:cubicBezTo>
                    <a:pt x="5952" y="15415"/>
                    <a:pt x="4658" y="13487"/>
                    <a:pt x="4658" y="12190"/>
                  </a:cubicBezTo>
                  <a:cubicBezTo>
                    <a:pt x="4658" y="11290"/>
                    <a:pt x="5476" y="10731"/>
                    <a:pt x="6235" y="10731"/>
                  </a:cubicBezTo>
                  <a:cubicBezTo>
                    <a:pt x="6942" y="10731"/>
                    <a:pt x="7354" y="11210"/>
                    <a:pt x="7717" y="11633"/>
                  </a:cubicBezTo>
                  <a:cubicBezTo>
                    <a:pt x="8145" y="12132"/>
                    <a:pt x="8549" y="12601"/>
                    <a:pt x="9509" y="12601"/>
                  </a:cubicBezTo>
                  <a:cubicBezTo>
                    <a:pt x="10165" y="12601"/>
                    <a:pt x="10898" y="12254"/>
                    <a:pt x="10898" y="11789"/>
                  </a:cubicBezTo>
                  <a:cubicBezTo>
                    <a:pt x="10898" y="11384"/>
                    <a:pt x="10135" y="11191"/>
                    <a:pt x="8970" y="10943"/>
                  </a:cubicBezTo>
                  <a:cubicBezTo>
                    <a:pt x="7165" y="10559"/>
                    <a:pt x="4694" y="10032"/>
                    <a:pt x="4694" y="7266"/>
                  </a:cubicBezTo>
                  <a:cubicBezTo>
                    <a:pt x="4694" y="4359"/>
                    <a:pt x="7744" y="3591"/>
                    <a:pt x="9357" y="3591"/>
                  </a:cubicBezTo>
                  <a:close/>
                  <a:moveTo>
                    <a:pt x="5202" y="0"/>
                  </a:moveTo>
                  <a:cubicBezTo>
                    <a:pt x="2338" y="0"/>
                    <a:pt x="6" y="2303"/>
                    <a:pt x="1" y="5148"/>
                  </a:cubicBezTo>
                  <a:lnTo>
                    <a:pt x="1" y="5159"/>
                  </a:lnTo>
                  <a:cubicBezTo>
                    <a:pt x="2" y="6225"/>
                    <a:pt x="261" y="6830"/>
                    <a:pt x="469" y="7319"/>
                  </a:cubicBezTo>
                  <a:cubicBezTo>
                    <a:pt x="609" y="7646"/>
                    <a:pt x="712" y="7885"/>
                    <a:pt x="712" y="8212"/>
                  </a:cubicBezTo>
                  <a:cubicBezTo>
                    <a:pt x="712" y="8219"/>
                    <a:pt x="632" y="9035"/>
                    <a:pt x="632" y="9553"/>
                  </a:cubicBezTo>
                  <a:cubicBezTo>
                    <a:pt x="632" y="12302"/>
                    <a:pt x="2927" y="18423"/>
                    <a:pt x="9541" y="18423"/>
                  </a:cubicBezTo>
                  <a:cubicBezTo>
                    <a:pt x="10171" y="18423"/>
                    <a:pt x="10931" y="18343"/>
                    <a:pt x="10931" y="18343"/>
                  </a:cubicBezTo>
                  <a:cubicBezTo>
                    <a:pt x="11190" y="18343"/>
                    <a:pt x="11441" y="18446"/>
                    <a:pt x="11759" y="18577"/>
                  </a:cubicBezTo>
                  <a:cubicBezTo>
                    <a:pt x="12509" y="18886"/>
                    <a:pt x="13241" y="19028"/>
                    <a:pt x="13937" y="19028"/>
                  </a:cubicBezTo>
                  <a:cubicBezTo>
                    <a:pt x="15330" y="19028"/>
                    <a:pt x="16576" y="18458"/>
                    <a:pt x="17517" y="17520"/>
                  </a:cubicBezTo>
                  <a:cubicBezTo>
                    <a:pt x="18489" y="16555"/>
                    <a:pt x="19023" y="15260"/>
                    <a:pt x="19023" y="13878"/>
                  </a:cubicBezTo>
                  <a:cubicBezTo>
                    <a:pt x="19023" y="12804"/>
                    <a:pt x="18763" y="12198"/>
                    <a:pt x="18554" y="11708"/>
                  </a:cubicBezTo>
                  <a:cubicBezTo>
                    <a:pt x="18414" y="11380"/>
                    <a:pt x="18312" y="11141"/>
                    <a:pt x="18312" y="10814"/>
                  </a:cubicBezTo>
                  <a:cubicBezTo>
                    <a:pt x="18312" y="10804"/>
                    <a:pt x="18391" y="9993"/>
                    <a:pt x="18391" y="9473"/>
                  </a:cubicBezTo>
                  <a:cubicBezTo>
                    <a:pt x="18391" y="6724"/>
                    <a:pt x="16095" y="603"/>
                    <a:pt x="9483" y="603"/>
                  </a:cubicBezTo>
                  <a:cubicBezTo>
                    <a:pt x="8853" y="603"/>
                    <a:pt x="8092" y="683"/>
                    <a:pt x="8092" y="683"/>
                  </a:cubicBezTo>
                  <a:cubicBezTo>
                    <a:pt x="7832" y="683"/>
                    <a:pt x="7583" y="580"/>
                    <a:pt x="7264" y="450"/>
                  </a:cubicBezTo>
                  <a:cubicBezTo>
                    <a:pt x="6767" y="244"/>
                    <a:pt x="6150" y="0"/>
                    <a:pt x="52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2" name="Google Shape;9022;p76"/>
          <p:cNvGrpSpPr/>
          <p:nvPr/>
        </p:nvGrpSpPr>
        <p:grpSpPr>
          <a:xfrm>
            <a:off x="3515416" y="3828344"/>
            <a:ext cx="387681" cy="387681"/>
            <a:chOff x="4933458" y="1687279"/>
            <a:chExt cx="397907" cy="397907"/>
          </a:xfrm>
        </p:grpSpPr>
        <p:sp>
          <p:nvSpPr>
            <p:cNvPr id="9023" name="Google Shape;9023;p76"/>
            <p:cNvSpPr/>
            <p:nvPr/>
          </p:nvSpPr>
          <p:spPr>
            <a:xfrm>
              <a:off x="5071801" y="1766541"/>
              <a:ext cx="125867" cy="241215"/>
            </a:xfrm>
            <a:custGeom>
              <a:avLst/>
              <a:gdLst/>
              <a:ahLst/>
              <a:cxnLst/>
              <a:rect l="l" t="t" r="r" b="b"/>
              <a:pathLst>
                <a:path w="6031" h="11558" extrusionOk="0">
                  <a:moveTo>
                    <a:pt x="2415" y="1"/>
                  </a:moveTo>
                  <a:cubicBezTo>
                    <a:pt x="2233" y="993"/>
                    <a:pt x="1808" y="2415"/>
                    <a:pt x="0" y="2785"/>
                  </a:cubicBezTo>
                  <a:lnTo>
                    <a:pt x="0" y="4244"/>
                  </a:lnTo>
                  <a:lnTo>
                    <a:pt x="1228" y="4244"/>
                  </a:lnTo>
                  <a:cubicBezTo>
                    <a:pt x="1537" y="4244"/>
                    <a:pt x="1787" y="4496"/>
                    <a:pt x="1787" y="4803"/>
                  </a:cubicBezTo>
                  <a:lnTo>
                    <a:pt x="1787" y="9077"/>
                  </a:lnTo>
                  <a:cubicBezTo>
                    <a:pt x="1787" y="10222"/>
                    <a:pt x="2553" y="11558"/>
                    <a:pt x="4714" y="11558"/>
                  </a:cubicBezTo>
                  <a:cubicBezTo>
                    <a:pt x="5212" y="11558"/>
                    <a:pt x="5689" y="11535"/>
                    <a:pt x="6031" y="11512"/>
                  </a:cubicBezTo>
                  <a:lnTo>
                    <a:pt x="6031" y="9905"/>
                  </a:lnTo>
                  <a:lnTo>
                    <a:pt x="4891" y="9905"/>
                  </a:lnTo>
                  <a:cubicBezTo>
                    <a:pt x="3535" y="9905"/>
                    <a:pt x="3351" y="9125"/>
                    <a:pt x="3351" y="8363"/>
                  </a:cubicBezTo>
                  <a:lnTo>
                    <a:pt x="3351" y="4803"/>
                  </a:lnTo>
                  <a:cubicBezTo>
                    <a:pt x="3351" y="4496"/>
                    <a:pt x="3600" y="4244"/>
                    <a:pt x="3910" y="4244"/>
                  </a:cubicBezTo>
                  <a:lnTo>
                    <a:pt x="6031" y="4244"/>
                  </a:lnTo>
                  <a:lnTo>
                    <a:pt x="6031" y="2681"/>
                  </a:lnTo>
                  <a:lnTo>
                    <a:pt x="3910" y="2681"/>
                  </a:lnTo>
                  <a:cubicBezTo>
                    <a:pt x="3600" y="2681"/>
                    <a:pt x="3351" y="2431"/>
                    <a:pt x="3351" y="2122"/>
                  </a:cubicBezTo>
                  <a:lnTo>
                    <a:pt x="33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4" name="Google Shape;9024;p76"/>
            <p:cNvSpPr/>
            <p:nvPr/>
          </p:nvSpPr>
          <p:spPr>
            <a:xfrm>
              <a:off x="4933458" y="1687279"/>
              <a:ext cx="397907" cy="397907"/>
            </a:xfrm>
            <a:custGeom>
              <a:avLst/>
              <a:gdLst/>
              <a:ahLst/>
              <a:cxnLst/>
              <a:rect l="l" t="t" r="r" b="b"/>
              <a:pathLst>
                <a:path w="19066" h="19066" extrusionOk="0">
                  <a:moveTo>
                    <a:pt x="10539" y="2681"/>
                  </a:moveTo>
                  <a:cubicBezTo>
                    <a:pt x="10846" y="2681"/>
                    <a:pt x="11059" y="2932"/>
                    <a:pt x="11059" y="3240"/>
                  </a:cubicBezTo>
                  <a:lnTo>
                    <a:pt x="11059" y="5362"/>
                  </a:lnTo>
                  <a:lnTo>
                    <a:pt x="13219" y="5362"/>
                  </a:lnTo>
                  <a:cubicBezTo>
                    <a:pt x="13528" y="5362"/>
                    <a:pt x="13778" y="5612"/>
                    <a:pt x="13778" y="5921"/>
                  </a:cubicBezTo>
                  <a:lnTo>
                    <a:pt x="13778" y="8601"/>
                  </a:lnTo>
                  <a:cubicBezTo>
                    <a:pt x="13778" y="8911"/>
                    <a:pt x="13528" y="9160"/>
                    <a:pt x="13219" y="9160"/>
                  </a:cubicBezTo>
                  <a:lnTo>
                    <a:pt x="11096" y="9160"/>
                  </a:lnTo>
                  <a:lnTo>
                    <a:pt x="11096" y="12161"/>
                  </a:lnTo>
                  <a:cubicBezTo>
                    <a:pt x="11096" y="12440"/>
                    <a:pt x="11121" y="12520"/>
                    <a:pt x="11133" y="12541"/>
                  </a:cubicBezTo>
                  <a:cubicBezTo>
                    <a:pt x="11140" y="12541"/>
                    <a:pt x="11234" y="12585"/>
                    <a:pt x="11520" y="12585"/>
                  </a:cubicBezTo>
                  <a:lnTo>
                    <a:pt x="13219" y="12585"/>
                  </a:lnTo>
                  <a:cubicBezTo>
                    <a:pt x="13528" y="12585"/>
                    <a:pt x="13741" y="12836"/>
                    <a:pt x="13741" y="13144"/>
                  </a:cubicBezTo>
                  <a:lnTo>
                    <a:pt x="13741" y="15826"/>
                  </a:lnTo>
                  <a:cubicBezTo>
                    <a:pt x="13741" y="16113"/>
                    <a:pt x="13560" y="16351"/>
                    <a:pt x="13273" y="16382"/>
                  </a:cubicBezTo>
                  <a:cubicBezTo>
                    <a:pt x="13236" y="16385"/>
                    <a:pt x="12341" y="16474"/>
                    <a:pt x="11342" y="16474"/>
                  </a:cubicBezTo>
                  <a:cubicBezTo>
                    <a:pt x="8564" y="16474"/>
                    <a:pt x="7298" y="14609"/>
                    <a:pt x="7298" y="12877"/>
                  </a:cubicBezTo>
                  <a:lnTo>
                    <a:pt x="7298" y="9160"/>
                  </a:lnTo>
                  <a:lnTo>
                    <a:pt x="6070" y="9160"/>
                  </a:lnTo>
                  <a:cubicBezTo>
                    <a:pt x="5760" y="9160"/>
                    <a:pt x="5511" y="8911"/>
                    <a:pt x="5511" y="8601"/>
                  </a:cubicBezTo>
                  <a:lnTo>
                    <a:pt x="5511" y="6100"/>
                  </a:lnTo>
                  <a:cubicBezTo>
                    <a:pt x="5511" y="5808"/>
                    <a:pt x="5734" y="5568"/>
                    <a:pt x="6024" y="5543"/>
                  </a:cubicBezTo>
                  <a:cubicBezTo>
                    <a:pt x="7535" y="5417"/>
                    <a:pt x="7797" y="4524"/>
                    <a:pt x="8000" y="3275"/>
                  </a:cubicBezTo>
                  <a:lnTo>
                    <a:pt x="8021" y="3148"/>
                  </a:lnTo>
                  <a:cubicBezTo>
                    <a:pt x="8066" y="2879"/>
                    <a:pt x="8299" y="2681"/>
                    <a:pt x="8571" y="2681"/>
                  </a:cubicBezTo>
                  <a:close/>
                  <a:moveTo>
                    <a:pt x="2794" y="1"/>
                  </a:moveTo>
                  <a:cubicBezTo>
                    <a:pt x="1253" y="1"/>
                    <a:pt x="1" y="1253"/>
                    <a:pt x="1" y="2794"/>
                  </a:cubicBezTo>
                  <a:lnTo>
                    <a:pt x="1" y="16272"/>
                  </a:lnTo>
                  <a:cubicBezTo>
                    <a:pt x="1" y="17811"/>
                    <a:pt x="1253" y="19065"/>
                    <a:pt x="2794" y="19065"/>
                  </a:cubicBezTo>
                  <a:lnTo>
                    <a:pt x="16272" y="19065"/>
                  </a:lnTo>
                  <a:cubicBezTo>
                    <a:pt x="17813" y="19065"/>
                    <a:pt x="19065" y="17811"/>
                    <a:pt x="19065" y="16272"/>
                  </a:cubicBezTo>
                  <a:lnTo>
                    <a:pt x="19065" y="2792"/>
                  </a:lnTo>
                  <a:cubicBezTo>
                    <a:pt x="19065" y="1253"/>
                    <a:pt x="17813" y="1"/>
                    <a:pt x="162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5" name="Google Shape;9025;p76"/>
          <p:cNvGrpSpPr/>
          <p:nvPr/>
        </p:nvGrpSpPr>
        <p:grpSpPr>
          <a:xfrm>
            <a:off x="5286246" y="3308537"/>
            <a:ext cx="387681" cy="387661"/>
            <a:chOff x="266768" y="1721375"/>
            <a:chExt cx="397907" cy="397887"/>
          </a:xfrm>
        </p:grpSpPr>
        <p:sp>
          <p:nvSpPr>
            <p:cNvPr id="9026" name="Google Shape;9026;p76"/>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7" name="Google Shape;9027;p76"/>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8" name="Google Shape;9028;p76"/>
          <p:cNvGrpSpPr/>
          <p:nvPr/>
        </p:nvGrpSpPr>
        <p:grpSpPr>
          <a:xfrm>
            <a:off x="7411672" y="3308924"/>
            <a:ext cx="387539" cy="386888"/>
            <a:chOff x="2408992" y="1722875"/>
            <a:chExt cx="397761" cy="397093"/>
          </a:xfrm>
        </p:grpSpPr>
        <p:sp>
          <p:nvSpPr>
            <p:cNvPr id="9029" name="Google Shape;9029;p76"/>
            <p:cNvSpPr/>
            <p:nvPr/>
          </p:nvSpPr>
          <p:spPr>
            <a:xfrm>
              <a:off x="2492135" y="1827639"/>
              <a:ext cx="213667" cy="185326"/>
            </a:xfrm>
            <a:custGeom>
              <a:avLst/>
              <a:gdLst/>
              <a:ahLst/>
              <a:cxnLst/>
              <a:rect l="l" t="t" r="r" b="b"/>
              <a:pathLst>
                <a:path w="10238" h="8880" extrusionOk="0">
                  <a:moveTo>
                    <a:pt x="2548" y="1"/>
                  </a:moveTo>
                  <a:cubicBezTo>
                    <a:pt x="2277" y="1"/>
                    <a:pt x="2002" y="169"/>
                    <a:pt x="1743" y="427"/>
                  </a:cubicBezTo>
                  <a:cubicBezTo>
                    <a:pt x="1" y="2171"/>
                    <a:pt x="2739" y="5655"/>
                    <a:pt x="3567" y="6491"/>
                  </a:cubicBezTo>
                  <a:cubicBezTo>
                    <a:pt x="4206" y="7123"/>
                    <a:pt x="6403" y="8880"/>
                    <a:pt x="8179" y="8880"/>
                  </a:cubicBezTo>
                  <a:cubicBezTo>
                    <a:pt x="8718" y="8880"/>
                    <a:pt x="9219" y="8718"/>
                    <a:pt x="9626" y="8312"/>
                  </a:cubicBezTo>
                  <a:cubicBezTo>
                    <a:pt x="10054" y="7884"/>
                    <a:pt x="10238" y="7401"/>
                    <a:pt x="9812" y="6981"/>
                  </a:cubicBezTo>
                  <a:cubicBezTo>
                    <a:pt x="9168" y="6339"/>
                    <a:pt x="8797" y="6140"/>
                    <a:pt x="8555" y="6140"/>
                  </a:cubicBezTo>
                  <a:cubicBezTo>
                    <a:pt x="8422" y="6140"/>
                    <a:pt x="8327" y="6200"/>
                    <a:pt x="8248" y="6279"/>
                  </a:cubicBezTo>
                  <a:cubicBezTo>
                    <a:pt x="8064" y="6461"/>
                    <a:pt x="7636" y="7077"/>
                    <a:pt x="7461" y="7252"/>
                  </a:cubicBezTo>
                  <a:cubicBezTo>
                    <a:pt x="7260" y="7452"/>
                    <a:pt x="7021" y="7534"/>
                    <a:pt x="6762" y="7534"/>
                  </a:cubicBezTo>
                  <a:cubicBezTo>
                    <a:pt x="5839" y="7534"/>
                    <a:pt x="4665" y="6485"/>
                    <a:pt x="4117" y="5939"/>
                  </a:cubicBezTo>
                  <a:lnTo>
                    <a:pt x="4115" y="5938"/>
                  </a:lnTo>
                  <a:cubicBezTo>
                    <a:pt x="3417" y="5235"/>
                    <a:pt x="1890" y="3505"/>
                    <a:pt x="2803" y="2592"/>
                  </a:cubicBezTo>
                  <a:cubicBezTo>
                    <a:pt x="2879" y="2516"/>
                    <a:pt x="3056" y="2378"/>
                    <a:pt x="3254" y="2228"/>
                  </a:cubicBezTo>
                  <a:cubicBezTo>
                    <a:pt x="3445" y="2083"/>
                    <a:pt x="3661" y="1922"/>
                    <a:pt x="3776" y="1807"/>
                  </a:cubicBezTo>
                  <a:cubicBezTo>
                    <a:pt x="3999" y="1584"/>
                    <a:pt x="4069" y="1241"/>
                    <a:pt x="3080" y="250"/>
                  </a:cubicBezTo>
                  <a:cubicBezTo>
                    <a:pt x="2909" y="76"/>
                    <a:pt x="2730" y="1"/>
                    <a:pt x="25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0" name="Google Shape;9030;p76"/>
            <p:cNvSpPr/>
            <p:nvPr/>
          </p:nvSpPr>
          <p:spPr>
            <a:xfrm>
              <a:off x="2408992" y="1722875"/>
              <a:ext cx="397761" cy="397093"/>
            </a:xfrm>
            <a:custGeom>
              <a:avLst/>
              <a:gdLst/>
              <a:ahLst/>
              <a:cxnLst/>
              <a:rect l="l" t="t" r="r" b="b"/>
              <a:pathLst>
                <a:path w="19059" h="19027" extrusionOk="0">
                  <a:moveTo>
                    <a:pt x="6538" y="3907"/>
                  </a:moveTo>
                  <a:cubicBezTo>
                    <a:pt x="7030" y="3907"/>
                    <a:pt x="7490" y="4114"/>
                    <a:pt x="7853" y="4483"/>
                  </a:cubicBezTo>
                  <a:cubicBezTo>
                    <a:pt x="8326" y="4955"/>
                    <a:pt x="9768" y="6397"/>
                    <a:pt x="8549" y="7616"/>
                  </a:cubicBezTo>
                  <a:cubicBezTo>
                    <a:pt x="8407" y="7756"/>
                    <a:pt x="8145" y="7957"/>
                    <a:pt x="7912" y="8136"/>
                  </a:cubicBezTo>
                  <a:cubicBezTo>
                    <a:pt x="7767" y="8246"/>
                    <a:pt x="7634" y="8343"/>
                    <a:pt x="7576" y="8400"/>
                  </a:cubicBezTo>
                  <a:cubicBezTo>
                    <a:pt x="7599" y="8585"/>
                    <a:pt x="8227" y="9504"/>
                    <a:pt x="8888" y="10169"/>
                  </a:cubicBezTo>
                  <a:cubicBezTo>
                    <a:pt x="9546" y="10823"/>
                    <a:pt x="10450" y="11437"/>
                    <a:pt x="10732" y="11437"/>
                  </a:cubicBezTo>
                  <a:cubicBezTo>
                    <a:pt x="10736" y="11437"/>
                    <a:pt x="10740" y="11437"/>
                    <a:pt x="10744" y="11437"/>
                  </a:cubicBezTo>
                  <a:cubicBezTo>
                    <a:pt x="10716" y="11423"/>
                    <a:pt x="10813" y="11292"/>
                    <a:pt x="10923" y="11147"/>
                  </a:cubicBezTo>
                  <a:cubicBezTo>
                    <a:pt x="11100" y="10913"/>
                    <a:pt x="11301" y="10650"/>
                    <a:pt x="11443" y="10510"/>
                  </a:cubicBezTo>
                  <a:cubicBezTo>
                    <a:pt x="11789" y="10163"/>
                    <a:pt x="12153" y="10031"/>
                    <a:pt x="12508" y="10031"/>
                  </a:cubicBezTo>
                  <a:cubicBezTo>
                    <a:pt x="13402" y="10031"/>
                    <a:pt x="14236" y="10866"/>
                    <a:pt x="14576" y="11205"/>
                  </a:cubicBezTo>
                  <a:cubicBezTo>
                    <a:pt x="15328" y="11943"/>
                    <a:pt x="15425" y="13093"/>
                    <a:pt x="14399" y="14119"/>
                  </a:cubicBezTo>
                  <a:cubicBezTo>
                    <a:pt x="13750" y="14770"/>
                    <a:pt x="12980" y="15023"/>
                    <a:pt x="12179" y="15023"/>
                  </a:cubicBezTo>
                  <a:cubicBezTo>
                    <a:pt x="10063" y="15023"/>
                    <a:pt x="7723" y="13248"/>
                    <a:pt x="6764" y="12299"/>
                  </a:cubicBezTo>
                  <a:cubicBezTo>
                    <a:pt x="5451" y="10974"/>
                    <a:pt x="2573" y="7025"/>
                    <a:pt x="4938" y="4660"/>
                  </a:cubicBezTo>
                  <a:cubicBezTo>
                    <a:pt x="5458" y="4140"/>
                    <a:pt x="6017" y="3907"/>
                    <a:pt x="6538" y="3907"/>
                  </a:cubicBezTo>
                  <a:close/>
                  <a:moveTo>
                    <a:pt x="9545" y="0"/>
                  </a:moveTo>
                  <a:cubicBezTo>
                    <a:pt x="4319" y="0"/>
                    <a:pt x="31" y="4288"/>
                    <a:pt x="31" y="9514"/>
                  </a:cubicBezTo>
                  <a:cubicBezTo>
                    <a:pt x="31" y="11064"/>
                    <a:pt x="448" y="12594"/>
                    <a:pt x="1172" y="13954"/>
                  </a:cubicBezTo>
                  <a:lnTo>
                    <a:pt x="49" y="18334"/>
                  </a:lnTo>
                  <a:cubicBezTo>
                    <a:pt x="1" y="18524"/>
                    <a:pt x="57" y="18725"/>
                    <a:pt x="195" y="18863"/>
                  </a:cubicBezTo>
                  <a:cubicBezTo>
                    <a:pt x="302" y="18971"/>
                    <a:pt x="445" y="19027"/>
                    <a:pt x="590" y="19027"/>
                  </a:cubicBezTo>
                  <a:cubicBezTo>
                    <a:pt x="635" y="19027"/>
                    <a:pt x="680" y="19021"/>
                    <a:pt x="724" y="19010"/>
                  </a:cubicBezTo>
                  <a:lnTo>
                    <a:pt x="5104" y="17887"/>
                  </a:lnTo>
                  <a:cubicBezTo>
                    <a:pt x="6465" y="18609"/>
                    <a:pt x="7995" y="19026"/>
                    <a:pt x="9545" y="19026"/>
                  </a:cubicBezTo>
                  <a:cubicBezTo>
                    <a:pt x="14770" y="19026"/>
                    <a:pt x="19058" y="14738"/>
                    <a:pt x="19058" y="9514"/>
                  </a:cubicBezTo>
                  <a:cubicBezTo>
                    <a:pt x="19058" y="4288"/>
                    <a:pt x="14770" y="0"/>
                    <a:pt x="9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1" name="Google Shape;9031;p76"/>
          <p:cNvGrpSpPr/>
          <p:nvPr/>
        </p:nvGrpSpPr>
        <p:grpSpPr>
          <a:xfrm>
            <a:off x="5592488" y="3828305"/>
            <a:ext cx="387641" cy="387641"/>
            <a:chOff x="7199196" y="1561258"/>
            <a:chExt cx="397866" cy="397866"/>
          </a:xfrm>
        </p:grpSpPr>
        <p:sp>
          <p:nvSpPr>
            <p:cNvPr id="9032" name="Google Shape;9032;p76"/>
            <p:cNvSpPr/>
            <p:nvPr/>
          </p:nvSpPr>
          <p:spPr>
            <a:xfrm>
              <a:off x="7316523" y="1655253"/>
              <a:ext cx="163203" cy="209869"/>
            </a:xfrm>
            <a:custGeom>
              <a:avLst/>
              <a:gdLst/>
              <a:ahLst/>
              <a:cxnLst/>
              <a:rect l="l" t="t" r="r" b="b"/>
              <a:pathLst>
                <a:path w="7820" h="10056" extrusionOk="0">
                  <a:moveTo>
                    <a:pt x="3910" y="1119"/>
                  </a:moveTo>
                  <a:cubicBezTo>
                    <a:pt x="5449" y="1119"/>
                    <a:pt x="6704" y="2371"/>
                    <a:pt x="6704" y="3910"/>
                  </a:cubicBezTo>
                  <a:cubicBezTo>
                    <a:pt x="6704" y="5451"/>
                    <a:pt x="5449" y="6704"/>
                    <a:pt x="3910" y="6704"/>
                  </a:cubicBezTo>
                  <a:cubicBezTo>
                    <a:pt x="2371" y="6704"/>
                    <a:pt x="1117" y="5451"/>
                    <a:pt x="1117" y="3912"/>
                  </a:cubicBezTo>
                  <a:cubicBezTo>
                    <a:pt x="1117" y="3652"/>
                    <a:pt x="1161" y="3383"/>
                    <a:pt x="1251" y="3091"/>
                  </a:cubicBezTo>
                  <a:cubicBezTo>
                    <a:pt x="1299" y="2939"/>
                    <a:pt x="1409" y="2814"/>
                    <a:pt x="1554" y="2746"/>
                  </a:cubicBezTo>
                  <a:cubicBezTo>
                    <a:pt x="1627" y="2713"/>
                    <a:pt x="1706" y="2696"/>
                    <a:pt x="1786" y="2696"/>
                  </a:cubicBezTo>
                  <a:cubicBezTo>
                    <a:pt x="1863" y="2696"/>
                    <a:pt x="1940" y="2712"/>
                    <a:pt x="2012" y="2745"/>
                  </a:cubicBezTo>
                  <a:cubicBezTo>
                    <a:pt x="2088" y="2779"/>
                    <a:pt x="2165" y="2794"/>
                    <a:pt x="2239" y="2794"/>
                  </a:cubicBezTo>
                  <a:cubicBezTo>
                    <a:pt x="2538" y="2794"/>
                    <a:pt x="2794" y="2541"/>
                    <a:pt x="2794" y="2235"/>
                  </a:cubicBezTo>
                  <a:cubicBezTo>
                    <a:pt x="2794" y="1934"/>
                    <a:pt x="2584" y="1911"/>
                    <a:pt x="2746" y="1554"/>
                  </a:cubicBezTo>
                  <a:cubicBezTo>
                    <a:pt x="2812" y="1409"/>
                    <a:pt x="2937" y="1299"/>
                    <a:pt x="3089" y="1252"/>
                  </a:cubicBezTo>
                  <a:cubicBezTo>
                    <a:pt x="3381" y="1163"/>
                    <a:pt x="3650" y="1119"/>
                    <a:pt x="3910" y="1119"/>
                  </a:cubicBezTo>
                  <a:close/>
                  <a:moveTo>
                    <a:pt x="3910" y="1"/>
                  </a:moveTo>
                  <a:cubicBezTo>
                    <a:pt x="1756" y="1"/>
                    <a:pt x="1" y="1756"/>
                    <a:pt x="1" y="3912"/>
                  </a:cubicBezTo>
                  <a:cubicBezTo>
                    <a:pt x="1" y="6194"/>
                    <a:pt x="3139" y="9964"/>
                    <a:pt x="3917" y="10056"/>
                  </a:cubicBezTo>
                  <a:cubicBezTo>
                    <a:pt x="4682" y="9964"/>
                    <a:pt x="7820" y="6194"/>
                    <a:pt x="7820" y="3912"/>
                  </a:cubicBezTo>
                  <a:cubicBezTo>
                    <a:pt x="7820" y="1756"/>
                    <a:pt x="6065" y="1"/>
                    <a:pt x="39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3" name="Google Shape;9033;p76"/>
            <p:cNvSpPr/>
            <p:nvPr/>
          </p:nvSpPr>
          <p:spPr>
            <a:xfrm>
              <a:off x="7199196" y="1561258"/>
              <a:ext cx="397866" cy="397866"/>
            </a:xfrm>
            <a:custGeom>
              <a:avLst/>
              <a:gdLst/>
              <a:ahLst/>
              <a:cxnLst/>
              <a:rect l="l" t="t" r="r" b="b"/>
              <a:pathLst>
                <a:path w="19064" h="19064" extrusionOk="0">
                  <a:moveTo>
                    <a:pt x="9532" y="3389"/>
                  </a:moveTo>
                  <a:cubicBezTo>
                    <a:pt x="12304" y="3389"/>
                    <a:pt x="14560" y="5644"/>
                    <a:pt x="14560" y="8416"/>
                  </a:cubicBezTo>
                  <a:cubicBezTo>
                    <a:pt x="14560" y="11045"/>
                    <a:pt x="11089" y="15676"/>
                    <a:pt x="9532" y="15676"/>
                  </a:cubicBezTo>
                  <a:cubicBezTo>
                    <a:pt x="7974" y="15676"/>
                    <a:pt x="4507" y="11045"/>
                    <a:pt x="4507" y="8416"/>
                  </a:cubicBezTo>
                  <a:cubicBezTo>
                    <a:pt x="4507" y="5644"/>
                    <a:pt x="6760" y="3389"/>
                    <a:pt x="9532" y="3389"/>
                  </a:cubicBezTo>
                  <a:close/>
                  <a:moveTo>
                    <a:pt x="9532" y="1"/>
                  </a:moveTo>
                  <a:cubicBezTo>
                    <a:pt x="4296" y="1"/>
                    <a:pt x="1" y="4296"/>
                    <a:pt x="1" y="9532"/>
                  </a:cubicBezTo>
                  <a:cubicBezTo>
                    <a:pt x="1" y="14769"/>
                    <a:pt x="4296" y="19064"/>
                    <a:pt x="9532" y="19064"/>
                  </a:cubicBezTo>
                  <a:cubicBezTo>
                    <a:pt x="14769" y="19064"/>
                    <a:pt x="19064" y="14769"/>
                    <a:pt x="19064" y="9532"/>
                  </a:cubicBezTo>
                  <a:cubicBezTo>
                    <a:pt x="19064" y="4296"/>
                    <a:pt x="14769"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4" name="Google Shape;9034;p76"/>
            <p:cNvSpPr/>
            <p:nvPr/>
          </p:nvSpPr>
          <p:spPr>
            <a:xfrm>
              <a:off x="7363167" y="1701896"/>
              <a:ext cx="69935" cy="69977"/>
            </a:xfrm>
            <a:custGeom>
              <a:avLst/>
              <a:gdLst/>
              <a:ahLst/>
              <a:cxnLst/>
              <a:rect l="l" t="t" r="r" b="b"/>
              <a:pathLst>
                <a:path w="3351" h="3353" extrusionOk="0">
                  <a:moveTo>
                    <a:pt x="1675" y="0"/>
                  </a:moveTo>
                  <a:cubicBezTo>
                    <a:pt x="1675" y="925"/>
                    <a:pt x="923" y="1677"/>
                    <a:pt x="0" y="1677"/>
                  </a:cubicBezTo>
                  <a:cubicBezTo>
                    <a:pt x="0" y="2601"/>
                    <a:pt x="752" y="3352"/>
                    <a:pt x="1675" y="3352"/>
                  </a:cubicBezTo>
                  <a:cubicBezTo>
                    <a:pt x="2599" y="3352"/>
                    <a:pt x="3351" y="2601"/>
                    <a:pt x="3351" y="1677"/>
                  </a:cubicBezTo>
                  <a:cubicBezTo>
                    <a:pt x="3351" y="752"/>
                    <a:pt x="2599" y="0"/>
                    <a:pt x="16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35" name="Google Shape;9035;p76"/>
          <p:cNvSpPr txBox="1"/>
          <p:nvPr/>
        </p:nvSpPr>
        <p:spPr>
          <a:xfrm>
            <a:off x="1048350" y="719652"/>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SEO &amp; Marketing Icons</a:t>
            </a:r>
            <a:endParaRPr sz="2400">
              <a:solidFill>
                <a:srgbClr val="FFFFFF"/>
              </a:solidFill>
            </a:endParaRPr>
          </a:p>
        </p:txBody>
      </p:sp>
      <p:grpSp>
        <p:nvGrpSpPr>
          <p:cNvPr id="9036" name="Google Shape;9036;p76"/>
          <p:cNvGrpSpPr/>
          <p:nvPr/>
        </p:nvGrpSpPr>
        <p:grpSpPr>
          <a:xfrm>
            <a:off x="6348367" y="3308537"/>
            <a:ext cx="387661" cy="387661"/>
            <a:chOff x="1379798" y="1723250"/>
            <a:chExt cx="397887" cy="397887"/>
          </a:xfrm>
        </p:grpSpPr>
        <p:sp>
          <p:nvSpPr>
            <p:cNvPr id="9037" name="Google Shape;9037;p76"/>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8" name="Google Shape;9038;p76"/>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9" name="Google Shape;9039;p76"/>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0" name="Google Shape;9040;p76"/>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1" name="Google Shape;9041;p76"/>
          <p:cNvGrpSpPr/>
          <p:nvPr/>
        </p:nvGrpSpPr>
        <p:grpSpPr>
          <a:xfrm>
            <a:off x="5817327" y="3308537"/>
            <a:ext cx="387641" cy="387661"/>
            <a:chOff x="864491" y="1723250"/>
            <a:chExt cx="397866" cy="397887"/>
          </a:xfrm>
        </p:grpSpPr>
        <p:sp>
          <p:nvSpPr>
            <p:cNvPr id="9042" name="Google Shape;9042;p76"/>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3" name="Google Shape;9043;p76"/>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4" name="Google Shape;9044;p76"/>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45" name="Google Shape;9045;p76"/>
          <p:cNvSpPr/>
          <p:nvPr/>
        </p:nvSpPr>
        <p:spPr>
          <a:xfrm>
            <a:off x="6879427" y="3343765"/>
            <a:ext cx="388846" cy="317145"/>
          </a:xfrm>
          <a:custGeom>
            <a:avLst/>
            <a:gdLst/>
            <a:ahLst/>
            <a:cxnLst/>
            <a:rect l="l" t="t" r="r" b="b"/>
            <a:pathLst>
              <a:path w="19122" h="15596" extrusionOk="0">
                <a:moveTo>
                  <a:pt x="12981" y="0"/>
                </a:moveTo>
                <a:cubicBezTo>
                  <a:pt x="12091" y="0"/>
                  <a:pt x="10821" y="352"/>
                  <a:pt x="9915" y="1352"/>
                </a:cubicBezTo>
                <a:cubicBezTo>
                  <a:pt x="9203" y="2141"/>
                  <a:pt x="8847" y="3174"/>
                  <a:pt x="8856" y="4430"/>
                </a:cubicBezTo>
                <a:cubicBezTo>
                  <a:pt x="6243" y="4110"/>
                  <a:pt x="4101" y="2933"/>
                  <a:pt x="2323" y="846"/>
                </a:cubicBezTo>
                <a:cubicBezTo>
                  <a:pt x="2216" y="723"/>
                  <a:pt x="2064" y="650"/>
                  <a:pt x="1902" y="650"/>
                </a:cubicBezTo>
                <a:cubicBezTo>
                  <a:pt x="1875" y="650"/>
                  <a:pt x="1848" y="652"/>
                  <a:pt x="1820" y="656"/>
                </a:cubicBezTo>
                <a:cubicBezTo>
                  <a:pt x="1631" y="683"/>
                  <a:pt x="1468" y="805"/>
                  <a:pt x="1391" y="977"/>
                </a:cubicBezTo>
                <a:cubicBezTo>
                  <a:pt x="695" y="2512"/>
                  <a:pt x="701" y="3895"/>
                  <a:pt x="1403" y="5113"/>
                </a:cubicBezTo>
                <a:cubicBezTo>
                  <a:pt x="1389" y="5111"/>
                  <a:pt x="1374" y="5111"/>
                  <a:pt x="1360" y="5111"/>
                </a:cubicBezTo>
                <a:cubicBezTo>
                  <a:pt x="1076" y="5111"/>
                  <a:pt x="803" y="5375"/>
                  <a:pt x="824" y="5707"/>
                </a:cubicBezTo>
                <a:cubicBezTo>
                  <a:pt x="916" y="7101"/>
                  <a:pt x="1428" y="8182"/>
                  <a:pt x="2351" y="8934"/>
                </a:cubicBezTo>
                <a:cubicBezTo>
                  <a:pt x="2176" y="9073"/>
                  <a:pt x="2102" y="9307"/>
                  <a:pt x="2164" y="9524"/>
                </a:cubicBezTo>
                <a:cubicBezTo>
                  <a:pt x="2456" y="10535"/>
                  <a:pt x="3310" y="11633"/>
                  <a:pt x="4615" y="12155"/>
                </a:cubicBezTo>
                <a:cubicBezTo>
                  <a:pt x="3657" y="12655"/>
                  <a:pt x="2516" y="12903"/>
                  <a:pt x="1345" y="12903"/>
                </a:cubicBezTo>
                <a:cubicBezTo>
                  <a:pt x="1111" y="12903"/>
                  <a:pt x="876" y="12893"/>
                  <a:pt x="641" y="12873"/>
                </a:cubicBezTo>
                <a:cubicBezTo>
                  <a:pt x="628" y="12872"/>
                  <a:pt x="615" y="12872"/>
                  <a:pt x="603" y="12872"/>
                </a:cubicBezTo>
                <a:cubicBezTo>
                  <a:pt x="362" y="12872"/>
                  <a:pt x="155" y="13031"/>
                  <a:pt x="78" y="13266"/>
                </a:cubicBezTo>
                <a:cubicBezTo>
                  <a:pt x="0" y="13512"/>
                  <a:pt x="113" y="13788"/>
                  <a:pt x="334" y="13922"/>
                </a:cubicBezTo>
                <a:cubicBezTo>
                  <a:pt x="1162" y="14423"/>
                  <a:pt x="3243" y="15596"/>
                  <a:pt x="6294" y="15596"/>
                </a:cubicBezTo>
                <a:cubicBezTo>
                  <a:pt x="14568" y="15596"/>
                  <a:pt x="17244" y="8279"/>
                  <a:pt x="17244" y="4736"/>
                </a:cubicBezTo>
                <a:cubicBezTo>
                  <a:pt x="17241" y="4515"/>
                  <a:pt x="17243" y="4541"/>
                  <a:pt x="17230" y="4426"/>
                </a:cubicBezTo>
                <a:cubicBezTo>
                  <a:pt x="17250" y="4403"/>
                  <a:pt x="17326" y="4347"/>
                  <a:pt x="17386" y="4301"/>
                </a:cubicBezTo>
                <a:cubicBezTo>
                  <a:pt x="17696" y="4067"/>
                  <a:pt x="18237" y="3680"/>
                  <a:pt x="18983" y="2590"/>
                </a:cubicBezTo>
                <a:cubicBezTo>
                  <a:pt x="19121" y="2386"/>
                  <a:pt x="19111" y="2118"/>
                  <a:pt x="18957" y="1925"/>
                </a:cubicBezTo>
                <a:cubicBezTo>
                  <a:pt x="18840" y="1779"/>
                  <a:pt x="18708" y="1722"/>
                  <a:pt x="18558" y="1722"/>
                </a:cubicBezTo>
                <a:cubicBezTo>
                  <a:pt x="18451" y="1722"/>
                  <a:pt x="18336" y="1751"/>
                  <a:pt x="18212" y="1799"/>
                </a:cubicBezTo>
                <a:cubicBezTo>
                  <a:pt x="18352" y="1553"/>
                  <a:pt x="18467" y="1291"/>
                  <a:pt x="18559" y="1014"/>
                </a:cubicBezTo>
                <a:cubicBezTo>
                  <a:pt x="18631" y="800"/>
                  <a:pt x="18553" y="614"/>
                  <a:pt x="18382" y="465"/>
                </a:cubicBezTo>
                <a:cubicBezTo>
                  <a:pt x="18282" y="379"/>
                  <a:pt x="18151" y="335"/>
                  <a:pt x="18020" y="335"/>
                </a:cubicBezTo>
                <a:cubicBezTo>
                  <a:pt x="17928" y="335"/>
                  <a:pt x="17837" y="356"/>
                  <a:pt x="17754" y="398"/>
                </a:cubicBezTo>
                <a:cubicBezTo>
                  <a:pt x="16848" y="856"/>
                  <a:pt x="16172" y="1054"/>
                  <a:pt x="15873" y="1113"/>
                </a:cubicBezTo>
                <a:cubicBezTo>
                  <a:pt x="15090" y="395"/>
                  <a:pt x="14251" y="0"/>
                  <a:pt x="129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6" name="Google Shape;9046;p76"/>
          <p:cNvGrpSpPr/>
          <p:nvPr/>
        </p:nvGrpSpPr>
        <p:grpSpPr>
          <a:xfrm>
            <a:off x="6584154" y="3827060"/>
            <a:ext cx="388966" cy="388966"/>
            <a:chOff x="1190625" y="238125"/>
            <a:chExt cx="5235075" cy="5235075"/>
          </a:xfrm>
        </p:grpSpPr>
        <p:sp>
          <p:nvSpPr>
            <p:cNvPr id="9047" name="Google Shape;9047;p76"/>
            <p:cNvSpPr/>
            <p:nvPr/>
          </p:nvSpPr>
          <p:spPr>
            <a:xfrm>
              <a:off x="2315100" y="1168900"/>
              <a:ext cx="2952100" cy="3373700"/>
            </a:xfrm>
            <a:custGeom>
              <a:avLst/>
              <a:gdLst/>
              <a:ahLst/>
              <a:cxnLst/>
              <a:rect l="l" t="t" r="r" b="b"/>
              <a:pathLst>
                <a:path w="118084" h="134948" extrusionOk="0">
                  <a:moveTo>
                    <a:pt x="69703" y="1"/>
                  </a:moveTo>
                  <a:cubicBezTo>
                    <a:pt x="69732" y="18483"/>
                    <a:pt x="69791" y="73192"/>
                    <a:pt x="69614" y="94277"/>
                  </a:cubicBezTo>
                  <a:cubicBezTo>
                    <a:pt x="69555" y="101848"/>
                    <a:pt x="66627" y="108827"/>
                    <a:pt x="61393" y="113914"/>
                  </a:cubicBezTo>
                  <a:cubicBezTo>
                    <a:pt x="56291" y="118871"/>
                    <a:pt x="49391" y="121638"/>
                    <a:pt x="41981" y="121638"/>
                  </a:cubicBezTo>
                  <a:cubicBezTo>
                    <a:pt x="41788" y="121638"/>
                    <a:pt x="41595" y="121636"/>
                    <a:pt x="41402" y="121632"/>
                  </a:cubicBezTo>
                  <a:cubicBezTo>
                    <a:pt x="26527" y="121336"/>
                    <a:pt x="14462" y="109005"/>
                    <a:pt x="14491" y="94159"/>
                  </a:cubicBezTo>
                  <a:cubicBezTo>
                    <a:pt x="14491" y="82094"/>
                    <a:pt x="22387" y="71477"/>
                    <a:pt x="33950" y="67988"/>
                  </a:cubicBezTo>
                  <a:lnTo>
                    <a:pt x="33861" y="54473"/>
                  </a:lnTo>
                  <a:cubicBezTo>
                    <a:pt x="25522" y="56070"/>
                    <a:pt x="17360" y="60949"/>
                    <a:pt x="11238" y="68224"/>
                  </a:cubicBezTo>
                  <a:cubicBezTo>
                    <a:pt x="3401" y="77480"/>
                    <a:pt x="1" y="88984"/>
                    <a:pt x="1864" y="99837"/>
                  </a:cubicBezTo>
                  <a:cubicBezTo>
                    <a:pt x="3668" y="109951"/>
                    <a:pt x="8961" y="119148"/>
                    <a:pt x="16857" y="125772"/>
                  </a:cubicBezTo>
                  <a:cubicBezTo>
                    <a:pt x="23901" y="131741"/>
                    <a:pt x="32192" y="134947"/>
                    <a:pt x="40396" y="134947"/>
                  </a:cubicBezTo>
                  <a:cubicBezTo>
                    <a:pt x="41215" y="134947"/>
                    <a:pt x="42034" y="134915"/>
                    <a:pt x="42851" y="134851"/>
                  </a:cubicBezTo>
                  <a:cubicBezTo>
                    <a:pt x="66893" y="133017"/>
                    <a:pt x="82508" y="116634"/>
                    <a:pt x="82596" y="93183"/>
                  </a:cubicBezTo>
                  <a:lnTo>
                    <a:pt x="82626" y="43738"/>
                  </a:lnTo>
                  <a:cubicBezTo>
                    <a:pt x="82626" y="40066"/>
                    <a:pt x="85620" y="37517"/>
                    <a:pt x="88833" y="37517"/>
                  </a:cubicBezTo>
                  <a:cubicBezTo>
                    <a:pt x="90045" y="37517"/>
                    <a:pt x="91289" y="37880"/>
                    <a:pt x="92414" y="38681"/>
                  </a:cubicBezTo>
                  <a:cubicBezTo>
                    <a:pt x="100014" y="44064"/>
                    <a:pt x="111163" y="46104"/>
                    <a:pt x="118083" y="46873"/>
                  </a:cubicBezTo>
                  <a:lnTo>
                    <a:pt x="118083" y="34127"/>
                  </a:lnTo>
                  <a:cubicBezTo>
                    <a:pt x="112405" y="32530"/>
                    <a:pt x="106432" y="30697"/>
                    <a:pt x="101197" y="27503"/>
                  </a:cubicBezTo>
                  <a:cubicBezTo>
                    <a:pt x="91320" y="21441"/>
                    <a:pt x="85228" y="12214"/>
                    <a:pt x="83069" y="30"/>
                  </a:cubicBezTo>
                  <a:lnTo>
                    <a:pt x="830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8" name="Google Shape;9048;p76"/>
            <p:cNvSpPr/>
            <p:nvPr/>
          </p:nvSpPr>
          <p:spPr>
            <a:xfrm>
              <a:off x="1190625" y="238125"/>
              <a:ext cx="5235075" cy="5235075"/>
            </a:xfrm>
            <a:custGeom>
              <a:avLst/>
              <a:gdLst/>
              <a:ahLst/>
              <a:cxnLst/>
              <a:rect l="l" t="t" r="r" b="b"/>
              <a:pathLst>
                <a:path w="209403" h="209403" extrusionOk="0">
                  <a:moveTo>
                    <a:pt x="108469" y="24836"/>
                  </a:moveTo>
                  <a:cubicBezTo>
                    <a:pt x="108549" y="24836"/>
                    <a:pt x="108628" y="24838"/>
                    <a:pt x="108708" y="24841"/>
                  </a:cubicBezTo>
                  <a:lnTo>
                    <a:pt x="132248" y="24841"/>
                  </a:lnTo>
                  <a:cubicBezTo>
                    <a:pt x="132267" y="24841"/>
                    <a:pt x="132287" y="24841"/>
                    <a:pt x="132306" y="24841"/>
                  </a:cubicBezTo>
                  <a:cubicBezTo>
                    <a:pt x="136154" y="24841"/>
                    <a:pt x="139377" y="27758"/>
                    <a:pt x="139789" y="31583"/>
                  </a:cubicBezTo>
                  <a:cubicBezTo>
                    <a:pt x="140794" y="42082"/>
                    <a:pt x="144993" y="49445"/>
                    <a:pt x="152653" y="54147"/>
                  </a:cubicBezTo>
                  <a:cubicBezTo>
                    <a:pt x="156556" y="56542"/>
                    <a:pt x="161406" y="57991"/>
                    <a:pt x="166463" y="59411"/>
                  </a:cubicBezTo>
                  <a:cubicBezTo>
                    <a:pt x="167557" y="59736"/>
                    <a:pt x="168651" y="59973"/>
                    <a:pt x="169775" y="60150"/>
                  </a:cubicBezTo>
                  <a:cubicBezTo>
                    <a:pt x="173028" y="60357"/>
                    <a:pt x="175512" y="63078"/>
                    <a:pt x="175453" y="66331"/>
                  </a:cubicBezTo>
                  <a:lnTo>
                    <a:pt x="175453" y="90787"/>
                  </a:lnTo>
                  <a:cubicBezTo>
                    <a:pt x="175453" y="92414"/>
                    <a:pt x="174802" y="94011"/>
                    <a:pt x="173620" y="95194"/>
                  </a:cubicBezTo>
                  <a:cubicBezTo>
                    <a:pt x="172462" y="96322"/>
                    <a:pt x="170909" y="96969"/>
                    <a:pt x="169292" y="96969"/>
                  </a:cubicBezTo>
                  <a:cubicBezTo>
                    <a:pt x="169256" y="96969"/>
                    <a:pt x="169220" y="96969"/>
                    <a:pt x="169184" y="96968"/>
                  </a:cubicBezTo>
                  <a:cubicBezTo>
                    <a:pt x="168444" y="96968"/>
                    <a:pt x="154871" y="96702"/>
                    <a:pt x="141888" y="91970"/>
                  </a:cubicBezTo>
                  <a:cubicBezTo>
                    <a:pt x="141720" y="91905"/>
                    <a:pt x="141550" y="91875"/>
                    <a:pt x="141384" y="91875"/>
                  </a:cubicBezTo>
                  <a:cubicBezTo>
                    <a:pt x="140646" y="91875"/>
                    <a:pt x="139996" y="92474"/>
                    <a:pt x="139996" y="93271"/>
                  </a:cubicBezTo>
                  <a:lnTo>
                    <a:pt x="139966" y="130444"/>
                  </a:lnTo>
                  <a:cubicBezTo>
                    <a:pt x="139848" y="160371"/>
                    <a:pt x="119265" y="182077"/>
                    <a:pt x="88776" y="184443"/>
                  </a:cubicBezTo>
                  <a:cubicBezTo>
                    <a:pt x="87653" y="184532"/>
                    <a:pt x="86529" y="184561"/>
                    <a:pt x="85405" y="184561"/>
                  </a:cubicBezTo>
                  <a:cubicBezTo>
                    <a:pt x="61481" y="184561"/>
                    <a:pt x="39095" y="164896"/>
                    <a:pt x="34629" y="139168"/>
                  </a:cubicBezTo>
                  <a:cubicBezTo>
                    <a:pt x="32116" y="124707"/>
                    <a:pt x="36522" y="109507"/>
                    <a:pt x="46724" y="97441"/>
                  </a:cubicBezTo>
                  <a:cubicBezTo>
                    <a:pt x="56803" y="85541"/>
                    <a:pt x="70647" y="78721"/>
                    <a:pt x="84747" y="78721"/>
                  </a:cubicBezTo>
                  <a:cubicBezTo>
                    <a:pt x="84839" y="78721"/>
                    <a:pt x="84930" y="78721"/>
                    <a:pt x="85021" y="78722"/>
                  </a:cubicBezTo>
                  <a:cubicBezTo>
                    <a:pt x="88392" y="78722"/>
                    <a:pt x="91142" y="81472"/>
                    <a:pt x="91172" y="84873"/>
                  </a:cubicBezTo>
                  <a:lnTo>
                    <a:pt x="91349" y="108856"/>
                  </a:lnTo>
                  <a:cubicBezTo>
                    <a:pt x="91349" y="112641"/>
                    <a:pt x="88658" y="116013"/>
                    <a:pt x="84902" y="116545"/>
                  </a:cubicBezTo>
                  <a:cubicBezTo>
                    <a:pt x="77125" y="117580"/>
                    <a:pt x="71447" y="124441"/>
                    <a:pt x="71890" y="132277"/>
                  </a:cubicBezTo>
                  <a:cubicBezTo>
                    <a:pt x="72334" y="140114"/>
                    <a:pt x="78751" y="146295"/>
                    <a:pt x="86618" y="146443"/>
                  </a:cubicBezTo>
                  <a:cubicBezTo>
                    <a:pt x="86736" y="146445"/>
                    <a:pt x="86855" y="146446"/>
                    <a:pt x="86973" y="146446"/>
                  </a:cubicBezTo>
                  <a:cubicBezTo>
                    <a:pt x="91096" y="146446"/>
                    <a:pt x="94919" y="144946"/>
                    <a:pt x="97707" y="142243"/>
                  </a:cubicBezTo>
                  <a:cubicBezTo>
                    <a:pt x="100605" y="139434"/>
                    <a:pt x="102143" y="135619"/>
                    <a:pt x="102173" y="131390"/>
                  </a:cubicBezTo>
                  <a:cubicBezTo>
                    <a:pt x="102380" y="106047"/>
                    <a:pt x="102291" y="31790"/>
                    <a:pt x="102291" y="31051"/>
                  </a:cubicBezTo>
                  <a:cubicBezTo>
                    <a:pt x="102291" y="28419"/>
                    <a:pt x="103917" y="26083"/>
                    <a:pt x="106401" y="25196"/>
                  </a:cubicBezTo>
                  <a:cubicBezTo>
                    <a:pt x="107067" y="24956"/>
                    <a:pt x="107756" y="24836"/>
                    <a:pt x="108469" y="24836"/>
                  </a:cubicBezTo>
                  <a:close/>
                  <a:moveTo>
                    <a:pt x="33831" y="0"/>
                  </a:moveTo>
                  <a:cubicBezTo>
                    <a:pt x="15141" y="0"/>
                    <a:pt x="0" y="15141"/>
                    <a:pt x="0" y="33831"/>
                  </a:cubicBezTo>
                  <a:lnTo>
                    <a:pt x="0" y="175601"/>
                  </a:lnTo>
                  <a:cubicBezTo>
                    <a:pt x="0" y="194261"/>
                    <a:pt x="15141" y="209402"/>
                    <a:pt x="33831" y="209402"/>
                  </a:cubicBezTo>
                  <a:lnTo>
                    <a:pt x="175601" y="209402"/>
                  </a:lnTo>
                  <a:cubicBezTo>
                    <a:pt x="194261" y="209402"/>
                    <a:pt x="209402" y="194261"/>
                    <a:pt x="209402" y="175601"/>
                  </a:cubicBezTo>
                  <a:lnTo>
                    <a:pt x="209402" y="33831"/>
                  </a:lnTo>
                  <a:cubicBezTo>
                    <a:pt x="209402" y="15141"/>
                    <a:pt x="194261" y="0"/>
                    <a:pt x="1756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9052"/>
        <p:cNvGrpSpPr/>
        <p:nvPr/>
      </p:nvGrpSpPr>
      <p:grpSpPr>
        <a:xfrm>
          <a:off x="0" y="0"/>
          <a:ext cx="0" cy="0"/>
          <a:chOff x="0" y="0"/>
          <a:chExt cx="0" cy="0"/>
        </a:xfrm>
      </p:grpSpPr>
      <p:pic>
        <p:nvPicPr>
          <p:cNvPr id="9053" name="Google Shape;9053;p77">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Log Reg (Anna) </a:t>
            </a:r>
            <a:endParaRPr lang="en-AT" sz="2000" dirty="0"/>
          </a:p>
        </p:txBody>
      </p:sp>
      <p:grpSp>
        <p:nvGrpSpPr>
          <p:cNvPr id="5" name="Google Shape;2269;p64">
            <a:extLst>
              <a:ext uri="{FF2B5EF4-FFF2-40B4-BE49-F238E27FC236}">
                <a16:creationId xmlns:a16="http://schemas.microsoft.com/office/drawing/2014/main" id="{6D30CC6D-B19A-759E-F901-E588F6A5A205}"/>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8B500FDD-966E-04CB-D237-E4FE36264E0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7" name="Google Shape;2271;p64">
              <a:extLst>
                <a:ext uri="{FF2B5EF4-FFF2-40B4-BE49-F238E27FC236}">
                  <a16:creationId xmlns:a16="http://schemas.microsoft.com/office/drawing/2014/main" id="{9F5E5B23-6F3C-9A84-4F48-9B87AFFC0C93}"/>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2;p64">
              <a:extLst>
                <a:ext uri="{FF2B5EF4-FFF2-40B4-BE49-F238E27FC236}">
                  <a16:creationId xmlns:a16="http://schemas.microsoft.com/office/drawing/2014/main" id="{21E0D017-9022-E3AC-2812-78C75AF98FE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3;p64">
              <a:extLst>
                <a:ext uri="{FF2B5EF4-FFF2-40B4-BE49-F238E27FC236}">
                  <a16:creationId xmlns:a16="http://schemas.microsoft.com/office/drawing/2014/main" id="{5B11BE4B-0245-CA27-2E44-EE605B8DCB3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 name="Picture 2" descr="Zivil- und Zivilverfahrensrecht - WU (Wirtschaftsuniversität Wien)">
            <a:extLst>
              <a:ext uri="{FF2B5EF4-FFF2-40B4-BE49-F238E27FC236}">
                <a16:creationId xmlns:a16="http://schemas.microsoft.com/office/drawing/2014/main" id="{9FC61571-B2EA-F736-FB12-41A0CF0765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6044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b="1" dirty="0">
                <a:solidFill>
                  <a:schemeClr val="tx2"/>
                </a:solidFill>
              </a:rPr>
              <a:t>Starting Position is the most impactful factor for Finishing well in the race</a:t>
            </a:r>
            <a:endParaRPr lang="en-AT" sz="2000" b="1" dirty="0">
              <a:solidFill>
                <a:schemeClr val="tx2"/>
              </a:solidFill>
            </a:endParaRPr>
          </a:p>
        </p:txBody>
      </p:sp>
      <p:grpSp>
        <p:nvGrpSpPr>
          <p:cNvPr id="12" name="Group 11">
            <a:extLst>
              <a:ext uri="{FF2B5EF4-FFF2-40B4-BE49-F238E27FC236}">
                <a16:creationId xmlns:a16="http://schemas.microsoft.com/office/drawing/2014/main" id="{4E0DAD4F-43A9-7005-2A79-B877CE80EDAD}"/>
              </a:ext>
            </a:extLst>
          </p:cNvPr>
          <p:cNvGrpSpPr/>
          <p:nvPr/>
        </p:nvGrpSpPr>
        <p:grpSpPr>
          <a:xfrm>
            <a:off x="425219" y="1355053"/>
            <a:ext cx="3972619" cy="2892288"/>
            <a:chOff x="524842" y="837185"/>
            <a:chExt cx="4987754" cy="4052598"/>
          </a:xfrm>
        </p:grpSpPr>
        <p:pic>
          <p:nvPicPr>
            <p:cNvPr id="5" name="Graphic 4">
              <a:extLst>
                <a:ext uri="{FF2B5EF4-FFF2-40B4-BE49-F238E27FC236}">
                  <a16:creationId xmlns:a16="http://schemas.microsoft.com/office/drawing/2014/main" id="{3FECE666-CFAF-9869-C894-8E3E66CB1D1F}"/>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 t="6362" r="-501" b="1900"/>
            <a:stretch/>
          </p:blipFill>
          <p:spPr>
            <a:xfrm>
              <a:off x="524842" y="837185"/>
              <a:ext cx="4439717" cy="4052598"/>
            </a:xfrm>
            <a:prstGeom prst="rect">
              <a:avLst/>
            </a:prstGeom>
          </p:spPr>
        </p:pic>
        <p:sp>
          <p:nvSpPr>
            <p:cNvPr id="8" name="TextBox 7">
              <a:extLst>
                <a:ext uri="{FF2B5EF4-FFF2-40B4-BE49-F238E27FC236}">
                  <a16:creationId xmlns:a16="http://schemas.microsoft.com/office/drawing/2014/main" id="{93BBD1FA-B270-E790-9A95-CFDA97EA47A2}"/>
                </a:ext>
              </a:extLst>
            </p:cNvPr>
            <p:cNvSpPr txBox="1"/>
            <p:nvPr/>
          </p:nvSpPr>
          <p:spPr>
            <a:xfrm>
              <a:off x="2399156" y="1900481"/>
              <a:ext cx="1416844" cy="431249"/>
            </a:xfrm>
            <a:prstGeom prst="rect">
              <a:avLst/>
            </a:prstGeom>
            <a:noFill/>
          </p:spPr>
          <p:txBody>
            <a:bodyPr wrap="square" rtlCol="0">
              <a:spAutoFit/>
            </a:bodyPr>
            <a:lstStyle/>
            <a:p>
              <a:r>
                <a:rPr lang="en-GB" sz="700" i="1" dirty="0">
                  <a:solidFill>
                    <a:schemeClr val="tx2"/>
                  </a:solidFill>
                </a:rPr>
                <a:t>Well know teams</a:t>
              </a:r>
            </a:p>
            <a:p>
              <a:r>
                <a:rPr lang="en-GB" sz="700" i="1" dirty="0">
                  <a:solidFill>
                    <a:schemeClr val="tx2"/>
                  </a:solidFill>
                </a:rPr>
                <a:t>(e.g. Ferrari, Red Bull) </a:t>
              </a:r>
            </a:p>
          </p:txBody>
        </p:sp>
        <p:sp>
          <p:nvSpPr>
            <p:cNvPr id="9" name="TextBox 8">
              <a:extLst>
                <a:ext uri="{FF2B5EF4-FFF2-40B4-BE49-F238E27FC236}">
                  <a16:creationId xmlns:a16="http://schemas.microsoft.com/office/drawing/2014/main" id="{7BC7463B-9C72-E5EB-477D-25CDB93366B2}"/>
                </a:ext>
              </a:extLst>
            </p:cNvPr>
            <p:cNvSpPr txBox="1"/>
            <p:nvPr/>
          </p:nvSpPr>
          <p:spPr>
            <a:xfrm>
              <a:off x="4114005" y="1914767"/>
              <a:ext cx="1148560" cy="431249"/>
            </a:xfrm>
            <a:prstGeom prst="rect">
              <a:avLst/>
            </a:prstGeom>
            <a:noFill/>
          </p:spPr>
          <p:txBody>
            <a:bodyPr wrap="square" rtlCol="0">
              <a:spAutoFit/>
            </a:bodyPr>
            <a:lstStyle/>
            <a:p>
              <a:r>
                <a:rPr lang="en-GB" sz="700" i="1" dirty="0">
                  <a:solidFill>
                    <a:schemeClr val="tx2"/>
                  </a:solidFill>
                </a:rPr>
                <a:t>Less know teams</a:t>
              </a:r>
            </a:p>
            <a:p>
              <a:r>
                <a:rPr lang="en-GB" sz="700" i="1" dirty="0">
                  <a:solidFill>
                    <a:schemeClr val="tx2"/>
                  </a:solidFill>
                </a:rPr>
                <a:t>(e.g. Haas)</a:t>
              </a:r>
            </a:p>
          </p:txBody>
        </p:sp>
        <p:sp>
          <p:nvSpPr>
            <p:cNvPr id="10" name="TextBox 9">
              <a:extLst>
                <a:ext uri="{FF2B5EF4-FFF2-40B4-BE49-F238E27FC236}">
                  <a16:creationId xmlns:a16="http://schemas.microsoft.com/office/drawing/2014/main" id="{F0CE823A-864A-1AA1-E4E0-DC8FB6F5EBFC}"/>
                </a:ext>
              </a:extLst>
            </p:cNvPr>
            <p:cNvSpPr txBox="1"/>
            <p:nvPr/>
          </p:nvSpPr>
          <p:spPr>
            <a:xfrm>
              <a:off x="1740059" y="2714153"/>
              <a:ext cx="1473149" cy="431249"/>
            </a:xfrm>
            <a:prstGeom prst="rect">
              <a:avLst/>
            </a:prstGeom>
            <a:noFill/>
          </p:spPr>
          <p:txBody>
            <a:bodyPr wrap="square" rtlCol="0">
              <a:spAutoFit/>
            </a:bodyPr>
            <a:lstStyle/>
            <a:p>
              <a:r>
                <a:rPr lang="en-GB" sz="700" i="1" dirty="0">
                  <a:solidFill>
                    <a:schemeClr val="tx2"/>
                  </a:solidFill>
                </a:rPr>
                <a:t>Very successful drivers</a:t>
              </a:r>
            </a:p>
            <a:p>
              <a:r>
                <a:rPr lang="en-GB" sz="700" i="1" dirty="0">
                  <a:solidFill>
                    <a:schemeClr val="tx2"/>
                  </a:solidFill>
                </a:rPr>
                <a:t>(e.g. Hamilton, Alonso) </a:t>
              </a:r>
            </a:p>
          </p:txBody>
        </p:sp>
        <p:sp>
          <p:nvSpPr>
            <p:cNvPr id="11" name="TextBox 10">
              <a:extLst>
                <a:ext uri="{FF2B5EF4-FFF2-40B4-BE49-F238E27FC236}">
                  <a16:creationId xmlns:a16="http://schemas.microsoft.com/office/drawing/2014/main" id="{DD5CAC0E-D735-7D13-73F8-1A74E8DB3C4D}"/>
                </a:ext>
              </a:extLst>
            </p:cNvPr>
            <p:cNvSpPr txBox="1"/>
            <p:nvPr/>
          </p:nvSpPr>
          <p:spPr>
            <a:xfrm>
              <a:off x="4260058" y="2927190"/>
              <a:ext cx="1252538" cy="280312"/>
            </a:xfrm>
            <a:prstGeom prst="rect">
              <a:avLst/>
            </a:prstGeom>
            <a:noFill/>
          </p:spPr>
          <p:txBody>
            <a:bodyPr wrap="square" rtlCol="0">
              <a:spAutoFit/>
            </a:bodyPr>
            <a:lstStyle/>
            <a:p>
              <a:r>
                <a:rPr lang="en-GB" sz="700" i="1" dirty="0">
                  <a:solidFill>
                    <a:schemeClr val="tx2"/>
                  </a:solidFill>
                </a:rPr>
                <a:t>All other drivers</a:t>
              </a:r>
            </a:p>
          </p:txBody>
        </p:sp>
      </p:grpSp>
      <p:pic>
        <p:nvPicPr>
          <p:cNvPr id="2" name="Graphic 1">
            <a:extLst>
              <a:ext uri="{FF2B5EF4-FFF2-40B4-BE49-F238E27FC236}">
                <a16:creationId xmlns:a16="http://schemas.microsoft.com/office/drawing/2014/main" id="{9B25E45B-7158-9B88-9DEF-5112451240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63358" y="1429647"/>
            <a:ext cx="2895000" cy="2895000"/>
          </a:xfrm>
          <a:prstGeom prst="rect">
            <a:avLst/>
          </a:prstGeom>
        </p:spPr>
      </p:pic>
      <p:grpSp>
        <p:nvGrpSpPr>
          <p:cNvPr id="4" name="Google Shape;2269;p64">
            <a:extLst>
              <a:ext uri="{FF2B5EF4-FFF2-40B4-BE49-F238E27FC236}">
                <a16:creationId xmlns:a16="http://schemas.microsoft.com/office/drawing/2014/main" id="{F4635B62-FD8E-D836-36D5-92624B5A1CE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5FBB157F-48D1-1AC4-DEF4-7BE66E84DC87}"/>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7. Trees &amp; Forest </a:t>
              </a:r>
              <a:endParaRPr sz="900" dirty="0"/>
            </a:p>
          </p:txBody>
        </p:sp>
        <p:sp>
          <p:nvSpPr>
            <p:cNvPr id="7" name="Google Shape;2271;p64">
              <a:extLst>
                <a:ext uri="{FF2B5EF4-FFF2-40B4-BE49-F238E27FC236}">
                  <a16:creationId xmlns:a16="http://schemas.microsoft.com/office/drawing/2014/main" id="{83B48E02-F7F8-1469-5BF7-DE652673D3A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72;p64">
              <a:extLst>
                <a:ext uri="{FF2B5EF4-FFF2-40B4-BE49-F238E27FC236}">
                  <a16:creationId xmlns:a16="http://schemas.microsoft.com/office/drawing/2014/main" id="{0E59BABB-673D-1FE1-2DC7-C4AEFDD667F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73;p64">
              <a:extLst>
                <a:ext uri="{FF2B5EF4-FFF2-40B4-BE49-F238E27FC236}">
                  <a16:creationId xmlns:a16="http://schemas.microsoft.com/office/drawing/2014/main" id="{11902D99-523D-544B-821B-90D57D64D03C}"/>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7" name="Picture 2" descr="Zivil- und Zivilverfahrensrecht - WU (Wirtschaftsuniversität Wien)">
            <a:extLst>
              <a:ext uri="{FF2B5EF4-FFF2-40B4-BE49-F238E27FC236}">
                <a16:creationId xmlns:a16="http://schemas.microsoft.com/office/drawing/2014/main" id="{AB250E55-9C7A-637B-63D7-5D82BB2F7CC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A511B77-F55A-11BF-36EF-5D7A7CE7D8FD}"/>
              </a:ext>
            </a:extLst>
          </p:cNvPr>
          <p:cNvSpPr txBox="1"/>
          <p:nvPr/>
        </p:nvSpPr>
        <p:spPr>
          <a:xfrm>
            <a:off x="619230" y="1047276"/>
            <a:ext cx="3213751" cy="307777"/>
          </a:xfrm>
          <a:prstGeom prst="rect">
            <a:avLst/>
          </a:prstGeom>
          <a:noFill/>
        </p:spPr>
        <p:txBody>
          <a:bodyPr wrap="square" rtlCol="0">
            <a:spAutoFit/>
          </a:bodyPr>
          <a:lstStyle/>
          <a:p>
            <a:r>
              <a:rPr lang="en-GB" b="1" dirty="0">
                <a:solidFill>
                  <a:schemeClr val="tx2"/>
                </a:solidFill>
              </a:rPr>
              <a:t>Pruned tree</a:t>
            </a:r>
          </a:p>
        </p:txBody>
      </p:sp>
      <p:sp>
        <p:nvSpPr>
          <p:cNvPr id="19" name="TextBox 18">
            <a:extLst>
              <a:ext uri="{FF2B5EF4-FFF2-40B4-BE49-F238E27FC236}">
                <a16:creationId xmlns:a16="http://schemas.microsoft.com/office/drawing/2014/main" id="{63FB0236-B4ED-FF6F-9320-6ED95093B065}"/>
              </a:ext>
            </a:extLst>
          </p:cNvPr>
          <p:cNvSpPr txBox="1"/>
          <p:nvPr/>
        </p:nvSpPr>
        <p:spPr>
          <a:xfrm>
            <a:off x="5353653" y="1047276"/>
            <a:ext cx="3213751" cy="307777"/>
          </a:xfrm>
          <a:prstGeom prst="rect">
            <a:avLst/>
          </a:prstGeom>
          <a:noFill/>
        </p:spPr>
        <p:txBody>
          <a:bodyPr wrap="square" rtlCol="0">
            <a:spAutoFit/>
          </a:bodyPr>
          <a:lstStyle/>
          <a:p>
            <a:r>
              <a:rPr lang="en-GB" b="1" dirty="0">
                <a:solidFill>
                  <a:schemeClr val="tx2"/>
                </a:solidFill>
              </a:rPr>
              <a:t>Random forest</a:t>
            </a:r>
          </a:p>
        </p:txBody>
      </p:sp>
      <p:cxnSp>
        <p:nvCxnSpPr>
          <p:cNvPr id="21" name="Straight Connector 20">
            <a:extLst>
              <a:ext uri="{FF2B5EF4-FFF2-40B4-BE49-F238E27FC236}">
                <a16:creationId xmlns:a16="http://schemas.microsoft.com/office/drawing/2014/main" id="{986B6B5F-0E0D-18F4-6D69-6F9E097215F6}"/>
              </a:ext>
            </a:extLst>
          </p:cNvPr>
          <p:cNvCxnSpPr>
            <a:cxnSpLocks/>
          </p:cNvCxnSpPr>
          <p:nvPr/>
        </p:nvCxnSpPr>
        <p:spPr>
          <a:xfrm>
            <a:off x="4572000" y="1521020"/>
            <a:ext cx="0" cy="3287638"/>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D80E55B9-7DAF-B5AE-6160-5C986650D29A}"/>
              </a:ext>
            </a:extLst>
          </p:cNvPr>
          <p:cNvGrpSpPr/>
          <p:nvPr/>
        </p:nvGrpSpPr>
        <p:grpSpPr>
          <a:xfrm>
            <a:off x="308900" y="4285757"/>
            <a:ext cx="3653970" cy="584137"/>
            <a:chOff x="308900" y="4360567"/>
            <a:chExt cx="3653970" cy="584137"/>
          </a:xfrm>
        </p:grpSpPr>
        <p:sp>
          <p:nvSpPr>
            <p:cNvPr id="24" name="TextBox 23">
              <a:extLst>
                <a:ext uri="{FF2B5EF4-FFF2-40B4-BE49-F238E27FC236}">
                  <a16:creationId xmlns:a16="http://schemas.microsoft.com/office/drawing/2014/main" id="{8C6A0061-5759-8031-7327-7EF918D5F88D}"/>
                </a:ext>
              </a:extLst>
            </p:cNvPr>
            <p:cNvSpPr txBox="1"/>
            <p:nvPr/>
          </p:nvSpPr>
          <p:spPr>
            <a:xfrm>
              <a:off x="797257" y="4421803"/>
              <a:ext cx="3165613" cy="461665"/>
            </a:xfrm>
            <a:prstGeom prst="rect">
              <a:avLst/>
            </a:prstGeom>
            <a:noFill/>
          </p:spPr>
          <p:txBody>
            <a:bodyPr wrap="square" rtlCol="0">
              <a:spAutoFit/>
            </a:bodyPr>
            <a:lstStyle/>
            <a:p>
              <a:r>
                <a:rPr lang="en-GB" sz="1200" b="0" i="0" dirty="0">
                  <a:solidFill>
                    <a:schemeClr val="tx2"/>
                  </a:solidFill>
                  <a:effectLst/>
                  <a:latin typeface="Söhne"/>
                </a:rPr>
                <a:t>Starting </a:t>
              </a:r>
              <a:r>
                <a:rPr lang="en-GB" sz="1200" b="1" i="0" dirty="0">
                  <a:solidFill>
                    <a:schemeClr val="tx2"/>
                  </a:solidFill>
                  <a:effectLst/>
                  <a:latin typeface="Söhne"/>
                </a:rPr>
                <a:t>within the top 10</a:t>
              </a:r>
              <a:r>
                <a:rPr lang="en-GB" sz="1200" b="0" i="0" dirty="0">
                  <a:solidFill>
                    <a:schemeClr val="tx2"/>
                  </a:solidFill>
                  <a:effectLst/>
                  <a:latin typeface="Söhne"/>
                </a:rPr>
                <a:t>, particularly the </a:t>
              </a:r>
              <a:r>
                <a:rPr lang="en-GB" sz="1200" b="1" i="0" dirty="0">
                  <a:solidFill>
                    <a:schemeClr val="tx2"/>
                  </a:solidFill>
                  <a:effectLst/>
                  <a:latin typeface="Söhne"/>
                </a:rPr>
                <a:t>top 5</a:t>
              </a:r>
              <a:r>
                <a:rPr lang="en-GB" sz="1200" b="0" i="0" dirty="0">
                  <a:solidFill>
                    <a:schemeClr val="tx2"/>
                  </a:solidFill>
                  <a:effectLst/>
                  <a:latin typeface="Söhne"/>
                </a:rPr>
                <a:t>, increases the chance of a </a:t>
              </a:r>
              <a:r>
                <a:rPr lang="en-GB" sz="1200" b="1" i="0" dirty="0">
                  <a:solidFill>
                    <a:schemeClr val="tx2"/>
                  </a:solidFill>
                  <a:effectLst/>
                  <a:latin typeface="Söhne"/>
                </a:rPr>
                <a:t>strong finish</a:t>
              </a:r>
              <a:r>
                <a:rPr lang="en-GB" sz="1200" b="0" i="0" dirty="0">
                  <a:solidFill>
                    <a:schemeClr val="tx2"/>
                  </a:solidFill>
                  <a:effectLst/>
                  <a:latin typeface="Söhne"/>
                </a:rPr>
                <a:t>.</a:t>
              </a:r>
              <a:endParaRPr lang="en-GB" sz="1200" dirty="0">
                <a:solidFill>
                  <a:schemeClr val="tx2"/>
                </a:solidFill>
              </a:endParaRPr>
            </a:p>
          </p:txBody>
        </p:sp>
        <p:pic>
          <p:nvPicPr>
            <p:cNvPr id="26" name="Graphic 25" descr="Caret Right with solid fill">
              <a:extLst>
                <a:ext uri="{FF2B5EF4-FFF2-40B4-BE49-F238E27FC236}">
                  <a16:creationId xmlns:a16="http://schemas.microsoft.com/office/drawing/2014/main" id="{9C4E7F12-A414-3747-86A1-5CA2008BFF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8900" y="4360567"/>
              <a:ext cx="584137" cy="584137"/>
            </a:xfrm>
            <a:prstGeom prst="rect">
              <a:avLst/>
            </a:prstGeom>
          </p:spPr>
        </p:pic>
      </p:grpSp>
      <p:grpSp>
        <p:nvGrpSpPr>
          <p:cNvPr id="32" name="Group 31">
            <a:extLst>
              <a:ext uri="{FF2B5EF4-FFF2-40B4-BE49-F238E27FC236}">
                <a16:creationId xmlns:a16="http://schemas.microsoft.com/office/drawing/2014/main" id="{272C03CA-2EB5-1733-EAB6-A29A9D399584}"/>
              </a:ext>
            </a:extLst>
          </p:cNvPr>
          <p:cNvGrpSpPr/>
          <p:nvPr/>
        </p:nvGrpSpPr>
        <p:grpSpPr>
          <a:xfrm>
            <a:off x="4913434" y="4285757"/>
            <a:ext cx="3653970" cy="584137"/>
            <a:chOff x="4913434" y="4250706"/>
            <a:chExt cx="3653970" cy="584137"/>
          </a:xfrm>
        </p:grpSpPr>
        <p:sp>
          <p:nvSpPr>
            <p:cNvPr id="27" name="TextBox 26">
              <a:extLst>
                <a:ext uri="{FF2B5EF4-FFF2-40B4-BE49-F238E27FC236}">
                  <a16:creationId xmlns:a16="http://schemas.microsoft.com/office/drawing/2014/main" id="{FE670E52-1C94-88BB-80B2-AC021565F635}"/>
                </a:ext>
              </a:extLst>
            </p:cNvPr>
            <p:cNvSpPr txBox="1"/>
            <p:nvPr/>
          </p:nvSpPr>
          <p:spPr>
            <a:xfrm>
              <a:off x="5401791" y="4311942"/>
              <a:ext cx="3165613" cy="461665"/>
            </a:xfrm>
            <a:prstGeom prst="rect">
              <a:avLst/>
            </a:prstGeom>
            <a:noFill/>
          </p:spPr>
          <p:txBody>
            <a:bodyPr wrap="square" rtlCol="0">
              <a:spAutoFit/>
            </a:bodyPr>
            <a:lstStyle/>
            <a:p>
              <a:r>
                <a:rPr lang="en-GB" sz="1200" b="0" i="0" dirty="0">
                  <a:solidFill>
                    <a:schemeClr val="tx2"/>
                  </a:solidFill>
                  <a:effectLst/>
                  <a:latin typeface="Söhne"/>
                </a:rPr>
                <a:t>Getting a </a:t>
              </a:r>
              <a:r>
                <a:rPr lang="en-GB" sz="1200" b="1" i="0" dirty="0">
                  <a:solidFill>
                    <a:schemeClr val="tx2"/>
                  </a:solidFill>
                  <a:effectLst/>
                  <a:latin typeface="Söhne"/>
                </a:rPr>
                <a:t>good starting position </a:t>
              </a:r>
              <a:r>
                <a:rPr lang="en-GB" sz="1200" b="0" i="0" dirty="0">
                  <a:solidFill>
                    <a:schemeClr val="tx2"/>
                  </a:solidFill>
                  <a:effectLst/>
                  <a:latin typeface="Söhne"/>
                </a:rPr>
                <a:t>has, by far the </a:t>
              </a:r>
              <a:r>
                <a:rPr lang="en-GB" sz="1200" b="1" i="0" dirty="0">
                  <a:solidFill>
                    <a:schemeClr val="tx2"/>
                  </a:solidFill>
                  <a:effectLst/>
                  <a:latin typeface="Söhne"/>
                </a:rPr>
                <a:t>highest importance </a:t>
              </a:r>
              <a:r>
                <a:rPr lang="en-GB" sz="1200" b="0" i="0" dirty="0">
                  <a:solidFill>
                    <a:schemeClr val="tx2"/>
                  </a:solidFill>
                  <a:effectLst/>
                  <a:latin typeface="Söhne"/>
                </a:rPr>
                <a:t>in our forest</a:t>
              </a:r>
              <a:endParaRPr lang="en-GB" sz="1200" dirty="0">
                <a:solidFill>
                  <a:schemeClr val="tx2"/>
                </a:solidFill>
              </a:endParaRPr>
            </a:p>
          </p:txBody>
        </p:sp>
        <p:pic>
          <p:nvPicPr>
            <p:cNvPr id="28" name="Graphic 27" descr="Caret Right with solid fill">
              <a:extLst>
                <a:ext uri="{FF2B5EF4-FFF2-40B4-BE49-F238E27FC236}">
                  <a16:creationId xmlns:a16="http://schemas.microsoft.com/office/drawing/2014/main" id="{2410557B-06E5-2A92-5541-7A3657A162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13434" y="4250706"/>
              <a:ext cx="584137" cy="584137"/>
            </a:xfrm>
            <a:prstGeom prst="rect">
              <a:avLst/>
            </a:prstGeom>
          </p:spPr>
        </p:pic>
      </p:grpSp>
      <p:sp>
        <p:nvSpPr>
          <p:cNvPr id="33" name="Rectangle 32">
            <a:extLst>
              <a:ext uri="{FF2B5EF4-FFF2-40B4-BE49-F238E27FC236}">
                <a16:creationId xmlns:a16="http://schemas.microsoft.com/office/drawing/2014/main" id="{C0D197BB-0FAB-8C2E-C4C6-B794B1EB78AD}"/>
              </a:ext>
            </a:extLst>
          </p:cNvPr>
          <p:cNvSpPr/>
          <p:nvPr/>
        </p:nvSpPr>
        <p:spPr>
          <a:xfrm>
            <a:off x="7822406" y="1790655"/>
            <a:ext cx="148543" cy="2081258"/>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BA9C1666-72DE-12C0-5A72-B54F437E0CEA}"/>
              </a:ext>
            </a:extLst>
          </p:cNvPr>
          <p:cNvSpPr/>
          <p:nvPr/>
        </p:nvSpPr>
        <p:spPr>
          <a:xfrm>
            <a:off x="1653053" y="1350791"/>
            <a:ext cx="366713" cy="230997"/>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085B580A-99BC-2DCE-9076-1B3886E23477}"/>
              </a:ext>
            </a:extLst>
          </p:cNvPr>
          <p:cNvSpPr/>
          <p:nvPr/>
        </p:nvSpPr>
        <p:spPr>
          <a:xfrm>
            <a:off x="966721" y="1969810"/>
            <a:ext cx="366713" cy="230997"/>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3469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ACE286-0BCB-DB8B-FD8A-28DB4D233232}"/>
              </a:ext>
            </a:extLst>
          </p:cNvPr>
          <p:cNvGraphicFramePr>
            <a:graphicFrameLocks noChangeAspect="1"/>
          </p:cNvGraphicFramePr>
          <p:nvPr>
            <p:custDataLst>
              <p:tags r:id="rId1"/>
            </p:custDataLst>
            <p:extLst>
              <p:ext uri="{D42A27DB-BD31-4B8C-83A1-F6EECF244321}">
                <p14:modId xmlns:p14="http://schemas.microsoft.com/office/powerpoint/2010/main" val="137858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3" progId="TCLayout.ActiveDocument.1">
                  <p:embed/>
                </p:oleObj>
              </mc:Choice>
              <mc:Fallback>
                <p:oleObj name="think-cell Slide" r:id="rId4" imgW="410" imgH="403" progId="TCLayout.ActiveDocument.1">
                  <p:embed/>
                  <p:pic>
                    <p:nvPicPr>
                      <p:cNvPr id="9" name="think-cell data - do not delete" hidden="1">
                        <a:extLst>
                          <a:ext uri="{FF2B5EF4-FFF2-40B4-BE49-F238E27FC236}">
                            <a16:creationId xmlns:a16="http://schemas.microsoft.com/office/drawing/2014/main" id="{7DACE286-0BCB-DB8B-FD8A-28DB4D2332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0E3A6C-A6AE-B1CC-0940-7A3C8282B373}"/>
              </a:ext>
            </a:extLst>
          </p:cNvPr>
          <p:cNvSpPr>
            <a:spLocks noGrp="1"/>
          </p:cNvSpPr>
          <p:nvPr>
            <p:ph type="title"/>
          </p:nvPr>
        </p:nvSpPr>
        <p:spPr>
          <a:xfrm>
            <a:off x="611592" y="346751"/>
            <a:ext cx="7704000" cy="572700"/>
          </a:xfrm>
        </p:spPr>
        <p:txBody>
          <a:bodyPr vert="horz"/>
          <a:lstStyle/>
          <a:p>
            <a:r>
              <a:rPr lang="en-GB" b="1" dirty="0"/>
              <a:t>Using the Random Forest to predict: How well will Lewis Hamilton perform with Ferrari in 2025</a:t>
            </a:r>
          </a:p>
        </p:txBody>
      </p:sp>
      <p:grpSp>
        <p:nvGrpSpPr>
          <p:cNvPr id="3" name="Google Shape;2269;p64">
            <a:extLst>
              <a:ext uri="{FF2B5EF4-FFF2-40B4-BE49-F238E27FC236}">
                <a16:creationId xmlns:a16="http://schemas.microsoft.com/office/drawing/2014/main" id="{9B79F974-20A5-4A43-B340-0B7BD2796BD6}"/>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C23EA9D2-23D9-795C-702A-AB730499B19D}"/>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7. Trees &amp; Forest </a:t>
              </a:r>
              <a:endParaRPr sz="900" dirty="0"/>
            </a:p>
          </p:txBody>
        </p:sp>
        <p:sp>
          <p:nvSpPr>
            <p:cNvPr id="5" name="Google Shape;2271;p64">
              <a:extLst>
                <a:ext uri="{FF2B5EF4-FFF2-40B4-BE49-F238E27FC236}">
                  <a16:creationId xmlns:a16="http://schemas.microsoft.com/office/drawing/2014/main" id="{581AD698-DC98-E624-BCC4-4605FEB224C9}"/>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56E46ABC-96A1-AAC8-57DE-91000036BEA0}"/>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D78B3453-4D79-1483-401E-648091DBA2AA}"/>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TextBox 27">
            <a:extLst>
              <a:ext uri="{FF2B5EF4-FFF2-40B4-BE49-F238E27FC236}">
                <a16:creationId xmlns:a16="http://schemas.microsoft.com/office/drawing/2014/main" id="{3FFF897D-EE18-A3D8-7B2F-BF2DC5A0E014}"/>
              </a:ext>
            </a:extLst>
          </p:cNvPr>
          <p:cNvSpPr txBox="1"/>
          <p:nvPr/>
        </p:nvSpPr>
        <p:spPr>
          <a:xfrm>
            <a:off x="611592" y="1049700"/>
            <a:ext cx="3748157" cy="307777"/>
          </a:xfrm>
          <a:prstGeom prst="rect">
            <a:avLst/>
          </a:prstGeom>
          <a:noFill/>
        </p:spPr>
        <p:txBody>
          <a:bodyPr wrap="square" rtlCol="0">
            <a:spAutoFit/>
          </a:bodyPr>
          <a:lstStyle/>
          <a:p>
            <a:r>
              <a:rPr lang="en-GB" dirty="0"/>
              <a:t>Context for our Research questions: </a:t>
            </a:r>
            <a:endParaRPr lang="en-AT" dirty="0"/>
          </a:p>
        </p:txBody>
      </p:sp>
      <p:sp>
        <p:nvSpPr>
          <p:cNvPr id="43" name="Rectangle: Rounded Corners 42">
            <a:extLst>
              <a:ext uri="{FF2B5EF4-FFF2-40B4-BE49-F238E27FC236}">
                <a16:creationId xmlns:a16="http://schemas.microsoft.com/office/drawing/2014/main" id="{B2A91068-C4A3-DB6F-CE6B-DD88D0F87E22}"/>
              </a:ext>
            </a:extLst>
          </p:cNvPr>
          <p:cNvSpPr/>
          <p:nvPr/>
        </p:nvSpPr>
        <p:spPr>
          <a:xfrm>
            <a:off x="712676" y="1331238"/>
            <a:ext cx="5829403" cy="621388"/>
          </a:xfrm>
          <a:prstGeom prst="roundRect">
            <a:avLst/>
          </a:prstGeom>
          <a:no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dirty="0">
                <a:solidFill>
                  <a:schemeClr val="tx2"/>
                </a:solidFill>
              </a:rPr>
              <a:t>Lewis Hamilton switches from Mercedes to Ferrari</a:t>
            </a:r>
            <a:r>
              <a:rPr lang="en-GB" sz="1200" dirty="0">
                <a:solidFill>
                  <a:schemeClr val="tx2"/>
                </a:solidFill>
              </a:rPr>
              <a:t> after being with Mercedes for ten years (winning 6 /7 world championships with them)</a:t>
            </a:r>
          </a:p>
        </p:txBody>
      </p:sp>
      <p:grpSp>
        <p:nvGrpSpPr>
          <p:cNvPr id="48" name="Group 47">
            <a:extLst>
              <a:ext uri="{FF2B5EF4-FFF2-40B4-BE49-F238E27FC236}">
                <a16:creationId xmlns:a16="http://schemas.microsoft.com/office/drawing/2014/main" id="{ACFF1B91-AA9F-105D-83BD-81C1037B9F1E}"/>
              </a:ext>
            </a:extLst>
          </p:cNvPr>
          <p:cNvGrpSpPr/>
          <p:nvPr/>
        </p:nvGrpSpPr>
        <p:grpSpPr>
          <a:xfrm>
            <a:off x="1092933" y="2363986"/>
            <a:ext cx="3058870" cy="2345971"/>
            <a:chOff x="1092933" y="2243336"/>
            <a:chExt cx="3058870" cy="2345971"/>
          </a:xfrm>
        </p:grpSpPr>
        <p:pic>
          <p:nvPicPr>
            <p:cNvPr id="35" name="Graphic 34">
              <a:extLst>
                <a:ext uri="{FF2B5EF4-FFF2-40B4-BE49-F238E27FC236}">
                  <a16:creationId xmlns:a16="http://schemas.microsoft.com/office/drawing/2014/main" id="{E62D8C78-8321-9F1A-D9EE-F345F9C95AB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2933" y="2243336"/>
              <a:ext cx="3058870" cy="2141210"/>
            </a:xfrm>
            <a:prstGeom prst="rect">
              <a:avLst/>
            </a:prstGeom>
          </p:spPr>
        </p:pic>
        <p:sp>
          <p:nvSpPr>
            <p:cNvPr id="44" name="TextBox 43">
              <a:extLst>
                <a:ext uri="{FF2B5EF4-FFF2-40B4-BE49-F238E27FC236}">
                  <a16:creationId xmlns:a16="http://schemas.microsoft.com/office/drawing/2014/main" id="{C8649BDE-17EE-FD9D-AFAF-F7C8F8354E71}"/>
                </a:ext>
              </a:extLst>
            </p:cNvPr>
            <p:cNvSpPr txBox="1"/>
            <p:nvPr/>
          </p:nvSpPr>
          <p:spPr>
            <a:xfrm>
              <a:off x="1709614" y="4327697"/>
              <a:ext cx="1825508" cy="261610"/>
            </a:xfrm>
            <a:prstGeom prst="rect">
              <a:avLst/>
            </a:prstGeom>
            <a:noFill/>
          </p:spPr>
          <p:txBody>
            <a:bodyPr wrap="square" rtlCol="0">
              <a:spAutoFit/>
            </a:bodyPr>
            <a:lstStyle/>
            <a:p>
              <a:r>
                <a:rPr lang="en-GB" sz="1100" dirty="0"/>
                <a:t>Average finishing place: 5</a:t>
              </a:r>
            </a:p>
          </p:txBody>
        </p:sp>
      </p:grpSp>
      <p:grpSp>
        <p:nvGrpSpPr>
          <p:cNvPr id="49" name="Group 48">
            <a:extLst>
              <a:ext uri="{FF2B5EF4-FFF2-40B4-BE49-F238E27FC236}">
                <a16:creationId xmlns:a16="http://schemas.microsoft.com/office/drawing/2014/main" id="{A5FEFE22-13D1-D6FF-B1EE-8DD4A6806A37}"/>
              </a:ext>
            </a:extLst>
          </p:cNvPr>
          <p:cNvGrpSpPr/>
          <p:nvPr/>
        </p:nvGrpSpPr>
        <p:grpSpPr>
          <a:xfrm>
            <a:off x="4955203" y="2363986"/>
            <a:ext cx="3058870" cy="2345971"/>
            <a:chOff x="4955203" y="2243336"/>
            <a:chExt cx="3058870" cy="2345971"/>
          </a:xfrm>
        </p:grpSpPr>
        <p:pic>
          <p:nvPicPr>
            <p:cNvPr id="37" name="Graphic 36">
              <a:extLst>
                <a:ext uri="{FF2B5EF4-FFF2-40B4-BE49-F238E27FC236}">
                  <a16:creationId xmlns:a16="http://schemas.microsoft.com/office/drawing/2014/main" id="{B615B2A0-4041-11D3-81B0-F4091C5825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203" y="2243336"/>
              <a:ext cx="3058870" cy="2141210"/>
            </a:xfrm>
            <a:prstGeom prst="rect">
              <a:avLst/>
            </a:prstGeom>
          </p:spPr>
        </p:pic>
        <p:sp>
          <p:nvSpPr>
            <p:cNvPr id="45" name="TextBox 44">
              <a:extLst>
                <a:ext uri="{FF2B5EF4-FFF2-40B4-BE49-F238E27FC236}">
                  <a16:creationId xmlns:a16="http://schemas.microsoft.com/office/drawing/2014/main" id="{D36E0063-D098-E436-2DC0-35C84588AF42}"/>
                </a:ext>
              </a:extLst>
            </p:cNvPr>
            <p:cNvSpPr txBox="1"/>
            <p:nvPr/>
          </p:nvSpPr>
          <p:spPr>
            <a:xfrm>
              <a:off x="5542753" y="4327697"/>
              <a:ext cx="1883770" cy="261610"/>
            </a:xfrm>
            <a:prstGeom prst="rect">
              <a:avLst/>
            </a:prstGeom>
            <a:noFill/>
          </p:spPr>
          <p:txBody>
            <a:bodyPr wrap="square" rtlCol="0">
              <a:spAutoFit/>
            </a:bodyPr>
            <a:lstStyle/>
            <a:p>
              <a:r>
                <a:rPr lang="en-GB" sz="1100" dirty="0"/>
                <a:t>Average points scored: 9,5 </a:t>
              </a:r>
            </a:p>
          </p:txBody>
        </p:sp>
      </p:grpSp>
      <p:sp>
        <p:nvSpPr>
          <p:cNvPr id="46" name="TextBox 45">
            <a:extLst>
              <a:ext uri="{FF2B5EF4-FFF2-40B4-BE49-F238E27FC236}">
                <a16:creationId xmlns:a16="http://schemas.microsoft.com/office/drawing/2014/main" id="{3C8F98B3-CBB0-665E-B2BB-35B25D103502}"/>
              </a:ext>
            </a:extLst>
          </p:cNvPr>
          <p:cNvSpPr txBox="1"/>
          <p:nvPr/>
        </p:nvSpPr>
        <p:spPr>
          <a:xfrm>
            <a:off x="238545" y="4912668"/>
            <a:ext cx="5829403" cy="230832"/>
          </a:xfrm>
          <a:prstGeom prst="rect">
            <a:avLst/>
          </a:prstGeom>
          <a:noFill/>
        </p:spPr>
        <p:txBody>
          <a:bodyPr wrap="square" rtlCol="0">
            <a:spAutoFit/>
          </a:bodyPr>
          <a:lstStyle/>
          <a:p>
            <a:r>
              <a:rPr lang="en-GB" sz="900" dirty="0">
                <a:solidFill>
                  <a:schemeClr val="bg2">
                    <a:lumMod val="50000"/>
                  </a:schemeClr>
                </a:solidFill>
              </a:rPr>
              <a:t>Disclaimer: Positions for Practice 1, Practice 2, and Starting are randomly distributed in the range of 1-10</a:t>
            </a:r>
          </a:p>
        </p:txBody>
      </p:sp>
      <p:sp>
        <p:nvSpPr>
          <p:cNvPr id="47" name="TextBox 46">
            <a:extLst>
              <a:ext uri="{FF2B5EF4-FFF2-40B4-BE49-F238E27FC236}">
                <a16:creationId xmlns:a16="http://schemas.microsoft.com/office/drawing/2014/main" id="{D703D318-31B3-5CC4-3845-7F74026EAF38}"/>
              </a:ext>
            </a:extLst>
          </p:cNvPr>
          <p:cNvSpPr txBox="1"/>
          <p:nvPr/>
        </p:nvSpPr>
        <p:spPr>
          <a:xfrm>
            <a:off x="611592" y="2132203"/>
            <a:ext cx="3432859" cy="307777"/>
          </a:xfrm>
          <a:prstGeom prst="rect">
            <a:avLst/>
          </a:prstGeom>
          <a:noFill/>
        </p:spPr>
        <p:txBody>
          <a:bodyPr wrap="square" rtlCol="0">
            <a:spAutoFit/>
          </a:bodyPr>
          <a:lstStyle/>
          <a:p>
            <a:r>
              <a:rPr lang="en-GB" dirty="0"/>
              <a:t>Predicted performance in 2025:</a:t>
            </a:r>
            <a:endParaRPr lang="en-AT" dirty="0"/>
          </a:p>
        </p:txBody>
      </p:sp>
      <p:pic>
        <p:nvPicPr>
          <p:cNvPr id="57" name="Picture 2" descr="Zivil- und Zivilverfahrensrecht - WU (Wirtschaftsuniversität Wien)">
            <a:extLst>
              <a:ext uri="{FF2B5EF4-FFF2-40B4-BE49-F238E27FC236}">
                <a16:creationId xmlns:a16="http://schemas.microsoft.com/office/drawing/2014/main" id="{881AD43C-1C29-4332-EEE6-71AF36B418D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375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Cluster (Christian) </a:t>
            </a:r>
            <a:endParaRPr lang="en-AT" dirty="0"/>
          </a:p>
        </p:txBody>
      </p:sp>
      <p:grpSp>
        <p:nvGrpSpPr>
          <p:cNvPr id="2" name="Google Shape;2269;p64">
            <a:extLst>
              <a:ext uri="{FF2B5EF4-FFF2-40B4-BE49-F238E27FC236}">
                <a16:creationId xmlns:a16="http://schemas.microsoft.com/office/drawing/2014/main" id="{DAB50C87-FBE5-B63C-F127-6770BB87E875}"/>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7871AED8-EEC7-FAA1-DEB6-AB2E5D618DBE}"/>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D9559D0F-C6BC-E603-7B86-2E4B94A2388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DFD359E3-EE70-DB20-E9D3-3D5485890A75}"/>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9224C635-05F7-B5F2-AC23-DAF318EA59A3}"/>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81BC7F94-42DD-B7B2-915D-0482C54E15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028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cing training school center by Slidesgo">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2</TotalTime>
  <Words>2364</Words>
  <Application>Microsoft Office PowerPoint</Application>
  <PresentationFormat>On-screen Show (16:9)</PresentationFormat>
  <Paragraphs>406</Paragraphs>
  <Slides>54</Slides>
  <Notes>47</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71" baseType="lpstr">
      <vt:lpstr>Proxima Nova</vt:lpstr>
      <vt:lpstr>Proxima Nova Semibold</vt:lpstr>
      <vt:lpstr>Jost</vt:lpstr>
      <vt:lpstr>Amatic SC</vt:lpstr>
      <vt:lpstr>Söhne</vt:lpstr>
      <vt:lpstr>Lato</vt:lpstr>
      <vt:lpstr>Krona One</vt:lpstr>
      <vt:lpstr>Calibri</vt:lpstr>
      <vt:lpstr>Jost Medium</vt:lpstr>
      <vt:lpstr>Helios Extended Bold</vt:lpstr>
      <vt:lpstr>Roboto Medium</vt:lpstr>
      <vt:lpstr>Arial</vt:lpstr>
      <vt:lpstr>Anaheim</vt:lpstr>
      <vt:lpstr>Racing training school center by Slidesgo</vt:lpstr>
      <vt:lpstr>Slidesgo Final Pages</vt:lpstr>
      <vt:lpstr>Slidesgo Final Pages</vt:lpstr>
      <vt:lpstr>think-cell Slide</vt:lpstr>
      <vt:lpstr>Data Analytics Project: Formula 1</vt:lpstr>
      <vt:lpstr>Table of Contents</vt:lpstr>
      <vt:lpstr>Optional: Motivation (Moritz) </vt:lpstr>
      <vt:lpstr>PowerPoint Presentation</vt:lpstr>
      <vt:lpstr>PowerPoint Presentation</vt:lpstr>
      <vt:lpstr>PowerPoint Presentation</vt:lpstr>
      <vt:lpstr>PowerPoint Presentation</vt:lpstr>
      <vt:lpstr>Using the Random Forest to predict: How well will Lewis Hamilton perform with Ferrari in 2025</vt:lpstr>
      <vt:lpstr>PowerPoint Presentation</vt:lpstr>
      <vt:lpstr>PowerPoint Presentation</vt:lpstr>
      <vt:lpstr>CONTENTS OF THIS TEMPLATE</vt:lpstr>
      <vt:lpstr>—SOMEONE FAMOUS</vt:lpstr>
      <vt:lpstr>OUR TEACHING METHOD</vt:lpstr>
      <vt:lpstr>INTRODUCTION</vt:lpstr>
      <vt:lpstr>SPECIAL REMINDERS</vt:lpstr>
      <vt:lpstr>150,000</vt:lpstr>
      <vt:lpstr>A PICTURE ALWAYS REINFORCES  THE CONCEPT</vt:lpstr>
      <vt:lpstr>OUR MISSION AND VISION</vt:lpstr>
      <vt:lpstr>WHAT SETS US APART?</vt:lpstr>
      <vt:lpstr>OUR VALUES</vt:lpstr>
      <vt:lpstr>OUR ACADEMIC AREAS</vt:lpstr>
      <vt:lpstr>OUR SUCCESS</vt:lpstr>
      <vt:lpstr>OUR TEACHING METHOD</vt:lpstr>
      <vt:lpstr>STATISTICS</vt:lpstr>
      <vt:lpstr>PowerPoint Presentation</vt:lpstr>
      <vt:lpstr>STUDENT PROGRESS</vt:lpstr>
      <vt:lpstr>OUR GOALS</vt:lpstr>
      <vt:lpstr>AWESOME WORDS</vt:lpstr>
      <vt:lpstr>OUR BEST COMPETITIONS</vt:lpstr>
      <vt:lpstr>THE CURRICULUM</vt:lpstr>
      <vt:lpstr>ENROLLMENT PROCESS</vt:lpstr>
      <vt:lpstr>OUR TEACHERS</vt:lpstr>
      <vt:lpstr>DESKTOP SOFTWARE</vt:lpstr>
      <vt:lpstr>THANKS</vt:lpstr>
      <vt:lpstr>ALTERNATIVE RESOURCES</vt:lpstr>
      <vt:lpstr> RESOURCES</vt:lpstr>
      <vt:lpstr>Instructions for use</vt:lpstr>
      <vt:lpstr>Instructions for use (premium users)</vt:lpstr>
      <vt:lpstr>Fonts &amp; colors used</vt:lpstr>
      <vt:lpstr>Storyset</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dc:title>
  <dc:creator>Moritz Baldauf</dc:creator>
  <cp:lastModifiedBy>Moritz Baldauf</cp:lastModifiedBy>
  <cp:revision>1</cp:revision>
  <dcterms:modified xsi:type="dcterms:W3CDTF">2024-04-22T10:14:04Z</dcterms:modified>
</cp:coreProperties>
</file>